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Ex1.xml" ContentType="application/vnd.ms-office.chartex+xml"/>
  <Override PartName="/ppt/charts/style1.xml" ContentType="application/vnd.ms-office.chartstyle+xml"/>
  <Override PartName="/ppt/charts/colors1.xml" ContentType="application/vnd.ms-office.chartcolorstyle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55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4132" r:id="rId5"/>
  </p:sldMasterIdLst>
  <p:notesMasterIdLst>
    <p:notesMasterId r:id="rId16"/>
  </p:notesMasterIdLst>
  <p:handoutMasterIdLst>
    <p:handoutMasterId r:id="rId17"/>
  </p:handoutMasterIdLst>
  <p:sldIdLst>
    <p:sldId id="3794" r:id="rId6"/>
    <p:sldId id="2147471295" r:id="rId7"/>
    <p:sldId id="2147471089" r:id="rId8"/>
    <p:sldId id="2147471292" r:id="rId9"/>
    <p:sldId id="2147471293" r:id="rId10"/>
    <p:sldId id="2147471290" r:id="rId11"/>
    <p:sldId id="2147471288" r:id="rId12"/>
    <p:sldId id="2147471289" r:id="rId13"/>
    <p:sldId id="2146848343" r:id="rId14"/>
    <p:sldId id="2147482525" r:id="rId15"/>
  </p:sldIdLst>
  <p:sldSz cx="12192000" cy="6858000"/>
  <p:notesSz cx="6858000" cy="9144000"/>
  <p:custDataLst>
    <p:tags r:id="rId1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7F2"/>
    <a:srgbClr val="002B49"/>
    <a:srgbClr val="FFFFFF"/>
    <a:srgbClr val="F4F4F4"/>
    <a:srgbClr val="D9D9D9"/>
    <a:srgbClr val="0098D4"/>
    <a:srgbClr val="FEFEFE"/>
    <a:srgbClr val="00677F"/>
    <a:srgbClr val="328137"/>
    <a:srgbClr val="F9C20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C258F6B-9F5C-4A7B-ACB5-4A186A418A4C}" v="5" dt="2025-05-14T00:12:07.81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59" d="100"/>
          <a:sy n="59" d="100"/>
        </p:scale>
        <p:origin x="858" y="261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microsoft.com/office/2016/11/relationships/changesInfo" Target="changesInfos/changesInfo1.xml"/><Relationship Id="rId10" Type="http://schemas.openxmlformats.org/officeDocument/2006/relationships/slide" Target="slides/slide5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Freitas, Mark" userId="0b05a085-b1ed-4f39-8762-08dc0fa75cc6" providerId="ADAL" clId="{BC258F6B-9F5C-4A7B-ACB5-4A186A418A4C}"/>
    <pc:docChg chg="custSel addSld modSld">
      <pc:chgData name="Freitas, Mark" userId="0b05a085-b1ed-4f39-8762-08dc0fa75cc6" providerId="ADAL" clId="{BC258F6B-9F5C-4A7B-ACB5-4A186A418A4C}" dt="2025-05-14T00:12:07.818" v="432"/>
      <pc:docMkLst>
        <pc:docMk/>
      </pc:docMkLst>
      <pc:sldChg chg="modSp mod">
        <pc:chgData name="Freitas, Mark" userId="0b05a085-b1ed-4f39-8762-08dc0fa75cc6" providerId="ADAL" clId="{BC258F6B-9F5C-4A7B-ACB5-4A186A418A4C}" dt="2025-05-14T00:03:15.392" v="230" actId="20577"/>
        <pc:sldMkLst>
          <pc:docMk/>
          <pc:sldMk cId="849247483" sldId="2147471089"/>
        </pc:sldMkLst>
        <pc:spChg chg="mod">
          <ac:chgData name="Freitas, Mark" userId="0b05a085-b1ed-4f39-8762-08dc0fa75cc6" providerId="ADAL" clId="{BC258F6B-9F5C-4A7B-ACB5-4A186A418A4C}" dt="2025-05-14T00:03:15.392" v="230" actId="20577"/>
          <ac:spMkLst>
            <pc:docMk/>
            <pc:sldMk cId="849247483" sldId="2147471089"/>
            <ac:spMk id="42" creationId="{CFEC672F-B033-49A9-9681-8E1E10A1CBBC}"/>
          </ac:spMkLst>
        </pc:spChg>
      </pc:sldChg>
      <pc:sldChg chg="delSp mod">
        <pc:chgData name="Freitas, Mark" userId="0b05a085-b1ed-4f39-8762-08dc0fa75cc6" providerId="ADAL" clId="{BC258F6B-9F5C-4A7B-ACB5-4A186A418A4C}" dt="2025-05-13T23:54:50.993" v="132" actId="478"/>
        <pc:sldMkLst>
          <pc:docMk/>
          <pc:sldMk cId="339102806" sldId="2147471290"/>
        </pc:sldMkLst>
        <pc:spChg chg="del">
          <ac:chgData name="Freitas, Mark" userId="0b05a085-b1ed-4f39-8762-08dc0fa75cc6" providerId="ADAL" clId="{BC258F6B-9F5C-4A7B-ACB5-4A186A418A4C}" dt="2025-05-13T23:54:50.993" v="132" actId="478"/>
          <ac:spMkLst>
            <pc:docMk/>
            <pc:sldMk cId="339102806" sldId="2147471290"/>
            <ac:spMk id="3" creationId="{E0891D10-1326-16E5-C412-FD1ABD8BDEFA}"/>
          </ac:spMkLst>
        </pc:spChg>
      </pc:sldChg>
      <pc:sldChg chg="modSp mod">
        <pc:chgData name="Freitas, Mark" userId="0b05a085-b1ed-4f39-8762-08dc0fa75cc6" providerId="ADAL" clId="{BC258F6B-9F5C-4A7B-ACB5-4A186A418A4C}" dt="2025-05-13T23:46:25.709" v="42" actId="20577"/>
        <pc:sldMkLst>
          <pc:docMk/>
          <pc:sldMk cId="2192566598" sldId="2147471292"/>
        </pc:sldMkLst>
        <pc:spChg chg="mod">
          <ac:chgData name="Freitas, Mark" userId="0b05a085-b1ed-4f39-8762-08dc0fa75cc6" providerId="ADAL" clId="{BC258F6B-9F5C-4A7B-ACB5-4A186A418A4C}" dt="2025-05-13T23:46:25.709" v="42" actId="20577"/>
          <ac:spMkLst>
            <pc:docMk/>
            <pc:sldMk cId="2192566598" sldId="2147471292"/>
            <ac:spMk id="10" creationId="{42006CCB-2BAC-5325-52E0-719908B2F70E}"/>
          </ac:spMkLst>
        </pc:spChg>
      </pc:sldChg>
      <pc:sldChg chg="modSp mod">
        <pc:chgData name="Freitas, Mark" userId="0b05a085-b1ed-4f39-8762-08dc0fa75cc6" providerId="ADAL" clId="{BC258F6B-9F5C-4A7B-ACB5-4A186A418A4C}" dt="2025-05-14T00:01:35.688" v="175" actId="6549"/>
        <pc:sldMkLst>
          <pc:docMk/>
          <pc:sldMk cId="4083717244" sldId="2147471293"/>
        </pc:sldMkLst>
        <pc:spChg chg="mod">
          <ac:chgData name="Freitas, Mark" userId="0b05a085-b1ed-4f39-8762-08dc0fa75cc6" providerId="ADAL" clId="{BC258F6B-9F5C-4A7B-ACB5-4A186A418A4C}" dt="2025-05-14T00:00:42.776" v="158" actId="20577"/>
          <ac:spMkLst>
            <pc:docMk/>
            <pc:sldMk cId="4083717244" sldId="2147471293"/>
            <ac:spMk id="17" creationId="{AB8B16E3-5771-6C6C-1D62-97652DEA364E}"/>
          </ac:spMkLst>
        </pc:spChg>
        <pc:spChg chg="mod">
          <ac:chgData name="Freitas, Mark" userId="0b05a085-b1ed-4f39-8762-08dc0fa75cc6" providerId="ADAL" clId="{BC258F6B-9F5C-4A7B-ACB5-4A186A418A4C}" dt="2025-05-14T00:01:35.688" v="175" actId="6549"/>
          <ac:spMkLst>
            <pc:docMk/>
            <pc:sldMk cId="4083717244" sldId="2147471293"/>
            <ac:spMk id="29" creationId="{C62BFFAB-5192-2026-8B74-038D8C3C49A7}"/>
          </ac:spMkLst>
        </pc:spChg>
      </pc:sldChg>
      <pc:sldChg chg="modSp mod">
        <pc:chgData name="Freitas, Mark" userId="0b05a085-b1ed-4f39-8762-08dc0fa75cc6" providerId="ADAL" clId="{BC258F6B-9F5C-4A7B-ACB5-4A186A418A4C}" dt="2025-05-13T23:44:26.011" v="24" actId="20577"/>
        <pc:sldMkLst>
          <pc:docMk/>
          <pc:sldMk cId="3277433057" sldId="2147471295"/>
        </pc:sldMkLst>
        <pc:spChg chg="mod">
          <ac:chgData name="Freitas, Mark" userId="0b05a085-b1ed-4f39-8762-08dc0fa75cc6" providerId="ADAL" clId="{BC258F6B-9F5C-4A7B-ACB5-4A186A418A4C}" dt="2025-05-13T23:44:26.011" v="24" actId="20577"/>
          <ac:spMkLst>
            <pc:docMk/>
            <pc:sldMk cId="3277433057" sldId="2147471295"/>
            <ac:spMk id="3" creationId="{9E990728-4D21-CE4F-EBBB-A39248C153F8}"/>
          </ac:spMkLst>
        </pc:spChg>
      </pc:sldChg>
      <pc:sldChg chg="delSp modSp add mod">
        <pc:chgData name="Freitas, Mark" userId="0b05a085-b1ed-4f39-8762-08dc0fa75cc6" providerId="ADAL" clId="{BC258F6B-9F5C-4A7B-ACB5-4A186A418A4C}" dt="2025-05-14T00:12:07.818" v="432"/>
        <pc:sldMkLst>
          <pc:docMk/>
          <pc:sldMk cId="788255298" sldId="2147482525"/>
        </pc:sldMkLst>
        <pc:spChg chg="mod">
          <ac:chgData name="Freitas, Mark" userId="0b05a085-b1ed-4f39-8762-08dc0fa75cc6" providerId="ADAL" clId="{BC258F6B-9F5C-4A7B-ACB5-4A186A418A4C}" dt="2025-05-14T00:09:53.488" v="426" actId="113"/>
          <ac:spMkLst>
            <pc:docMk/>
            <pc:sldMk cId="788255298" sldId="2147482525"/>
            <ac:spMk id="5" creationId="{D8D2D337-2DBB-E269-2C3A-0C2AD9B043F2}"/>
          </ac:spMkLst>
        </pc:spChg>
        <pc:spChg chg="mod">
          <ac:chgData name="Freitas, Mark" userId="0b05a085-b1ed-4f39-8762-08dc0fa75cc6" providerId="ADAL" clId="{BC258F6B-9F5C-4A7B-ACB5-4A186A418A4C}" dt="2025-05-14T00:08:41.018" v="288" actId="20577"/>
          <ac:spMkLst>
            <pc:docMk/>
            <pc:sldMk cId="788255298" sldId="2147482525"/>
            <ac:spMk id="8" creationId="{903DDCA6-C739-E874-A626-8259A1CFE115}"/>
          </ac:spMkLst>
        </pc:spChg>
        <pc:spChg chg="del">
          <ac:chgData name="Freitas, Mark" userId="0b05a085-b1ed-4f39-8762-08dc0fa75cc6" providerId="ADAL" clId="{BC258F6B-9F5C-4A7B-ACB5-4A186A418A4C}" dt="2025-05-14T00:08:44.902" v="289" actId="478"/>
          <ac:spMkLst>
            <pc:docMk/>
            <pc:sldMk cId="788255298" sldId="2147482525"/>
            <ac:spMk id="10" creationId="{8C6BAB5C-5880-5265-CABF-51213A709DB5}"/>
          </ac:spMkLst>
        </pc:spChg>
        <pc:spChg chg="mod">
          <ac:chgData name="Freitas, Mark" userId="0b05a085-b1ed-4f39-8762-08dc0fa75cc6" providerId="ADAL" clId="{BC258F6B-9F5C-4A7B-ACB5-4A186A418A4C}" dt="2025-05-14T00:08:22.548" v="256" actId="20577"/>
          <ac:spMkLst>
            <pc:docMk/>
            <pc:sldMk cId="788255298" sldId="2147482525"/>
            <ac:spMk id="11" creationId="{9AE9568C-502E-0205-D977-0F07FF948AAC}"/>
          </ac:spMkLst>
        </pc:spChg>
        <pc:picChg chg="del">
          <ac:chgData name="Freitas, Mark" userId="0b05a085-b1ed-4f39-8762-08dc0fa75cc6" providerId="ADAL" clId="{BC258F6B-9F5C-4A7B-ACB5-4A186A418A4C}" dt="2025-05-14T00:08:44.902" v="289" actId="478"/>
          <ac:picMkLst>
            <pc:docMk/>
            <pc:sldMk cId="788255298" sldId="2147482525"/>
            <ac:picMk id="13" creationId="{CA840B74-62D4-39A9-95CC-F1931E89B4E8}"/>
          </ac:picMkLst>
        </pc:picChg>
        <pc:picChg chg="mod modCrop">
          <ac:chgData name="Freitas, Mark" userId="0b05a085-b1ed-4f39-8762-08dc0fa75cc6" providerId="ADAL" clId="{BC258F6B-9F5C-4A7B-ACB5-4A186A418A4C}" dt="2025-05-14T00:12:07.818" v="432"/>
          <ac:picMkLst>
            <pc:docMk/>
            <pc:sldMk cId="788255298" sldId="2147482525"/>
            <ac:picMk id="15" creationId="{15D0F05E-1516-C47A-D628-6A0DEF1EEBA7}"/>
          </ac:picMkLst>
        </pc:picChg>
        <pc:picChg chg="mod">
          <ac:chgData name="Freitas, Mark" userId="0b05a085-b1ed-4f39-8762-08dc0fa75cc6" providerId="ADAL" clId="{BC258F6B-9F5C-4A7B-ACB5-4A186A418A4C}" dt="2025-05-14T00:11:47.702" v="428"/>
          <ac:picMkLst>
            <pc:docMk/>
            <pc:sldMk cId="788255298" sldId="2147482525"/>
            <ac:picMk id="1026" creationId="{4D7FE2AA-CDD3-0C2D-D041-DA223F162043}"/>
          </ac:picMkLst>
        </pc:pic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1.xml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microsoft.com/office/2011/relationships/chartStyle" Target="style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3.6734029071208334E-3"/>
          <c:w val="1"/>
          <c:h val="0.8789973315858263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S</c:v>
                </c:pt>
              </c:strCache>
            </c:strRef>
          </c:tx>
          <c:spPr>
            <a:solidFill>
              <a:srgbClr val="002B49"/>
            </a:solidFill>
            <a:ln>
              <a:noFill/>
            </a:ln>
            <a:effectLst/>
          </c:spPr>
          <c:invertIfNegative val="0"/>
          <c:dLbls>
            <c:dLbl>
              <c:idx val="3"/>
              <c:tx>
                <c:rich>
                  <a:bodyPr/>
                  <a:lstStyle/>
                  <a:p>
                    <a:r>
                      <a:rPr lang="en-US"/>
                      <a:t>29.1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013E-48B1-BDBC-B5637E8D8C7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0"/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  <c:pt idx="3">
                  <c:v>2024</c:v>
                </c:pt>
              </c:numCache>
            </c:numRef>
          </c:cat>
          <c:val>
            <c:numRef>
              <c:f>Sheet1!$B$2:$B$5</c:f>
              <c:numCache>
                <c:formatCode>General</c:formatCode>
                <c:ptCount val="4"/>
                <c:pt idx="0">
                  <c:v>21.3</c:v>
                </c:pt>
                <c:pt idx="1">
                  <c:v>23.3</c:v>
                </c:pt>
                <c:pt idx="2">
                  <c:v>26.3</c:v>
                </c:pt>
                <c:pt idx="3">
                  <c:v>29.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B39-4A86-8BC9-C76FE71A16C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Europe</c:v>
                </c:pt>
              </c:strCache>
            </c:strRef>
          </c:tx>
          <c:spPr>
            <a:solidFill>
              <a:srgbClr val="5E8AB4">
                <a:lumMod val="40000"/>
                <a:lumOff val="60000"/>
              </a:srgbClr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57CF7FAA-5224-4EA5-9D0C-DD4EEFC085E8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F7DB-4FFA-A22C-D83ACF5E1EF4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/>
                      <a:t>20.9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013E-48B1-BDBC-B5637E8D8C7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0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  <c:pt idx="3">
                  <c:v>2024</c:v>
                </c:pt>
              </c:numCache>
            </c:numRef>
          </c:cat>
          <c:val>
            <c:numRef>
              <c:f>Sheet1!$C$2:$C$5</c:f>
              <c:numCache>
                <c:formatCode>General</c:formatCode>
                <c:ptCount val="4"/>
                <c:pt idx="0">
                  <c:v>15.1</c:v>
                </c:pt>
                <c:pt idx="1">
                  <c:v>17</c:v>
                </c:pt>
                <c:pt idx="2">
                  <c:v>18.5</c:v>
                </c:pt>
                <c:pt idx="3">
                  <c:v>20.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B39-4A86-8BC9-C76FE71A16C7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ROW</c:v>
                </c:pt>
              </c:strCache>
            </c:strRef>
          </c:tx>
          <c:spPr>
            <a:solidFill>
              <a:srgbClr val="00A7F2"/>
            </a:solidFill>
            <a:ln>
              <a:noFill/>
            </a:ln>
            <a:effectLst/>
          </c:spPr>
          <c:invertIfNegative val="0"/>
          <c:dLbls>
            <c:dLbl>
              <c:idx val="3"/>
              <c:tx>
                <c:rich>
                  <a:bodyPr/>
                  <a:lstStyle/>
                  <a:p>
                    <a:r>
                      <a:rPr lang="en-US"/>
                      <a:t>41.0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013E-48B1-BDBC-B5637E8D8C7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0"/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  <c:pt idx="3">
                  <c:v>2024</c:v>
                </c:pt>
              </c:numCache>
            </c:numRef>
          </c:cat>
          <c:val>
            <c:numRef>
              <c:f>Sheet1!$D$2:$D$5</c:f>
              <c:numCache>
                <c:formatCode>General</c:formatCode>
                <c:ptCount val="4"/>
                <c:pt idx="0">
                  <c:v>29.3</c:v>
                </c:pt>
                <c:pt idx="1">
                  <c:v>32.9</c:v>
                </c:pt>
                <c:pt idx="2">
                  <c:v>36.700000000000003</c:v>
                </c:pt>
                <c:pt idx="3">
                  <c:v>40.95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B39-4A86-8BC9-C76FE71A16C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30"/>
        <c:overlap val="100"/>
        <c:axId val="402380168"/>
        <c:axId val="281960872"/>
      </c:barChart>
      <c:catAx>
        <c:axId val="4023801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061F32"/>
            </a:solidFill>
            <a:round/>
          </a:ln>
          <a:effectLst/>
        </c:spPr>
        <c:txPr>
          <a:bodyPr rot="-60000000" vert="horz"/>
          <a:lstStyle/>
          <a:p>
            <a:pPr>
              <a:defRPr sz="120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pPr>
            <a:endParaRPr lang="en-US"/>
          </a:p>
        </c:txPr>
        <c:crossAx val="281960872"/>
        <c:crosses val="autoZero"/>
        <c:auto val="1"/>
        <c:lblAlgn val="ctr"/>
        <c:lblOffset val="100"/>
        <c:noMultiLvlLbl val="0"/>
      </c:catAx>
      <c:valAx>
        <c:axId val="281960872"/>
        <c:scaling>
          <c:orientation val="minMax"/>
        </c:scaling>
        <c:delete val="1"/>
        <c:axPos val="l"/>
        <c:numFmt formatCode="General" sourceLinked="1"/>
        <c:majorTickMark val="in"/>
        <c:minorTickMark val="none"/>
        <c:tickLblPos val="nextTo"/>
        <c:crossAx val="4023801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+mn-lt"/>
        </a:defRPr>
      </a:pPr>
      <a:endParaRPr lang="en-US"/>
    </a:p>
  </c:txPr>
  <c:externalData r:id="rId2">
    <c:autoUpdate val="0"/>
  </c:externalData>
</c:chartSpace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'2025 Chart data'!$A$2:$A$12</cx:f>
        <cx:lvl ptCount="11">
          <cx:pt idx="0">2024</cx:pt>
          <cx:pt idx="1">IVD</cx:pt>
          <cx:pt idx="2">Ortho</cx:pt>
          <cx:pt idx="3">Cardio</cx:pt>
          <cx:pt idx="4">Surgery</cx:pt>
          <cx:pt idx="5">Imaging</cx:pt>
          <cx:pt idx="6">Diabetes Care Devices</cx:pt>
          <cx:pt idx="7">Digital Health and Patient Monitoring</cx:pt>
          <cx:pt idx="8">Wound Care</cx:pt>
          <cx:pt idx="9">Other Devices </cx:pt>
          <cx:pt idx="10">2025</cx:pt>
        </cx:lvl>
      </cx:strDim>
      <cx:numDim type="val">
        <cx:f>'2025 Chart data'!$B$2:$B$12</cx:f>
        <cx:lvl ptCount="11" formatCode="_(* #,##0.0_);_(* \(#,##0.0\);_(* &quot;-&quot;??_);_(@_)">
          <cx:pt idx="0">557.76900000000001</cx:pt>
          <cx:pt idx="1">-1.8115200000000005</cx:pt>
          <cx:pt idx="2">1.4973600000000007</cx:pt>
          <cx:pt idx="3">3.7716499999999944</cx:pt>
          <cx:pt idx="4">2.1186600000000033</cx:pt>
          <cx:pt idx="5">1.9962900000000008</cx:pt>
          <cx:pt idx="6">1.5228899999999994</cx:pt>
          <cx:pt idx="7">1.9518199999999997</cx:pt>
          <cx:pt idx="8">1.3540100000000019</cx:pt>
          <cx:pt idx="9">13.002000000000175</cx:pt>
          <cx:pt idx="10">583.17216000000019</cx:pt>
        </cx:lvl>
      </cx:numDim>
    </cx:data>
  </cx:chartData>
  <cx:chart>
    <cx:plotArea>
      <cx:plotAreaRegion>
        <cx:series layoutId="waterfall" uniqueId="{5B6C5F6B-AC99-484F-A31E-F5E4AF13C049}">
          <cx:tx>
            <cx:txData>
              <cx:f>'2025 Chart data'!$B$1</cx:f>
              <cx:v>Growth</cx:v>
            </cx:txData>
          </cx:tx>
          <cx:dataPt idx="0">
            <cx:spPr>
              <a:solidFill>
                <a:srgbClr val="002B49"/>
              </a:solidFill>
            </cx:spPr>
          </cx:dataPt>
          <cx:dataPt idx="1">
            <cx:spPr>
              <a:solidFill>
                <a:srgbClr val="00A7F2"/>
              </a:solidFill>
            </cx:spPr>
          </cx:dataPt>
          <cx:dataPt idx="2">
            <cx:spPr>
              <a:solidFill>
                <a:srgbClr val="00A7F2"/>
              </a:solidFill>
            </cx:spPr>
          </cx:dataPt>
          <cx:dataPt idx="3">
            <cx:spPr>
              <a:solidFill>
                <a:srgbClr val="00B0F0"/>
              </a:solidFill>
            </cx:spPr>
          </cx:dataPt>
          <cx:dataPt idx="4">
            <cx:spPr>
              <a:solidFill>
                <a:srgbClr val="00B0F0"/>
              </a:solidFill>
            </cx:spPr>
          </cx:dataPt>
          <cx:dataPt idx="5">
            <cx:spPr>
              <a:solidFill>
                <a:srgbClr val="00B0F0"/>
              </a:solidFill>
            </cx:spPr>
          </cx:dataPt>
          <cx:dataPt idx="6">
            <cx:spPr>
              <a:solidFill>
                <a:srgbClr val="00B0F0"/>
              </a:solidFill>
            </cx:spPr>
          </cx:dataPt>
          <cx:dataPt idx="7">
            <cx:spPr>
              <a:solidFill>
                <a:srgbClr val="00B0F0"/>
              </a:solidFill>
            </cx:spPr>
          </cx:dataPt>
          <cx:dataPt idx="8">
            <cx:spPr>
              <a:solidFill>
                <a:srgbClr val="00B0F0"/>
              </a:solidFill>
            </cx:spPr>
          </cx:dataPt>
          <cx:dataPt idx="9">
            <cx:spPr>
              <a:solidFill>
                <a:srgbClr val="00B0F0"/>
              </a:solidFill>
            </cx:spPr>
          </cx:dataPt>
          <cx:dataPt idx="10">
            <cx:spPr>
              <a:solidFill>
                <a:srgbClr val="002B49"/>
              </a:solidFill>
            </cx:spPr>
          </cx:dataPt>
          <cx:dataLabels pos="ctr">
            <cx:spPr>
              <a:solidFill>
                <a:srgbClr val="00B0F0"/>
              </a:solidFill>
            </cx:spPr>
            <cx:txPr>
              <a:bodyPr spcFirstLastPara="1" vertOverflow="ellipsis" horzOverflow="overflow" wrap="square" lIns="0" tIns="0" rIns="0" bIns="0" anchor="ctr" anchorCtr="1"/>
              <a:lstStyle/>
              <a:p>
                <a:pPr algn="ctr" rtl="0">
                  <a:defRPr sz="1100" b="1">
                    <a:solidFill>
                      <a:schemeClr val="bg1"/>
                    </a:solidFill>
                  </a:defRPr>
                </a:pPr>
                <a:endParaRPr lang="en-US" sz="1100" b="1" i="0" u="none" strike="noStrike" baseline="0">
                  <a:solidFill>
                    <a:schemeClr val="bg1"/>
                  </a:solidFill>
                  <a:latin typeface="Arial Nova Light"/>
                </a:endParaRPr>
              </a:p>
            </cx:txPr>
            <cx:visibility seriesName="0" categoryName="0" value="1"/>
            <cx:separator>, </cx:separator>
            <cx:dataLabelHidden idx="0"/>
            <cx:dataLabelHidden idx="10"/>
          </cx:dataLabels>
          <cx:dataId val="0"/>
          <cx:layoutPr>
            <cx:visibility connectorLines="0"/>
            <cx:subtotals>
              <cx:idx val="0"/>
              <cx:idx val="10"/>
            </cx:subtotals>
          </cx:layoutPr>
        </cx:series>
      </cx:plotAreaRegion>
      <cx:axis id="0" hidden="1">
        <cx:catScaling gapWidth="0.0799999982"/>
        <cx:tickLabels/>
        <cx:spPr>
          <a:ln>
            <a:noFill/>
          </a:ln>
        </cx:spPr>
        <cx:txPr>
          <a:bodyPr vertOverflow="overflow" horzOverflow="overflow" wrap="square" lIns="0" tIns="0" rIns="0" bIns="0"/>
          <a:lstStyle/>
          <a:p>
            <a:pPr algn="ctr" rtl="0">
              <a:defRPr sz="400" b="0" i="0">
                <a:solidFill>
                  <a:srgbClr val="595959"/>
                </a:solidFill>
                <a:latin typeface="+mn-lt"/>
                <a:ea typeface="Arial Nova Light" panose="020B0304020202020204" pitchFamily="34" charset="0"/>
                <a:cs typeface="Arial Nova Light" panose="020B0304020202020204" pitchFamily="34" charset="0"/>
              </a:defRPr>
            </a:pPr>
            <a:endParaRPr lang="en-US" sz="400">
              <a:latin typeface="+mn-lt"/>
            </a:endParaRPr>
          </a:p>
        </cx:txPr>
      </cx:axis>
      <cx:axis id="1" hidden="1">
        <cx:valScaling min="500"/>
        <cx:tickLabels/>
        <cx:txPr>
          <a:bodyPr vertOverflow="overflow" horzOverflow="overflow" wrap="square" lIns="0" tIns="0" rIns="0" bIns="0"/>
          <a:lstStyle/>
          <a:p>
            <a:pPr algn="ctr" rtl="0">
              <a:defRPr sz="1000" b="0" i="0">
                <a:solidFill>
                  <a:srgbClr val="595959"/>
                </a:solidFill>
                <a:latin typeface="+mn-lt"/>
                <a:ea typeface="Arial Nova Light" panose="020B0304020202020204" pitchFamily="34" charset="0"/>
                <a:cs typeface="Arial Nova Light" panose="020B0304020202020204" pitchFamily="34" charset="0"/>
              </a:defRPr>
            </a:pPr>
            <a:endParaRPr lang="en-US" sz="1000">
              <a:latin typeface="+mn-lt"/>
            </a:endParaRPr>
          </a:p>
        </cx:txPr>
      </cx:axis>
    </cx:plotArea>
  </cx:chart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9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012AB0E-05A2-3CDF-E2A2-B136179C972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7BA01FB-086C-1BBA-E207-1392EB5E1AB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D0D199B-B0E7-4C1E-A23E-5C86DEFFEFCD}" type="datetimeFigureOut">
              <a:rPr lang="en-US" smtClean="0"/>
              <a:t>5/13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45BB59-6DC0-8EE6-C564-9ED021C484D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98992F3-A8A0-4AAF-4861-8181B7DD4C9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1F1A736-595A-45E0-A988-CB0297E7A7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22915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4F01D24-44FD-44C6-8167-16FED0242A47}" type="datetimeFigureOut">
              <a:rPr lang="en-US" smtClean="0"/>
              <a:t>5/13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3302888-FAEB-4B1D-9C0C-78D79D839E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95797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302888-FAEB-4B1D-9C0C-78D79D839E63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92986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602C1D-1FAB-F034-A9A1-09D79126FC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9D21629-0662-24BC-D51D-195999C91AE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7CCC8EA-70F2-DF84-4650-B13E3628BB7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E60567A-13E5-513F-393D-C52DF8ED64E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302888-FAEB-4B1D-9C0C-78D79D839E63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19782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302888-FAEB-4B1D-9C0C-78D79D839E63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06696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DD1E81-8FAB-1BE2-E4A0-03DC44AD56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6A7518B-C867-F5F5-6EBB-4675C5BADFE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226DD85-7885-1800-FEEB-633592E5067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5D8CD3-8B09-BCA4-21AC-ED28E81328C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302888-FAEB-4B1D-9C0C-78D79D839E63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84787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302888-FAEB-4B1D-9C0C-78D79D839E63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223809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302888-FAEB-4B1D-9C0C-78D79D839E63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057481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302888-FAEB-4B1D-9C0C-78D79D839E63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39097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27.xml"/><Relationship Id="rId7" Type="http://schemas.openxmlformats.org/officeDocument/2006/relationships/tags" Target="../tags/tag3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tags" Target="../tags/tag30.xml"/><Relationship Id="rId5" Type="http://schemas.openxmlformats.org/officeDocument/2006/relationships/tags" Target="../tags/tag29.xml"/><Relationship Id="rId10" Type="http://schemas.openxmlformats.org/officeDocument/2006/relationships/image" Target="../media/image11.emf"/><Relationship Id="rId4" Type="http://schemas.openxmlformats.org/officeDocument/2006/relationships/tags" Target="../tags/tag28.xml"/><Relationship Id="rId9" Type="http://schemas.openxmlformats.org/officeDocument/2006/relationships/oleObject" Target="../embeddings/oleObject2.bin"/></Relationships>
</file>

<file path=ppt/slideLayouts/_rels/slideLayout16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tags" Target="../tags/tag37.xml"/><Relationship Id="rId5" Type="http://schemas.openxmlformats.org/officeDocument/2006/relationships/tags" Target="../tags/tag36.xml"/><Relationship Id="rId10" Type="http://schemas.openxmlformats.org/officeDocument/2006/relationships/image" Target="../media/image10.emf"/><Relationship Id="rId4" Type="http://schemas.openxmlformats.org/officeDocument/2006/relationships/tags" Target="../tags/tag35.xml"/><Relationship Id="rId9" Type="http://schemas.openxmlformats.org/officeDocument/2006/relationships/oleObject" Target="../embeddings/oleObject3.bin"/></Relationships>
</file>

<file path=ppt/slideLayouts/_rels/slideLayout1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emf"/><Relationship Id="rId3" Type="http://schemas.openxmlformats.org/officeDocument/2006/relationships/tags" Target="../tags/tag41.xml"/><Relationship Id="rId7" Type="http://schemas.openxmlformats.org/officeDocument/2006/relationships/oleObject" Target="../embeddings/oleObject4.bin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43.xml"/><Relationship Id="rId4" Type="http://schemas.openxmlformats.org/officeDocument/2006/relationships/tags" Target="../tags/tag42.xml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7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51.xml"/></Relationships>
</file>

<file path=ppt/slideLayouts/_rels/slideLayout168.xml.rels><?xml version="1.0" encoding="UTF-8" standalone="yes"?>
<Relationships xmlns="http://schemas.openxmlformats.org/package/2006/relationships"><Relationship Id="rId8" Type="http://schemas.openxmlformats.org/officeDocument/2006/relationships/tags" Target="../tags/tag59.xml"/><Relationship Id="rId13" Type="http://schemas.openxmlformats.org/officeDocument/2006/relationships/tags" Target="../tags/tag64.xml"/><Relationship Id="rId3" Type="http://schemas.openxmlformats.org/officeDocument/2006/relationships/tags" Target="../tags/tag54.xml"/><Relationship Id="rId7" Type="http://schemas.openxmlformats.org/officeDocument/2006/relationships/tags" Target="../tags/tag58.xml"/><Relationship Id="rId12" Type="http://schemas.openxmlformats.org/officeDocument/2006/relationships/tags" Target="../tags/tag63.xml"/><Relationship Id="rId2" Type="http://schemas.openxmlformats.org/officeDocument/2006/relationships/tags" Target="../tags/tag53.xml"/><Relationship Id="rId16" Type="http://schemas.openxmlformats.org/officeDocument/2006/relationships/image" Target="../media/image10.emf"/><Relationship Id="rId1" Type="http://schemas.openxmlformats.org/officeDocument/2006/relationships/tags" Target="../tags/tag52.xml"/><Relationship Id="rId6" Type="http://schemas.openxmlformats.org/officeDocument/2006/relationships/tags" Target="../tags/tag57.xml"/><Relationship Id="rId11" Type="http://schemas.openxmlformats.org/officeDocument/2006/relationships/tags" Target="../tags/tag62.xml"/><Relationship Id="rId5" Type="http://schemas.openxmlformats.org/officeDocument/2006/relationships/tags" Target="../tags/tag56.xml"/><Relationship Id="rId15" Type="http://schemas.openxmlformats.org/officeDocument/2006/relationships/oleObject" Target="../embeddings/oleObject5.bin"/><Relationship Id="rId10" Type="http://schemas.openxmlformats.org/officeDocument/2006/relationships/tags" Target="../tags/tag61.xml"/><Relationship Id="rId4" Type="http://schemas.openxmlformats.org/officeDocument/2006/relationships/tags" Target="../tags/tag55.xml"/><Relationship Id="rId9" Type="http://schemas.openxmlformats.org/officeDocument/2006/relationships/tags" Target="../tags/tag60.xml"/><Relationship Id="rId14" Type="http://schemas.openxmlformats.org/officeDocument/2006/relationships/slideMaster" Target="../slideMasters/slideMaster2.xml"/></Relationships>
</file>

<file path=ppt/slideLayouts/_rels/slideLayout169.xml.rels><?xml version="1.0" encoding="UTF-8" standalone="yes"?>
<Relationships xmlns="http://schemas.openxmlformats.org/package/2006/relationships"><Relationship Id="rId8" Type="http://schemas.openxmlformats.org/officeDocument/2006/relationships/tags" Target="../tags/tag72.xml"/><Relationship Id="rId13" Type="http://schemas.openxmlformats.org/officeDocument/2006/relationships/tags" Target="../tags/tag77.xml"/><Relationship Id="rId3" Type="http://schemas.openxmlformats.org/officeDocument/2006/relationships/tags" Target="../tags/tag67.xml"/><Relationship Id="rId7" Type="http://schemas.openxmlformats.org/officeDocument/2006/relationships/tags" Target="../tags/tag71.xml"/><Relationship Id="rId12" Type="http://schemas.openxmlformats.org/officeDocument/2006/relationships/tags" Target="../tags/tag76.xml"/><Relationship Id="rId2" Type="http://schemas.openxmlformats.org/officeDocument/2006/relationships/tags" Target="../tags/tag66.xml"/><Relationship Id="rId16" Type="http://schemas.openxmlformats.org/officeDocument/2006/relationships/image" Target="../media/image10.emf"/><Relationship Id="rId1" Type="http://schemas.openxmlformats.org/officeDocument/2006/relationships/tags" Target="../tags/tag65.xml"/><Relationship Id="rId6" Type="http://schemas.openxmlformats.org/officeDocument/2006/relationships/tags" Target="../tags/tag70.xml"/><Relationship Id="rId11" Type="http://schemas.openxmlformats.org/officeDocument/2006/relationships/tags" Target="../tags/tag75.xml"/><Relationship Id="rId5" Type="http://schemas.openxmlformats.org/officeDocument/2006/relationships/tags" Target="../tags/tag69.xml"/><Relationship Id="rId15" Type="http://schemas.openxmlformats.org/officeDocument/2006/relationships/oleObject" Target="../embeddings/oleObject6.bin"/><Relationship Id="rId10" Type="http://schemas.openxmlformats.org/officeDocument/2006/relationships/tags" Target="../tags/tag74.xml"/><Relationship Id="rId4" Type="http://schemas.openxmlformats.org/officeDocument/2006/relationships/tags" Target="../tags/tag68.xml"/><Relationship Id="rId9" Type="http://schemas.openxmlformats.org/officeDocument/2006/relationships/tags" Target="../tags/tag73.xml"/><Relationship Id="rId1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8" Type="http://schemas.openxmlformats.org/officeDocument/2006/relationships/tags" Target="../tags/tag85.xml"/><Relationship Id="rId13" Type="http://schemas.openxmlformats.org/officeDocument/2006/relationships/tags" Target="../tags/tag90.xml"/><Relationship Id="rId3" Type="http://schemas.openxmlformats.org/officeDocument/2006/relationships/tags" Target="../tags/tag80.xml"/><Relationship Id="rId7" Type="http://schemas.openxmlformats.org/officeDocument/2006/relationships/tags" Target="../tags/tag84.xml"/><Relationship Id="rId12" Type="http://schemas.openxmlformats.org/officeDocument/2006/relationships/tags" Target="../tags/tag89.xml"/><Relationship Id="rId17" Type="http://schemas.openxmlformats.org/officeDocument/2006/relationships/image" Target="../media/image10.emf"/><Relationship Id="rId2" Type="http://schemas.openxmlformats.org/officeDocument/2006/relationships/tags" Target="../tags/tag79.xml"/><Relationship Id="rId16" Type="http://schemas.openxmlformats.org/officeDocument/2006/relationships/oleObject" Target="../embeddings/oleObject7.bin"/><Relationship Id="rId1" Type="http://schemas.openxmlformats.org/officeDocument/2006/relationships/tags" Target="../tags/tag78.xml"/><Relationship Id="rId6" Type="http://schemas.openxmlformats.org/officeDocument/2006/relationships/tags" Target="../tags/tag83.xml"/><Relationship Id="rId11" Type="http://schemas.openxmlformats.org/officeDocument/2006/relationships/tags" Target="../tags/tag88.xml"/><Relationship Id="rId5" Type="http://schemas.openxmlformats.org/officeDocument/2006/relationships/tags" Target="../tags/tag82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87.xml"/><Relationship Id="rId4" Type="http://schemas.openxmlformats.org/officeDocument/2006/relationships/tags" Target="../tags/tag81.xml"/><Relationship Id="rId9" Type="http://schemas.openxmlformats.org/officeDocument/2006/relationships/tags" Target="../tags/tag86.xml"/><Relationship Id="rId14" Type="http://schemas.openxmlformats.org/officeDocument/2006/relationships/tags" Target="../tags/tag91.xml"/></Relationships>
</file>

<file path=ppt/slideLayouts/_rels/slideLayout171.xml.rels><?xml version="1.0" encoding="UTF-8" standalone="yes"?>
<Relationships xmlns="http://schemas.openxmlformats.org/package/2006/relationships"><Relationship Id="rId8" Type="http://schemas.openxmlformats.org/officeDocument/2006/relationships/tags" Target="../tags/tag99.xml"/><Relationship Id="rId13" Type="http://schemas.openxmlformats.org/officeDocument/2006/relationships/tags" Target="../tags/tag104.xml"/><Relationship Id="rId3" Type="http://schemas.openxmlformats.org/officeDocument/2006/relationships/tags" Target="../tags/tag94.xml"/><Relationship Id="rId7" Type="http://schemas.openxmlformats.org/officeDocument/2006/relationships/tags" Target="../tags/tag98.xml"/><Relationship Id="rId12" Type="http://schemas.openxmlformats.org/officeDocument/2006/relationships/tags" Target="../tags/tag103.xml"/><Relationship Id="rId17" Type="http://schemas.openxmlformats.org/officeDocument/2006/relationships/image" Target="../media/image10.emf"/><Relationship Id="rId2" Type="http://schemas.openxmlformats.org/officeDocument/2006/relationships/tags" Target="../tags/tag93.xml"/><Relationship Id="rId16" Type="http://schemas.openxmlformats.org/officeDocument/2006/relationships/oleObject" Target="../embeddings/oleObject7.bin"/><Relationship Id="rId1" Type="http://schemas.openxmlformats.org/officeDocument/2006/relationships/tags" Target="../tags/tag92.xml"/><Relationship Id="rId6" Type="http://schemas.openxmlformats.org/officeDocument/2006/relationships/tags" Target="../tags/tag97.xml"/><Relationship Id="rId11" Type="http://schemas.openxmlformats.org/officeDocument/2006/relationships/tags" Target="../tags/tag102.xml"/><Relationship Id="rId5" Type="http://schemas.openxmlformats.org/officeDocument/2006/relationships/tags" Target="../tags/tag96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101.xml"/><Relationship Id="rId4" Type="http://schemas.openxmlformats.org/officeDocument/2006/relationships/tags" Target="../tags/tag95.xml"/><Relationship Id="rId9" Type="http://schemas.openxmlformats.org/officeDocument/2006/relationships/tags" Target="../tags/tag100.xml"/><Relationship Id="rId14" Type="http://schemas.openxmlformats.org/officeDocument/2006/relationships/tags" Target="../tags/tag105.xml"/></Relationships>
</file>

<file path=ppt/slideLayouts/_rels/slideLayout172.xml.rels><?xml version="1.0" encoding="UTF-8" standalone="yes"?>
<Relationships xmlns="http://schemas.openxmlformats.org/package/2006/relationships"><Relationship Id="rId8" Type="http://schemas.openxmlformats.org/officeDocument/2006/relationships/tags" Target="../tags/tag113.xml"/><Relationship Id="rId13" Type="http://schemas.openxmlformats.org/officeDocument/2006/relationships/tags" Target="../tags/tag118.xml"/><Relationship Id="rId3" Type="http://schemas.openxmlformats.org/officeDocument/2006/relationships/tags" Target="../tags/tag108.xml"/><Relationship Id="rId7" Type="http://schemas.openxmlformats.org/officeDocument/2006/relationships/tags" Target="../tags/tag112.xml"/><Relationship Id="rId12" Type="http://schemas.openxmlformats.org/officeDocument/2006/relationships/tags" Target="../tags/tag117.xml"/><Relationship Id="rId17" Type="http://schemas.openxmlformats.org/officeDocument/2006/relationships/image" Target="../media/image13.emf"/><Relationship Id="rId2" Type="http://schemas.openxmlformats.org/officeDocument/2006/relationships/tags" Target="../tags/tag107.xml"/><Relationship Id="rId16" Type="http://schemas.openxmlformats.org/officeDocument/2006/relationships/oleObject" Target="../embeddings/oleObject8.bin"/><Relationship Id="rId1" Type="http://schemas.openxmlformats.org/officeDocument/2006/relationships/tags" Target="../tags/tag106.xml"/><Relationship Id="rId6" Type="http://schemas.openxmlformats.org/officeDocument/2006/relationships/tags" Target="../tags/tag111.xml"/><Relationship Id="rId11" Type="http://schemas.openxmlformats.org/officeDocument/2006/relationships/tags" Target="../tags/tag116.xml"/><Relationship Id="rId5" Type="http://schemas.openxmlformats.org/officeDocument/2006/relationships/tags" Target="../tags/tag110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115.xml"/><Relationship Id="rId4" Type="http://schemas.openxmlformats.org/officeDocument/2006/relationships/tags" Target="../tags/tag109.xml"/><Relationship Id="rId9" Type="http://schemas.openxmlformats.org/officeDocument/2006/relationships/tags" Target="../tags/tag114.xml"/><Relationship Id="rId14" Type="http://schemas.openxmlformats.org/officeDocument/2006/relationships/tags" Target="../tags/tag119.xml"/></Relationships>
</file>

<file path=ppt/slideLayouts/_rels/slideLayout173.xml.rels><?xml version="1.0" encoding="UTF-8" standalone="yes"?>
<Relationships xmlns="http://schemas.openxmlformats.org/package/2006/relationships"><Relationship Id="rId8" Type="http://schemas.openxmlformats.org/officeDocument/2006/relationships/tags" Target="../tags/tag127.xml"/><Relationship Id="rId13" Type="http://schemas.openxmlformats.org/officeDocument/2006/relationships/tags" Target="../tags/tag132.xml"/><Relationship Id="rId3" Type="http://schemas.openxmlformats.org/officeDocument/2006/relationships/tags" Target="../tags/tag122.xml"/><Relationship Id="rId7" Type="http://schemas.openxmlformats.org/officeDocument/2006/relationships/tags" Target="../tags/tag126.xml"/><Relationship Id="rId12" Type="http://schemas.openxmlformats.org/officeDocument/2006/relationships/tags" Target="../tags/tag131.xml"/><Relationship Id="rId2" Type="http://schemas.openxmlformats.org/officeDocument/2006/relationships/tags" Target="../tags/tag121.xml"/><Relationship Id="rId16" Type="http://schemas.openxmlformats.org/officeDocument/2006/relationships/image" Target="../media/image10.emf"/><Relationship Id="rId1" Type="http://schemas.openxmlformats.org/officeDocument/2006/relationships/tags" Target="../tags/tag120.xml"/><Relationship Id="rId6" Type="http://schemas.openxmlformats.org/officeDocument/2006/relationships/tags" Target="../tags/tag125.xml"/><Relationship Id="rId11" Type="http://schemas.openxmlformats.org/officeDocument/2006/relationships/tags" Target="../tags/tag130.xml"/><Relationship Id="rId5" Type="http://schemas.openxmlformats.org/officeDocument/2006/relationships/tags" Target="../tags/tag124.xml"/><Relationship Id="rId15" Type="http://schemas.openxmlformats.org/officeDocument/2006/relationships/oleObject" Target="../embeddings/oleObject9.bin"/><Relationship Id="rId10" Type="http://schemas.openxmlformats.org/officeDocument/2006/relationships/tags" Target="../tags/tag129.xml"/><Relationship Id="rId4" Type="http://schemas.openxmlformats.org/officeDocument/2006/relationships/tags" Target="../tags/tag123.xml"/><Relationship Id="rId9" Type="http://schemas.openxmlformats.org/officeDocument/2006/relationships/tags" Target="../tags/tag128.xml"/><Relationship Id="rId14" Type="http://schemas.openxmlformats.org/officeDocument/2006/relationships/slideMaster" Target="../slideMasters/slideMaster2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tags" Target="../tags/tag135.xml"/><Relationship Id="rId2" Type="http://schemas.openxmlformats.org/officeDocument/2006/relationships/tags" Target="../tags/tag134.xml"/><Relationship Id="rId1" Type="http://schemas.openxmlformats.org/officeDocument/2006/relationships/tags" Target="../tags/tag133.x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_rels/slideLayout17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emf"/><Relationship Id="rId3" Type="http://schemas.openxmlformats.org/officeDocument/2006/relationships/tags" Target="../tags/tag138.xml"/><Relationship Id="rId7" Type="http://schemas.openxmlformats.org/officeDocument/2006/relationships/oleObject" Target="../embeddings/oleObject11.bin"/><Relationship Id="rId2" Type="http://schemas.openxmlformats.org/officeDocument/2006/relationships/tags" Target="../tags/tag137.xml"/><Relationship Id="rId1" Type="http://schemas.openxmlformats.org/officeDocument/2006/relationships/tags" Target="../tags/tag136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40.xml"/><Relationship Id="rId4" Type="http://schemas.openxmlformats.org/officeDocument/2006/relationships/tags" Target="../tags/tag139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2.xml"/><Relationship Id="rId1" Type="http://schemas.openxmlformats.org/officeDocument/2006/relationships/tags" Target="../tags/tag141.xml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4.xml"/><Relationship Id="rId1" Type="http://schemas.openxmlformats.org/officeDocument/2006/relationships/tags" Target="../tags/tag143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2.bin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5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6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.bin"/><Relationship Id="rId3" Type="http://schemas.openxmlformats.org/officeDocument/2006/relationships/tags" Target="../tags/tag149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48.xml"/><Relationship Id="rId1" Type="http://schemas.openxmlformats.org/officeDocument/2006/relationships/tags" Target="../tags/tag147.xml"/><Relationship Id="rId6" Type="http://schemas.openxmlformats.org/officeDocument/2006/relationships/tags" Target="../tags/tag152.xml"/><Relationship Id="rId5" Type="http://schemas.openxmlformats.org/officeDocument/2006/relationships/tags" Target="../tags/tag151.xml"/><Relationship Id="rId4" Type="http://schemas.openxmlformats.org/officeDocument/2006/relationships/tags" Target="../tags/tag150.xml"/><Relationship Id="rId9" Type="http://schemas.openxmlformats.org/officeDocument/2006/relationships/image" Target="../media/image11.emf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tings + Greater Than L">
    <p:bg>
      <p:bgPr>
        <a:gradFill flip="none" rotWithShape="1">
          <a:gsLst>
            <a:gs pos="1000">
              <a:schemeClr val="accent1"/>
            </a:gs>
            <a:gs pos="54000">
              <a:schemeClr val="accent1">
                <a:lumMod val="75000"/>
                <a:lumOff val="25000"/>
              </a:schemeClr>
            </a:gs>
            <a:gs pos="85000">
              <a:schemeClr val="accent4"/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2930402"/>
            <a:ext cx="7040753" cy="997196"/>
          </a:xfrm>
        </p:spPr>
        <p:txBody>
          <a:bodyPr anchor="ctr"/>
          <a:lstStyle>
            <a:lvl1pPr algn="l">
              <a:defRPr sz="7200" b="1">
                <a:solidFill>
                  <a:schemeClr val="tx1"/>
                </a:solidFill>
                <a:latin typeface="Arial Nova" panose="020B05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Welcome</a:t>
            </a:r>
            <a:endParaRPr lang="en-US"/>
          </a:p>
        </p:txBody>
      </p:sp>
      <p:pic>
        <p:nvPicPr>
          <p:cNvPr id="3" name="Picture 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43E740E4-BA2E-6DDF-D0EF-B82DFC2F4E8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58224" y="2514600"/>
            <a:ext cx="1997151" cy="182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77693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– Full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7CC84FE-E740-4079-9D7C-90E53E09087A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0" y="0"/>
            <a:ext cx="12192000" cy="6042025"/>
          </a:xfrm>
          <a:solidFill>
            <a:schemeClr val="tx1">
              <a:lumMod val="50000"/>
              <a:lumOff val="50000"/>
            </a:schemeClr>
          </a:solidFill>
        </p:spPr>
        <p:txBody>
          <a:bodyPr bIns="1080000" anchor="ctr"/>
          <a:lstStyle>
            <a:lvl1pPr algn="ctr">
              <a:defRPr sz="1600">
                <a:solidFill>
                  <a:schemeClr val="bg2">
                    <a:lumMod val="75000"/>
                  </a:schemeClr>
                </a:solidFill>
                <a:latin typeface="+mn-lt"/>
              </a:defRPr>
            </a:lvl1pPr>
          </a:lstStyle>
          <a:p>
            <a:pPr lvl="0">
              <a:spcBef>
                <a:spcPts val="0"/>
              </a:spcBef>
            </a:pPr>
            <a:r>
              <a:rPr lang="en-CA"/>
              <a:t>Click on the icon or drag image </a:t>
            </a:r>
            <a:br>
              <a:rPr lang="en-CA"/>
            </a:br>
            <a:r>
              <a:rPr lang="en-CA"/>
              <a:t>to insert an image 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D8AA843-FBF8-4922-B012-C49A899D80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F8EB60C-7CC2-49F0-B2EE-C81F067DE041}" type="slidenum">
              <a:rPr lang="en-AU" noProof="0" smtClean="0"/>
              <a:pPr/>
              <a:t>‹#›</a:t>
            </a:fld>
            <a:endParaRPr lang="en-AU" sz="900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044012F-63BC-4A89-837F-D5729D92CD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3359" y="2443850"/>
            <a:ext cx="6083397" cy="747897"/>
          </a:xfrm>
        </p:spPr>
        <p:txBody>
          <a:bodyPr wrap="square" bIns="0" anchor="b"/>
          <a:lstStyle>
            <a:lvl1pPr>
              <a:defRPr sz="5400" b="1">
                <a:solidFill>
                  <a:schemeClr val="bg1"/>
                </a:solidFill>
                <a:latin typeface="Arial Nova" panose="020B0504020202020204" pitchFamily="34" charset="0"/>
              </a:defRPr>
            </a:lvl1pPr>
          </a:lstStyle>
          <a:p>
            <a:r>
              <a:rPr lang="en-US"/>
              <a:t>Section title 54 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804C218-0CE8-4439-8DA5-2FF38A5A0A1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3359" y="3067904"/>
            <a:ext cx="6083396" cy="695914"/>
          </a:xfrm>
        </p:spPr>
        <p:txBody>
          <a:bodyPr wrap="square" tIns="360000">
            <a:spAutoFit/>
          </a:bodyPr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solidFill>
                  <a:schemeClr val="bg1"/>
                </a:solidFill>
                <a:latin typeface="Arial Nova Light" panose="020B0304020202020204" pitchFamily="34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5pPr>
          </a:lstStyle>
          <a:p>
            <a:pPr lvl="0"/>
            <a:r>
              <a:rPr lang="en-GB"/>
              <a:t>Place subtitle here in 24pt</a:t>
            </a:r>
            <a:endParaRPr lang="en-US"/>
          </a:p>
        </p:txBody>
      </p:sp>
      <p:sp>
        <p:nvSpPr>
          <p:cNvPr id="8" name="object 3">
            <a:extLst>
              <a:ext uri="{FF2B5EF4-FFF2-40B4-BE49-F238E27FC236}">
                <a16:creationId xmlns:a16="http://schemas.microsoft.com/office/drawing/2014/main" id="{8A43545B-C368-43C4-B6C0-2FCF4019F10B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49060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Keypoints 6.4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409EE03-A484-4B48-8E15-0A15EC65D6D2}"/>
              </a:ext>
            </a:extLst>
          </p:cNvPr>
          <p:cNvSpPr>
            <a:spLocks noGrp="1"/>
          </p:cNvSpPr>
          <p:nvPr>
            <p:ph type="sldNum" sz="quarter" idx="61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White Rectangle">
            <a:extLst>
              <a:ext uri="{FF2B5EF4-FFF2-40B4-BE49-F238E27FC236}">
                <a16:creationId xmlns:a16="http://schemas.microsoft.com/office/drawing/2014/main" id="{10EFB4DD-0219-43C9-8A7B-C2C870EE53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12192000" cy="47461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22" name="Title 4">
            <a:extLst>
              <a:ext uri="{FF2B5EF4-FFF2-40B4-BE49-F238E27FC236}">
                <a16:creationId xmlns:a16="http://schemas.microsoft.com/office/drawing/2014/main" id="{2C3F18A2-A43C-4858-A2C3-2853BFC0F6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2559" y="637200"/>
            <a:ext cx="4096706" cy="1828193"/>
          </a:xfrm>
        </p:spPr>
        <p:txBody>
          <a:bodyPr wrap="square" anchor="t">
            <a:spAutoFit/>
          </a:bodyPr>
          <a:lstStyle>
            <a:lvl1pPr>
              <a:defRPr sz="4400"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AU"/>
          </a:p>
        </p:txBody>
      </p:sp>
      <p:sp>
        <p:nvSpPr>
          <p:cNvPr id="13" name="Text Placeholder 1">
            <a:extLst>
              <a:ext uri="{FF2B5EF4-FFF2-40B4-BE49-F238E27FC236}">
                <a16:creationId xmlns:a16="http://schemas.microsoft.com/office/drawing/2014/main" id="{FCD02036-9F29-447A-BCD3-73916E63B0C6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4922838" y="711760"/>
            <a:ext cx="1980000" cy="172800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  <a:latin typeface="+mj-lt"/>
              </a:defRPr>
            </a:lvl1pPr>
            <a:lvl2pPr marL="0" indent="0">
              <a:buNone/>
              <a:defRPr sz="16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88B84A8E-97BA-4208-90F0-6CF944E4365B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268581" y="711760"/>
            <a:ext cx="1980000" cy="172800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  <a:latin typeface="+mj-lt"/>
              </a:defRPr>
            </a:lvl1pPr>
            <a:lvl2pPr marL="0" indent="0">
              <a:buNone/>
              <a:defRPr sz="16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E4476FC5-2EC5-47E0-9B0B-9231094913B1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9614325" y="711760"/>
            <a:ext cx="1980000" cy="172800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  <a:latin typeface="+mj-lt"/>
              </a:defRPr>
            </a:lvl1pPr>
            <a:lvl2pPr marL="0" indent="0">
              <a:buNone/>
              <a:defRPr sz="16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4BE05BC-C5BD-4A37-871C-D0C8A2A1C9DE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4922838" y="2744095"/>
            <a:ext cx="1980000" cy="172800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  <a:latin typeface="+mj-lt"/>
              </a:defRPr>
            </a:lvl1pPr>
            <a:lvl2pPr marL="0" indent="0">
              <a:buNone/>
              <a:defRPr sz="16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5746B40E-6A3A-4989-A449-881D5F1F00EC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268581" y="2744095"/>
            <a:ext cx="1980000" cy="172800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  <a:latin typeface="+mj-lt"/>
              </a:defRPr>
            </a:lvl1pPr>
            <a:lvl2pPr marL="0" indent="0">
              <a:buNone/>
              <a:defRPr sz="16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9230E1B5-9DF7-4A53-B6E8-C8718D417054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9614325" y="2744095"/>
            <a:ext cx="1980000" cy="172800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  <a:latin typeface="+mj-lt"/>
              </a:defRPr>
            </a:lvl1pPr>
            <a:lvl2pPr marL="0" indent="0">
              <a:buNone/>
              <a:defRPr sz="16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5" name="Subhead">
            <a:extLst>
              <a:ext uri="{FF2B5EF4-FFF2-40B4-BE49-F238E27FC236}">
                <a16:creationId xmlns:a16="http://schemas.microsoft.com/office/drawing/2014/main" id="{3B78A521-A69F-4E88-86A7-7BAC99645A37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371271" y="5050506"/>
            <a:ext cx="3945141" cy="788987"/>
          </a:xfrm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Insert subhead in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AEA0C10D-666F-4B5B-A6BE-B5299838442A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4922838" y="5050506"/>
            <a:ext cx="1979613" cy="788987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3EB4203-5E68-4BA4-A9DE-03C7CE186B5B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7268139" y="5050506"/>
            <a:ext cx="1979613" cy="788987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6114126E-2EC6-43F9-AC57-19710C26DA4F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9613441" y="5050506"/>
            <a:ext cx="1979613" cy="788987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object 3">
            <a:extLst>
              <a:ext uri="{FF2B5EF4-FFF2-40B4-BE49-F238E27FC236}">
                <a16:creationId xmlns:a16="http://schemas.microsoft.com/office/drawing/2014/main" id="{83AF76A5-3B43-4231-B9FE-09EC3F4C3AE9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9528666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Keypoints 6.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DFE7169-5912-44BA-B8B2-11DBD4131019}"/>
              </a:ext>
            </a:extLst>
          </p:cNvPr>
          <p:cNvSpPr>
            <a:spLocks noGrp="1"/>
          </p:cNvSpPr>
          <p:nvPr>
            <p:ph type="sldNum" sz="quarter" idx="67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Title 6">
            <a:extLst>
              <a:ext uri="{FF2B5EF4-FFF2-40B4-BE49-F238E27FC236}">
                <a16:creationId xmlns:a16="http://schemas.microsoft.com/office/drawing/2014/main" id="{9DE9438E-8C66-4214-8821-17F42ACEF6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4245" y="1335323"/>
            <a:ext cx="3962401" cy="116339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Insert heading minimum 28 pt max 3 lines</a:t>
            </a:r>
            <a:endParaRPr lang="en-GB"/>
          </a:p>
        </p:txBody>
      </p:sp>
      <p:sp>
        <p:nvSpPr>
          <p:cNvPr id="18" name="Intro">
            <a:extLst>
              <a:ext uri="{FF2B5EF4-FFF2-40B4-BE49-F238E27FC236}">
                <a16:creationId xmlns:a16="http://schemas.microsoft.com/office/drawing/2014/main" id="{1865F5AE-0F05-47A7-8BFA-45228EA1029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59206" y="2847703"/>
            <a:ext cx="3957207" cy="3225388"/>
          </a:xfrm>
        </p:spPr>
        <p:txBody>
          <a:bodyPr tIns="288000"/>
          <a:lstStyle>
            <a:lvl1pPr>
              <a:defRPr sz="20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1800"/>
            </a:lvl2pPr>
            <a:lvl3pPr marL="360000" indent="-180000">
              <a:defRPr sz="1600"/>
            </a:lvl3pPr>
            <a:lvl4pPr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marL="360000" lvl="3" indent="-1800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–"/>
            </a:pPr>
            <a:r>
              <a:rPr lang="en-US"/>
              <a:t>Third level</a:t>
            </a:r>
          </a:p>
        </p:txBody>
      </p:sp>
      <p:sp>
        <p:nvSpPr>
          <p:cNvPr id="26" name="Subhead 1">
            <a:extLst>
              <a:ext uri="{FF2B5EF4-FFF2-40B4-BE49-F238E27FC236}">
                <a16:creationId xmlns:a16="http://schemas.microsoft.com/office/drawing/2014/main" id="{E8A199BD-A483-414F-B255-75C738D4BE7D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4924426" y="1349126"/>
            <a:ext cx="1965323" cy="830997"/>
          </a:xfrm>
        </p:spPr>
        <p:txBody>
          <a:bodyPr wrap="square">
            <a:spAutoFit/>
          </a:bodyPr>
          <a:lstStyle>
            <a:lvl1pPr>
              <a:defRPr sz="1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Insert subhead maximum 3 lines</a:t>
            </a:r>
          </a:p>
        </p:txBody>
      </p:sp>
      <p:sp>
        <p:nvSpPr>
          <p:cNvPr id="27" name="Number 1">
            <a:extLst>
              <a:ext uri="{FF2B5EF4-FFF2-40B4-BE49-F238E27FC236}">
                <a16:creationId xmlns:a16="http://schemas.microsoft.com/office/drawing/2014/main" id="{A40F8805-3799-4194-9763-464520514803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75600" y="1400214"/>
            <a:ext cx="1980000" cy="1188000"/>
          </a:xfr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defRPr sz="3600">
                <a:solidFill>
                  <a:schemeClr val="accent1"/>
                </a:solidFill>
              </a:defRPr>
            </a:lvl1pPr>
            <a:lvl2pPr>
              <a:spcBef>
                <a:spcPts val="300"/>
              </a:spcBef>
              <a:defRPr sz="1400"/>
            </a:lvl2pPr>
            <a:lvl3pPr>
              <a:spcBef>
                <a:spcPts val="300"/>
              </a:spcBef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8" name="Number 2">
            <a:extLst>
              <a:ext uri="{FF2B5EF4-FFF2-40B4-BE49-F238E27FC236}">
                <a16:creationId xmlns:a16="http://schemas.microsoft.com/office/drawing/2014/main" id="{D269C7BA-7E40-423E-9297-F7298A6B2E08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9626400" y="1400214"/>
            <a:ext cx="1980000" cy="1188000"/>
          </a:xfr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defRPr sz="3600">
                <a:solidFill>
                  <a:schemeClr val="accent1"/>
                </a:solidFill>
              </a:defRPr>
            </a:lvl1pPr>
            <a:lvl2pPr>
              <a:spcBef>
                <a:spcPts val="300"/>
              </a:spcBef>
              <a:defRPr sz="1400"/>
            </a:lvl2pPr>
            <a:lvl3pPr>
              <a:spcBef>
                <a:spcPts val="300"/>
              </a:spcBef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9" name="Number 3">
            <a:extLst>
              <a:ext uri="{FF2B5EF4-FFF2-40B4-BE49-F238E27FC236}">
                <a16:creationId xmlns:a16="http://schemas.microsoft.com/office/drawing/2014/main" id="{4329A355-FBC3-495E-B328-B11523C930C1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7275600" y="2935092"/>
            <a:ext cx="1980000" cy="1188000"/>
          </a:xfr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defRPr sz="3600">
                <a:solidFill>
                  <a:schemeClr val="accent1"/>
                </a:solidFill>
              </a:defRPr>
            </a:lvl1pPr>
            <a:lvl2pPr>
              <a:spcBef>
                <a:spcPts val="300"/>
              </a:spcBef>
              <a:defRPr sz="1400"/>
            </a:lvl2pPr>
            <a:lvl3pPr>
              <a:spcBef>
                <a:spcPts val="300"/>
              </a:spcBef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0" name="Number 4">
            <a:extLst>
              <a:ext uri="{FF2B5EF4-FFF2-40B4-BE49-F238E27FC236}">
                <a16:creationId xmlns:a16="http://schemas.microsoft.com/office/drawing/2014/main" id="{72E1D8DC-D04A-4C51-9D1C-B26903923BE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9626400" y="2935092"/>
            <a:ext cx="1980000" cy="1188000"/>
          </a:xfr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defRPr sz="3600">
                <a:solidFill>
                  <a:schemeClr val="accent1"/>
                </a:solidFill>
              </a:defRPr>
            </a:lvl1pPr>
            <a:lvl2pPr>
              <a:spcBef>
                <a:spcPts val="300"/>
              </a:spcBef>
              <a:defRPr sz="1400"/>
            </a:lvl2pPr>
            <a:lvl3pPr>
              <a:spcBef>
                <a:spcPts val="300"/>
              </a:spcBef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1" name="Subhead 2">
            <a:extLst>
              <a:ext uri="{FF2B5EF4-FFF2-40B4-BE49-F238E27FC236}">
                <a16:creationId xmlns:a16="http://schemas.microsoft.com/office/drawing/2014/main" id="{E7C91004-23BB-40A2-89C0-A27EBB37B7A3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4924426" y="4674929"/>
            <a:ext cx="1965323" cy="830997"/>
          </a:xfrm>
        </p:spPr>
        <p:txBody>
          <a:bodyPr wrap="square">
            <a:spAutoFit/>
          </a:bodyPr>
          <a:lstStyle>
            <a:lvl1pPr>
              <a:defRPr sz="18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Insert subhead maximum 3 lines</a:t>
            </a:r>
          </a:p>
        </p:txBody>
      </p:sp>
      <p:sp>
        <p:nvSpPr>
          <p:cNvPr id="32" name="Number 5">
            <a:extLst>
              <a:ext uri="{FF2B5EF4-FFF2-40B4-BE49-F238E27FC236}">
                <a16:creationId xmlns:a16="http://schemas.microsoft.com/office/drawing/2014/main" id="{D139880B-E9DB-4B70-B83D-6F61878F86C6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7275600" y="4726017"/>
            <a:ext cx="1980000" cy="1188000"/>
          </a:xfr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defRPr sz="3600">
                <a:solidFill>
                  <a:schemeClr val="accent2"/>
                </a:solidFill>
              </a:defRPr>
            </a:lvl1pPr>
            <a:lvl2pPr>
              <a:spcBef>
                <a:spcPts val="300"/>
              </a:spcBef>
              <a:defRPr sz="1400"/>
            </a:lvl2pPr>
            <a:lvl3pPr>
              <a:spcBef>
                <a:spcPts val="300"/>
              </a:spcBef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3" name="Number 6">
            <a:extLst>
              <a:ext uri="{FF2B5EF4-FFF2-40B4-BE49-F238E27FC236}">
                <a16:creationId xmlns:a16="http://schemas.microsoft.com/office/drawing/2014/main" id="{9CEBAC7C-68A7-4DA8-908F-3EA2D1EA22D2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9626400" y="4726017"/>
            <a:ext cx="1980000" cy="1188000"/>
          </a:xfr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defRPr sz="3600">
                <a:solidFill>
                  <a:schemeClr val="accent2"/>
                </a:solidFill>
              </a:defRPr>
            </a:lvl1pPr>
            <a:lvl2pPr>
              <a:spcBef>
                <a:spcPts val="300"/>
              </a:spcBef>
              <a:defRPr sz="1400"/>
            </a:lvl2pPr>
            <a:lvl3pPr>
              <a:spcBef>
                <a:spcPts val="300"/>
              </a:spcBef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grpSp>
        <p:nvGrpSpPr>
          <p:cNvPr id="36" name="Lines">
            <a:extLst>
              <a:ext uri="{FF2B5EF4-FFF2-40B4-BE49-F238E27FC236}">
                <a16:creationId xmlns:a16="http://schemas.microsoft.com/office/drawing/2014/main" id="{7C3AB685-E8CB-4EE3-AABF-3A0BA25CC5F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4924426" y="1134971"/>
            <a:ext cx="7267575" cy="3289583"/>
            <a:chOff x="5378973" y="1134971"/>
            <a:chExt cx="6813028" cy="3289583"/>
          </a:xfrm>
        </p:grpSpPr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23A3B44F-B3A6-4FB5-B973-807CB798F98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378973" y="1134971"/>
              <a:ext cx="6813028" cy="0"/>
            </a:xfrm>
            <a:prstGeom prst="line">
              <a:avLst/>
            </a:prstGeom>
            <a:ln w="222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D9A8C754-2B17-4CF9-B25E-F0737E58162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378973" y="4424554"/>
              <a:ext cx="6813028" cy="0"/>
            </a:xfrm>
            <a:prstGeom prst="line">
              <a:avLst/>
            </a:prstGeom>
            <a:ln w="222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object 3">
            <a:extLst>
              <a:ext uri="{FF2B5EF4-FFF2-40B4-BE49-F238E27FC236}">
                <a16:creationId xmlns:a16="http://schemas.microsoft.com/office/drawing/2014/main" id="{9E77068D-D524-4A3F-990D-AB00A6BBDE7E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0601701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vy content 1.1 – Numbers (3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820E369-678A-4D64-A465-D57CCD140B9F}"/>
              </a:ext>
            </a:extLst>
          </p:cNvPr>
          <p:cNvSpPr>
            <a:spLocks noGrp="1"/>
          </p:cNvSpPr>
          <p:nvPr>
            <p:ph type="sldNum" sz="quarter" idx="73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itle 6">
            <a:extLst>
              <a:ext uri="{FF2B5EF4-FFF2-40B4-BE49-F238E27FC236}">
                <a16:creationId xmlns:a16="http://schemas.microsoft.com/office/drawing/2014/main" id="{8E6A6D90-BCC4-4EE3-B3FE-12921956F7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4245" y="1335323"/>
            <a:ext cx="3962401" cy="116339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Insert heading minimum 28 pt max 3 lines</a:t>
            </a:r>
            <a:endParaRPr lang="en-GB"/>
          </a:p>
        </p:txBody>
      </p:sp>
      <p:sp>
        <p:nvSpPr>
          <p:cNvPr id="16" name="Intro">
            <a:extLst>
              <a:ext uri="{FF2B5EF4-FFF2-40B4-BE49-F238E27FC236}">
                <a16:creationId xmlns:a16="http://schemas.microsoft.com/office/drawing/2014/main" id="{A10C6162-013D-42F3-AEB7-2F761695081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59206" y="2847703"/>
            <a:ext cx="3957207" cy="3225388"/>
          </a:xfrm>
        </p:spPr>
        <p:txBody>
          <a:bodyPr tIns="288000"/>
          <a:lstStyle>
            <a:lvl1pPr>
              <a:defRPr sz="20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1800"/>
            </a:lvl2pPr>
            <a:lvl3pPr marL="360000" indent="-180000">
              <a:defRPr sz="1600"/>
            </a:lvl3pPr>
            <a:lvl4pPr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marL="360000" lvl="3" indent="-1800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–"/>
            </a:pPr>
            <a:r>
              <a:rPr lang="en-US"/>
              <a:t>Third level</a:t>
            </a:r>
          </a:p>
        </p:txBody>
      </p:sp>
      <p:sp>
        <p:nvSpPr>
          <p:cNvPr id="27" name="Text Placeholder 1">
            <a:extLst>
              <a:ext uri="{FF2B5EF4-FFF2-40B4-BE49-F238E27FC236}">
                <a16:creationId xmlns:a16="http://schemas.microsoft.com/office/drawing/2014/main" id="{4065D923-A595-4297-A724-A22DDACF68A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924150" y="1399721"/>
            <a:ext cx="1965600" cy="1188000"/>
          </a:xfr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defRPr sz="3600">
                <a:solidFill>
                  <a:schemeClr val="accent2"/>
                </a:solidFill>
              </a:defRPr>
            </a:lvl1pPr>
            <a:lvl2pPr>
              <a:spcBef>
                <a:spcPts val="300"/>
              </a:spcBef>
              <a:defRPr sz="1400"/>
            </a:lvl2pPr>
            <a:lvl3pPr>
              <a:spcBef>
                <a:spcPts val="300"/>
              </a:spcBef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87C1C5C2-15CA-4597-8CBA-5B589A61D667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7275782" y="1399721"/>
            <a:ext cx="1965600" cy="1188000"/>
          </a:xfr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defRPr sz="3600">
                <a:solidFill>
                  <a:schemeClr val="accent2"/>
                </a:solidFill>
              </a:defRPr>
            </a:lvl1pPr>
            <a:lvl2pPr>
              <a:spcBef>
                <a:spcPts val="300"/>
              </a:spcBef>
              <a:defRPr sz="1400"/>
            </a:lvl2pPr>
            <a:lvl3pPr>
              <a:spcBef>
                <a:spcPts val="300"/>
              </a:spcBef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D6B6A954-CBF6-4F9B-8C73-817D7B77F168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9627413" y="1399721"/>
            <a:ext cx="1965600" cy="1188000"/>
          </a:xfr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defRPr sz="3600">
                <a:solidFill>
                  <a:schemeClr val="accent2"/>
                </a:solidFill>
              </a:defRPr>
            </a:lvl1pPr>
            <a:lvl2pPr>
              <a:spcBef>
                <a:spcPts val="300"/>
              </a:spcBef>
              <a:defRPr sz="1400"/>
            </a:lvl2pPr>
            <a:lvl3pPr>
              <a:spcBef>
                <a:spcPts val="300"/>
              </a:spcBef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6" name="Text Placeholder 4">
            <a:extLst>
              <a:ext uri="{FF2B5EF4-FFF2-40B4-BE49-F238E27FC236}">
                <a16:creationId xmlns:a16="http://schemas.microsoft.com/office/drawing/2014/main" id="{EF62713E-E693-4572-8132-58D483045C6E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4924150" y="3109005"/>
            <a:ext cx="1965600" cy="1188000"/>
          </a:xfr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defRPr sz="3600">
                <a:solidFill>
                  <a:schemeClr val="accent2"/>
                </a:solidFill>
              </a:defRPr>
            </a:lvl1pPr>
            <a:lvl2pPr>
              <a:spcBef>
                <a:spcPts val="300"/>
              </a:spcBef>
              <a:defRPr sz="1400"/>
            </a:lvl2pPr>
            <a:lvl3pPr>
              <a:spcBef>
                <a:spcPts val="300"/>
              </a:spcBef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7" name="Text Placeholder 5">
            <a:extLst>
              <a:ext uri="{FF2B5EF4-FFF2-40B4-BE49-F238E27FC236}">
                <a16:creationId xmlns:a16="http://schemas.microsoft.com/office/drawing/2014/main" id="{70127B23-90C7-4839-87FB-CAAEE0447BAA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7275782" y="3109005"/>
            <a:ext cx="1965600" cy="1188000"/>
          </a:xfr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defRPr sz="3600">
                <a:solidFill>
                  <a:schemeClr val="accent2"/>
                </a:solidFill>
              </a:defRPr>
            </a:lvl1pPr>
            <a:lvl2pPr>
              <a:spcBef>
                <a:spcPts val="300"/>
              </a:spcBef>
              <a:defRPr sz="1400"/>
            </a:lvl2pPr>
            <a:lvl3pPr>
              <a:spcBef>
                <a:spcPts val="300"/>
              </a:spcBef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8" name="Text Placeholder 6">
            <a:extLst>
              <a:ext uri="{FF2B5EF4-FFF2-40B4-BE49-F238E27FC236}">
                <a16:creationId xmlns:a16="http://schemas.microsoft.com/office/drawing/2014/main" id="{BA349F30-320A-4650-9D35-8E629B7BCCC2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9627413" y="3109005"/>
            <a:ext cx="1965600" cy="1188000"/>
          </a:xfr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defRPr sz="3600">
                <a:solidFill>
                  <a:schemeClr val="accent2"/>
                </a:solidFill>
              </a:defRPr>
            </a:lvl1pPr>
            <a:lvl2pPr>
              <a:spcBef>
                <a:spcPts val="300"/>
              </a:spcBef>
              <a:defRPr sz="1400"/>
            </a:lvl2pPr>
            <a:lvl3pPr>
              <a:spcBef>
                <a:spcPts val="300"/>
              </a:spcBef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9" name="Text Placeholder 7">
            <a:extLst>
              <a:ext uri="{FF2B5EF4-FFF2-40B4-BE49-F238E27FC236}">
                <a16:creationId xmlns:a16="http://schemas.microsoft.com/office/drawing/2014/main" id="{508712B8-C41F-4B3F-B2B7-563994E18622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4924150" y="4818288"/>
            <a:ext cx="1965600" cy="1188000"/>
          </a:xfr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defRPr sz="3600">
                <a:solidFill>
                  <a:schemeClr val="accent2"/>
                </a:solidFill>
              </a:defRPr>
            </a:lvl1pPr>
            <a:lvl2pPr>
              <a:spcBef>
                <a:spcPts val="300"/>
              </a:spcBef>
              <a:defRPr sz="1400"/>
            </a:lvl2pPr>
            <a:lvl3pPr>
              <a:spcBef>
                <a:spcPts val="300"/>
              </a:spcBef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F9E64819-72F4-4D63-88E5-A28276694507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7275782" y="4818288"/>
            <a:ext cx="1965600" cy="1188000"/>
          </a:xfr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defRPr sz="3600">
                <a:solidFill>
                  <a:schemeClr val="accent2"/>
                </a:solidFill>
              </a:defRPr>
            </a:lvl1pPr>
            <a:lvl2pPr>
              <a:spcBef>
                <a:spcPts val="300"/>
              </a:spcBef>
              <a:defRPr sz="1400"/>
            </a:lvl2pPr>
            <a:lvl3pPr>
              <a:spcBef>
                <a:spcPts val="300"/>
              </a:spcBef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1" name="Text Placeholder 9">
            <a:extLst>
              <a:ext uri="{FF2B5EF4-FFF2-40B4-BE49-F238E27FC236}">
                <a16:creationId xmlns:a16="http://schemas.microsoft.com/office/drawing/2014/main" id="{DC334FBC-EC51-4DA8-BE5C-E5437190307D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9627413" y="4818288"/>
            <a:ext cx="1965600" cy="1188000"/>
          </a:xfr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defRPr sz="3600">
                <a:solidFill>
                  <a:schemeClr val="accent2"/>
                </a:solidFill>
              </a:defRPr>
            </a:lvl1pPr>
            <a:lvl2pPr>
              <a:spcBef>
                <a:spcPts val="300"/>
              </a:spcBef>
              <a:defRPr sz="1400"/>
            </a:lvl2pPr>
            <a:lvl3pPr>
              <a:spcBef>
                <a:spcPts val="300"/>
              </a:spcBef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object 3">
            <a:extLst>
              <a:ext uri="{FF2B5EF4-FFF2-40B4-BE49-F238E27FC236}">
                <a16:creationId xmlns:a16="http://schemas.microsoft.com/office/drawing/2014/main" id="{04E5FD56-8859-48E3-AFF9-68607269083F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9334915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vy content 1.2 – Numbers (6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8FE6A10-4D6E-4091-92D0-79810C3D038E}"/>
              </a:ext>
            </a:extLst>
          </p:cNvPr>
          <p:cNvSpPr>
            <a:spLocks noGrp="1"/>
          </p:cNvSpPr>
          <p:nvPr>
            <p:ph type="sldNum" sz="quarter" idx="64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F4A5EA-D133-4D20-A72B-6FA2941C0A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3" name="Subtitle">
            <a:extLst>
              <a:ext uri="{FF2B5EF4-FFF2-40B4-BE49-F238E27FC236}">
                <a16:creationId xmlns:a16="http://schemas.microsoft.com/office/drawing/2014/main" id="{81D59F37-1138-4B1D-8B89-24251759AC3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63600" y="1278000"/>
            <a:ext cx="11431413" cy="458757"/>
          </a:xfrm>
          <a:prstGeom prst="rect">
            <a:avLst/>
          </a:prstGeom>
        </p:spPr>
        <p:txBody>
          <a:bodyPr wrap="square" lIns="0" tIns="180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800">
                <a:solidFill>
                  <a:schemeClr val="tx1"/>
                </a:solidFill>
                <a:latin typeface="Arial Nova Light" panose="020B0304020202020204" pitchFamily="34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18 pt, align to the baseline of the title</a:t>
            </a:r>
          </a:p>
        </p:txBody>
      </p:sp>
      <p:sp>
        <p:nvSpPr>
          <p:cNvPr id="26" name="Text Placeholder 1">
            <a:extLst>
              <a:ext uri="{FF2B5EF4-FFF2-40B4-BE49-F238E27FC236}">
                <a16:creationId xmlns:a16="http://schemas.microsoft.com/office/drawing/2014/main" id="{31FD0C33-DB2C-47B7-A966-CA09D81F2C8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66518" y="2115978"/>
            <a:ext cx="1605143" cy="3929221"/>
          </a:xfrm>
        </p:spPr>
        <p:txBody>
          <a:bodyPr/>
          <a:lstStyle>
            <a:lvl1pPr>
              <a:defRPr sz="360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7ACABC0C-A06F-4DA6-B7B9-836F569BF1F5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2334963" y="2115978"/>
            <a:ext cx="1605600" cy="3929221"/>
          </a:xfrm>
        </p:spPr>
        <p:txBody>
          <a:bodyPr/>
          <a:lstStyle>
            <a:lvl1pPr>
              <a:defRPr sz="360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658924E7-E223-4EAB-9B2F-AA85A1CDD6B2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4302073" y="2115978"/>
            <a:ext cx="1605600" cy="3929221"/>
          </a:xfrm>
        </p:spPr>
        <p:txBody>
          <a:bodyPr/>
          <a:lstStyle>
            <a:lvl1pPr>
              <a:defRPr sz="360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3806E2C4-B97E-465F-8115-45741ACED722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269183" y="2115978"/>
            <a:ext cx="1605600" cy="3929221"/>
          </a:xfrm>
        </p:spPr>
        <p:txBody>
          <a:bodyPr/>
          <a:lstStyle>
            <a:lvl1pPr>
              <a:defRPr sz="360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AD4B32FA-6DCC-4BAF-8DFC-CB5A6BBA493D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8236293" y="2115978"/>
            <a:ext cx="1605600" cy="3929221"/>
          </a:xfrm>
        </p:spPr>
        <p:txBody>
          <a:bodyPr/>
          <a:lstStyle>
            <a:lvl1pPr>
              <a:defRPr sz="360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grpSp>
        <p:nvGrpSpPr>
          <p:cNvPr id="4" name="Lines">
            <a:extLst>
              <a:ext uri="{FF2B5EF4-FFF2-40B4-BE49-F238E27FC236}">
                <a16:creationId xmlns:a16="http://schemas.microsoft.com/office/drawing/2014/main" id="{34948216-F2B5-41CE-B1F5-4AE05396C75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2159893" y="2115978"/>
            <a:ext cx="7868440" cy="3940334"/>
            <a:chOff x="2159893" y="2115978"/>
            <a:chExt cx="7868440" cy="3940334"/>
          </a:xfrm>
        </p:grpSpPr>
        <p:cxnSp>
          <p:nvCxnSpPr>
            <p:cNvPr id="11" name="Straight Connector 1">
              <a:extLst>
                <a:ext uri="{FF2B5EF4-FFF2-40B4-BE49-F238E27FC236}">
                  <a16:creationId xmlns:a16="http://schemas.microsoft.com/office/drawing/2014/main" id="{24CA5A87-6D0E-40D8-B172-3838F52E7BA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159893" y="2115978"/>
              <a:ext cx="0" cy="3940334"/>
            </a:xfrm>
            <a:prstGeom prst="line">
              <a:avLst/>
            </a:prstGeom>
            <a:ln w="12700" cap="rnd"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2">
              <a:extLst>
                <a:ext uri="{FF2B5EF4-FFF2-40B4-BE49-F238E27FC236}">
                  <a16:creationId xmlns:a16="http://schemas.microsoft.com/office/drawing/2014/main" id="{EC8BFA14-3824-4078-9ED2-05D825C7FFA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127003" y="2115978"/>
              <a:ext cx="0" cy="3940334"/>
            </a:xfrm>
            <a:prstGeom prst="line">
              <a:avLst/>
            </a:prstGeom>
            <a:ln w="12700" cap="rnd"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3">
              <a:extLst>
                <a:ext uri="{FF2B5EF4-FFF2-40B4-BE49-F238E27FC236}">
                  <a16:creationId xmlns:a16="http://schemas.microsoft.com/office/drawing/2014/main" id="{420AF5A4-407E-4B80-B7BB-A2C914DF3C9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94113" y="2115978"/>
              <a:ext cx="0" cy="3940334"/>
            </a:xfrm>
            <a:prstGeom prst="line">
              <a:avLst/>
            </a:prstGeom>
            <a:ln w="12700" cap="rnd"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4">
              <a:extLst>
                <a:ext uri="{FF2B5EF4-FFF2-40B4-BE49-F238E27FC236}">
                  <a16:creationId xmlns:a16="http://schemas.microsoft.com/office/drawing/2014/main" id="{6F3FC8B4-DBA4-4466-9CB1-AFA4DD00F77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061223" y="2115978"/>
              <a:ext cx="0" cy="3940334"/>
            </a:xfrm>
            <a:prstGeom prst="line">
              <a:avLst/>
            </a:prstGeom>
            <a:ln w="12700" cap="rnd"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5">
              <a:extLst>
                <a:ext uri="{FF2B5EF4-FFF2-40B4-BE49-F238E27FC236}">
                  <a16:creationId xmlns:a16="http://schemas.microsoft.com/office/drawing/2014/main" id="{72FACA03-3D8B-4133-82B9-F387C449E60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028333" y="2115978"/>
              <a:ext cx="0" cy="3940334"/>
            </a:xfrm>
            <a:prstGeom prst="line">
              <a:avLst/>
            </a:prstGeom>
            <a:ln w="12700" cap="rnd"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80A5E3D1-BA45-4658-BF5A-B3E9D4AA0DE3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10203405" y="2115978"/>
            <a:ext cx="1605600" cy="3929221"/>
          </a:xfrm>
        </p:spPr>
        <p:txBody>
          <a:bodyPr/>
          <a:lstStyle>
            <a:lvl1pPr>
              <a:defRPr sz="3600">
                <a:solidFill>
                  <a:schemeClr val="accent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object 3">
            <a:extLst>
              <a:ext uri="{FF2B5EF4-FFF2-40B4-BE49-F238E27FC236}">
                <a16:creationId xmlns:a16="http://schemas.microsoft.com/office/drawing/2014/main" id="{7DA9C862-EB93-4D0F-B011-630017DC3781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0362319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vy content 1.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White Rectangle">
            <a:extLst>
              <a:ext uri="{FF2B5EF4-FFF2-40B4-BE49-F238E27FC236}">
                <a16:creationId xmlns:a16="http://schemas.microsoft.com/office/drawing/2014/main" id="{D4B5BCCA-4A1B-4E3F-8AD2-B976E6768A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flipH="1">
            <a:off x="5643716" y="0"/>
            <a:ext cx="654828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72563C4-3461-4BCF-BB33-1F8338A31DF0}"/>
              </a:ext>
            </a:extLst>
          </p:cNvPr>
          <p:cNvSpPr>
            <a:spLocks noGrp="1"/>
          </p:cNvSpPr>
          <p:nvPr>
            <p:ph type="sldNum" sz="quarter" idx="64"/>
          </p:nvPr>
        </p:nvSpPr>
        <p:spPr/>
        <p:txBody>
          <a:bodyPr/>
          <a:lstStyle>
            <a:lvl1pPr>
              <a:defRPr>
                <a:solidFill>
                  <a:schemeClr val="tx1">
                    <a:alpha val="65000"/>
                  </a:schemeClr>
                </a:solidFill>
              </a:defRPr>
            </a:lvl1pPr>
          </a:lstStyle>
          <a:p>
            <a:fld id="{876872E1-3CB8-45EA-A826-1429BD5BE353}" type="slidenum">
              <a:rPr lang="en-CA" smtClean="0"/>
              <a:pPr/>
              <a:t>‹#›</a:t>
            </a:fld>
            <a:endParaRPr lang="en-CA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0E69384-1E9D-4AC5-BC79-D168758D07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9201" y="346108"/>
            <a:ext cx="4949874" cy="1011046"/>
          </a:xfrm>
        </p:spPr>
        <p:txBody>
          <a:bodyPr/>
          <a:lstStyle>
            <a:lvl1pPr>
              <a:defRPr>
                <a:solidFill>
                  <a:schemeClr val="accent3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9" name="Intro">
            <a:extLst>
              <a:ext uri="{FF2B5EF4-FFF2-40B4-BE49-F238E27FC236}">
                <a16:creationId xmlns:a16="http://schemas.microsoft.com/office/drawing/2014/main" id="{AE0BBFCE-818C-4B03-BA00-50C532B99E6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64355" y="1657715"/>
            <a:ext cx="4941628" cy="1118225"/>
          </a:xfrm>
          <a:prstGeom prst="rect">
            <a:avLst/>
          </a:prstGeom>
        </p:spPr>
        <p:txBody>
          <a:bodyPr/>
          <a:lstStyle>
            <a:lvl1pPr>
              <a:spcBef>
                <a:spcPts val="800"/>
              </a:spcBef>
              <a:defRPr sz="2000" b="0">
                <a:solidFill>
                  <a:schemeClr val="bg1"/>
                </a:solidFill>
                <a:latin typeface="+mn-lt"/>
              </a:defRPr>
            </a:lvl1pPr>
            <a:lvl2pPr>
              <a:spcBef>
                <a:spcPts val="800"/>
              </a:spcBef>
              <a:defRPr>
                <a:solidFill>
                  <a:schemeClr val="bg1"/>
                </a:solidFill>
              </a:defRPr>
            </a:lvl2pPr>
            <a:lvl3pPr>
              <a:spcBef>
                <a:spcPts val="800"/>
              </a:spcBef>
              <a:defRPr>
                <a:solidFill>
                  <a:schemeClr val="bg1"/>
                </a:solidFill>
              </a:defRPr>
            </a:lvl3pPr>
            <a:lvl4pPr>
              <a:spcBef>
                <a:spcPts val="800"/>
              </a:spcBef>
              <a:defRPr>
                <a:solidFill>
                  <a:schemeClr val="bg1"/>
                </a:solidFill>
              </a:defRPr>
            </a:lvl4pPr>
            <a:lvl5pPr>
              <a:spcBef>
                <a:spcPts val="800"/>
              </a:spcBef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body text, font size at 20 </a:t>
            </a:r>
            <a:r>
              <a:rPr lang="en-US" err="1"/>
              <a:t>pt</a:t>
            </a:r>
            <a:r>
              <a:rPr lang="en-US"/>
              <a:t> minimum 16 </a:t>
            </a:r>
            <a:r>
              <a:rPr lang="en-US" err="1"/>
              <a:t>pt</a:t>
            </a:r>
            <a:r>
              <a:rPr lang="en-US"/>
              <a:t>, single line spacing, with maximum lines to the end of this box. </a:t>
            </a:r>
          </a:p>
        </p:txBody>
      </p:sp>
      <p:sp>
        <p:nvSpPr>
          <p:cNvPr id="6" name="Subhead">
            <a:extLst>
              <a:ext uri="{FF2B5EF4-FFF2-40B4-BE49-F238E27FC236}">
                <a16:creationId xmlns:a16="http://schemas.microsoft.com/office/drawing/2014/main" id="{C4AD33E3-FD75-49B2-A68D-461164DA13BC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364648" y="3119895"/>
            <a:ext cx="4941628" cy="318925"/>
          </a:xfrm>
        </p:spPr>
        <p:txBody>
          <a:bodyPr anchor="b"/>
          <a:lstStyle>
            <a:lvl1pPr>
              <a:defRPr b="1">
                <a:solidFill>
                  <a:schemeClr val="bg1"/>
                </a:solidFill>
                <a:latin typeface="Graphik Semibold" panose="020B0703030202060203" pitchFamily="34" charset="0"/>
              </a:defRPr>
            </a:lvl1pPr>
          </a:lstStyle>
          <a:p>
            <a:pPr lvl="0"/>
            <a:r>
              <a:rPr lang="en-US"/>
              <a:t>Practice area</a:t>
            </a:r>
            <a:endParaRPr lang="en-AU"/>
          </a:p>
        </p:txBody>
      </p:sp>
      <p:sp>
        <p:nvSpPr>
          <p:cNvPr id="22" name="Text Box Outline 1">
            <a:extLst>
              <a:ext uri="{FF2B5EF4-FFF2-40B4-BE49-F238E27FC236}">
                <a16:creationId xmlns:a16="http://schemas.microsoft.com/office/drawing/2014/main" id="{73D93B21-667E-485B-8B01-FEB6FA890321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392484" y="3578336"/>
            <a:ext cx="1512000" cy="409986"/>
          </a:xfrm>
          <a:ln w="12700">
            <a:solidFill>
              <a:schemeClr val="bg1"/>
            </a:solidFill>
          </a:ln>
        </p:spPr>
        <p:txBody>
          <a:bodyPr wrap="square" tIns="36000" bIns="36000" anchor="ctr">
            <a:noAutofit/>
          </a:bodyPr>
          <a:lstStyle>
            <a:lvl1pPr algn="ctr">
              <a:defRPr sz="14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Insert text</a:t>
            </a:r>
            <a:endParaRPr lang="en-AU"/>
          </a:p>
        </p:txBody>
      </p:sp>
      <p:sp>
        <p:nvSpPr>
          <p:cNvPr id="23" name="Text Box Outline 2">
            <a:extLst>
              <a:ext uri="{FF2B5EF4-FFF2-40B4-BE49-F238E27FC236}">
                <a16:creationId xmlns:a16="http://schemas.microsoft.com/office/drawing/2014/main" id="{08F16310-3682-4D60-9297-D23AD53AFCEB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2089779" y="3578336"/>
            <a:ext cx="1512000" cy="409986"/>
          </a:xfrm>
          <a:ln w="12700">
            <a:solidFill>
              <a:schemeClr val="bg1"/>
            </a:solidFill>
          </a:ln>
        </p:spPr>
        <p:txBody>
          <a:bodyPr wrap="square" tIns="36000" bIns="36000" anchor="ctr">
            <a:noAutofit/>
          </a:bodyPr>
          <a:lstStyle>
            <a:lvl1pPr algn="ctr">
              <a:defRPr sz="14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Insert text</a:t>
            </a:r>
            <a:endParaRPr lang="en-AU"/>
          </a:p>
        </p:txBody>
      </p:sp>
      <p:sp>
        <p:nvSpPr>
          <p:cNvPr id="24" name="Text Box Outline 3">
            <a:extLst>
              <a:ext uri="{FF2B5EF4-FFF2-40B4-BE49-F238E27FC236}">
                <a16:creationId xmlns:a16="http://schemas.microsoft.com/office/drawing/2014/main" id="{4EBC3A53-4476-47E6-B88A-8124E542FF1E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3787074" y="3578336"/>
            <a:ext cx="1512000" cy="409986"/>
          </a:xfrm>
          <a:ln w="12700">
            <a:solidFill>
              <a:schemeClr val="bg1"/>
            </a:solidFill>
          </a:ln>
        </p:spPr>
        <p:txBody>
          <a:bodyPr wrap="square" tIns="36000" bIns="36000" anchor="ctr">
            <a:noAutofit/>
          </a:bodyPr>
          <a:lstStyle>
            <a:lvl1pPr algn="ctr">
              <a:defRPr sz="14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Insert text</a:t>
            </a:r>
            <a:endParaRPr lang="en-AU"/>
          </a:p>
        </p:txBody>
      </p:sp>
      <p:sp>
        <p:nvSpPr>
          <p:cNvPr id="25" name="Text Box Purple">
            <a:extLst>
              <a:ext uri="{FF2B5EF4-FFF2-40B4-BE49-F238E27FC236}">
                <a16:creationId xmlns:a16="http://schemas.microsoft.com/office/drawing/2014/main" id="{C1649FC9-BE21-4049-83A8-BD30D97F82E4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392485" y="4364438"/>
            <a:ext cx="4913498" cy="1680762"/>
          </a:xfrm>
          <a:solidFill>
            <a:schemeClr val="accent2"/>
          </a:solidFill>
          <a:ln w="12700">
            <a:noFill/>
          </a:ln>
        </p:spPr>
        <p:txBody>
          <a:bodyPr lIns="216000" tIns="180000" rIns="108000" bIns="180000"/>
          <a:lstStyle>
            <a:lvl1pPr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600"/>
              </a:spcBef>
              <a:buNone/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For more info…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0" name="Text Placeholder 1">
            <a:extLst>
              <a:ext uri="{FF2B5EF4-FFF2-40B4-BE49-F238E27FC236}">
                <a16:creationId xmlns:a16="http://schemas.microsoft.com/office/drawing/2014/main" id="{E1BAD35F-76EB-4896-AB92-CE56C43028A9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284913" y="581489"/>
            <a:ext cx="2573337" cy="885825"/>
          </a:xfrm>
        </p:spPr>
        <p:txBody>
          <a:bodyPr/>
          <a:lstStyle>
            <a:lvl1pPr>
              <a:defRPr sz="1600" b="1">
                <a:solidFill>
                  <a:schemeClr val="accent2"/>
                </a:solidFill>
              </a:defRPr>
            </a:lvl1pPr>
            <a:lvl2pPr marL="0" indent="0">
              <a:spcBef>
                <a:spcPts val="400"/>
              </a:spcBef>
              <a:buNone/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Headline minimum 14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Insert text maximum 4 lines minimum 12 </a:t>
            </a:r>
            <a:r>
              <a:rPr lang="en-US" err="1"/>
              <a:t>pt</a:t>
            </a:r>
            <a:r>
              <a:rPr lang="en-US"/>
              <a:t> with single line spacing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39906CDA-5DE6-4DEE-8CA7-8A8698E96888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284913" y="1727528"/>
            <a:ext cx="2573337" cy="885825"/>
          </a:xfrm>
        </p:spPr>
        <p:txBody>
          <a:bodyPr/>
          <a:lstStyle>
            <a:lvl1pPr>
              <a:defRPr sz="1600" b="1">
                <a:solidFill>
                  <a:schemeClr val="accent2"/>
                </a:solidFill>
              </a:defRPr>
            </a:lvl1pPr>
            <a:lvl2pPr marL="0" indent="0">
              <a:spcBef>
                <a:spcPts val="400"/>
              </a:spcBef>
              <a:buNone/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Headline minimum 14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Insert text maximum 4 lines minimum 12 </a:t>
            </a:r>
            <a:r>
              <a:rPr lang="en-US" err="1"/>
              <a:t>pt</a:t>
            </a:r>
            <a:r>
              <a:rPr lang="en-US"/>
              <a:t> with single line spacing</a:t>
            </a:r>
          </a:p>
        </p:txBody>
      </p:sp>
      <p:sp>
        <p:nvSpPr>
          <p:cNvPr id="43" name="Text Placeholder 9">
            <a:extLst>
              <a:ext uri="{FF2B5EF4-FFF2-40B4-BE49-F238E27FC236}">
                <a16:creationId xmlns:a16="http://schemas.microsoft.com/office/drawing/2014/main" id="{B3E53B0E-8C69-4BDB-8793-D798A5910F5F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284913" y="2873567"/>
            <a:ext cx="2573337" cy="885825"/>
          </a:xfrm>
        </p:spPr>
        <p:txBody>
          <a:bodyPr/>
          <a:lstStyle>
            <a:lvl1pPr>
              <a:defRPr sz="1600" b="1">
                <a:solidFill>
                  <a:schemeClr val="accent2"/>
                </a:solidFill>
              </a:defRPr>
            </a:lvl1pPr>
            <a:lvl2pPr marL="0" indent="0">
              <a:spcBef>
                <a:spcPts val="400"/>
              </a:spcBef>
              <a:buNone/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Headline minimum 14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Insert text maximum 4 lines minimum 12 </a:t>
            </a:r>
            <a:r>
              <a:rPr lang="en-US" err="1"/>
              <a:t>pt</a:t>
            </a:r>
            <a:r>
              <a:rPr lang="en-US"/>
              <a:t> with single line spacing</a:t>
            </a:r>
          </a:p>
        </p:txBody>
      </p:sp>
      <p:sp>
        <p:nvSpPr>
          <p:cNvPr id="44" name="Text Placeholder 4">
            <a:extLst>
              <a:ext uri="{FF2B5EF4-FFF2-40B4-BE49-F238E27FC236}">
                <a16:creationId xmlns:a16="http://schemas.microsoft.com/office/drawing/2014/main" id="{25CABD7E-BF06-44AF-AA44-275C0598BF92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284913" y="4019606"/>
            <a:ext cx="2573337" cy="885825"/>
          </a:xfrm>
        </p:spPr>
        <p:txBody>
          <a:bodyPr/>
          <a:lstStyle>
            <a:lvl1pPr>
              <a:defRPr sz="1600" b="1">
                <a:solidFill>
                  <a:schemeClr val="accent2"/>
                </a:solidFill>
              </a:defRPr>
            </a:lvl1pPr>
            <a:lvl2pPr marL="0" indent="0">
              <a:spcBef>
                <a:spcPts val="400"/>
              </a:spcBef>
              <a:buNone/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Headline minimum 14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Insert text maximum 4 lines minimum 12 </a:t>
            </a:r>
            <a:r>
              <a:rPr lang="en-US" err="1"/>
              <a:t>pt</a:t>
            </a:r>
            <a:r>
              <a:rPr lang="en-US"/>
              <a:t> with single line spacing</a:t>
            </a:r>
          </a:p>
        </p:txBody>
      </p:sp>
      <p:sp>
        <p:nvSpPr>
          <p:cNvPr id="45" name="Text Placeholder 5">
            <a:extLst>
              <a:ext uri="{FF2B5EF4-FFF2-40B4-BE49-F238E27FC236}">
                <a16:creationId xmlns:a16="http://schemas.microsoft.com/office/drawing/2014/main" id="{E7C44CD6-9AB4-472E-B439-9ECA73470FC5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284913" y="5165647"/>
            <a:ext cx="2573337" cy="885825"/>
          </a:xfrm>
        </p:spPr>
        <p:txBody>
          <a:bodyPr/>
          <a:lstStyle>
            <a:lvl1pPr>
              <a:defRPr sz="1600" b="1">
                <a:solidFill>
                  <a:schemeClr val="accent2"/>
                </a:solidFill>
              </a:defRPr>
            </a:lvl1pPr>
            <a:lvl2pPr marL="0" indent="0">
              <a:spcBef>
                <a:spcPts val="400"/>
              </a:spcBef>
              <a:buNone/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Headline minimum 14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Insert text maximum 4 lines minimum 12 </a:t>
            </a:r>
            <a:r>
              <a:rPr lang="en-US" err="1"/>
              <a:t>pt</a:t>
            </a:r>
            <a:r>
              <a:rPr lang="en-US"/>
              <a:t> with single line spacing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268A4EF7-127F-4D4A-B974-DC137EF27A14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9236075" y="581489"/>
            <a:ext cx="2573337" cy="885825"/>
          </a:xfrm>
        </p:spPr>
        <p:txBody>
          <a:bodyPr/>
          <a:lstStyle>
            <a:lvl1pPr>
              <a:defRPr sz="1600" b="1">
                <a:solidFill>
                  <a:schemeClr val="accent2"/>
                </a:solidFill>
              </a:defRPr>
            </a:lvl1pPr>
            <a:lvl2pPr marL="0" indent="0">
              <a:spcBef>
                <a:spcPts val="400"/>
              </a:spcBef>
              <a:buNone/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Headline minimum 14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Insert text maximum 4 lines minimum 12 </a:t>
            </a:r>
            <a:r>
              <a:rPr lang="en-US" err="1"/>
              <a:t>pt</a:t>
            </a:r>
            <a:r>
              <a:rPr lang="en-US"/>
              <a:t> with single line spacing</a:t>
            </a:r>
          </a:p>
        </p:txBody>
      </p:sp>
      <p:sp>
        <p:nvSpPr>
          <p:cNvPr id="47" name="Text Placeholder 7">
            <a:extLst>
              <a:ext uri="{FF2B5EF4-FFF2-40B4-BE49-F238E27FC236}">
                <a16:creationId xmlns:a16="http://schemas.microsoft.com/office/drawing/2014/main" id="{4A6C3A61-D3D4-4F87-86E4-38C7C28A78DA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9236075" y="1727528"/>
            <a:ext cx="2573337" cy="885825"/>
          </a:xfrm>
        </p:spPr>
        <p:txBody>
          <a:bodyPr/>
          <a:lstStyle>
            <a:lvl1pPr>
              <a:defRPr sz="1600" b="1">
                <a:solidFill>
                  <a:schemeClr val="accent2"/>
                </a:solidFill>
              </a:defRPr>
            </a:lvl1pPr>
            <a:lvl2pPr marL="0" indent="0">
              <a:spcBef>
                <a:spcPts val="400"/>
              </a:spcBef>
              <a:buNone/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Headline minimum 14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Insert text maximum 4 lines minimum 12 </a:t>
            </a:r>
            <a:r>
              <a:rPr lang="en-US" err="1"/>
              <a:t>pt</a:t>
            </a:r>
            <a:r>
              <a:rPr lang="en-US"/>
              <a:t> with single line spacing</a:t>
            </a:r>
          </a:p>
        </p:txBody>
      </p:sp>
      <p:sp>
        <p:nvSpPr>
          <p:cNvPr id="48" name="Text Placeholder 8">
            <a:extLst>
              <a:ext uri="{FF2B5EF4-FFF2-40B4-BE49-F238E27FC236}">
                <a16:creationId xmlns:a16="http://schemas.microsoft.com/office/drawing/2014/main" id="{BBF74265-D3C7-4FBC-8595-1BC166A15B25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9236075" y="2873567"/>
            <a:ext cx="2573337" cy="885825"/>
          </a:xfrm>
        </p:spPr>
        <p:txBody>
          <a:bodyPr/>
          <a:lstStyle>
            <a:lvl1pPr>
              <a:defRPr sz="1600" b="1">
                <a:solidFill>
                  <a:schemeClr val="accent2"/>
                </a:solidFill>
              </a:defRPr>
            </a:lvl1pPr>
            <a:lvl2pPr marL="0" indent="0">
              <a:spcBef>
                <a:spcPts val="400"/>
              </a:spcBef>
              <a:buNone/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Headline minimum 14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Insert text maximum 4 lines minimum 12 </a:t>
            </a:r>
            <a:r>
              <a:rPr lang="en-US" err="1"/>
              <a:t>pt</a:t>
            </a:r>
            <a:r>
              <a:rPr lang="en-US"/>
              <a:t> with single line spacing</a:t>
            </a:r>
          </a:p>
        </p:txBody>
      </p:sp>
      <p:sp>
        <p:nvSpPr>
          <p:cNvPr id="49" name="Text Placeholder 9">
            <a:extLst>
              <a:ext uri="{FF2B5EF4-FFF2-40B4-BE49-F238E27FC236}">
                <a16:creationId xmlns:a16="http://schemas.microsoft.com/office/drawing/2014/main" id="{9B31E91C-ADB4-4762-8F54-DA02E8A3BBAD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9236075" y="4019606"/>
            <a:ext cx="2573337" cy="885825"/>
          </a:xfrm>
        </p:spPr>
        <p:txBody>
          <a:bodyPr/>
          <a:lstStyle>
            <a:lvl1pPr>
              <a:defRPr sz="1600" b="1">
                <a:solidFill>
                  <a:schemeClr val="accent2"/>
                </a:solidFill>
              </a:defRPr>
            </a:lvl1pPr>
            <a:lvl2pPr marL="0" indent="0">
              <a:spcBef>
                <a:spcPts val="400"/>
              </a:spcBef>
              <a:buNone/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Headline minimum 14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Insert text maximum 4 lines minimum 12 </a:t>
            </a:r>
            <a:r>
              <a:rPr lang="en-US" err="1"/>
              <a:t>pt</a:t>
            </a:r>
            <a:r>
              <a:rPr lang="en-US"/>
              <a:t> with single line spacing</a:t>
            </a:r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A55DA771-9D6F-4A6F-85AC-4E03600F34D3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9236075" y="5165647"/>
            <a:ext cx="2573337" cy="885825"/>
          </a:xfrm>
        </p:spPr>
        <p:txBody>
          <a:bodyPr/>
          <a:lstStyle>
            <a:lvl1pPr>
              <a:defRPr sz="1600" b="1">
                <a:solidFill>
                  <a:schemeClr val="accent2"/>
                </a:solidFill>
              </a:defRPr>
            </a:lvl1pPr>
            <a:lvl2pPr marL="0" indent="0">
              <a:spcBef>
                <a:spcPts val="400"/>
              </a:spcBef>
              <a:buNone/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Headline minimum 14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Insert text maximum 4 lines minimum 12 </a:t>
            </a:r>
            <a:r>
              <a:rPr lang="en-US" err="1"/>
              <a:t>pt</a:t>
            </a:r>
            <a:r>
              <a:rPr lang="en-US"/>
              <a:t> with single line spacing</a:t>
            </a:r>
          </a:p>
        </p:txBody>
      </p:sp>
      <p:sp>
        <p:nvSpPr>
          <p:cNvPr id="27" name="object 3">
            <a:extLst>
              <a:ext uri="{FF2B5EF4-FFF2-40B4-BE49-F238E27FC236}">
                <a16:creationId xmlns:a16="http://schemas.microsoft.com/office/drawing/2014/main" id="{F778C971-6028-447B-A475-17B3C4A19E14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CDEDB078-0E6B-43DC-B10C-919D1DC0F02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39084" y="6432376"/>
            <a:ext cx="1311547" cy="228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59721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ourney –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C87EED2-D75E-4D9F-8130-79DF89E3B61E}"/>
              </a:ext>
            </a:extLst>
          </p:cNvPr>
          <p:cNvSpPr>
            <a:spLocks noGrp="1"/>
          </p:cNvSpPr>
          <p:nvPr>
            <p:ph type="sldNum" sz="quarter" idx="68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Picture Placeholder">
            <a:extLst>
              <a:ext uri="{FF2B5EF4-FFF2-40B4-BE49-F238E27FC236}">
                <a16:creationId xmlns:a16="http://schemas.microsoft.com/office/drawing/2014/main" id="{FFF3DE60-5763-49F9-84D4-EFD70139DD3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12192001" cy="298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720000" tIns="0" rIns="720000" bIns="900000" anchor="ctr" anchorCtr="0"/>
          <a:lstStyle>
            <a:lvl1pPr algn="ctr">
              <a:spcBef>
                <a:spcPts val="0"/>
              </a:spcBef>
              <a:defRPr sz="1600" b="0" cap="none" baseline="0">
                <a:latin typeface="+mn-lt"/>
              </a:defRPr>
            </a:lvl1pPr>
          </a:lstStyle>
          <a:p>
            <a:r>
              <a:rPr lang="en-US"/>
              <a:t>Click on the icon to insert image in placeholder and </a:t>
            </a:r>
            <a:br>
              <a:rPr lang="en-US"/>
            </a:br>
            <a:r>
              <a:rPr lang="en-US"/>
              <a:t>use the crop tool to center the imag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CF31FD4-855B-4349-9E82-D5835AAED1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941" y="1241571"/>
            <a:ext cx="4950134" cy="1373216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13" name="Subhead 1">
            <a:extLst>
              <a:ext uri="{FF2B5EF4-FFF2-40B4-BE49-F238E27FC236}">
                <a16:creationId xmlns:a16="http://schemas.microsoft.com/office/drawing/2014/main" id="{95865AF8-F59F-447D-A5C5-B06AD60E94D8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371168" y="4044950"/>
            <a:ext cx="1231490" cy="492443"/>
          </a:xfrm>
        </p:spPr>
        <p:txBody>
          <a:bodyPr>
            <a:spAutoFit/>
          </a:bodyPr>
          <a:lstStyle>
            <a:lvl1pPr>
              <a:defRPr sz="16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21" name="Subhead 2">
            <a:extLst>
              <a:ext uri="{FF2B5EF4-FFF2-40B4-BE49-F238E27FC236}">
                <a16:creationId xmlns:a16="http://schemas.microsoft.com/office/drawing/2014/main" id="{4195DD5E-01C9-4F79-A642-1DDBF4830E64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371168" y="4868244"/>
            <a:ext cx="1231490" cy="492443"/>
          </a:xfrm>
        </p:spPr>
        <p:txBody>
          <a:bodyPr>
            <a:spAutoFit/>
          </a:bodyPr>
          <a:lstStyle>
            <a:lvl1pPr>
              <a:defRPr sz="16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10" name="Arrow subhead 1">
            <a:extLst>
              <a:ext uri="{FF2B5EF4-FFF2-40B4-BE49-F238E27FC236}">
                <a16:creationId xmlns:a16="http://schemas.microsoft.com/office/drawing/2014/main" id="{EFED9D2A-74A5-45DC-A034-2B219138064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971675" y="3308767"/>
            <a:ext cx="3327400" cy="576000"/>
          </a:xfrm>
          <a:prstGeom prst="homePlate">
            <a:avLst>
              <a:gd name="adj" fmla="val 32991"/>
            </a:avLst>
          </a:prstGeom>
          <a:solidFill>
            <a:schemeClr val="accent1"/>
          </a:solidFill>
        </p:spPr>
        <p:txBody>
          <a:bodyPr lIns="180000" rIns="180000" anchor="ctr"/>
          <a:lstStyle>
            <a:lvl1pPr algn="ctr"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17" name="Subhead 1">
            <a:extLst>
              <a:ext uri="{FF2B5EF4-FFF2-40B4-BE49-F238E27FC236}">
                <a16:creationId xmlns:a16="http://schemas.microsoft.com/office/drawing/2014/main" id="{E82B7EE8-9409-45CE-85DB-6F55E0DE3591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1971674" y="4044950"/>
            <a:ext cx="2988000" cy="492443"/>
          </a:xfrm>
        </p:spPr>
        <p:txBody>
          <a:bodyPr/>
          <a:lstStyle>
            <a:lvl1pPr>
              <a:spcBef>
                <a:spcPts val="0"/>
              </a:spcBef>
              <a:spcAft>
                <a:spcPts val="1200"/>
              </a:spcAft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1">
            <a:extLst>
              <a:ext uri="{FF2B5EF4-FFF2-40B4-BE49-F238E27FC236}">
                <a16:creationId xmlns:a16="http://schemas.microsoft.com/office/drawing/2014/main" id="{BECFCDEF-D022-4C0C-8AE1-2DEC806F8526}"/>
              </a:ext>
            </a:extLst>
          </p:cNvPr>
          <p:cNvSpPr>
            <a:spLocks noGrp="1"/>
          </p:cNvSpPr>
          <p:nvPr>
            <p:ph type="body" sz="quarter" idx="64"/>
          </p:nvPr>
        </p:nvSpPr>
        <p:spPr>
          <a:xfrm>
            <a:off x="1971674" y="4868244"/>
            <a:ext cx="2988000" cy="1176956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6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Arrow subhead 2">
            <a:extLst>
              <a:ext uri="{FF2B5EF4-FFF2-40B4-BE49-F238E27FC236}">
                <a16:creationId xmlns:a16="http://schemas.microsoft.com/office/drawing/2014/main" id="{41C90FE7-33BD-4E9D-BDFF-9122FC2E8234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5226844" y="3308767"/>
            <a:ext cx="3327400" cy="576000"/>
          </a:xfrm>
          <a:prstGeom prst="chevron">
            <a:avLst>
              <a:gd name="adj" fmla="val 32860"/>
            </a:avLst>
          </a:prstGeom>
          <a:solidFill>
            <a:schemeClr val="accent2"/>
          </a:solidFill>
        </p:spPr>
        <p:txBody>
          <a:bodyPr lIns="180000" rIns="180000" anchor="ctr"/>
          <a:lstStyle>
            <a:lvl1pPr algn="ctr"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18" name="Subhead 2">
            <a:extLst>
              <a:ext uri="{FF2B5EF4-FFF2-40B4-BE49-F238E27FC236}">
                <a16:creationId xmlns:a16="http://schemas.microsoft.com/office/drawing/2014/main" id="{89CFFF51-807B-45EB-87C8-25E586ECBCCE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xfrm>
            <a:off x="5291854" y="4044950"/>
            <a:ext cx="2988000" cy="492443"/>
          </a:xfrm>
        </p:spPr>
        <p:txBody>
          <a:bodyPr/>
          <a:lstStyle>
            <a:lvl1pPr>
              <a:spcBef>
                <a:spcPts val="0"/>
              </a:spcBef>
              <a:spcAft>
                <a:spcPts val="1200"/>
              </a:spcAft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335D817B-F79D-46BF-A09F-28845CBDAA89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>
          <a:xfrm>
            <a:off x="5291854" y="4868244"/>
            <a:ext cx="2988000" cy="1176956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6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Arrow subhead 3">
            <a:extLst>
              <a:ext uri="{FF2B5EF4-FFF2-40B4-BE49-F238E27FC236}">
                <a16:creationId xmlns:a16="http://schemas.microsoft.com/office/drawing/2014/main" id="{FBE60133-CD5C-4AC8-83A0-3C690633FF5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482013" y="3308767"/>
            <a:ext cx="3327400" cy="576000"/>
          </a:xfrm>
          <a:prstGeom prst="chevron">
            <a:avLst>
              <a:gd name="adj" fmla="val 32860"/>
            </a:avLst>
          </a:prstGeom>
          <a:solidFill>
            <a:schemeClr val="accent3"/>
          </a:solidFill>
        </p:spPr>
        <p:txBody>
          <a:bodyPr lIns="180000" rIns="180000" anchor="ctr"/>
          <a:lstStyle>
            <a:lvl1pPr algn="ctr"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19" name="Subhead 3">
            <a:extLst>
              <a:ext uri="{FF2B5EF4-FFF2-40B4-BE49-F238E27FC236}">
                <a16:creationId xmlns:a16="http://schemas.microsoft.com/office/drawing/2014/main" id="{AD34EAD1-81A3-4757-BF72-CF9DFAB15A80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8612034" y="4044950"/>
            <a:ext cx="2988000" cy="492443"/>
          </a:xfrm>
        </p:spPr>
        <p:txBody>
          <a:bodyPr/>
          <a:lstStyle>
            <a:lvl1pPr>
              <a:spcBef>
                <a:spcPts val="0"/>
              </a:spcBef>
              <a:spcAft>
                <a:spcPts val="1200"/>
              </a:spcAft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48BB67B9-64FC-43B7-A0E7-942A14ED619C}"/>
              </a:ext>
            </a:extLst>
          </p:cNvPr>
          <p:cNvSpPr>
            <a:spLocks noGrp="1"/>
          </p:cNvSpPr>
          <p:nvPr>
            <p:ph type="body" sz="quarter" idx="66"/>
          </p:nvPr>
        </p:nvSpPr>
        <p:spPr>
          <a:xfrm>
            <a:off x="8612034" y="4868244"/>
            <a:ext cx="2988000" cy="1176956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6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object 3">
            <a:extLst>
              <a:ext uri="{FF2B5EF4-FFF2-40B4-BE49-F238E27FC236}">
                <a16:creationId xmlns:a16="http://schemas.microsoft.com/office/drawing/2014/main" id="{D047F136-2415-4817-BD4A-3D373971D2AF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6251446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ourney –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23A08CC-EFBC-40F1-A3C1-68D02FE0AE27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Picture Placeholder">
            <a:extLst>
              <a:ext uri="{FF2B5EF4-FFF2-40B4-BE49-F238E27FC236}">
                <a16:creationId xmlns:a16="http://schemas.microsoft.com/office/drawing/2014/main" id="{FFF3DE60-5763-49F9-84D4-EFD70139DD3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12192001" cy="298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720000" tIns="0" rIns="720000" bIns="900000" anchor="ctr" anchorCtr="0"/>
          <a:lstStyle>
            <a:lvl1pPr algn="ctr">
              <a:spcBef>
                <a:spcPts val="0"/>
              </a:spcBef>
              <a:defRPr sz="1600" b="0" cap="none" baseline="0">
                <a:latin typeface="+mn-lt"/>
              </a:defRPr>
            </a:lvl1pPr>
          </a:lstStyle>
          <a:p>
            <a:r>
              <a:rPr lang="en-US"/>
              <a:t>Click on the icon to insert image in placeholder and </a:t>
            </a:r>
            <a:br>
              <a:rPr lang="en-US"/>
            </a:br>
            <a:r>
              <a:rPr lang="en-US"/>
              <a:t>use the crop tool to center the imag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CF31FD4-855B-4349-9E82-D5835AAED1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941" y="1241571"/>
            <a:ext cx="4950134" cy="1373216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10" name="Arrow subhead 1">
            <a:extLst>
              <a:ext uri="{FF2B5EF4-FFF2-40B4-BE49-F238E27FC236}">
                <a16:creationId xmlns:a16="http://schemas.microsoft.com/office/drawing/2014/main" id="{EFED9D2A-74A5-45DC-A034-2B219138064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85878" y="3308767"/>
            <a:ext cx="2952000" cy="576000"/>
          </a:xfrm>
          <a:prstGeom prst="homePlate">
            <a:avLst>
              <a:gd name="adj" fmla="val 32991"/>
            </a:avLst>
          </a:prstGeom>
          <a:solidFill>
            <a:schemeClr val="accent4"/>
          </a:solidFill>
        </p:spPr>
        <p:txBody>
          <a:bodyPr lIns="180000" rIns="180000" anchor="ctr"/>
          <a:lstStyle>
            <a:lvl1pPr algn="ctr"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20" name="Text Placeholder 1">
            <a:extLst>
              <a:ext uri="{FF2B5EF4-FFF2-40B4-BE49-F238E27FC236}">
                <a16:creationId xmlns:a16="http://schemas.microsoft.com/office/drawing/2014/main" id="{39FDED30-8AD4-48FB-A509-A8138DD26E4F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70438" y="4131177"/>
            <a:ext cx="2581200" cy="1906846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1" name="Arrow subhead 2">
            <a:extLst>
              <a:ext uri="{FF2B5EF4-FFF2-40B4-BE49-F238E27FC236}">
                <a16:creationId xmlns:a16="http://schemas.microsoft.com/office/drawing/2014/main" id="{41C90FE7-33BD-4E9D-BDFF-9122FC2E8234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245723" y="3308767"/>
            <a:ext cx="2952000" cy="576000"/>
          </a:xfrm>
          <a:prstGeom prst="chevron">
            <a:avLst>
              <a:gd name="adj" fmla="val 32860"/>
            </a:avLst>
          </a:prstGeom>
          <a:solidFill>
            <a:schemeClr val="accent1"/>
          </a:solidFill>
        </p:spPr>
        <p:txBody>
          <a:bodyPr lIns="180000" rIns="180000" anchor="ctr"/>
          <a:lstStyle>
            <a:lvl1pPr algn="ctr"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2F2CBF60-ACAA-4E89-914D-5F9B2B12B446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3322130" y="4131177"/>
            <a:ext cx="2581200" cy="1906846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2" name="Arrow subhead 3">
            <a:extLst>
              <a:ext uri="{FF2B5EF4-FFF2-40B4-BE49-F238E27FC236}">
                <a16:creationId xmlns:a16="http://schemas.microsoft.com/office/drawing/2014/main" id="{FBE60133-CD5C-4AC8-83A0-3C690633FF5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105568" y="3308767"/>
            <a:ext cx="2952000" cy="576000"/>
          </a:xfrm>
          <a:prstGeom prst="chevron">
            <a:avLst>
              <a:gd name="adj" fmla="val 32860"/>
            </a:avLst>
          </a:prstGeom>
          <a:solidFill>
            <a:schemeClr val="accent2"/>
          </a:solidFill>
        </p:spPr>
        <p:txBody>
          <a:bodyPr lIns="180000" rIns="180000" anchor="ctr"/>
          <a:lstStyle>
            <a:lvl1pPr algn="ctr"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D8243A3C-193A-4169-B0CF-1F5ED0195164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6273822" y="4131177"/>
            <a:ext cx="2581200" cy="1906846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25" name="Arrow subhead 4">
            <a:extLst>
              <a:ext uri="{FF2B5EF4-FFF2-40B4-BE49-F238E27FC236}">
                <a16:creationId xmlns:a16="http://schemas.microsoft.com/office/drawing/2014/main" id="{C28EF3AF-9742-41EC-AC1B-27DCD5C55EB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965413" y="3308767"/>
            <a:ext cx="2952000" cy="576000"/>
          </a:xfrm>
          <a:prstGeom prst="chevron">
            <a:avLst>
              <a:gd name="adj" fmla="val 32860"/>
            </a:avLst>
          </a:prstGeom>
          <a:solidFill>
            <a:schemeClr val="accent3"/>
          </a:solidFill>
        </p:spPr>
        <p:txBody>
          <a:bodyPr lIns="180000" rIns="180000" anchor="ctr"/>
          <a:lstStyle>
            <a:lvl1pPr algn="ctr"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2FD3F8CD-F231-46CC-A63D-60C1C7FF7A34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9225513" y="4131177"/>
            <a:ext cx="2581200" cy="1906846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3" name="object 3">
            <a:extLst>
              <a:ext uri="{FF2B5EF4-FFF2-40B4-BE49-F238E27FC236}">
                <a16:creationId xmlns:a16="http://schemas.microsoft.com/office/drawing/2014/main" id="{9E06839F-D80E-466F-AF45-A7B866335385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6550864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ourney –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6BBE312-EF67-46FA-B147-9E6554D6F1E1}"/>
              </a:ext>
            </a:extLst>
          </p:cNvPr>
          <p:cNvSpPr>
            <a:spLocks noGrp="1"/>
          </p:cNvSpPr>
          <p:nvPr>
            <p:ph type="sldNum" sz="quarter" idx="53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Picture Placeholder">
            <a:extLst>
              <a:ext uri="{FF2B5EF4-FFF2-40B4-BE49-F238E27FC236}">
                <a16:creationId xmlns:a16="http://schemas.microsoft.com/office/drawing/2014/main" id="{FFF3DE60-5763-49F9-84D4-EFD70139DD3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12192001" cy="298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720000" tIns="0" rIns="720000" bIns="900000" anchor="ctr" anchorCtr="0"/>
          <a:lstStyle>
            <a:lvl1pPr algn="ctr">
              <a:spcBef>
                <a:spcPts val="0"/>
              </a:spcBef>
              <a:defRPr sz="1600" b="0" cap="none" baseline="0">
                <a:latin typeface="+mn-lt"/>
              </a:defRPr>
            </a:lvl1pPr>
          </a:lstStyle>
          <a:p>
            <a:r>
              <a:rPr lang="en-US"/>
              <a:t>Click on the icon to insert image in placeholder and </a:t>
            </a:r>
            <a:br>
              <a:rPr lang="en-US"/>
            </a:br>
            <a:r>
              <a:rPr lang="en-US"/>
              <a:t>use the crop tool to center the imag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CF31FD4-855B-4349-9E82-D5835AAED1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941" y="1241571"/>
            <a:ext cx="4950134" cy="1373216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10" name="Arrow subhead 1">
            <a:extLst>
              <a:ext uri="{FF2B5EF4-FFF2-40B4-BE49-F238E27FC236}">
                <a16:creationId xmlns:a16="http://schemas.microsoft.com/office/drawing/2014/main" id="{EFED9D2A-74A5-45DC-A034-2B219138064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85878" y="3308767"/>
            <a:ext cx="2376000" cy="576000"/>
          </a:xfrm>
          <a:prstGeom prst="homePlate">
            <a:avLst>
              <a:gd name="adj" fmla="val 32991"/>
            </a:avLst>
          </a:prstGeom>
          <a:solidFill>
            <a:schemeClr val="accent2"/>
          </a:solidFill>
        </p:spPr>
        <p:txBody>
          <a:bodyPr lIns="180000" rIns="180000" anchor="ctr"/>
          <a:lstStyle>
            <a:lvl1pPr algn="ctr"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nsert </a:t>
            </a:r>
            <a:br>
              <a:rPr lang="en-US"/>
            </a:br>
            <a:r>
              <a:rPr lang="en-US"/>
              <a:t>subhead</a:t>
            </a:r>
          </a:p>
        </p:txBody>
      </p:sp>
      <p:sp>
        <p:nvSpPr>
          <p:cNvPr id="20" name="Text Placeholder 1">
            <a:extLst>
              <a:ext uri="{FF2B5EF4-FFF2-40B4-BE49-F238E27FC236}">
                <a16:creationId xmlns:a16="http://schemas.microsoft.com/office/drawing/2014/main" id="{39FDED30-8AD4-48FB-A509-A8138DD26E4F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70438" y="4131177"/>
            <a:ext cx="2088000" cy="1914023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  <a:lvl2pPr>
              <a:spcBef>
                <a:spcPts val="600"/>
              </a:spcBef>
              <a:defRPr sz="1400">
                <a:solidFill>
                  <a:schemeClr val="tx1"/>
                </a:solidFill>
              </a:defRPr>
            </a:lvl2pPr>
            <a:lvl3pPr marL="180000" indent="-180000"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Arrow subhead 2">
            <a:extLst>
              <a:ext uri="{FF2B5EF4-FFF2-40B4-BE49-F238E27FC236}">
                <a16:creationId xmlns:a16="http://schemas.microsoft.com/office/drawing/2014/main" id="{41C90FE7-33BD-4E9D-BDFF-9122FC2E8234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2674762" y="3308767"/>
            <a:ext cx="2376000" cy="576000"/>
          </a:xfrm>
          <a:prstGeom prst="chevron">
            <a:avLst>
              <a:gd name="adj" fmla="val 32860"/>
            </a:avLst>
          </a:prstGeom>
          <a:solidFill>
            <a:schemeClr val="accent2"/>
          </a:solidFill>
        </p:spPr>
        <p:txBody>
          <a:bodyPr lIns="180000" rIns="180000" anchor="ctr"/>
          <a:lstStyle>
            <a:lvl1pPr algn="ctr"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2F2CBF60-ACAA-4E89-914D-5F9B2B12B446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2708182" y="4131177"/>
            <a:ext cx="2088000" cy="1914023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  <a:lvl2pPr>
              <a:spcBef>
                <a:spcPts val="600"/>
              </a:spcBef>
              <a:defRPr sz="1400">
                <a:solidFill>
                  <a:schemeClr val="tx1"/>
                </a:solidFill>
              </a:defRPr>
            </a:lvl2pPr>
            <a:lvl3pPr marL="180000" indent="-180000"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Arrow subhead 3">
            <a:extLst>
              <a:ext uri="{FF2B5EF4-FFF2-40B4-BE49-F238E27FC236}">
                <a16:creationId xmlns:a16="http://schemas.microsoft.com/office/drawing/2014/main" id="{FBE60133-CD5C-4AC8-83A0-3C690633FF5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963646" y="3308767"/>
            <a:ext cx="2376000" cy="576000"/>
          </a:xfrm>
          <a:prstGeom prst="chevron">
            <a:avLst>
              <a:gd name="adj" fmla="val 32860"/>
            </a:avLst>
          </a:prstGeom>
          <a:solidFill>
            <a:schemeClr val="accent2"/>
          </a:solidFill>
        </p:spPr>
        <p:txBody>
          <a:bodyPr lIns="180000" rIns="180000" anchor="ctr"/>
          <a:lstStyle>
            <a:lvl1pPr algn="ctr"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D8243A3C-193A-4169-B0CF-1F5ED0195164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5045926" y="4131177"/>
            <a:ext cx="2088000" cy="1914023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  <a:lvl2pPr>
              <a:spcBef>
                <a:spcPts val="600"/>
              </a:spcBef>
              <a:defRPr sz="1400">
                <a:solidFill>
                  <a:schemeClr val="tx1"/>
                </a:solidFill>
              </a:defRPr>
            </a:lvl2pPr>
            <a:lvl3pPr marL="180000" indent="-180000"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5" name="Arrow subhead 4">
            <a:extLst>
              <a:ext uri="{FF2B5EF4-FFF2-40B4-BE49-F238E27FC236}">
                <a16:creationId xmlns:a16="http://schemas.microsoft.com/office/drawing/2014/main" id="{C28EF3AF-9742-41EC-AC1B-27DCD5C55EB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7252530" y="3308767"/>
            <a:ext cx="2376000" cy="576000"/>
          </a:xfrm>
          <a:prstGeom prst="chevron">
            <a:avLst>
              <a:gd name="adj" fmla="val 32860"/>
            </a:avLst>
          </a:prstGeom>
          <a:solidFill>
            <a:schemeClr val="accent2"/>
          </a:solidFill>
        </p:spPr>
        <p:txBody>
          <a:bodyPr lIns="180000" rIns="180000" anchor="ctr"/>
          <a:lstStyle>
            <a:lvl1pPr algn="ctr"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2FD3F8CD-F231-46CC-A63D-60C1C7FF7A34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7383670" y="4131177"/>
            <a:ext cx="2088000" cy="1914023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  <a:lvl2pPr>
              <a:spcBef>
                <a:spcPts val="600"/>
              </a:spcBef>
              <a:defRPr sz="1400">
                <a:solidFill>
                  <a:schemeClr val="tx1"/>
                </a:solidFill>
              </a:defRPr>
            </a:lvl2pPr>
            <a:lvl3pPr marL="180000" indent="-180000"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02FBE684-4B93-4961-B8EC-BADAE8E7FD08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9721413" y="4131177"/>
            <a:ext cx="2088000" cy="1914023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  <a:lvl2pPr>
              <a:spcBef>
                <a:spcPts val="600"/>
              </a:spcBef>
              <a:defRPr sz="1400">
                <a:solidFill>
                  <a:schemeClr val="tx1"/>
                </a:solidFill>
              </a:defRPr>
            </a:lvl2pPr>
            <a:lvl3pPr marL="180000" indent="-180000"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Arrow subhead 4">
            <a:extLst>
              <a:ext uri="{FF2B5EF4-FFF2-40B4-BE49-F238E27FC236}">
                <a16:creationId xmlns:a16="http://schemas.microsoft.com/office/drawing/2014/main" id="{36E4539F-17F2-499D-87F8-0AB2B9068B6F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9541413" y="3308767"/>
            <a:ext cx="2376000" cy="576000"/>
          </a:xfrm>
          <a:prstGeom prst="chevron">
            <a:avLst>
              <a:gd name="adj" fmla="val 32860"/>
            </a:avLst>
          </a:prstGeom>
          <a:solidFill>
            <a:schemeClr val="accent2"/>
          </a:solidFill>
        </p:spPr>
        <p:txBody>
          <a:bodyPr lIns="180000" rIns="180000" anchor="ctr"/>
          <a:lstStyle>
            <a:lvl1pPr algn="ctr"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15" name="object 3">
            <a:extLst>
              <a:ext uri="{FF2B5EF4-FFF2-40B4-BE49-F238E27FC236}">
                <a16:creationId xmlns:a16="http://schemas.microsoft.com/office/drawing/2014/main" id="{2C0A7DAD-B238-450A-A833-3E65E126E1A5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5975535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ourney – (4) Columns split"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04B8D3-AC84-49EA-86A8-BE8F7EE33981}"/>
              </a:ext>
            </a:extLst>
          </p:cNvPr>
          <p:cNvSpPr>
            <a:spLocks noGrp="1"/>
          </p:cNvSpPr>
          <p:nvPr>
            <p:ph type="sldNum" sz="quarter" idx="52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Rectangle wHITE">
            <a:extLst>
              <a:ext uri="{FF2B5EF4-FFF2-40B4-BE49-F238E27FC236}">
                <a16:creationId xmlns:a16="http://schemas.microsoft.com/office/drawing/2014/main" id="{E3D10902-9E63-4AD3-84ED-4F4A7B0EE21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flipV="1">
            <a:off x="0" y="1"/>
            <a:ext cx="12192000" cy="369824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A52D1FBD-D4C3-4A74-AC84-0236D32A9B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0119807B-39A9-41FD-8CD3-CD67C0062116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63600" y="784800"/>
            <a:ext cx="11437371" cy="458757"/>
          </a:xfrm>
          <a:prstGeom prst="rect">
            <a:avLst/>
          </a:prstGeom>
        </p:spPr>
        <p:txBody>
          <a:bodyPr wrap="square" lIns="0" tIns="180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800">
                <a:solidFill>
                  <a:schemeClr val="tx1"/>
                </a:solidFill>
                <a:latin typeface="Arial Nova Light" panose="020B0304020202020204" pitchFamily="34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18 pt, align to the baseline of the title</a:t>
            </a:r>
          </a:p>
        </p:txBody>
      </p:sp>
      <p:sp>
        <p:nvSpPr>
          <p:cNvPr id="43" name="Text Placeholder 1">
            <a:extLst>
              <a:ext uri="{FF2B5EF4-FFF2-40B4-BE49-F238E27FC236}">
                <a16:creationId xmlns:a16="http://schemas.microsoft.com/office/drawing/2014/main" id="{D8D0C38E-294C-4FC4-BF81-B182F2975AC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1002355" y="1678847"/>
            <a:ext cx="2519999" cy="1560183"/>
          </a:xfrm>
        </p:spPr>
        <p:txBody>
          <a:bodyPr/>
          <a:lstStyle>
            <a:lvl1pPr>
              <a:spcBef>
                <a:spcPts val="0"/>
              </a:spcBef>
              <a:spcAft>
                <a:spcPts val="800"/>
              </a:spcAft>
              <a:defRPr sz="1400">
                <a:latin typeface="+mn-lt"/>
              </a:defRPr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4" name="Subhead 1">
            <a:extLst>
              <a:ext uri="{FF2B5EF4-FFF2-40B4-BE49-F238E27FC236}">
                <a16:creationId xmlns:a16="http://schemas.microsoft.com/office/drawing/2014/main" id="{6DA187E7-09D2-4135-BC8D-469693E98782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002355" y="3483192"/>
            <a:ext cx="2519999" cy="495108"/>
          </a:xfrm>
          <a:solidFill>
            <a:schemeClr val="accent4"/>
          </a:solidFill>
        </p:spPr>
        <p:txBody>
          <a:bodyPr lIns="216000" tIns="108000" rIns="216000" bIns="108000" anchor="ctr"/>
          <a:lstStyle>
            <a:lvl1pPr algn="ctr">
              <a:defRPr sz="180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45" name="Text Placeholder 1B">
            <a:extLst>
              <a:ext uri="{FF2B5EF4-FFF2-40B4-BE49-F238E27FC236}">
                <a16:creationId xmlns:a16="http://schemas.microsoft.com/office/drawing/2014/main" id="{3F6E8296-8428-47F7-A2E1-4D31A1030BE0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002355" y="4476442"/>
            <a:ext cx="2519999" cy="1568758"/>
          </a:xfrm>
        </p:spPr>
        <p:txBody>
          <a:bodyPr/>
          <a:lstStyle>
            <a:lvl1pPr>
              <a:defRPr sz="18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Insert subhead maximum 2 lin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A4E4DA54-1250-42AC-9967-97A497F417B5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3764708" y="1678847"/>
            <a:ext cx="2519999" cy="1560183"/>
          </a:xfrm>
        </p:spPr>
        <p:txBody>
          <a:bodyPr/>
          <a:lstStyle>
            <a:lvl1pPr>
              <a:spcBef>
                <a:spcPts val="0"/>
              </a:spcBef>
              <a:spcAft>
                <a:spcPts val="800"/>
              </a:spcAft>
              <a:defRPr sz="1400">
                <a:latin typeface="+mn-lt"/>
              </a:defRPr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Subhead 2">
            <a:extLst>
              <a:ext uri="{FF2B5EF4-FFF2-40B4-BE49-F238E27FC236}">
                <a16:creationId xmlns:a16="http://schemas.microsoft.com/office/drawing/2014/main" id="{E9043677-7E23-4426-A132-7C731B8A6CC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764708" y="3483192"/>
            <a:ext cx="2519999" cy="495108"/>
          </a:xfrm>
          <a:solidFill>
            <a:schemeClr val="accent1"/>
          </a:solidFill>
        </p:spPr>
        <p:txBody>
          <a:bodyPr lIns="216000" tIns="108000" rIns="216000" bIns="108000" anchor="ctr"/>
          <a:lstStyle>
            <a:lvl1pPr algn="ctr">
              <a:defRPr sz="180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48" name="Text Placeholder 2B">
            <a:extLst>
              <a:ext uri="{FF2B5EF4-FFF2-40B4-BE49-F238E27FC236}">
                <a16:creationId xmlns:a16="http://schemas.microsoft.com/office/drawing/2014/main" id="{D33C854C-444F-4CA0-8D7E-0C26D08AA82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764708" y="4476442"/>
            <a:ext cx="2519999" cy="1568758"/>
          </a:xfrm>
        </p:spPr>
        <p:txBody>
          <a:bodyPr/>
          <a:lstStyle>
            <a:lvl1pPr>
              <a:defRPr sz="18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Insert subhead maximum 2 lin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9" name="Text Placeholder 3">
            <a:extLst>
              <a:ext uri="{FF2B5EF4-FFF2-40B4-BE49-F238E27FC236}">
                <a16:creationId xmlns:a16="http://schemas.microsoft.com/office/drawing/2014/main" id="{B18702C2-8F07-489D-B538-B60A312D803C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6527061" y="1678847"/>
            <a:ext cx="2519999" cy="1560183"/>
          </a:xfrm>
        </p:spPr>
        <p:txBody>
          <a:bodyPr/>
          <a:lstStyle>
            <a:lvl1pPr>
              <a:spcBef>
                <a:spcPts val="0"/>
              </a:spcBef>
              <a:spcAft>
                <a:spcPts val="800"/>
              </a:spcAft>
              <a:defRPr sz="1400">
                <a:latin typeface="+mn-lt"/>
              </a:defRPr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0" name="Subhead 3">
            <a:extLst>
              <a:ext uri="{FF2B5EF4-FFF2-40B4-BE49-F238E27FC236}">
                <a16:creationId xmlns:a16="http://schemas.microsoft.com/office/drawing/2014/main" id="{28EBD259-BC65-4BA6-BB98-6675018BA11C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6527061" y="3483192"/>
            <a:ext cx="2519999" cy="495108"/>
          </a:xfrm>
          <a:solidFill>
            <a:schemeClr val="accent2"/>
          </a:solidFill>
        </p:spPr>
        <p:txBody>
          <a:bodyPr lIns="216000" tIns="108000" rIns="216000" bIns="108000" anchor="ctr"/>
          <a:lstStyle>
            <a:lvl1pPr algn="ctr">
              <a:defRPr sz="180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51" name="Text Placeholder 3B">
            <a:extLst>
              <a:ext uri="{FF2B5EF4-FFF2-40B4-BE49-F238E27FC236}">
                <a16:creationId xmlns:a16="http://schemas.microsoft.com/office/drawing/2014/main" id="{16E8D0C1-2FD0-4958-8B63-6379BEAA84B3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527061" y="4476442"/>
            <a:ext cx="2519999" cy="1568758"/>
          </a:xfrm>
        </p:spPr>
        <p:txBody>
          <a:bodyPr/>
          <a:lstStyle>
            <a:lvl1pPr>
              <a:defRPr sz="18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Insert subhead maximum 2 lin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2" name="Text Placeholder 4">
            <a:extLst>
              <a:ext uri="{FF2B5EF4-FFF2-40B4-BE49-F238E27FC236}">
                <a16:creationId xmlns:a16="http://schemas.microsoft.com/office/drawing/2014/main" id="{80DD7EB9-0842-47B5-8C9E-5ED77676B1DA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9289414" y="1678847"/>
            <a:ext cx="2519999" cy="1560183"/>
          </a:xfrm>
        </p:spPr>
        <p:txBody>
          <a:bodyPr/>
          <a:lstStyle>
            <a:lvl1pPr>
              <a:spcBef>
                <a:spcPts val="0"/>
              </a:spcBef>
              <a:spcAft>
                <a:spcPts val="800"/>
              </a:spcAft>
              <a:defRPr sz="1400">
                <a:latin typeface="+mn-lt"/>
              </a:defRPr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3" name="Subhead 4">
            <a:extLst>
              <a:ext uri="{FF2B5EF4-FFF2-40B4-BE49-F238E27FC236}">
                <a16:creationId xmlns:a16="http://schemas.microsoft.com/office/drawing/2014/main" id="{B3C4239C-BCCC-495D-B75D-E5220E624356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9289414" y="3483192"/>
            <a:ext cx="2519999" cy="495108"/>
          </a:xfrm>
          <a:solidFill>
            <a:schemeClr val="accent3"/>
          </a:solidFill>
        </p:spPr>
        <p:txBody>
          <a:bodyPr lIns="216000" tIns="108000" rIns="216000" bIns="108000" anchor="ctr"/>
          <a:lstStyle>
            <a:lvl1pPr algn="ctr">
              <a:defRPr sz="180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54" name="Text Placeholder 4B">
            <a:extLst>
              <a:ext uri="{FF2B5EF4-FFF2-40B4-BE49-F238E27FC236}">
                <a16:creationId xmlns:a16="http://schemas.microsoft.com/office/drawing/2014/main" id="{1EC38A05-054C-46A7-97D5-0CE84D456E67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9289414" y="4476442"/>
            <a:ext cx="2519999" cy="1568758"/>
          </a:xfrm>
        </p:spPr>
        <p:txBody>
          <a:bodyPr/>
          <a:lstStyle>
            <a:lvl1pPr>
              <a:defRPr sz="18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Insert subhead maximum 2 lin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object 3">
            <a:extLst>
              <a:ext uri="{FF2B5EF4-FFF2-40B4-BE49-F238E27FC236}">
                <a16:creationId xmlns:a16="http://schemas.microsoft.com/office/drawing/2014/main" id="{9AE6A471-2D80-4370-9D75-E7ABB2FCA257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7426839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orld Map (reversed)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0" name="Slide Number Placeholder 239">
            <a:extLst>
              <a:ext uri="{FF2B5EF4-FFF2-40B4-BE49-F238E27FC236}">
                <a16:creationId xmlns:a16="http://schemas.microsoft.com/office/drawing/2014/main" id="{D18B2421-7624-4758-8FF9-EBA434C37FE1}"/>
              </a:ext>
            </a:extLst>
          </p:cNvPr>
          <p:cNvSpPr>
            <a:spLocks noGrp="1"/>
          </p:cNvSpPr>
          <p:nvPr>
            <p:ph type="sldNum" sz="quarter" idx="38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E886C06-32D4-413B-9778-699B931939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42" name="Subtitle">
            <a:extLst>
              <a:ext uri="{FF2B5EF4-FFF2-40B4-BE49-F238E27FC236}">
                <a16:creationId xmlns:a16="http://schemas.microsoft.com/office/drawing/2014/main" id="{4499EA25-F64A-4F6F-94FA-3F14F4B4436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63600" y="784800"/>
            <a:ext cx="11431413" cy="514738"/>
          </a:xfrm>
          <a:prstGeom prst="rect">
            <a:avLst/>
          </a:prstGeom>
        </p:spPr>
        <p:txBody>
          <a:bodyPr wrap="square" lIns="0" tIns="144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400">
                <a:solidFill>
                  <a:schemeClr val="tx1"/>
                </a:solidFill>
                <a:latin typeface="Arial Nova Light" panose="020B0304020202020204" pitchFamily="34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4 </a:t>
            </a:r>
            <a:r>
              <a:rPr lang="en-US" err="1"/>
              <a:t>pt</a:t>
            </a:r>
            <a:r>
              <a:rPr lang="en-US"/>
              <a:t>, align to the baseline of the title</a:t>
            </a:r>
          </a:p>
        </p:txBody>
      </p:sp>
      <p:grpSp>
        <p:nvGrpSpPr>
          <p:cNvPr id="5" name="World Map" descr="World map">
            <a:extLst>
              <a:ext uri="{FF2B5EF4-FFF2-40B4-BE49-F238E27FC236}">
                <a16:creationId xmlns:a16="http://schemas.microsoft.com/office/drawing/2014/main" id="{40B94006-176E-4431-92B8-C480F62A93B6}"/>
              </a:ext>
            </a:extLst>
          </p:cNvPr>
          <p:cNvGrpSpPr/>
          <p:nvPr userDrawn="1"/>
        </p:nvGrpSpPr>
        <p:grpSpPr>
          <a:xfrm>
            <a:off x="2200386" y="1926779"/>
            <a:ext cx="7788059" cy="3824990"/>
            <a:chOff x="2197101" y="1982788"/>
            <a:chExt cx="7789861" cy="3825875"/>
          </a:xfrm>
          <a:solidFill>
            <a:schemeClr val="accent1">
              <a:lumMod val="75000"/>
              <a:lumOff val="25000"/>
            </a:schemeClr>
          </a:solidFill>
        </p:grpSpPr>
        <p:grpSp>
          <p:nvGrpSpPr>
            <p:cNvPr id="6" name="Group 206">
              <a:extLst>
                <a:ext uri="{FF2B5EF4-FFF2-40B4-BE49-F238E27FC236}">
                  <a16:creationId xmlns:a16="http://schemas.microsoft.com/office/drawing/2014/main" id="{3CD1D97C-D503-48EE-8631-170BE90A045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882900" y="1997075"/>
              <a:ext cx="6932612" cy="3551238"/>
              <a:chOff x="1816" y="1258"/>
              <a:chExt cx="4367" cy="2237"/>
            </a:xfrm>
            <a:grpFill/>
          </p:grpSpPr>
          <p:sp>
            <p:nvSpPr>
              <p:cNvPr id="40" name="Freeform 6">
                <a:extLst>
                  <a:ext uri="{FF2B5EF4-FFF2-40B4-BE49-F238E27FC236}">
                    <a16:creationId xmlns:a16="http://schemas.microsoft.com/office/drawing/2014/main" id="{47D238CD-E39E-45CE-9C6A-2431846B9E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16" y="1905"/>
                <a:ext cx="1" cy="3"/>
              </a:xfrm>
              <a:custGeom>
                <a:avLst/>
                <a:gdLst>
                  <a:gd name="T0" fmla="*/ 0 w 1"/>
                  <a:gd name="T1" fmla="*/ 0 h 3"/>
                  <a:gd name="T2" fmla="*/ 0 w 1"/>
                  <a:gd name="T3" fmla="*/ 0 h 3"/>
                  <a:gd name="T4" fmla="*/ 1 w 1"/>
                  <a:gd name="T5" fmla="*/ 3 h 3"/>
                  <a:gd name="T6" fmla="*/ 0 w 1"/>
                  <a:gd name="T7" fmla="*/ 0 h 3"/>
                  <a:gd name="T8" fmla="*/ 0 w 1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3">
                    <a:moveTo>
                      <a:pt x="0" y="0"/>
                    </a:moveTo>
                    <a:lnTo>
                      <a:pt x="0" y="0"/>
                    </a:lnTo>
                    <a:lnTo>
                      <a:pt x="1" y="3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41" name="Freeform 7">
                <a:extLst>
                  <a:ext uri="{FF2B5EF4-FFF2-40B4-BE49-F238E27FC236}">
                    <a16:creationId xmlns:a16="http://schemas.microsoft.com/office/drawing/2014/main" id="{4AFD66C5-C7E6-40CD-95E8-6D987AFC87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17" y="1903"/>
                <a:ext cx="21" cy="17"/>
              </a:xfrm>
              <a:custGeom>
                <a:avLst/>
                <a:gdLst>
                  <a:gd name="T0" fmla="*/ 9 w 21"/>
                  <a:gd name="T1" fmla="*/ 15 h 17"/>
                  <a:gd name="T2" fmla="*/ 5 w 21"/>
                  <a:gd name="T3" fmla="*/ 13 h 17"/>
                  <a:gd name="T4" fmla="*/ 8 w 21"/>
                  <a:gd name="T5" fmla="*/ 17 h 17"/>
                  <a:gd name="T6" fmla="*/ 10 w 21"/>
                  <a:gd name="T7" fmla="*/ 15 h 17"/>
                  <a:gd name="T8" fmla="*/ 11 w 21"/>
                  <a:gd name="T9" fmla="*/ 13 h 17"/>
                  <a:gd name="T10" fmla="*/ 9 w 21"/>
                  <a:gd name="T11" fmla="*/ 11 h 17"/>
                  <a:gd name="T12" fmla="*/ 11 w 21"/>
                  <a:gd name="T13" fmla="*/ 11 h 17"/>
                  <a:gd name="T14" fmla="*/ 17 w 21"/>
                  <a:gd name="T15" fmla="*/ 13 h 17"/>
                  <a:gd name="T16" fmla="*/ 19 w 21"/>
                  <a:gd name="T17" fmla="*/ 14 h 17"/>
                  <a:gd name="T18" fmla="*/ 21 w 21"/>
                  <a:gd name="T19" fmla="*/ 12 h 17"/>
                  <a:gd name="T20" fmla="*/ 20 w 21"/>
                  <a:gd name="T21" fmla="*/ 10 h 17"/>
                  <a:gd name="T22" fmla="*/ 14 w 21"/>
                  <a:gd name="T23" fmla="*/ 10 h 17"/>
                  <a:gd name="T24" fmla="*/ 12 w 21"/>
                  <a:gd name="T25" fmla="*/ 8 h 17"/>
                  <a:gd name="T26" fmla="*/ 7 w 21"/>
                  <a:gd name="T27" fmla="*/ 4 h 17"/>
                  <a:gd name="T28" fmla="*/ 14 w 21"/>
                  <a:gd name="T29" fmla="*/ 8 h 17"/>
                  <a:gd name="T30" fmla="*/ 18 w 21"/>
                  <a:gd name="T31" fmla="*/ 9 h 17"/>
                  <a:gd name="T32" fmla="*/ 17 w 21"/>
                  <a:gd name="T33" fmla="*/ 5 h 17"/>
                  <a:gd name="T34" fmla="*/ 19 w 21"/>
                  <a:gd name="T35" fmla="*/ 6 h 17"/>
                  <a:gd name="T36" fmla="*/ 20 w 21"/>
                  <a:gd name="T37" fmla="*/ 4 h 17"/>
                  <a:gd name="T38" fmla="*/ 17 w 21"/>
                  <a:gd name="T39" fmla="*/ 2 h 17"/>
                  <a:gd name="T40" fmla="*/ 14 w 21"/>
                  <a:gd name="T41" fmla="*/ 2 h 17"/>
                  <a:gd name="T42" fmla="*/ 9 w 21"/>
                  <a:gd name="T43" fmla="*/ 4 h 17"/>
                  <a:gd name="T44" fmla="*/ 12 w 21"/>
                  <a:gd name="T45" fmla="*/ 2 h 17"/>
                  <a:gd name="T46" fmla="*/ 9 w 21"/>
                  <a:gd name="T47" fmla="*/ 0 h 17"/>
                  <a:gd name="T48" fmla="*/ 4 w 21"/>
                  <a:gd name="T49" fmla="*/ 0 h 17"/>
                  <a:gd name="T50" fmla="*/ 3 w 21"/>
                  <a:gd name="T51" fmla="*/ 2 h 17"/>
                  <a:gd name="T52" fmla="*/ 1 w 21"/>
                  <a:gd name="T53" fmla="*/ 0 h 17"/>
                  <a:gd name="T54" fmla="*/ 0 w 21"/>
                  <a:gd name="T55" fmla="*/ 2 h 17"/>
                  <a:gd name="T56" fmla="*/ 2 w 21"/>
                  <a:gd name="T57" fmla="*/ 5 h 17"/>
                  <a:gd name="T58" fmla="*/ 0 w 21"/>
                  <a:gd name="T59" fmla="*/ 8 h 17"/>
                  <a:gd name="T60" fmla="*/ 2 w 21"/>
                  <a:gd name="T61" fmla="*/ 9 h 17"/>
                  <a:gd name="T62" fmla="*/ 4 w 21"/>
                  <a:gd name="T63" fmla="*/ 12 h 17"/>
                  <a:gd name="T64" fmla="*/ 9 w 21"/>
                  <a:gd name="T65" fmla="*/ 15 h 17"/>
                  <a:gd name="T66" fmla="*/ 9 w 21"/>
                  <a:gd name="T67" fmla="*/ 15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1" h="17">
                    <a:moveTo>
                      <a:pt x="9" y="15"/>
                    </a:moveTo>
                    <a:lnTo>
                      <a:pt x="5" y="13"/>
                    </a:lnTo>
                    <a:lnTo>
                      <a:pt x="8" y="17"/>
                    </a:lnTo>
                    <a:lnTo>
                      <a:pt x="10" y="15"/>
                    </a:lnTo>
                    <a:lnTo>
                      <a:pt x="11" y="13"/>
                    </a:lnTo>
                    <a:lnTo>
                      <a:pt x="9" y="11"/>
                    </a:lnTo>
                    <a:lnTo>
                      <a:pt x="11" y="11"/>
                    </a:lnTo>
                    <a:lnTo>
                      <a:pt x="17" y="13"/>
                    </a:lnTo>
                    <a:lnTo>
                      <a:pt x="19" y="14"/>
                    </a:lnTo>
                    <a:lnTo>
                      <a:pt x="21" y="12"/>
                    </a:lnTo>
                    <a:lnTo>
                      <a:pt x="20" y="10"/>
                    </a:lnTo>
                    <a:lnTo>
                      <a:pt x="14" y="10"/>
                    </a:lnTo>
                    <a:lnTo>
                      <a:pt x="12" y="8"/>
                    </a:lnTo>
                    <a:lnTo>
                      <a:pt x="7" y="4"/>
                    </a:lnTo>
                    <a:lnTo>
                      <a:pt x="14" y="8"/>
                    </a:lnTo>
                    <a:lnTo>
                      <a:pt x="18" y="9"/>
                    </a:lnTo>
                    <a:lnTo>
                      <a:pt x="17" y="5"/>
                    </a:lnTo>
                    <a:lnTo>
                      <a:pt x="19" y="6"/>
                    </a:lnTo>
                    <a:lnTo>
                      <a:pt x="20" y="4"/>
                    </a:lnTo>
                    <a:lnTo>
                      <a:pt x="17" y="2"/>
                    </a:lnTo>
                    <a:lnTo>
                      <a:pt x="14" y="2"/>
                    </a:lnTo>
                    <a:lnTo>
                      <a:pt x="9" y="4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3" y="2"/>
                    </a:lnTo>
                    <a:lnTo>
                      <a:pt x="1" y="0"/>
                    </a:lnTo>
                    <a:lnTo>
                      <a:pt x="0" y="2"/>
                    </a:lnTo>
                    <a:lnTo>
                      <a:pt x="2" y="5"/>
                    </a:lnTo>
                    <a:lnTo>
                      <a:pt x="0" y="8"/>
                    </a:lnTo>
                    <a:lnTo>
                      <a:pt x="2" y="9"/>
                    </a:lnTo>
                    <a:lnTo>
                      <a:pt x="4" y="12"/>
                    </a:lnTo>
                    <a:lnTo>
                      <a:pt x="9" y="15"/>
                    </a:lnTo>
                    <a:lnTo>
                      <a:pt x="9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42" name="Freeform 8">
                <a:extLst>
                  <a:ext uri="{FF2B5EF4-FFF2-40B4-BE49-F238E27FC236}">
                    <a16:creationId xmlns:a16="http://schemas.microsoft.com/office/drawing/2014/main" id="{22537EA4-925F-42CE-8562-95E79AC4CF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28" y="1917"/>
                <a:ext cx="14" cy="24"/>
              </a:xfrm>
              <a:custGeom>
                <a:avLst/>
                <a:gdLst>
                  <a:gd name="T0" fmla="*/ 7 w 14"/>
                  <a:gd name="T1" fmla="*/ 17 h 24"/>
                  <a:gd name="T2" fmla="*/ 9 w 14"/>
                  <a:gd name="T3" fmla="*/ 16 h 24"/>
                  <a:gd name="T4" fmla="*/ 8 w 14"/>
                  <a:gd name="T5" fmla="*/ 18 h 24"/>
                  <a:gd name="T6" fmla="*/ 10 w 14"/>
                  <a:gd name="T7" fmla="*/ 24 h 24"/>
                  <a:gd name="T8" fmla="*/ 14 w 14"/>
                  <a:gd name="T9" fmla="*/ 22 h 24"/>
                  <a:gd name="T10" fmla="*/ 12 w 14"/>
                  <a:gd name="T11" fmla="*/ 18 h 24"/>
                  <a:gd name="T12" fmla="*/ 14 w 14"/>
                  <a:gd name="T13" fmla="*/ 16 h 24"/>
                  <a:gd name="T14" fmla="*/ 10 w 14"/>
                  <a:gd name="T15" fmla="*/ 5 h 24"/>
                  <a:gd name="T16" fmla="*/ 9 w 14"/>
                  <a:gd name="T17" fmla="*/ 3 h 24"/>
                  <a:gd name="T18" fmla="*/ 6 w 14"/>
                  <a:gd name="T19" fmla="*/ 1 h 24"/>
                  <a:gd name="T20" fmla="*/ 3 w 14"/>
                  <a:gd name="T21" fmla="*/ 0 h 24"/>
                  <a:gd name="T22" fmla="*/ 0 w 14"/>
                  <a:gd name="T23" fmla="*/ 1 h 24"/>
                  <a:gd name="T24" fmla="*/ 0 w 14"/>
                  <a:gd name="T25" fmla="*/ 4 h 24"/>
                  <a:gd name="T26" fmla="*/ 2 w 14"/>
                  <a:gd name="T27" fmla="*/ 5 h 24"/>
                  <a:gd name="T28" fmla="*/ 2 w 14"/>
                  <a:gd name="T29" fmla="*/ 7 h 24"/>
                  <a:gd name="T30" fmla="*/ 6 w 14"/>
                  <a:gd name="T31" fmla="*/ 9 h 24"/>
                  <a:gd name="T32" fmla="*/ 2 w 14"/>
                  <a:gd name="T33" fmla="*/ 11 h 24"/>
                  <a:gd name="T34" fmla="*/ 3 w 14"/>
                  <a:gd name="T35" fmla="*/ 14 h 24"/>
                  <a:gd name="T36" fmla="*/ 6 w 14"/>
                  <a:gd name="T37" fmla="*/ 13 h 24"/>
                  <a:gd name="T38" fmla="*/ 6 w 14"/>
                  <a:gd name="T39" fmla="*/ 16 h 24"/>
                  <a:gd name="T40" fmla="*/ 8 w 14"/>
                  <a:gd name="T41" fmla="*/ 14 h 24"/>
                  <a:gd name="T42" fmla="*/ 6 w 14"/>
                  <a:gd name="T43" fmla="*/ 17 h 24"/>
                  <a:gd name="T44" fmla="*/ 7 w 14"/>
                  <a:gd name="T45" fmla="*/ 17 h 24"/>
                  <a:gd name="T46" fmla="*/ 7 w 14"/>
                  <a:gd name="T47" fmla="*/ 17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" h="24">
                    <a:moveTo>
                      <a:pt x="7" y="17"/>
                    </a:moveTo>
                    <a:lnTo>
                      <a:pt x="9" y="16"/>
                    </a:lnTo>
                    <a:lnTo>
                      <a:pt x="8" y="18"/>
                    </a:lnTo>
                    <a:lnTo>
                      <a:pt x="10" y="24"/>
                    </a:lnTo>
                    <a:lnTo>
                      <a:pt x="14" y="22"/>
                    </a:lnTo>
                    <a:lnTo>
                      <a:pt x="12" y="18"/>
                    </a:lnTo>
                    <a:lnTo>
                      <a:pt x="14" y="16"/>
                    </a:lnTo>
                    <a:lnTo>
                      <a:pt x="10" y="5"/>
                    </a:lnTo>
                    <a:lnTo>
                      <a:pt x="9" y="3"/>
                    </a:lnTo>
                    <a:lnTo>
                      <a:pt x="6" y="1"/>
                    </a:lnTo>
                    <a:lnTo>
                      <a:pt x="3" y="0"/>
                    </a:lnTo>
                    <a:lnTo>
                      <a:pt x="0" y="1"/>
                    </a:lnTo>
                    <a:lnTo>
                      <a:pt x="0" y="4"/>
                    </a:lnTo>
                    <a:lnTo>
                      <a:pt x="2" y="5"/>
                    </a:lnTo>
                    <a:lnTo>
                      <a:pt x="2" y="7"/>
                    </a:lnTo>
                    <a:lnTo>
                      <a:pt x="6" y="9"/>
                    </a:lnTo>
                    <a:lnTo>
                      <a:pt x="2" y="11"/>
                    </a:lnTo>
                    <a:lnTo>
                      <a:pt x="3" y="14"/>
                    </a:lnTo>
                    <a:lnTo>
                      <a:pt x="6" y="13"/>
                    </a:lnTo>
                    <a:lnTo>
                      <a:pt x="6" y="16"/>
                    </a:lnTo>
                    <a:lnTo>
                      <a:pt x="8" y="14"/>
                    </a:lnTo>
                    <a:lnTo>
                      <a:pt x="6" y="17"/>
                    </a:lnTo>
                    <a:lnTo>
                      <a:pt x="7" y="17"/>
                    </a:lnTo>
                    <a:lnTo>
                      <a:pt x="7" y="1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43" name="Freeform 9">
                <a:extLst>
                  <a:ext uri="{FF2B5EF4-FFF2-40B4-BE49-F238E27FC236}">
                    <a16:creationId xmlns:a16="http://schemas.microsoft.com/office/drawing/2014/main" id="{E76420E8-2814-41DA-AF0B-93B402EC73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37" y="1899"/>
                <a:ext cx="15" cy="26"/>
              </a:xfrm>
              <a:custGeom>
                <a:avLst/>
                <a:gdLst>
                  <a:gd name="T0" fmla="*/ 5 w 15"/>
                  <a:gd name="T1" fmla="*/ 18 h 26"/>
                  <a:gd name="T2" fmla="*/ 7 w 15"/>
                  <a:gd name="T3" fmla="*/ 17 h 26"/>
                  <a:gd name="T4" fmla="*/ 5 w 15"/>
                  <a:gd name="T5" fmla="*/ 18 h 26"/>
                  <a:gd name="T6" fmla="*/ 7 w 15"/>
                  <a:gd name="T7" fmla="*/ 21 h 26"/>
                  <a:gd name="T8" fmla="*/ 5 w 15"/>
                  <a:gd name="T9" fmla="*/ 22 h 26"/>
                  <a:gd name="T10" fmla="*/ 5 w 15"/>
                  <a:gd name="T11" fmla="*/ 25 h 26"/>
                  <a:gd name="T12" fmla="*/ 7 w 15"/>
                  <a:gd name="T13" fmla="*/ 26 h 26"/>
                  <a:gd name="T14" fmla="*/ 10 w 15"/>
                  <a:gd name="T15" fmla="*/ 24 h 26"/>
                  <a:gd name="T16" fmla="*/ 10 w 15"/>
                  <a:gd name="T17" fmla="*/ 22 h 26"/>
                  <a:gd name="T18" fmla="*/ 14 w 15"/>
                  <a:gd name="T19" fmla="*/ 22 h 26"/>
                  <a:gd name="T20" fmla="*/ 13 w 15"/>
                  <a:gd name="T21" fmla="*/ 19 h 26"/>
                  <a:gd name="T22" fmla="*/ 14 w 15"/>
                  <a:gd name="T23" fmla="*/ 16 h 26"/>
                  <a:gd name="T24" fmla="*/ 9 w 15"/>
                  <a:gd name="T25" fmla="*/ 10 h 26"/>
                  <a:gd name="T26" fmla="*/ 9 w 15"/>
                  <a:gd name="T27" fmla="*/ 8 h 26"/>
                  <a:gd name="T28" fmla="*/ 13 w 15"/>
                  <a:gd name="T29" fmla="*/ 14 h 26"/>
                  <a:gd name="T30" fmla="*/ 15 w 15"/>
                  <a:gd name="T31" fmla="*/ 16 h 26"/>
                  <a:gd name="T32" fmla="*/ 14 w 15"/>
                  <a:gd name="T33" fmla="*/ 12 h 26"/>
                  <a:gd name="T34" fmla="*/ 11 w 15"/>
                  <a:gd name="T35" fmla="*/ 8 h 26"/>
                  <a:gd name="T36" fmla="*/ 10 w 15"/>
                  <a:gd name="T37" fmla="*/ 6 h 26"/>
                  <a:gd name="T38" fmla="*/ 5 w 15"/>
                  <a:gd name="T39" fmla="*/ 5 h 26"/>
                  <a:gd name="T40" fmla="*/ 2 w 15"/>
                  <a:gd name="T41" fmla="*/ 2 h 26"/>
                  <a:gd name="T42" fmla="*/ 0 w 15"/>
                  <a:gd name="T43" fmla="*/ 0 h 26"/>
                  <a:gd name="T44" fmla="*/ 0 w 15"/>
                  <a:gd name="T45" fmla="*/ 2 h 26"/>
                  <a:gd name="T46" fmla="*/ 1 w 15"/>
                  <a:gd name="T47" fmla="*/ 6 h 26"/>
                  <a:gd name="T48" fmla="*/ 2 w 15"/>
                  <a:gd name="T49" fmla="*/ 8 h 26"/>
                  <a:gd name="T50" fmla="*/ 2 w 15"/>
                  <a:gd name="T51" fmla="*/ 14 h 26"/>
                  <a:gd name="T52" fmla="*/ 5 w 15"/>
                  <a:gd name="T53" fmla="*/ 18 h 26"/>
                  <a:gd name="T54" fmla="*/ 5 w 15"/>
                  <a:gd name="T55" fmla="*/ 18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5" h="26">
                    <a:moveTo>
                      <a:pt x="5" y="18"/>
                    </a:moveTo>
                    <a:lnTo>
                      <a:pt x="7" y="17"/>
                    </a:lnTo>
                    <a:lnTo>
                      <a:pt x="5" y="18"/>
                    </a:lnTo>
                    <a:lnTo>
                      <a:pt x="7" y="21"/>
                    </a:lnTo>
                    <a:lnTo>
                      <a:pt x="5" y="22"/>
                    </a:lnTo>
                    <a:lnTo>
                      <a:pt x="5" y="25"/>
                    </a:lnTo>
                    <a:lnTo>
                      <a:pt x="7" y="26"/>
                    </a:lnTo>
                    <a:lnTo>
                      <a:pt x="10" y="24"/>
                    </a:lnTo>
                    <a:lnTo>
                      <a:pt x="10" y="22"/>
                    </a:lnTo>
                    <a:lnTo>
                      <a:pt x="14" y="22"/>
                    </a:lnTo>
                    <a:lnTo>
                      <a:pt x="13" y="19"/>
                    </a:lnTo>
                    <a:lnTo>
                      <a:pt x="14" y="16"/>
                    </a:lnTo>
                    <a:lnTo>
                      <a:pt x="9" y="10"/>
                    </a:lnTo>
                    <a:lnTo>
                      <a:pt x="9" y="8"/>
                    </a:lnTo>
                    <a:lnTo>
                      <a:pt x="13" y="14"/>
                    </a:lnTo>
                    <a:lnTo>
                      <a:pt x="15" y="16"/>
                    </a:lnTo>
                    <a:lnTo>
                      <a:pt x="14" y="12"/>
                    </a:lnTo>
                    <a:lnTo>
                      <a:pt x="11" y="8"/>
                    </a:lnTo>
                    <a:lnTo>
                      <a:pt x="10" y="6"/>
                    </a:lnTo>
                    <a:lnTo>
                      <a:pt x="5" y="5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1" y="6"/>
                    </a:lnTo>
                    <a:lnTo>
                      <a:pt x="2" y="8"/>
                    </a:lnTo>
                    <a:lnTo>
                      <a:pt x="2" y="14"/>
                    </a:lnTo>
                    <a:lnTo>
                      <a:pt x="5" y="18"/>
                    </a:lnTo>
                    <a:lnTo>
                      <a:pt x="5" y="1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44" name="Freeform 10">
                <a:extLst>
                  <a:ext uri="{FF2B5EF4-FFF2-40B4-BE49-F238E27FC236}">
                    <a16:creationId xmlns:a16="http://schemas.microsoft.com/office/drawing/2014/main" id="{C75CCCA9-26A2-4C10-BF3F-DDD7219193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43" y="1900"/>
                <a:ext cx="2" cy="3"/>
              </a:xfrm>
              <a:custGeom>
                <a:avLst/>
                <a:gdLst>
                  <a:gd name="T0" fmla="*/ 0 w 2"/>
                  <a:gd name="T1" fmla="*/ 0 h 3"/>
                  <a:gd name="T2" fmla="*/ 0 w 2"/>
                  <a:gd name="T3" fmla="*/ 3 h 3"/>
                  <a:gd name="T4" fmla="*/ 2 w 2"/>
                  <a:gd name="T5" fmla="*/ 3 h 3"/>
                  <a:gd name="T6" fmla="*/ 0 w 2"/>
                  <a:gd name="T7" fmla="*/ 0 h 3"/>
                  <a:gd name="T8" fmla="*/ 0 w 2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3">
                    <a:moveTo>
                      <a:pt x="0" y="0"/>
                    </a:moveTo>
                    <a:lnTo>
                      <a:pt x="0" y="3"/>
                    </a:lnTo>
                    <a:lnTo>
                      <a:pt x="2" y="3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45" name="Freeform 11">
                <a:extLst>
                  <a:ext uri="{FF2B5EF4-FFF2-40B4-BE49-F238E27FC236}">
                    <a16:creationId xmlns:a16="http://schemas.microsoft.com/office/drawing/2014/main" id="{0E27090A-89E8-4A5F-8B7F-195B15A429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44" y="1929"/>
                <a:ext cx="9" cy="18"/>
              </a:xfrm>
              <a:custGeom>
                <a:avLst/>
                <a:gdLst>
                  <a:gd name="T0" fmla="*/ 3 w 9"/>
                  <a:gd name="T1" fmla="*/ 18 h 18"/>
                  <a:gd name="T2" fmla="*/ 4 w 9"/>
                  <a:gd name="T3" fmla="*/ 12 h 18"/>
                  <a:gd name="T4" fmla="*/ 6 w 9"/>
                  <a:gd name="T5" fmla="*/ 14 h 18"/>
                  <a:gd name="T6" fmla="*/ 7 w 9"/>
                  <a:gd name="T7" fmla="*/ 12 h 18"/>
                  <a:gd name="T8" fmla="*/ 8 w 9"/>
                  <a:gd name="T9" fmla="*/ 6 h 18"/>
                  <a:gd name="T10" fmla="*/ 9 w 9"/>
                  <a:gd name="T11" fmla="*/ 4 h 18"/>
                  <a:gd name="T12" fmla="*/ 6 w 9"/>
                  <a:gd name="T13" fmla="*/ 5 h 18"/>
                  <a:gd name="T14" fmla="*/ 7 w 9"/>
                  <a:gd name="T15" fmla="*/ 2 h 18"/>
                  <a:gd name="T16" fmla="*/ 4 w 9"/>
                  <a:gd name="T17" fmla="*/ 0 h 18"/>
                  <a:gd name="T18" fmla="*/ 1 w 9"/>
                  <a:gd name="T19" fmla="*/ 0 h 18"/>
                  <a:gd name="T20" fmla="*/ 0 w 9"/>
                  <a:gd name="T21" fmla="*/ 3 h 18"/>
                  <a:gd name="T22" fmla="*/ 2 w 9"/>
                  <a:gd name="T23" fmla="*/ 5 h 18"/>
                  <a:gd name="T24" fmla="*/ 4 w 9"/>
                  <a:gd name="T25" fmla="*/ 6 h 18"/>
                  <a:gd name="T26" fmla="*/ 6 w 9"/>
                  <a:gd name="T27" fmla="*/ 9 h 18"/>
                  <a:gd name="T28" fmla="*/ 2 w 9"/>
                  <a:gd name="T29" fmla="*/ 9 h 18"/>
                  <a:gd name="T30" fmla="*/ 3 w 9"/>
                  <a:gd name="T31" fmla="*/ 14 h 18"/>
                  <a:gd name="T32" fmla="*/ 3 w 9"/>
                  <a:gd name="T33" fmla="*/ 18 h 18"/>
                  <a:gd name="T34" fmla="*/ 3 w 9"/>
                  <a:gd name="T35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" h="18">
                    <a:moveTo>
                      <a:pt x="3" y="18"/>
                    </a:moveTo>
                    <a:lnTo>
                      <a:pt x="4" y="12"/>
                    </a:lnTo>
                    <a:lnTo>
                      <a:pt x="6" y="14"/>
                    </a:lnTo>
                    <a:lnTo>
                      <a:pt x="7" y="12"/>
                    </a:lnTo>
                    <a:lnTo>
                      <a:pt x="8" y="6"/>
                    </a:lnTo>
                    <a:lnTo>
                      <a:pt x="9" y="4"/>
                    </a:lnTo>
                    <a:lnTo>
                      <a:pt x="6" y="5"/>
                    </a:lnTo>
                    <a:lnTo>
                      <a:pt x="7" y="2"/>
                    </a:lnTo>
                    <a:lnTo>
                      <a:pt x="4" y="0"/>
                    </a:lnTo>
                    <a:lnTo>
                      <a:pt x="1" y="0"/>
                    </a:lnTo>
                    <a:lnTo>
                      <a:pt x="0" y="3"/>
                    </a:lnTo>
                    <a:lnTo>
                      <a:pt x="2" y="5"/>
                    </a:lnTo>
                    <a:lnTo>
                      <a:pt x="4" y="6"/>
                    </a:lnTo>
                    <a:lnTo>
                      <a:pt x="6" y="9"/>
                    </a:lnTo>
                    <a:lnTo>
                      <a:pt x="2" y="9"/>
                    </a:lnTo>
                    <a:lnTo>
                      <a:pt x="3" y="14"/>
                    </a:lnTo>
                    <a:lnTo>
                      <a:pt x="3" y="18"/>
                    </a:lnTo>
                    <a:lnTo>
                      <a:pt x="3" y="1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46" name="Freeform 12">
                <a:extLst>
                  <a:ext uri="{FF2B5EF4-FFF2-40B4-BE49-F238E27FC236}">
                    <a16:creationId xmlns:a16="http://schemas.microsoft.com/office/drawing/2014/main" id="{85EB06DB-A51E-46B5-8E28-78521A5622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63" y="1938"/>
                <a:ext cx="6" cy="4"/>
              </a:xfrm>
              <a:custGeom>
                <a:avLst/>
                <a:gdLst>
                  <a:gd name="T0" fmla="*/ 5 w 6"/>
                  <a:gd name="T1" fmla="*/ 0 h 4"/>
                  <a:gd name="T2" fmla="*/ 2 w 6"/>
                  <a:gd name="T3" fmla="*/ 0 h 4"/>
                  <a:gd name="T4" fmla="*/ 0 w 6"/>
                  <a:gd name="T5" fmla="*/ 2 h 4"/>
                  <a:gd name="T6" fmla="*/ 2 w 6"/>
                  <a:gd name="T7" fmla="*/ 4 h 4"/>
                  <a:gd name="T8" fmla="*/ 6 w 6"/>
                  <a:gd name="T9" fmla="*/ 2 h 4"/>
                  <a:gd name="T10" fmla="*/ 5 w 6"/>
                  <a:gd name="T11" fmla="*/ 0 h 4"/>
                  <a:gd name="T12" fmla="*/ 5 w 6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4">
                    <a:moveTo>
                      <a:pt x="5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6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47" name="Freeform 13">
                <a:extLst>
                  <a:ext uri="{FF2B5EF4-FFF2-40B4-BE49-F238E27FC236}">
                    <a16:creationId xmlns:a16="http://schemas.microsoft.com/office/drawing/2014/main" id="{6D6CB40F-B1DF-4102-A43E-6F434398FB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65" y="1961"/>
                <a:ext cx="3" cy="4"/>
              </a:xfrm>
              <a:custGeom>
                <a:avLst/>
                <a:gdLst>
                  <a:gd name="T0" fmla="*/ 0 w 3"/>
                  <a:gd name="T1" fmla="*/ 0 h 4"/>
                  <a:gd name="T2" fmla="*/ 0 w 3"/>
                  <a:gd name="T3" fmla="*/ 4 h 4"/>
                  <a:gd name="T4" fmla="*/ 3 w 3"/>
                  <a:gd name="T5" fmla="*/ 4 h 4"/>
                  <a:gd name="T6" fmla="*/ 0 w 3"/>
                  <a:gd name="T7" fmla="*/ 0 h 4"/>
                  <a:gd name="T8" fmla="*/ 0 w 3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4">
                    <a:moveTo>
                      <a:pt x="0" y="0"/>
                    </a:moveTo>
                    <a:lnTo>
                      <a:pt x="0" y="4"/>
                    </a:lnTo>
                    <a:lnTo>
                      <a:pt x="3" y="4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48" name="Freeform 14">
                <a:extLst>
                  <a:ext uri="{FF2B5EF4-FFF2-40B4-BE49-F238E27FC236}">
                    <a16:creationId xmlns:a16="http://schemas.microsoft.com/office/drawing/2014/main" id="{DE1EFA14-6F9E-4472-8318-1C2ACECD0C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68" y="1940"/>
                <a:ext cx="6" cy="7"/>
              </a:xfrm>
              <a:custGeom>
                <a:avLst/>
                <a:gdLst>
                  <a:gd name="T0" fmla="*/ 4 w 6"/>
                  <a:gd name="T1" fmla="*/ 0 h 7"/>
                  <a:gd name="T2" fmla="*/ 2 w 6"/>
                  <a:gd name="T3" fmla="*/ 0 h 7"/>
                  <a:gd name="T4" fmla="*/ 0 w 6"/>
                  <a:gd name="T5" fmla="*/ 2 h 7"/>
                  <a:gd name="T6" fmla="*/ 1 w 6"/>
                  <a:gd name="T7" fmla="*/ 5 h 7"/>
                  <a:gd name="T8" fmla="*/ 4 w 6"/>
                  <a:gd name="T9" fmla="*/ 7 h 7"/>
                  <a:gd name="T10" fmla="*/ 6 w 6"/>
                  <a:gd name="T11" fmla="*/ 6 h 7"/>
                  <a:gd name="T12" fmla="*/ 5 w 6"/>
                  <a:gd name="T13" fmla="*/ 2 h 7"/>
                  <a:gd name="T14" fmla="*/ 2 w 6"/>
                  <a:gd name="T15" fmla="*/ 2 h 7"/>
                  <a:gd name="T16" fmla="*/ 4 w 6"/>
                  <a:gd name="T17" fmla="*/ 0 h 7"/>
                  <a:gd name="T18" fmla="*/ 4 w 6"/>
                  <a:gd name="T1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" h="7">
                    <a:moveTo>
                      <a:pt x="4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1" y="5"/>
                    </a:lnTo>
                    <a:lnTo>
                      <a:pt x="4" y="7"/>
                    </a:lnTo>
                    <a:lnTo>
                      <a:pt x="6" y="6"/>
                    </a:lnTo>
                    <a:lnTo>
                      <a:pt x="5" y="2"/>
                    </a:lnTo>
                    <a:lnTo>
                      <a:pt x="2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49" name="Freeform 15">
                <a:extLst>
                  <a:ext uri="{FF2B5EF4-FFF2-40B4-BE49-F238E27FC236}">
                    <a16:creationId xmlns:a16="http://schemas.microsoft.com/office/drawing/2014/main" id="{E290F6B0-B678-476E-BCD5-5939F882A1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72" y="1937"/>
                <a:ext cx="6" cy="6"/>
              </a:xfrm>
              <a:custGeom>
                <a:avLst/>
                <a:gdLst>
                  <a:gd name="T0" fmla="*/ 0 w 6"/>
                  <a:gd name="T1" fmla="*/ 0 h 6"/>
                  <a:gd name="T2" fmla="*/ 0 w 6"/>
                  <a:gd name="T3" fmla="*/ 4 h 6"/>
                  <a:gd name="T4" fmla="*/ 2 w 6"/>
                  <a:gd name="T5" fmla="*/ 6 h 6"/>
                  <a:gd name="T6" fmla="*/ 6 w 6"/>
                  <a:gd name="T7" fmla="*/ 5 h 6"/>
                  <a:gd name="T8" fmla="*/ 0 w 6"/>
                  <a:gd name="T9" fmla="*/ 0 h 6"/>
                  <a:gd name="T10" fmla="*/ 0 w 6"/>
                  <a:gd name="T11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6">
                    <a:moveTo>
                      <a:pt x="0" y="0"/>
                    </a:moveTo>
                    <a:lnTo>
                      <a:pt x="0" y="4"/>
                    </a:lnTo>
                    <a:lnTo>
                      <a:pt x="2" y="6"/>
                    </a:lnTo>
                    <a:lnTo>
                      <a:pt x="6" y="5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50" name="Freeform 16">
                <a:extLst>
                  <a:ext uri="{FF2B5EF4-FFF2-40B4-BE49-F238E27FC236}">
                    <a16:creationId xmlns:a16="http://schemas.microsoft.com/office/drawing/2014/main" id="{9B50BCF7-6FFD-4B0B-881C-9A73A275DD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79" y="1958"/>
                <a:ext cx="3" cy="5"/>
              </a:xfrm>
              <a:custGeom>
                <a:avLst/>
                <a:gdLst>
                  <a:gd name="T0" fmla="*/ 0 w 3"/>
                  <a:gd name="T1" fmla="*/ 0 h 5"/>
                  <a:gd name="T2" fmla="*/ 0 w 3"/>
                  <a:gd name="T3" fmla="*/ 1 h 5"/>
                  <a:gd name="T4" fmla="*/ 1 w 3"/>
                  <a:gd name="T5" fmla="*/ 5 h 5"/>
                  <a:gd name="T6" fmla="*/ 3 w 3"/>
                  <a:gd name="T7" fmla="*/ 1 h 5"/>
                  <a:gd name="T8" fmla="*/ 0 w 3"/>
                  <a:gd name="T9" fmla="*/ 0 h 5"/>
                  <a:gd name="T10" fmla="*/ 0 w 3"/>
                  <a:gd name="T11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5">
                    <a:moveTo>
                      <a:pt x="0" y="0"/>
                    </a:moveTo>
                    <a:lnTo>
                      <a:pt x="0" y="1"/>
                    </a:lnTo>
                    <a:lnTo>
                      <a:pt x="1" y="5"/>
                    </a:lnTo>
                    <a:lnTo>
                      <a:pt x="3" y="1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51" name="Freeform 17">
                <a:extLst>
                  <a:ext uri="{FF2B5EF4-FFF2-40B4-BE49-F238E27FC236}">
                    <a16:creationId xmlns:a16="http://schemas.microsoft.com/office/drawing/2014/main" id="{E96F29C5-1ABE-4D6B-A381-E8373C231C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80" y="1947"/>
                <a:ext cx="11" cy="13"/>
              </a:xfrm>
              <a:custGeom>
                <a:avLst/>
                <a:gdLst>
                  <a:gd name="T0" fmla="*/ 2 w 11"/>
                  <a:gd name="T1" fmla="*/ 12 h 13"/>
                  <a:gd name="T2" fmla="*/ 4 w 11"/>
                  <a:gd name="T3" fmla="*/ 10 h 13"/>
                  <a:gd name="T4" fmla="*/ 7 w 11"/>
                  <a:gd name="T5" fmla="*/ 10 h 13"/>
                  <a:gd name="T6" fmla="*/ 6 w 11"/>
                  <a:gd name="T7" fmla="*/ 8 h 13"/>
                  <a:gd name="T8" fmla="*/ 7 w 11"/>
                  <a:gd name="T9" fmla="*/ 10 h 13"/>
                  <a:gd name="T10" fmla="*/ 5 w 11"/>
                  <a:gd name="T11" fmla="*/ 12 h 13"/>
                  <a:gd name="T12" fmla="*/ 7 w 11"/>
                  <a:gd name="T13" fmla="*/ 12 h 13"/>
                  <a:gd name="T14" fmla="*/ 10 w 11"/>
                  <a:gd name="T15" fmla="*/ 13 h 13"/>
                  <a:gd name="T16" fmla="*/ 11 w 11"/>
                  <a:gd name="T17" fmla="*/ 5 h 13"/>
                  <a:gd name="T18" fmla="*/ 10 w 11"/>
                  <a:gd name="T19" fmla="*/ 3 h 13"/>
                  <a:gd name="T20" fmla="*/ 7 w 11"/>
                  <a:gd name="T21" fmla="*/ 0 h 13"/>
                  <a:gd name="T22" fmla="*/ 5 w 11"/>
                  <a:gd name="T23" fmla="*/ 1 h 13"/>
                  <a:gd name="T24" fmla="*/ 2 w 11"/>
                  <a:gd name="T25" fmla="*/ 2 h 13"/>
                  <a:gd name="T26" fmla="*/ 2 w 11"/>
                  <a:gd name="T27" fmla="*/ 8 h 13"/>
                  <a:gd name="T28" fmla="*/ 0 w 11"/>
                  <a:gd name="T29" fmla="*/ 11 h 13"/>
                  <a:gd name="T30" fmla="*/ 2 w 11"/>
                  <a:gd name="T31" fmla="*/ 12 h 13"/>
                  <a:gd name="T32" fmla="*/ 2 w 11"/>
                  <a:gd name="T33" fmla="*/ 12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" h="13">
                    <a:moveTo>
                      <a:pt x="2" y="12"/>
                    </a:moveTo>
                    <a:lnTo>
                      <a:pt x="4" y="10"/>
                    </a:lnTo>
                    <a:lnTo>
                      <a:pt x="7" y="10"/>
                    </a:lnTo>
                    <a:lnTo>
                      <a:pt x="6" y="8"/>
                    </a:lnTo>
                    <a:lnTo>
                      <a:pt x="7" y="10"/>
                    </a:lnTo>
                    <a:lnTo>
                      <a:pt x="5" y="12"/>
                    </a:lnTo>
                    <a:lnTo>
                      <a:pt x="7" y="12"/>
                    </a:lnTo>
                    <a:lnTo>
                      <a:pt x="10" y="13"/>
                    </a:lnTo>
                    <a:lnTo>
                      <a:pt x="11" y="5"/>
                    </a:lnTo>
                    <a:lnTo>
                      <a:pt x="10" y="3"/>
                    </a:lnTo>
                    <a:lnTo>
                      <a:pt x="7" y="0"/>
                    </a:lnTo>
                    <a:lnTo>
                      <a:pt x="5" y="1"/>
                    </a:lnTo>
                    <a:lnTo>
                      <a:pt x="2" y="2"/>
                    </a:lnTo>
                    <a:lnTo>
                      <a:pt x="2" y="8"/>
                    </a:lnTo>
                    <a:lnTo>
                      <a:pt x="0" y="11"/>
                    </a:lnTo>
                    <a:lnTo>
                      <a:pt x="2" y="12"/>
                    </a:lnTo>
                    <a:lnTo>
                      <a:pt x="2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52" name="Freeform 18">
                <a:extLst>
                  <a:ext uri="{FF2B5EF4-FFF2-40B4-BE49-F238E27FC236}">
                    <a16:creationId xmlns:a16="http://schemas.microsoft.com/office/drawing/2014/main" id="{43E0AFE0-DF59-426F-98B1-0D89E87802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62" y="1981"/>
                <a:ext cx="19" cy="19"/>
              </a:xfrm>
              <a:custGeom>
                <a:avLst/>
                <a:gdLst>
                  <a:gd name="T0" fmla="*/ 2 w 19"/>
                  <a:gd name="T1" fmla="*/ 11 h 19"/>
                  <a:gd name="T2" fmla="*/ 5 w 19"/>
                  <a:gd name="T3" fmla="*/ 13 h 19"/>
                  <a:gd name="T4" fmla="*/ 7 w 19"/>
                  <a:gd name="T5" fmla="*/ 14 h 19"/>
                  <a:gd name="T6" fmla="*/ 5 w 19"/>
                  <a:gd name="T7" fmla="*/ 16 h 19"/>
                  <a:gd name="T8" fmla="*/ 8 w 19"/>
                  <a:gd name="T9" fmla="*/ 16 h 19"/>
                  <a:gd name="T10" fmla="*/ 8 w 19"/>
                  <a:gd name="T11" fmla="*/ 18 h 19"/>
                  <a:gd name="T12" fmla="*/ 10 w 19"/>
                  <a:gd name="T13" fmla="*/ 19 h 19"/>
                  <a:gd name="T14" fmla="*/ 14 w 19"/>
                  <a:gd name="T15" fmla="*/ 18 h 19"/>
                  <a:gd name="T16" fmla="*/ 16 w 19"/>
                  <a:gd name="T17" fmla="*/ 16 h 19"/>
                  <a:gd name="T18" fmla="*/ 16 w 19"/>
                  <a:gd name="T19" fmla="*/ 10 h 19"/>
                  <a:gd name="T20" fmla="*/ 17 w 19"/>
                  <a:gd name="T21" fmla="*/ 8 h 19"/>
                  <a:gd name="T22" fmla="*/ 18 w 19"/>
                  <a:gd name="T23" fmla="*/ 5 h 19"/>
                  <a:gd name="T24" fmla="*/ 19 w 19"/>
                  <a:gd name="T25" fmla="*/ 2 h 19"/>
                  <a:gd name="T26" fmla="*/ 17 w 19"/>
                  <a:gd name="T27" fmla="*/ 2 h 19"/>
                  <a:gd name="T28" fmla="*/ 15 w 19"/>
                  <a:gd name="T29" fmla="*/ 3 h 19"/>
                  <a:gd name="T30" fmla="*/ 14 w 19"/>
                  <a:gd name="T31" fmla="*/ 5 h 19"/>
                  <a:gd name="T32" fmla="*/ 12 w 19"/>
                  <a:gd name="T33" fmla="*/ 9 h 19"/>
                  <a:gd name="T34" fmla="*/ 10 w 19"/>
                  <a:gd name="T35" fmla="*/ 11 h 19"/>
                  <a:gd name="T36" fmla="*/ 7 w 19"/>
                  <a:gd name="T37" fmla="*/ 10 h 19"/>
                  <a:gd name="T38" fmla="*/ 10 w 19"/>
                  <a:gd name="T39" fmla="*/ 8 h 19"/>
                  <a:gd name="T40" fmla="*/ 12 w 19"/>
                  <a:gd name="T41" fmla="*/ 7 h 19"/>
                  <a:gd name="T42" fmla="*/ 14 w 19"/>
                  <a:gd name="T43" fmla="*/ 4 h 19"/>
                  <a:gd name="T44" fmla="*/ 10 w 19"/>
                  <a:gd name="T45" fmla="*/ 1 h 19"/>
                  <a:gd name="T46" fmla="*/ 8 w 19"/>
                  <a:gd name="T47" fmla="*/ 2 h 19"/>
                  <a:gd name="T48" fmla="*/ 5 w 19"/>
                  <a:gd name="T49" fmla="*/ 1 h 19"/>
                  <a:gd name="T50" fmla="*/ 2 w 19"/>
                  <a:gd name="T51" fmla="*/ 0 h 19"/>
                  <a:gd name="T52" fmla="*/ 0 w 19"/>
                  <a:gd name="T53" fmla="*/ 3 h 19"/>
                  <a:gd name="T54" fmla="*/ 0 w 19"/>
                  <a:gd name="T55" fmla="*/ 5 h 19"/>
                  <a:gd name="T56" fmla="*/ 2 w 19"/>
                  <a:gd name="T57" fmla="*/ 11 h 19"/>
                  <a:gd name="T58" fmla="*/ 2 w 19"/>
                  <a:gd name="T59" fmla="*/ 11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19" h="19">
                    <a:moveTo>
                      <a:pt x="2" y="11"/>
                    </a:moveTo>
                    <a:lnTo>
                      <a:pt x="5" y="13"/>
                    </a:lnTo>
                    <a:lnTo>
                      <a:pt x="7" y="14"/>
                    </a:lnTo>
                    <a:lnTo>
                      <a:pt x="5" y="16"/>
                    </a:lnTo>
                    <a:lnTo>
                      <a:pt x="8" y="16"/>
                    </a:lnTo>
                    <a:lnTo>
                      <a:pt x="8" y="18"/>
                    </a:lnTo>
                    <a:lnTo>
                      <a:pt x="10" y="19"/>
                    </a:lnTo>
                    <a:lnTo>
                      <a:pt x="14" y="18"/>
                    </a:lnTo>
                    <a:lnTo>
                      <a:pt x="16" y="16"/>
                    </a:lnTo>
                    <a:lnTo>
                      <a:pt x="16" y="10"/>
                    </a:lnTo>
                    <a:lnTo>
                      <a:pt x="17" y="8"/>
                    </a:lnTo>
                    <a:lnTo>
                      <a:pt x="18" y="5"/>
                    </a:lnTo>
                    <a:lnTo>
                      <a:pt x="19" y="2"/>
                    </a:lnTo>
                    <a:lnTo>
                      <a:pt x="17" y="2"/>
                    </a:lnTo>
                    <a:lnTo>
                      <a:pt x="15" y="3"/>
                    </a:lnTo>
                    <a:lnTo>
                      <a:pt x="14" y="5"/>
                    </a:lnTo>
                    <a:lnTo>
                      <a:pt x="12" y="9"/>
                    </a:lnTo>
                    <a:lnTo>
                      <a:pt x="10" y="11"/>
                    </a:lnTo>
                    <a:lnTo>
                      <a:pt x="7" y="10"/>
                    </a:lnTo>
                    <a:lnTo>
                      <a:pt x="10" y="8"/>
                    </a:lnTo>
                    <a:lnTo>
                      <a:pt x="12" y="7"/>
                    </a:lnTo>
                    <a:lnTo>
                      <a:pt x="14" y="4"/>
                    </a:lnTo>
                    <a:lnTo>
                      <a:pt x="10" y="1"/>
                    </a:lnTo>
                    <a:lnTo>
                      <a:pt x="8" y="2"/>
                    </a:lnTo>
                    <a:lnTo>
                      <a:pt x="5" y="1"/>
                    </a:lnTo>
                    <a:lnTo>
                      <a:pt x="2" y="0"/>
                    </a:lnTo>
                    <a:lnTo>
                      <a:pt x="0" y="3"/>
                    </a:lnTo>
                    <a:lnTo>
                      <a:pt x="0" y="5"/>
                    </a:lnTo>
                    <a:lnTo>
                      <a:pt x="2" y="11"/>
                    </a:lnTo>
                    <a:lnTo>
                      <a:pt x="2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53" name="Freeform 19">
                <a:extLst>
                  <a:ext uri="{FF2B5EF4-FFF2-40B4-BE49-F238E27FC236}">
                    <a16:creationId xmlns:a16="http://schemas.microsoft.com/office/drawing/2014/main" id="{76220191-31EC-4C2B-B8E7-3B5A4C905D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70" y="1999"/>
                <a:ext cx="20" cy="20"/>
              </a:xfrm>
              <a:custGeom>
                <a:avLst/>
                <a:gdLst>
                  <a:gd name="T0" fmla="*/ 8 w 20"/>
                  <a:gd name="T1" fmla="*/ 4 h 20"/>
                  <a:gd name="T2" fmla="*/ 11 w 20"/>
                  <a:gd name="T3" fmla="*/ 7 h 20"/>
                  <a:gd name="T4" fmla="*/ 11 w 20"/>
                  <a:gd name="T5" fmla="*/ 4 h 20"/>
                  <a:gd name="T6" fmla="*/ 9 w 20"/>
                  <a:gd name="T7" fmla="*/ 3 h 20"/>
                  <a:gd name="T8" fmla="*/ 11 w 20"/>
                  <a:gd name="T9" fmla="*/ 3 h 20"/>
                  <a:gd name="T10" fmla="*/ 10 w 20"/>
                  <a:gd name="T11" fmla="*/ 0 h 20"/>
                  <a:gd name="T12" fmla="*/ 8 w 20"/>
                  <a:gd name="T13" fmla="*/ 0 h 20"/>
                  <a:gd name="T14" fmla="*/ 4 w 20"/>
                  <a:gd name="T15" fmla="*/ 1 h 20"/>
                  <a:gd name="T16" fmla="*/ 0 w 20"/>
                  <a:gd name="T17" fmla="*/ 1 h 20"/>
                  <a:gd name="T18" fmla="*/ 2 w 20"/>
                  <a:gd name="T19" fmla="*/ 3 h 20"/>
                  <a:gd name="T20" fmla="*/ 4 w 20"/>
                  <a:gd name="T21" fmla="*/ 4 h 20"/>
                  <a:gd name="T22" fmla="*/ 2 w 20"/>
                  <a:gd name="T23" fmla="*/ 6 h 20"/>
                  <a:gd name="T24" fmla="*/ 4 w 20"/>
                  <a:gd name="T25" fmla="*/ 8 h 20"/>
                  <a:gd name="T26" fmla="*/ 7 w 20"/>
                  <a:gd name="T27" fmla="*/ 8 h 20"/>
                  <a:gd name="T28" fmla="*/ 8 w 20"/>
                  <a:gd name="T29" fmla="*/ 10 h 20"/>
                  <a:gd name="T30" fmla="*/ 10 w 20"/>
                  <a:gd name="T31" fmla="*/ 13 h 20"/>
                  <a:gd name="T32" fmla="*/ 12 w 20"/>
                  <a:gd name="T33" fmla="*/ 15 h 20"/>
                  <a:gd name="T34" fmla="*/ 15 w 20"/>
                  <a:gd name="T35" fmla="*/ 17 h 20"/>
                  <a:gd name="T36" fmla="*/ 17 w 20"/>
                  <a:gd name="T37" fmla="*/ 20 h 20"/>
                  <a:gd name="T38" fmla="*/ 19 w 20"/>
                  <a:gd name="T39" fmla="*/ 19 h 20"/>
                  <a:gd name="T40" fmla="*/ 20 w 20"/>
                  <a:gd name="T41" fmla="*/ 18 h 20"/>
                  <a:gd name="T42" fmla="*/ 17 w 20"/>
                  <a:gd name="T43" fmla="*/ 17 h 20"/>
                  <a:gd name="T44" fmla="*/ 15 w 20"/>
                  <a:gd name="T45" fmla="*/ 15 h 20"/>
                  <a:gd name="T46" fmla="*/ 12 w 20"/>
                  <a:gd name="T47" fmla="*/ 12 h 20"/>
                  <a:gd name="T48" fmla="*/ 9 w 20"/>
                  <a:gd name="T49" fmla="*/ 7 h 20"/>
                  <a:gd name="T50" fmla="*/ 8 w 20"/>
                  <a:gd name="T51" fmla="*/ 4 h 20"/>
                  <a:gd name="T52" fmla="*/ 9 w 20"/>
                  <a:gd name="T53" fmla="*/ 4 h 20"/>
                  <a:gd name="T54" fmla="*/ 8 w 20"/>
                  <a:gd name="T55" fmla="*/ 4 h 20"/>
                  <a:gd name="T56" fmla="*/ 8 w 20"/>
                  <a:gd name="T57" fmla="*/ 4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0" h="20">
                    <a:moveTo>
                      <a:pt x="8" y="4"/>
                    </a:moveTo>
                    <a:lnTo>
                      <a:pt x="11" y="7"/>
                    </a:lnTo>
                    <a:lnTo>
                      <a:pt x="11" y="4"/>
                    </a:lnTo>
                    <a:lnTo>
                      <a:pt x="9" y="3"/>
                    </a:lnTo>
                    <a:lnTo>
                      <a:pt x="11" y="3"/>
                    </a:lnTo>
                    <a:lnTo>
                      <a:pt x="10" y="0"/>
                    </a:lnTo>
                    <a:lnTo>
                      <a:pt x="8" y="0"/>
                    </a:lnTo>
                    <a:lnTo>
                      <a:pt x="4" y="1"/>
                    </a:lnTo>
                    <a:lnTo>
                      <a:pt x="0" y="1"/>
                    </a:lnTo>
                    <a:lnTo>
                      <a:pt x="2" y="3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4" y="8"/>
                    </a:lnTo>
                    <a:lnTo>
                      <a:pt x="7" y="8"/>
                    </a:lnTo>
                    <a:lnTo>
                      <a:pt x="8" y="10"/>
                    </a:lnTo>
                    <a:lnTo>
                      <a:pt x="10" y="13"/>
                    </a:lnTo>
                    <a:lnTo>
                      <a:pt x="12" y="15"/>
                    </a:lnTo>
                    <a:lnTo>
                      <a:pt x="15" y="17"/>
                    </a:lnTo>
                    <a:lnTo>
                      <a:pt x="17" y="20"/>
                    </a:lnTo>
                    <a:lnTo>
                      <a:pt x="19" y="19"/>
                    </a:lnTo>
                    <a:lnTo>
                      <a:pt x="20" y="18"/>
                    </a:lnTo>
                    <a:lnTo>
                      <a:pt x="17" y="17"/>
                    </a:lnTo>
                    <a:lnTo>
                      <a:pt x="15" y="15"/>
                    </a:lnTo>
                    <a:lnTo>
                      <a:pt x="12" y="12"/>
                    </a:lnTo>
                    <a:lnTo>
                      <a:pt x="9" y="7"/>
                    </a:lnTo>
                    <a:lnTo>
                      <a:pt x="8" y="4"/>
                    </a:lnTo>
                    <a:lnTo>
                      <a:pt x="9" y="4"/>
                    </a:lnTo>
                    <a:lnTo>
                      <a:pt x="8" y="4"/>
                    </a:lnTo>
                    <a:lnTo>
                      <a:pt x="8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54" name="Freeform 20">
                <a:extLst>
                  <a:ext uri="{FF2B5EF4-FFF2-40B4-BE49-F238E27FC236}">
                    <a16:creationId xmlns:a16="http://schemas.microsoft.com/office/drawing/2014/main" id="{5DC77C62-E5D0-43B5-982C-410F70412B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81" y="2008"/>
                <a:ext cx="4" cy="2"/>
              </a:xfrm>
              <a:custGeom>
                <a:avLst/>
                <a:gdLst>
                  <a:gd name="T0" fmla="*/ 4 w 4"/>
                  <a:gd name="T1" fmla="*/ 0 h 2"/>
                  <a:gd name="T2" fmla="*/ 0 w 4"/>
                  <a:gd name="T3" fmla="*/ 0 h 2"/>
                  <a:gd name="T4" fmla="*/ 1 w 4"/>
                  <a:gd name="T5" fmla="*/ 2 h 2"/>
                  <a:gd name="T6" fmla="*/ 4 w 4"/>
                  <a:gd name="T7" fmla="*/ 0 h 2"/>
                  <a:gd name="T8" fmla="*/ 4 w 4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1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55" name="Freeform 21">
                <a:extLst>
                  <a:ext uri="{FF2B5EF4-FFF2-40B4-BE49-F238E27FC236}">
                    <a16:creationId xmlns:a16="http://schemas.microsoft.com/office/drawing/2014/main" id="{E34750DD-A7FF-4B07-80D2-E9B2D4CEEA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98" y="1965"/>
                <a:ext cx="4" cy="4"/>
              </a:xfrm>
              <a:custGeom>
                <a:avLst/>
                <a:gdLst>
                  <a:gd name="T0" fmla="*/ 4 w 4"/>
                  <a:gd name="T1" fmla="*/ 0 h 4"/>
                  <a:gd name="T2" fmla="*/ 0 w 4"/>
                  <a:gd name="T3" fmla="*/ 4 h 4"/>
                  <a:gd name="T4" fmla="*/ 4 w 4"/>
                  <a:gd name="T5" fmla="*/ 3 h 4"/>
                  <a:gd name="T6" fmla="*/ 4 w 4"/>
                  <a:gd name="T7" fmla="*/ 0 h 4"/>
                  <a:gd name="T8" fmla="*/ 4 w 4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4" y="0"/>
                    </a:moveTo>
                    <a:lnTo>
                      <a:pt x="0" y="4"/>
                    </a:lnTo>
                    <a:lnTo>
                      <a:pt x="4" y="3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56" name="Freeform 22">
                <a:extLst>
                  <a:ext uri="{FF2B5EF4-FFF2-40B4-BE49-F238E27FC236}">
                    <a16:creationId xmlns:a16="http://schemas.microsoft.com/office/drawing/2014/main" id="{CE67823D-6072-41FB-84FB-55DBE105A0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51" y="1925"/>
                <a:ext cx="13" cy="13"/>
              </a:xfrm>
              <a:custGeom>
                <a:avLst/>
                <a:gdLst>
                  <a:gd name="T0" fmla="*/ 4 w 13"/>
                  <a:gd name="T1" fmla="*/ 13 h 13"/>
                  <a:gd name="T2" fmla="*/ 3 w 13"/>
                  <a:gd name="T3" fmla="*/ 12 h 13"/>
                  <a:gd name="T4" fmla="*/ 3 w 13"/>
                  <a:gd name="T5" fmla="*/ 6 h 13"/>
                  <a:gd name="T6" fmla="*/ 1 w 13"/>
                  <a:gd name="T7" fmla="*/ 4 h 13"/>
                  <a:gd name="T8" fmla="*/ 0 w 13"/>
                  <a:gd name="T9" fmla="*/ 0 h 13"/>
                  <a:gd name="T10" fmla="*/ 2 w 13"/>
                  <a:gd name="T11" fmla="*/ 0 h 13"/>
                  <a:gd name="T12" fmla="*/ 8 w 13"/>
                  <a:gd name="T13" fmla="*/ 1 h 13"/>
                  <a:gd name="T14" fmla="*/ 10 w 13"/>
                  <a:gd name="T15" fmla="*/ 1 h 13"/>
                  <a:gd name="T16" fmla="*/ 13 w 13"/>
                  <a:gd name="T17" fmla="*/ 4 h 13"/>
                  <a:gd name="T18" fmla="*/ 13 w 13"/>
                  <a:gd name="T19" fmla="*/ 7 h 13"/>
                  <a:gd name="T20" fmla="*/ 12 w 13"/>
                  <a:gd name="T21" fmla="*/ 9 h 13"/>
                  <a:gd name="T22" fmla="*/ 9 w 13"/>
                  <a:gd name="T23" fmla="*/ 7 h 13"/>
                  <a:gd name="T24" fmla="*/ 11 w 13"/>
                  <a:gd name="T25" fmla="*/ 10 h 13"/>
                  <a:gd name="T26" fmla="*/ 10 w 13"/>
                  <a:gd name="T27" fmla="*/ 13 h 13"/>
                  <a:gd name="T28" fmla="*/ 6 w 13"/>
                  <a:gd name="T29" fmla="*/ 12 h 13"/>
                  <a:gd name="T30" fmla="*/ 4 w 13"/>
                  <a:gd name="T31" fmla="*/ 13 h 13"/>
                  <a:gd name="T32" fmla="*/ 4 w 13"/>
                  <a:gd name="T33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3" h="13">
                    <a:moveTo>
                      <a:pt x="4" y="13"/>
                    </a:moveTo>
                    <a:lnTo>
                      <a:pt x="3" y="12"/>
                    </a:lnTo>
                    <a:lnTo>
                      <a:pt x="3" y="6"/>
                    </a:lnTo>
                    <a:lnTo>
                      <a:pt x="1" y="4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8" y="1"/>
                    </a:lnTo>
                    <a:lnTo>
                      <a:pt x="10" y="1"/>
                    </a:lnTo>
                    <a:lnTo>
                      <a:pt x="13" y="4"/>
                    </a:lnTo>
                    <a:lnTo>
                      <a:pt x="13" y="7"/>
                    </a:lnTo>
                    <a:lnTo>
                      <a:pt x="12" y="9"/>
                    </a:lnTo>
                    <a:lnTo>
                      <a:pt x="9" y="7"/>
                    </a:lnTo>
                    <a:lnTo>
                      <a:pt x="11" y="10"/>
                    </a:lnTo>
                    <a:lnTo>
                      <a:pt x="10" y="13"/>
                    </a:lnTo>
                    <a:lnTo>
                      <a:pt x="6" y="12"/>
                    </a:lnTo>
                    <a:lnTo>
                      <a:pt x="4" y="13"/>
                    </a:lnTo>
                    <a:lnTo>
                      <a:pt x="4" y="1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57" name="Freeform 23">
                <a:extLst>
                  <a:ext uri="{FF2B5EF4-FFF2-40B4-BE49-F238E27FC236}">
                    <a16:creationId xmlns:a16="http://schemas.microsoft.com/office/drawing/2014/main" id="{71C2CE1C-316E-422A-9F22-87B79D7857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55" y="1939"/>
                <a:ext cx="23" cy="32"/>
              </a:xfrm>
              <a:custGeom>
                <a:avLst/>
                <a:gdLst>
                  <a:gd name="T0" fmla="*/ 4 w 23"/>
                  <a:gd name="T1" fmla="*/ 4 h 32"/>
                  <a:gd name="T2" fmla="*/ 2 w 23"/>
                  <a:gd name="T3" fmla="*/ 4 h 32"/>
                  <a:gd name="T4" fmla="*/ 0 w 23"/>
                  <a:gd name="T5" fmla="*/ 3 h 32"/>
                  <a:gd name="T6" fmla="*/ 0 w 23"/>
                  <a:gd name="T7" fmla="*/ 0 h 32"/>
                  <a:gd name="T8" fmla="*/ 6 w 23"/>
                  <a:gd name="T9" fmla="*/ 1 h 32"/>
                  <a:gd name="T10" fmla="*/ 8 w 23"/>
                  <a:gd name="T11" fmla="*/ 3 h 32"/>
                  <a:gd name="T12" fmla="*/ 9 w 23"/>
                  <a:gd name="T13" fmla="*/ 7 h 32"/>
                  <a:gd name="T14" fmla="*/ 12 w 23"/>
                  <a:gd name="T15" fmla="*/ 7 h 32"/>
                  <a:gd name="T16" fmla="*/ 15 w 23"/>
                  <a:gd name="T17" fmla="*/ 9 h 32"/>
                  <a:gd name="T18" fmla="*/ 17 w 23"/>
                  <a:gd name="T19" fmla="*/ 15 h 32"/>
                  <a:gd name="T20" fmla="*/ 21 w 23"/>
                  <a:gd name="T21" fmla="*/ 18 h 32"/>
                  <a:gd name="T22" fmla="*/ 15 w 23"/>
                  <a:gd name="T23" fmla="*/ 15 h 32"/>
                  <a:gd name="T24" fmla="*/ 15 w 23"/>
                  <a:gd name="T25" fmla="*/ 17 h 32"/>
                  <a:gd name="T26" fmla="*/ 17 w 23"/>
                  <a:gd name="T27" fmla="*/ 19 h 32"/>
                  <a:gd name="T28" fmla="*/ 21 w 23"/>
                  <a:gd name="T29" fmla="*/ 19 h 32"/>
                  <a:gd name="T30" fmla="*/ 19 w 23"/>
                  <a:gd name="T31" fmla="*/ 22 h 32"/>
                  <a:gd name="T32" fmla="*/ 22 w 23"/>
                  <a:gd name="T33" fmla="*/ 21 h 32"/>
                  <a:gd name="T34" fmla="*/ 22 w 23"/>
                  <a:gd name="T35" fmla="*/ 24 h 32"/>
                  <a:gd name="T36" fmla="*/ 19 w 23"/>
                  <a:gd name="T37" fmla="*/ 26 h 32"/>
                  <a:gd name="T38" fmla="*/ 23 w 23"/>
                  <a:gd name="T39" fmla="*/ 26 h 32"/>
                  <a:gd name="T40" fmla="*/ 23 w 23"/>
                  <a:gd name="T41" fmla="*/ 29 h 32"/>
                  <a:gd name="T42" fmla="*/ 21 w 23"/>
                  <a:gd name="T43" fmla="*/ 32 h 32"/>
                  <a:gd name="T44" fmla="*/ 18 w 23"/>
                  <a:gd name="T45" fmla="*/ 30 h 32"/>
                  <a:gd name="T46" fmla="*/ 17 w 23"/>
                  <a:gd name="T47" fmla="*/ 28 h 32"/>
                  <a:gd name="T48" fmla="*/ 15 w 23"/>
                  <a:gd name="T49" fmla="*/ 26 h 32"/>
                  <a:gd name="T50" fmla="*/ 15 w 23"/>
                  <a:gd name="T51" fmla="*/ 24 h 32"/>
                  <a:gd name="T52" fmla="*/ 13 w 23"/>
                  <a:gd name="T53" fmla="*/ 22 h 32"/>
                  <a:gd name="T54" fmla="*/ 7 w 23"/>
                  <a:gd name="T55" fmla="*/ 19 h 32"/>
                  <a:gd name="T56" fmla="*/ 9 w 23"/>
                  <a:gd name="T57" fmla="*/ 19 h 32"/>
                  <a:gd name="T58" fmla="*/ 7 w 23"/>
                  <a:gd name="T59" fmla="*/ 17 h 32"/>
                  <a:gd name="T60" fmla="*/ 9 w 23"/>
                  <a:gd name="T61" fmla="*/ 13 h 32"/>
                  <a:gd name="T62" fmla="*/ 7 w 23"/>
                  <a:gd name="T63" fmla="*/ 15 h 32"/>
                  <a:gd name="T64" fmla="*/ 4 w 23"/>
                  <a:gd name="T65" fmla="*/ 15 h 32"/>
                  <a:gd name="T66" fmla="*/ 5 w 23"/>
                  <a:gd name="T67" fmla="*/ 12 h 32"/>
                  <a:gd name="T68" fmla="*/ 5 w 23"/>
                  <a:gd name="T69" fmla="*/ 7 h 32"/>
                  <a:gd name="T70" fmla="*/ 4 w 23"/>
                  <a:gd name="T71" fmla="*/ 6 h 32"/>
                  <a:gd name="T72" fmla="*/ 5 w 23"/>
                  <a:gd name="T73" fmla="*/ 4 h 32"/>
                  <a:gd name="T74" fmla="*/ 5 w 23"/>
                  <a:gd name="T75" fmla="*/ 4 h 32"/>
                  <a:gd name="T76" fmla="*/ 4 w 23"/>
                  <a:gd name="T77" fmla="*/ 4 h 32"/>
                  <a:gd name="T78" fmla="*/ 4 w 23"/>
                  <a:gd name="T79" fmla="*/ 4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23" h="32">
                    <a:moveTo>
                      <a:pt x="4" y="4"/>
                    </a:moveTo>
                    <a:lnTo>
                      <a:pt x="2" y="4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6" y="1"/>
                    </a:lnTo>
                    <a:lnTo>
                      <a:pt x="8" y="3"/>
                    </a:lnTo>
                    <a:lnTo>
                      <a:pt x="9" y="7"/>
                    </a:lnTo>
                    <a:lnTo>
                      <a:pt x="12" y="7"/>
                    </a:lnTo>
                    <a:lnTo>
                      <a:pt x="15" y="9"/>
                    </a:lnTo>
                    <a:lnTo>
                      <a:pt x="17" y="15"/>
                    </a:lnTo>
                    <a:lnTo>
                      <a:pt x="21" y="18"/>
                    </a:lnTo>
                    <a:lnTo>
                      <a:pt x="15" y="15"/>
                    </a:lnTo>
                    <a:lnTo>
                      <a:pt x="15" y="17"/>
                    </a:lnTo>
                    <a:lnTo>
                      <a:pt x="17" y="19"/>
                    </a:lnTo>
                    <a:lnTo>
                      <a:pt x="21" y="19"/>
                    </a:lnTo>
                    <a:lnTo>
                      <a:pt x="19" y="22"/>
                    </a:lnTo>
                    <a:lnTo>
                      <a:pt x="22" y="21"/>
                    </a:lnTo>
                    <a:lnTo>
                      <a:pt x="22" y="24"/>
                    </a:lnTo>
                    <a:lnTo>
                      <a:pt x="19" y="26"/>
                    </a:lnTo>
                    <a:lnTo>
                      <a:pt x="23" y="26"/>
                    </a:lnTo>
                    <a:lnTo>
                      <a:pt x="23" y="29"/>
                    </a:lnTo>
                    <a:lnTo>
                      <a:pt x="21" y="32"/>
                    </a:lnTo>
                    <a:lnTo>
                      <a:pt x="18" y="30"/>
                    </a:lnTo>
                    <a:lnTo>
                      <a:pt x="17" y="28"/>
                    </a:lnTo>
                    <a:lnTo>
                      <a:pt x="15" y="26"/>
                    </a:lnTo>
                    <a:lnTo>
                      <a:pt x="15" y="24"/>
                    </a:lnTo>
                    <a:lnTo>
                      <a:pt x="13" y="22"/>
                    </a:lnTo>
                    <a:lnTo>
                      <a:pt x="7" y="19"/>
                    </a:lnTo>
                    <a:lnTo>
                      <a:pt x="9" y="19"/>
                    </a:lnTo>
                    <a:lnTo>
                      <a:pt x="7" y="17"/>
                    </a:lnTo>
                    <a:lnTo>
                      <a:pt x="9" y="13"/>
                    </a:lnTo>
                    <a:lnTo>
                      <a:pt x="7" y="15"/>
                    </a:lnTo>
                    <a:lnTo>
                      <a:pt x="4" y="15"/>
                    </a:lnTo>
                    <a:lnTo>
                      <a:pt x="5" y="12"/>
                    </a:lnTo>
                    <a:lnTo>
                      <a:pt x="5" y="7"/>
                    </a:lnTo>
                    <a:lnTo>
                      <a:pt x="4" y="6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4" y="4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58" name="Freeform 24">
                <a:extLst>
                  <a:ext uri="{FF2B5EF4-FFF2-40B4-BE49-F238E27FC236}">
                    <a16:creationId xmlns:a16="http://schemas.microsoft.com/office/drawing/2014/main" id="{C2DDE26A-A33C-4C80-BD47-4003F72694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54" y="1943"/>
                <a:ext cx="5" cy="5"/>
              </a:xfrm>
              <a:custGeom>
                <a:avLst/>
                <a:gdLst>
                  <a:gd name="T0" fmla="*/ 5 w 5"/>
                  <a:gd name="T1" fmla="*/ 0 h 5"/>
                  <a:gd name="T2" fmla="*/ 5 w 5"/>
                  <a:gd name="T3" fmla="*/ 2 h 5"/>
                  <a:gd name="T4" fmla="*/ 0 w 5"/>
                  <a:gd name="T5" fmla="*/ 5 h 5"/>
                  <a:gd name="T6" fmla="*/ 0 w 5"/>
                  <a:gd name="T7" fmla="*/ 3 h 5"/>
                  <a:gd name="T8" fmla="*/ 2 w 5"/>
                  <a:gd name="T9" fmla="*/ 2 h 5"/>
                  <a:gd name="T10" fmla="*/ 5 w 5"/>
                  <a:gd name="T11" fmla="*/ 0 h 5"/>
                  <a:gd name="T12" fmla="*/ 5 w 5"/>
                  <a:gd name="T13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" h="5">
                    <a:moveTo>
                      <a:pt x="5" y="0"/>
                    </a:moveTo>
                    <a:lnTo>
                      <a:pt x="5" y="2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59" name="Freeform 25">
                <a:extLst>
                  <a:ext uri="{FF2B5EF4-FFF2-40B4-BE49-F238E27FC236}">
                    <a16:creationId xmlns:a16="http://schemas.microsoft.com/office/drawing/2014/main" id="{51484EDF-1464-4163-BC43-EEDBD8C9E1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64" y="1931"/>
                <a:ext cx="5" cy="6"/>
              </a:xfrm>
              <a:custGeom>
                <a:avLst/>
                <a:gdLst>
                  <a:gd name="T0" fmla="*/ 0 w 5"/>
                  <a:gd name="T1" fmla="*/ 0 h 6"/>
                  <a:gd name="T2" fmla="*/ 3 w 5"/>
                  <a:gd name="T3" fmla="*/ 0 h 6"/>
                  <a:gd name="T4" fmla="*/ 5 w 5"/>
                  <a:gd name="T5" fmla="*/ 2 h 6"/>
                  <a:gd name="T6" fmla="*/ 4 w 5"/>
                  <a:gd name="T7" fmla="*/ 6 h 6"/>
                  <a:gd name="T8" fmla="*/ 0 w 5"/>
                  <a:gd name="T9" fmla="*/ 6 h 6"/>
                  <a:gd name="T10" fmla="*/ 0 w 5"/>
                  <a:gd name="T11" fmla="*/ 2 h 6"/>
                  <a:gd name="T12" fmla="*/ 0 w 5"/>
                  <a:gd name="T13" fmla="*/ 0 h 6"/>
                  <a:gd name="T14" fmla="*/ 0 w 5"/>
                  <a:gd name="T1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" h="6">
                    <a:moveTo>
                      <a:pt x="0" y="0"/>
                    </a:moveTo>
                    <a:lnTo>
                      <a:pt x="3" y="0"/>
                    </a:lnTo>
                    <a:lnTo>
                      <a:pt x="5" y="2"/>
                    </a:lnTo>
                    <a:lnTo>
                      <a:pt x="4" y="6"/>
                    </a:lnTo>
                    <a:lnTo>
                      <a:pt x="0" y="6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60" name="Freeform 26">
                <a:extLst>
                  <a:ext uri="{FF2B5EF4-FFF2-40B4-BE49-F238E27FC236}">
                    <a16:creationId xmlns:a16="http://schemas.microsoft.com/office/drawing/2014/main" id="{E5D23695-6669-4D31-A401-1F553A2272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78" y="2002"/>
                <a:ext cx="3" cy="4"/>
              </a:xfrm>
              <a:custGeom>
                <a:avLst/>
                <a:gdLst>
                  <a:gd name="T0" fmla="*/ 0 w 3"/>
                  <a:gd name="T1" fmla="*/ 1 h 4"/>
                  <a:gd name="T2" fmla="*/ 1 w 3"/>
                  <a:gd name="T3" fmla="*/ 1 h 4"/>
                  <a:gd name="T4" fmla="*/ 1 w 3"/>
                  <a:gd name="T5" fmla="*/ 0 h 4"/>
                  <a:gd name="T6" fmla="*/ 3 w 3"/>
                  <a:gd name="T7" fmla="*/ 1 h 4"/>
                  <a:gd name="T8" fmla="*/ 3 w 3"/>
                  <a:gd name="T9" fmla="*/ 4 h 4"/>
                  <a:gd name="T10" fmla="*/ 0 w 3"/>
                  <a:gd name="T11" fmla="*/ 1 h 4"/>
                  <a:gd name="T12" fmla="*/ 0 w 3"/>
                  <a:gd name="T13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4">
                    <a:moveTo>
                      <a:pt x="0" y="1"/>
                    </a:moveTo>
                    <a:lnTo>
                      <a:pt x="1" y="1"/>
                    </a:lnTo>
                    <a:lnTo>
                      <a:pt x="1" y="0"/>
                    </a:lnTo>
                    <a:lnTo>
                      <a:pt x="3" y="1"/>
                    </a:lnTo>
                    <a:lnTo>
                      <a:pt x="3" y="4"/>
                    </a:lnTo>
                    <a:lnTo>
                      <a:pt x="0" y="1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61" name="Rectangle 27">
                <a:extLst>
                  <a:ext uri="{FF2B5EF4-FFF2-40B4-BE49-F238E27FC236}">
                    <a16:creationId xmlns:a16="http://schemas.microsoft.com/office/drawing/2014/main" id="{53227F2E-95AC-488C-8C66-4C8061C08AE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79" y="2002"/>
                <a:ext cx="1" cy="1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62" name="Freeform 28">
                <a:extLst>
                  <a:ext uri="{FF2B5EF4-FFF2-40B4-BE49-F238E27FC236}">
                    <a16:creationId xmlns:a16="http://schemas.microsoft.com/office/drawing/2014/main" id="{5ED9C565-7D1A-4298-842A-509424595A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03" y="1948"/>
                <a:ext cx="1" cy="11"/>
              </a:xfrm>
              <a:custGeom>
                <a:avLst/>
                <a:gdLst>
                  <a:gd name="T0" fmla="*/ 1 w 1"/>
                  <a:gd name="T1" fmla="*/ 0 h 11"/>
                  <a:gd name="T2" fmla="*/ 1 w 1"/>
                  <a:gd name="T3" fmla="*/ 0 h 11"/>
                  <a:gd name="T4" fmla="*/ 0 w 1"/>
                  <a:gd name="T5" fmla="*/ 2 h 11"/>
                  <a:gd name="T6" fmla="*/ 1 w 1"/>
                  <a:gd name="T7" fmla="*/ 11 h 11"/>
                  <a:gd name="T8" fmla="*/ 1 w 1"/>
                  <a:gd name="T9" fmla="*/ 11 h 11"/>
                  <a:gd name="T10" fmla="*/ 1 w 1"/>
                  <a:gd name="T11" fmla="*/ 9 h 11"/>
                  <a:gd name="T12" fmla="*/ 0 w 1"/>
                  <a:gd name="T13" fmla="*/ 6 h 11"/>
                  <a:gd name="T14" fmla="*/ 0 w 1"/>
                  <a:gd name="T15" fmla="*/ 3 h 11"/>
                  <a:gd name="T16" fmla="*/ 1 w 1"/>
                  <a:gd name="T17" fmla="*/ 0 h 11"/>
                  <a:gd name="T18" fmla="*/ 1 w 1"/>
                  <a:gd name="T19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" h="11">
                    <a:moveTo>
                      <a:pt x="1" y="0"/>
                    </a:moveTo>
                    <a:lnTo>
                      <a:pt x="1" y="0"/>
                    </a:lnTo>
                    <a:lnTo>
                      <a:pt x="0" y="2"/>
                    </a:lnTo>
                    <a:lnTo>
                      <a:pt x="1" y="11"/>
                    </a:lnTo>
                    <a:lnTo>
                      <a:pt x="1" y="11"/>
                    </a:lnTo>
                    <a:lnTo>
                      <a:pt x="1" y="9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1" y="0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63" name="Freeform 29">
                <a:extLst>
                  <a:ext uri="{FF2B5EF4-FFF2-40B4-BE49-F238E27FC236}">
                    <a16:creationId xmlns:a16="http://schemas.microsoft.com/office/drawing/2014/main" id="{4E04CC67-B077-4111-8837-71461199B1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05" y="1489"/>
                <a:ext cx="3" cy="0"/>
              </a:xfrm>
              <a:custGeom>
                <a:avLst/>
                <a:gdLst>
                  <a:gd name="T0" fmla="*/ 0 w 3"/>
                  <a:gd name="T1" fmla="*/ 0 w 3"/>
                  <a:gd name="T2" fmla="*/ 3 w 3"/>
                  <a:gd name="T3" fmla="*/ 0 w 3"/>
                  <a:gd name="T4" fmla="*/ 0 w 3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3">
                    <a:moveTo>
                      <a:pt x="0" y="0"/>
                    </a:moveTo>
                    <a:lnTo>
                      <a:pt x="0" y="0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64" name="Freeform 30">
                <a:extLst>
                  <a:ext uri="{FF2B5EF4-FFF2-40B4-BE49-F238E27FC236}">
                    <a16:creationId xmlns:a16="http://schemas.microsoft.com/office/drawing/2014/main" id="{1E2FD237-DEA5-45E9-9DF9-DB05D04EDA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09" y="1427"/>
                <a:ext cx="20" cy="10"/>
              </a:xfrm>
              <a:custGeom>
                <a:avLst/>
                <a:gdLst>
                  <a:gd name="T0" fmla="*/ 10 w 20"/>
                  <a:gd name="T1" fmla="*/ 0 h 10"/>
                  <a:gd name="T2" fmla="*/ 6 w 20"/>
                  <a:gd name="T3" fmla="*/ 1 h 10"/>
                  <a:gd name="T4" fmla="*/ 0 w 20"/>
                  <a:gd name="T5" fmla="*/ 3 h 10"/>
                  <a:gd name="T6" fmla="*/ 2 w 20"/>
                  <a:gd name="T7" fmla="*/ 6 h 10"/>
                  <a:gd name="T8" fmla="*/ 9 w 20"/>
                  <a:gd name="T9" fmla="*/ 10 h 10"/>
                  <a:gd name="T10" fmla="*/ 11 w 20"/>
                  <a:gd name="T11" fmla="*/ 10 h 10"/>
                  <a:gd name="T12" fmla="*/ 17 w 20"/>
                  <a:gd name="T13" fmla="*/ 9 h 10"/>
                  <a:gd name="T14" fmla="*/ 20 w 20"/>
                  <a:gd name="T15" fmla="*/ 7 h 10"/>
                  <a:gd name="T16" fmla="*/ 17 w 20"/>
                  <a:gd name="T17" fmla="*/ 5 h 10"/>
                  <a:gd name="T18" fmla="*/ 15 w 20"/>
                  <a:gd name="T19" fmla="*/ 3 h 10"/>
                  <a:gd name="T20" fmla="*/ 11 w 20"/>
                  <a:gd name="T21" fmla="*/ 2 h 10"/>
                  <a:gd name="T22" fmla="*/ 10 w 20"/>
                  <a:gd name="T23" fmla="*/ 0 h 10"/>
                  <a:gd name="T24" fmla="*/ 10 w 20"/>
                  <a:gd name="T25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0" h="10">
                    <a:moveTo>
                      <a:pt x="10" y="0"/>
                    </a:moveTo>
                    <a:lnTo>
                      <a:pt x="6" y="1"/>
                    </a:lnTo>
                    <a:lnTo>
                      <a:pt x="0" y="3"/>
                    </a:lnTo>
                    <a:lnTo>
                      <a:pt x="2" y="6"/>
                    </a:lnTo>
                    <a:lnTo>
                      <a:pt x="9" y="10"/>
                    </a:lnTo>
                    <a:lnTo>
                      <a:pt x="11" y="10"/>
                    </a:lnTo>
                    <a:lnTo>
                      <a:pt x="17" y="9"/>
                    </a:lnTo>
                    <a:lnTo>
                      <a:pt x="20" y="7"/>
                    </a:lnTo>
                    <a:lnTo>
                      <a:pt x="17" y="5"/>
                    </a:lnTo>
                    <a:lnTo>
                      <a:pt x="15" y="3"/>
                    </a:lnTo>
                    <a:lnTo>
                      <a:pt x="11" y="2"/>
                    </a:lnTo>
                    <a:lnTo>
                      <a:pt x="10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65" name="Freeform 31">
                <a:extLst>
                  <a:ext uri="{FF2B5EF4-FFF2-40B4-BE49-F238E27FC236}">
                    <a16:creationId xmlns:a16="http://schemas.microsoft.com/office/drawing/2014/main" id="{60942DF1-681C-44B7-8C8F-90B668B62B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13" y="1461"/>
                <a:ext cx="17" cy="6"/>
              </a:xfrm>
              <a:custGeom>
                <a:avLst/>
                <a:gdLst>
                  <a:gd name="T0" fmla="*/ 10 w 17"/>
                  <a:gd name="T1" fmla="*/ 6 h 6"/>
                  <a:gd name="T2" fmla="*/ 16 w 17"/>
                  <a:gd name="T3" fmla="*/ 4 h 6"/>
                  <a:gd name="T4" fmla="*/ 17 w 17"/>
                  <a:gd name="T5" fmla="*/ 2 h 6"/>
                  <a:gd name="T6" fmla="*/ 15 w 17"/>
                  <a:gd name="T7" fmla="*/ 1 h 6"/>
                  <a:gd name="T8" fmla="*/ 12 w 17"/>
                  <a:gd name="T9" fmla="*/ 0 h 6"/>
                  <a:gd name="T10" fmla="*/ 10 w 17"/>
                  <a:gd name="T11" fmla="*/ 0 h 6"/>
                  <a:gd name="T12" fmla="*/ 4 w 17"/>
                  <a:gd name="T13" fmla="*/ 1 h 6"/>
                  <a:gd name="T14" fmla="*/ 0 w 17"/>
                  <a:gd name="T15" fmla="*/ 2 h 6"/>
                  <a:gd name="T16" fmla="*/ 2 w 17"/>
                  <a:gd name="T17" fmla="*/ 4 h 6"/>
                  <a:gd name="T18" fmla="*/ 10 w 17"/>
                  <a:gd name="T19" fmla="*/ 6 h 6"/>
                  <a:gd name="T20" fmla="*/ 10 w 17"/>
                  <a:gd name="T21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7" h="6">
                    <a:moveTo>
                      <a:pt x="10" y="6"/>
                    </a:moveTo>
                    <a:lnTo>
                      <a:pt x="16" y="4"/>
                    </a:lnTo>
                    <a:lnTo>
                      <a:pt x="17" y="2"/>
                    </a:lnTo>
                    <a:lnTo>
                      <a:pt x="15" y="1"/>
                    </a:lnTo>
                    <a:lnTo>
                      <a:pt x="12" y="0"/>
                    </a:lnTo>
                    <a:lnTo>
                      <a:pt x="10" y="0"/>
                    </a:lnTo>
                    <a:lnTo>
                      <a:pt x="4" y="1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10" y="6"/>
                    </a:lnTo>
                    <a:lnTo>
                      <a:pt x="10" y="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66" name="Freeform 32">
                <a:extLst>
                  <a:ext uri="{FF2B5EF4-FFF2-40B4-BE49-F238E27FC236}">
                    <a16:creationId xmlns:a16="http://schemas.microsoft.com/office/drawing/2014/main" id="{8C8D218C-67D1-4309-8E49-606ECE51E2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52" y="1468"/>
                <a:ext cx="20" cy="10"/>
              </a:xfrm>
              <a:custGeom>
                <a:avLst/>
                <a:gdLst>
                  <a:gd name="T0" fmla="*/ 6 w 20"/>
                  <a:gd name="T1" fmla="*/ 0 h 10"/>
                  <a:gd name="T2" fmla="*/ 3 w 20"/>
                  <a:gd name="T3" fmla="*/ 0 h 10"/>
                  <a:gd name="T4" fmla="*/ 0 w 20"/>
                  <a:gd name="T5" fmla="*/ 2 h 10"/>
                  <a:gd name="T6" fmla="*/ 1 w 20"/>
                  <a:gd name="T7" fmla="*/ 4 h 10"/>
                  <a:gd name="T8" fmla="*/ 3 w 20"/>
                  <a:gd name="T9" fmla="*/ 7 h 10"/>
                  <a:gd name="T10" fmla="*/ 3 w 20"/>
                  <a:gd name="T11" fmla="*/ 10 h 10"/>
                  <a:gd name="T12" fmla="*/ 9 w 20"/>
                  <a:gd name="T13" fmla="*/ 10 h 10"/>
                  <a:gd name="T14" fmla="*/ 12 w 20"/>
                  <a:gd name="T15" fmla="*/ 10 h 10"/>
                  <a:gd name="T16" fmla="*/ 18 w 20"/>
                  <a:gd name="T17" fmla="*/ 9 h 10"/>
                  <a:gd name="T18" fmla="*/ 20 w 20"/>
                  <a:gd name="T19" fmla="*/ 8 h 10"/>
                  <a:gd name="T20" fmla="*/ 20 w 20"/>
                  <a:gd name="T21" fmla="*/ 5 h 10"/>
                  <a:gd name="T22" fmla="*/ 14 w 20"/>
                  <a:gd name="T23" fmla="*/ 4 h 10"/>
                  <a:gd name="T24" fmla="*/ 12 w 20"/>
                  <a:gd name="T25" fmla="*/ 2 h 10"/>
                  <a:gd name="T26" fmla="*/ 9 w 20"/>
                  <a:gd name="T27" fmla="*/ 0 h 10"/>
                  <a:gd name="T28" fmla="*/ 6 w 20"/>
                  <a:gd name="T29" fmla="*/ 0 h 10"/>
                  <a:gd name="T30" fmla="*/ 6 w 20"/>
                  <a:gd name="T31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0" h="10">
                    <a:moveTo>
                      <a:pt x="6" y="0"/>
                    </a:moveTo>
                    <a:lnTo>
                      <a:pt x="3" y="0"/>
                    </a:lnTo>
                    <a:lnTo>
                      <a:pt x="0" y="2"/>
                    </a:lnTo>
                    <a:lnTo>
                      <a:pt x="1" y="4"/>
                    </a:lnTo>
                    <a:lnTo>
                      <a:pt x="3" y="7"/>
                    </a:lnTo>
                    <a:lnTo>
                      <a:pt x="3" y="10"/>
                    </a:lnTo>
                    <a:lnTo>
                      <a:pt x="9" y="10"/>
                    </a:lnTo>
                    <a:lnTo>
                      <a:pt x="12" y="10"/>
                    </a:lnTo>
                    <a:lnTo>
                      <a:pt x="18" y="9"/>
                    </a:lnTo>
                    <a:lnTo>
                      <a:pt x="20" y="8"/>
                    </a:lnTo>
                    <a:lnTo>
                      <a:pt x="20" y="5"/>
                    </a:lnTo>
                    <a:lnTo>
                      <a:pt x="14" y="4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67" name="Freeform 33">
                <a:extLst>
                  <a:ext uri="{FF2B5EF4-FFF2-40B4-BE49-F238E27FC236}">
                    <a16:creationId xmlns:a16="http://schemas.microsoft.com/office/drawing/2014/main" id="{384BF7A7-81F0-41C4-A6E9-776C8711F7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55" y="1478"/>
                <a:ext cx="25" cy="8"/>
              </a:xfrm>
              <a:custGeom>
                <a:avLst/>
                <a:gdLst>
                  <a:gd name="T0" fmla="*/ 24 w 25"/>
                  <a:gd name="T1" fmla="*/ 0 h 8"/>
                  <a:gd name="T2" fmla="*/ 22 w 25"/>
                  <a:gd name="T3" fmla="*/ 0 h 8"/>
                  <a:gd name="T4" fmla="*/ 18 w 25"/>
                  <a:gd name="T5" fmla="*/ 0 h 8"/>
                  <a:gd name="T6" fmla="*/ 2 w 25"/>
                  <a:gd name="T7" fmla="*/ 2 h 8"/>
                  <a:gd name="T8" fmla="*/ 0 w 25"/>
                  <a:gd name="T9" fmla="*/ 3 h 8"/>
                  <a:gd name="T10" fmla="*/ 0 w 25"/>
                  <a:gd name="T11" fmla="*/ 7 h 8"/>
                  <a:gd name="T12" fmla="*/ 8 w 25"/>
                  <a:gd name="T13" fmla="*/ 8 h 8"/>
                  <a:gd name="T14" fmla="*/ 15 w 25"/>
                  <a:gd name="T15" fmla="*/ 8 h 8"/>
                  <a:gd name="T16" fmla="*/ 19 w 25"/>
                  <a:gd name="T17" fmla="*/ 7 h 8"/>
                  <a:gd name="T18" fmla="*/ 23 w 25"/>
                  <a:gd name="T19" fmla="*/ 6 h 8"/>
                  <a:gd name="T20" fmla="*/ 25 w 25"/>
                  <a:gd name="T21" fmla="*/ 3 h 8"/>
                  <a:gd name="T22" fmla="*/ 24 w 25"/>
                  <a:gd name="T23" fmla="*/ 0 h 8"/>
                  <a:gd name="T24" fmla="*/ 24 w 25"/>
                  <a:gd name="T25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8">
                    <a:moveTo>
                      <a:pt x="24" y="0"/>
                    </a:moveTo>
                    <a:lnTo>
                      <a:pt x="22" y="0"/>
                    </a:lnTo>
                    <a:lnTo>
                      <a:pt x="18" y="0"/>
                    </a:lnTo>
                    <a:lnTo>
                      <a:pt x="2" y="2"/>
                    </a:lnTo>
                    <a:lnTo>
                      <a:pt x="0" y="3"/>
                    </a:lnTo>
                    <a:lnTo>
                      <a:pt x="0" y="7"/>
                    </a:lnTo>
                    <a:lnTo>
                      <a:pt x="8" y="8"/>
                    </a:lnTo>
                    <a:lnTo>
                      <a:pt x="15" y="8"/>
                    </a:lnTo>
                    <a:lnTo>
                      <a:pt x="19" y="7"/>
                    </a:lnTo>
                    <a:lnTo>
                      <a:pt x="23" y="6"/>
                    </a:lnTo>
                    <a:lnTo>
                      <a:pt x="25" y="3"/>
                    </a:lnTo>
                    <a:lnTo>
                      <a:pt x="24" y="0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68" name="Freeform 34">
                <a:extLst>
                  <a:ext uri="{FF2B5EF4-FFF2-40B4-BE49-F238E27FC236}">
                    <a16:creationId xmlns:a16="http://schemas.microsoft.com/office/drawing/2014/main" id="{AC7FFD82-E701-46DC-B52C-C43AFC7F11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63" y="1485"/>
                <a:ext cx="20" cy="4"/>
              </a:xfrm>
              <a:custGeom>
                <a:avLst/>
                <a:gdLst>
                  <a:gd name="T0" fmla="*/ 20 w 20"/>
                  <a:gd name="T1" fmla="*/ 0 h 4"/>
                  <a:gd name="T2" fmla="*/ 15 w 20"/>
                  <a:gd name="T3" fmla="*/ 0 h 4"/>
                  <a:gd name="T4" fmla="*/ 7 w 20"/>
                  <a:gd name="T5" fmla="*/ 1 h 4"/>
                  <a:gd name="T6" fmla="*/ 3 w 20"/>
                  <a:gd name="T7" fmla="*/ 2 h 4"/>
                  <a:gd name="T8" fmla="*/ 0 w 20"/>
                  <a:gd name="T9" fmla="*/ 4 h 4"/>
                  <a:gd name="T10" fmla="*/ 6 w 20"/>
                  <a:gd name="T11" fmla="*/ 4 h 4"/>
                  <a:gd name="T12" fmla="*/ 15 w 20"/>
                  <a:gd name="T13" fmla="*/ 3 h 4"/>
                  <a:gd name="T14" fmla="*/ 17 w 20"/>
                  <a:gd name="T15" fmla="*/ 2 h 4"/>
                  <a:gd name="T16" fmla="*/ 20 w 20"/>
                  <a:gd name="T17" fmla="*/ 0 h 4"/>
                  <a:gd name="T18" fmla="*/ 20 w 20"/>
                  <a:gd name="T1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0" h="4">
                    <a:moveTo>
                      <a:pt x="20" y="0"/>
                    </a:moveTo>
                    <a:lnTo>
                      <a:pt x="15" y="0"/>
                    </a:lnTo>
                    <a:lnTo>
                      <a:pt x="7" y="1"/>
                    </a:lnTo>
                    <a:lnTo>
                      <a:pt x="3" y="2"/>
                    </a:lnTo>
                    <a:lnTo>
                      <a:pt x="0" y="4"/>
                    </a:lnTo>
                    <a:lnTo>
                      <a:pt x="6" y="4"/>
                    </a:lnTo>
                    <a:lnTo>
                      <a:pt x="15" y="3"/>
                    </a:lnTo>
                    <a:lnTo>
                      <a:pt x="17" y="2"/>
                    </a:lnTo>
                    <a:lnTo>
                      <a:pt x="20" y="0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69" name="Freeform 35">
                <a:extLst>
                  <a:ext uri="{FF2B5EF4-FFF2-40B4-BE49-F238E27FC236}">
                    <a16:creationId xmlns:a16="http://schemas.microsoft.com/office/drawing/2014/main" id="{14F03BA5-0CBD-4DB9-AB17-C1E3877977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03" y="1497"/>
                <a:ext cx="9" cy="2"/>
              </a:xfrm>
              <a:custGeom>
                <a:avLst/>
                <a:gdLst>
                  <a:gd name="T0" fmla="*/ 5 w 9"/>
                  <a:gd name="T1" fmla="*/ 2 h 2"/>
                  <a:gd name="T2" fmla="*/ 9 w 9"/>
                  <a:gd name="T3" fmla="*/ 0 h 2"/>
                  <a:gd name="T4" fmla="*/ 3 w 9"/>
                  <a:gd name="T5" fmla="*/ 1 h 2"/>
                  <a:gd name="T6" fmla="*/ 0 w 9"/>
                  <a:gd name="T7" fmla="*/ 2 h 2"/>
                  <a:gd name="T8" fmla="*/ 3 w 9"/>
                  <a:gd name="T9" fmla="*/ 1 h 2"/>
                  <a:gd name="T10" fmla="*/ 5 w 9"/>
                  <a:gd name="T11" fmla="*/ 2 h 2"/>
                  <a:gd name="T12" fmla="*/ 5 w 9"/>
                  <a:gd name="T13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" h="2">
                    <a:moveTo>
                      <a:pt x="5" y="2"/>
                    </a:moveTo>
                    <a:lnTo>
                      <a:pt x="9" y="0"/>
                    </a:lnTo>
                    <a:lnTo>
                      <a:pt x="3" y="1"/>
                    </a:lnTo>
                    <a:lnTo>
                      <a:pt x="0" y="2"/>
                    </a:lnTo>
                    <a:lnTo>
                      <a:pt x="3" y="1"/>
                    </a:lnTo>
                    <a:lnTo>
                      <a:pt x="5" y="2"/>
                    </a:lnTo>
                    <a:lnTo>
                      <a:pt x="5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70" name="Freeform 36">
                <a:extLst>
                  <a:ext uri="{FF2B5EF4-FFF2-40B4-BE49-F238E27FC236}">
                    <a16:creationId xmlns:a16="http://schemas.microsoft.com/office/drawing/2014/main" id="{CB33B236-C9FD-4678-AB0F-B58C0E5790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4" y="1537"/>
                <a:ext cx="74" cy="56"/>
              </a:xfrm>
              <a:custGeom>
                <a:avLst/>
                <a:gdLst>
                  <a:gd name="T0" fmla="*/ 41 w 74"/>
                  <a:gd name="T1" fmla="*/ 2 h 56"/>
                  <a:gd name="T2" fmla="*/ 39 w 74"/>
                  <a:gd name="T3" fmla="*/ 1 h 56"/>
                  <a:gd name="T4" fmla="*/ 33 w 74"/>
                  <a:gd name="T5" fmla="*/ 0 h 56"/>
                  <a:gd name="T6" fmla="*/ 29 w 74"/>
                  <a:gd name="T7" fmla="*/ 0 h 56"/>
                  <a:gd name="T8" fmla="*/ 26 w 74"/>
                  <a:gd name="T9" fmla="*/ 1 h 56"/>
                  <a:gd name="T10" fmla="*/ 22 w 74"/>
                  <a:gd name="T11" fmla="*/ 1 h 56"/>
                  <a:gd name="T12" fmla="*/ 12 w 74"/>
                  <a:gd name="T13" fmla="*/ 2 h 56"/>
                  <a:gd name="T14" fmla="*/ 10 w 74"/>
                  <a:gd name="T15" fmla="*/ 3 h 56"/>
                  <a:gd name="T16" fmla="*/ 7 w 74"/>
                  <a:gd name="T17" fmla="*/ 4 h 56"/>
                  <a:gd name="T18" fmla="*/ 6 w 74"/>
                  <a:gd name="T19" fmla="*/ 7 h 56"/>
                  <a:gd name="T20" fmla="*/ 10 w 74"/>
                  <a:gd name="T21" fmla="*/ 12 h 56"/>
                  <a:gd name="T22" fmla="*/ 14 w 74"/>
                  <a:gd name="T23" fmla="*/ 13 h 56"/>
                  <a:gd name="T24" fmla="*/ 10 w 74"/>
                  <a:gd name="T25" fmla="*/ 13 h 56"/>
                  <a:gd name="T26" fmla="*/ 5 w 74"/>
                  <a:gd name="T27" fmla="*/ 11 h 56"/>
                  <a:gd name="T28" fmla="*/ 2 w 74"/>
                  <a:gd name="T29" fmla="*/ 11 h 56"/>
                  <a:gd name="T30" fmla="*/ 0 w 74"/>
                  <a:gd name="T31" fmla="*/ 13 h 56"/>
                  <a:gd name="T32" fmla="*/ 1 w 74"/>
                  <a:gd name="T33" fmla="*/ 17 h 56"/>
                  <a:gd name="T34" fmla="*/ 0 w 74"/>
                  <a:gd name="T35" fmla="*/ 19 h 56"/>
                  <a:gd name="T36" fmla="*/ 1 w 74"/>
                  <a:gd name="T37" fmla="*/ 25 h 56"/>
                  <a:gd name="T38" fmla="*/ 0 w 74"/>
                  <a:gd name="T39" fmla="*/ 30 h 56"/>
                  <a:gd name="T40" fmla="*/ 0 w 74"/>
                  <a:gd name="T41" fmla="*/ 36 h 56"/>
                  <a:gd name="T42" fmla="*/ 1 w 74"/>
                  <a:gd name="T43" fmla="*/ 38 h 56"/>
                  <a:gd name="T44" fmla="*/ 5 w 74"/>
                  <a:gd name="T45" fmla="*/ 39 h 56"/>
                  <a:gd name="T46" fmla="*/ 6 w 74"/>
                  <a:gd name="T47" fmla="*/ 43 h 56"/>
                  <a:gd name="T48" fmla="*/ 8 w 74"/>
                  <a:gd name="T49" fmla="*/ 45 h 56"/>
                  <a:gd name="T50" fmla="*/ 7 w 74"/>
                  <a:gd name="T51" fmla="*/ 51 h 56"/>
                  <a:gd name="T52" fmla="*/ 10 w 74"/>
                  <a:gd name="T53" fmla="*/ 53 h 56"/>
                  <a:gd name="T54" fmla="*/ 12 w 74"/>
                  <a:gd name="T55" fmla="*/ 53 h 56"/>
                  <a:gd name="T56" fmla="*/ 7 w 74"/>
                  <a:gd name="T57" fmla="*/ 54 h 56"/>
                  <a:gd name="T58" fmla="*/ 7 w 74"/>
                  <a:gd name="T59" fmla="*/ 56 h 56"/>
                  <a:gd name="T60" fmla="*/ 10 w 74"/>
                  <a:gd name="T61" fmla="*/ 56 h 56"/>
                  <a:gd name="T62" fmla="*/ 18 w 74"/>
                  <a:gd name="T63" fmla="*/ 56 h 56"/>
                  <a:gd name="T64" fmla="*/ 20 w 74"/>
                  <a:gd name="T65" fmla="*/ 56 h 56"/>
                  <a:gd name="T66" fmla="*/ 26 w 74"/>
                  <a:gd name="T67" fmla="*/ 49 h 56"/>
                  <a:gd name="T68" fmla="*/ 29 w 74"/>
                  <a:gd name="T69" fmla="*/ 46 h 56"/>
                  <a:gd name="T70" fmla="*/ 31 w 74"/>
                  <a:gd name="T71" fmla="*/ 44 h 56"/>
                  <a:gd name="T72" fmla="*/ 26 w 74"/>
                  <a:gd name="T73" fmla="*/ 38 h 56"/>
                  <a:gd name="T74" fmla="*/ 20 w 74"/>
                  <a:gd name="T75" fmla="*/ 38 h 56"/>
                  <a:gd name="T76" fmla="*/ 24 w 74"/>
                  <a:gd name="T77" fmla="*/ 37 h 56"/>
                  <a:gd name="T78" fmla="*/ 32 w 74"/>
                  <a:gd name="T79" fmla="*/ 36 h 56"/>
                  <a:gd name="T80" fmla="*/ 45 w 74"/>
                  <a:gd name="T81" fmla="*/ 38 h 56"/>
                  <a:gd name="T82" fmla="*/ 49 w 74"/>
                  <a:gd name="T83" fmla="*/ 38 h 56"/>
                  <a:gd name="T84" fmla="*/ 51 w 74"/>
                  <a:gd name="T85" fmla="*/ 36 h 56"/>
                  <a:gd name="T86" fmla="*/ 54 w 74"/>
                  <a:gd name="T87" fmla="*/ 33 h 56"/>
                  <a:gd name="T88" fmla="*/ 58 w 74"/>
                  <a:gd name="T89" fmla="*/ 27 h 56"/>
                  <a:gd name="T90" fmla="*/ 57 w 74"/>
                  <a:gd name="T91" fmla="*/ 25 h 56"/>
                  <a:gd name="T92" fmla="*/ 60 w 74"/>
                  <a:gd name="T93" fmla="*/ 25 h 56"/>
                  <a:gd name="T94" fmla="*/ 62 w 74"/>
                  <a:gd name="T95" fmla="*/ 21 h 56"/>
                  <a:gd name="T96" fmla="*/ 70 w 74"/>
                  <a:gd name="T97" fmla="*/ 13 h 56"/>
                  <a:gd name="T98" fmla="*/ 73 w 74"/>
                  <a:gd name="T99" fmla="*/ 11 h 56"/>
                  <a:gd name="T100" fmla="*/ 74 w 74"/>
                  <a:gd name="T101" fmla="*/ 8 h 56"/>
                  <a:gd name="T102" fmla="*/ 70 w 74"/>
                  <a:gd name="T103" fmla="*/ 5 h 56"/>
                  <a:gd name="T104" fmla="*/ 68 w 74"/>
                  <a:gd name="T105" fmla="*/ 5 h 56"/>
                  <a:gd name="T106" fmla="*/ 57 w 74"/>
                  <a:gd name="T107" fmla="*/ 3 h 56"/>
                  <a:gd name="T108" fmla="*/ 51 w 74"/>
                  <a:gd name="T109" fmla="*/ 4 h 56"/>
                  <a:gd name="T110" fmla="*/ 49 w 74"/>
                  <a:gd name="T111" fmla="*/ 5 h 56"/>
                  <a:gd name="T112" fmla="*/ 45 w 74"/>
                  <a:gd name="T113" fmla="*/ 3 h 56"/>
                  <a:gd name="T114" fmla="*/ 43 w 74"/>
                  <a:gd name="T115" fmla="*/ 2 h 56"/>
                  <a:gd name="T116" fmla="*/ 41 w 74"/>
                  <a:gd name="T117" fmla="*/ 2 h 56"/>
                  <a:gd name="T118" fmla="*/ 41 w 74"/>
                  <a:gd name="T119" fmla="*/ 2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4" h="56">
                    <a:moveTo>
                      <a:pt x="41" y="2"/>
                    </a:moveTo>
                    <a:lnTo>
                      <a:pt x="39" y="1"/>
                    </a:lnTo>
                    <a:lnTo>
                      <a:pt x="33" y="0"/>
                    </a:lnTo>
                    <a:lnTo>
                      <a:pt x="29" y="0"/>
                    </a:lnTo>
                    <a:lnTo>
                      <a:pt x="26" y="1"/>
                    </a:lnTo>
                    <a:lnTo>
                      <a:pt x="22" y="1"/>
                    </a:lnTo>
                    <a:lnTo>
                      <a:pt x="12" y="2"/>
                    </a:lnTo>
                    <a:lnTo>
                      <a:pt x="10" y="3"/>
                    </a:lnTo>
                    <a:lnTo>
                      <a:pt x="7" y="4"/>
                    </a:lnTo>
                    <a:lnTo>
                      <a:pt x="6" y="7"/>
                    </a:lnTo>
                    <a:lnTo>
                      <a:pt x="10" y="12"/>
                    </a:lnTo>
                    <a:lnTo>
                      <a:pt x="14" y="13"/>
                    </a:lnTo>
                    <a:lnTo>
                      <a:pt x="10" y="13"/>
                    </a:lnTo>
                    <a:lnTo>
                      <a:pt x="5" y="11"/>
                    </a:lnTo>
                    <a:lnTo>
                      <a:pt x="2" y="11"/>
                    </a:lnTo>
                    <a:lnTo>
                      <a:pt x="0" y="13"/>
                    </a:lnTo>
                    <a:lnTo>
                      <a:pt x="1" y="17"/>
                    </a:lnTo>
                    <a:lnTo>
                      <a:pt x="0" y="19"/>
                    </a:lnTo>
                    <a:lnTo>
                      <a:pt x="1" y="25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1" y="38"/>
                    </a:lnTo>
                    <a:lnTo>
                      <a:pt x="5" y="39"/>
                    </a:lnTo>
                    <a:lnTo>
                      <a:pt x="6" y="43"/>
                    </a:lnTo>
                    <a:lnTo>
                      <a:pt x="8" y="45"/>
                    </a:lnTo>
                    <a:lnTo>
                      <a:pt x="7" y="51"/>
                    </a:lnTo>
                    <a:lnTo>
                      <a:pt x="10" y="53"/>
                    </a:lnTo>
                    <a:lnTo>
                      <a:pt x="12" y="53"/>
                    </a:lnTo>
                    <a:lnTo>
                      <a:pt x="7" y="54"/>
                    </a:lnTo>
                    <a:lnTo>
                      <a:pt x="7" y="56"/>
                    </a:lnTo>
                    <a:lnTo>
                      <a:pt x="10" y="56"/>
                    </a:lnTo>
                    <a:lnTo>
                      <a:pt x="18" y="56"/>
                    </a:lnTo>
                    <a:lnTo>
                      <a:pt x="20" y="56"/>
                    </a:lnTo>
                    <a:lnTo>
                      <a:pt x="26" y="49"/>
                    </a:lnTo>
                    <a:lnTo>
                      <a:pt x="29" y="46"/>
                    </a:lnTo>
                    <a:lnTo>
                      <a:pt x="31" y="44"/>
                    </a:lnTo>
                    <a:lnTo>
                      <a:pt x="26" y="38"/>
                    </a:lnTo>
                    <a:lnTo>
                      <a:pt x="20" y="38"/>
                    </a:lnTo>
                    <a:lnTo>
                      <a:pt x="24" y="37"/>
                    </a:lnTo>
                    <a:lnTo>
                      <a:pt x="32" y="36"/>
                    </a:lnTo>
                    <a:lnTo>
                      <a:pt x="45" y="38"/>
                    </a:lnTo>
                    <a:lnTo>
                      <a:pt x="49" y="38"/>
                    </a:lnTo>
                    <a:lnTo>
                      <a:pt x="51" y="36"/>
                    </a:lnTo>
                    <a:lnTo>
                      <a:pt x="54" y="33"/>
                    </a:lnTo>
                    <a:lnTo>
                      <a:pt x="58" y="27"/>
                    </a:lnTo>
                    <a:lnTo>
                      <a:pt x="57" y="25"/>
                    </a:lnTo>
                    <a:lnTo>
                      <a:pt x="60" y="25"/>
                    </a:lnTo>
                    <a:lnTo>
                      <a:pt x="62" y="21"/>
                    </a:lnTo>
                    <a:lnTo>
                      <a:pt x="70" y="13"/>
                    </a:lnTo>
                    <a:lnTo>
                      <a:pt x="73" y="11"/>
                    </a:lnTo>
                    <a:lnTo>
                      <a:pt x="74" y="8"/>
                    </a:lnTo>
                    <a:lnTo>
                      <a:pt x="70" y="5"/>
                    </a:lnTo>
                    <a:lnTo>
                      <a:pt x="68" y="5"/>
                    </a:lnTo>
                    <a:lnTo>
                      <a:pt x="57" y="3"/>
                    </a:lnTo>
                    <a:lnTo>
                      <a:pt x="51" y="4"/>
                    </a:lnTo>
                    <a:lnTo>
                      <a:pt x="49" y="5"/>
                    </a:lnTo>
                    <a:lnTo>
                      <a:pt x="45" y="3"/>
                    </a:lnTo>
                    <a:lnTo>
                      <a:pt x="43" y="2"/>
                    </a:lnTo>
                    <a:lnTo>
                      <a:pt x="41" y="2"/>
                    </a:lnTo>
                    <a:lnTo>
                      <a:pt x="41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71" name="Freeform 37">
                <a:extLst>
                  <a:ext uri="{FF2B5EF4-FFF2-40B4-BE49-F238E27FC236}">
                    <a16:creationId xmlns:a16="http://schemas.microsoft.com/office/drawing/2014/main" id="{F8698516-F50F-4015-AFBA-7C8E605717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36" y="1439"/>
                <a:ext cx="21" cy="13"/>
              </a:xfrm>
              <a:custGeom>
                <a:avLst/>
                <a:gdLst>
                  <a:gd name="T0" fmla="*/ 16 w 21"/>
                  <a:gd name="T1" fmla="*/ 3 h 13"/>
                  <a:gd name="T2" fmla="*/ 11 w 21"/>
                  <a:gd name="T3" fmla="*/ 0 h 13"/>
                  <a:gd name="T4" fmla="*/ 7 w 21"/>
                  <a:gd name="T5" fmla="*/ 0 h 13"/>
                  <a:gd name="T6" fmla="*/ 5 w 21"/>
                  <a:gd name="T7" fmla="*/ 0 h 13"/>
                  <a:gd name="T8" fmla="*/ 3 w 21"/>
                  <a:gd name="T9" fmla="*/ 0 h 13"/>
                  <a:gd name="T10" fmla="*/ 0 w 21"/>
                  <a:gd name="T11" fmla="*/ 4 h 13"/>
                  <a:gd name="T12" fmla="*/ 0 w 21"/>
                  <a:gd name="T13" fmla="*/ 6 h 13"/>
                  <a:gd name="T14" fmla="*/ 1 w 21"/>
                  <a:gd name="T15" fmla="*/ 10 h 13"/>
                  <a:gd name="T16" fmla="*/ 5 w 21"/>
                  <a:gd name="T17" fmla="*/ 11 h 13"/>
                  <a:gd name="T18" fmla="*/ 13 w 21"/>
                  <a:gd name="T19" fmla="*/ 13 h 13"/>
                  <a:gd name="T20" fmla="*/ 16 w 21"/>
                  <a:gd name="T21" fmla="*/ 13 h 13"/>
                  <a:gd name="T22" fmla="*/ 18 w 21"/>
                  <a:gd name="T23" fmla="*/ 12 h 13"/>
                  <a:gd name="T24" fmla="*/ 21 w 21"/>
                  <a:gd name="T25" fmla="*/ 8 h 13"/>
                  <a:gd name="T26" fmla="*/ 21 w 21"/>
                  <a:gd name="T27" fmla="*/ 6 h 13"/>
                  <a:gd name="T28" fmla="*/ 16 w 21"/>
                  <a:gd name="T29" fmla="*/ 3 h 13"/>
                  <a:gd name="T30" fmla="*/ 16 w 21"/>
                  <a:gd name="T31" fmla="*/ 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1" h="13">
                    <a:moveTo>
                      <a:pt x="16" y="3"/>
                    </a:moveTo>
                    <a:lnTo>
                      <a:pt x="11" y="0"/>
                    </a:lnTo>
                    <a:lnTo>
                      <a:pt x="7" y="0"/>
                    </a:lnTo>
                    <a:lnTo>
                      <a:pt x="5" y="0"/>
                    </a:lnTo>
                    <a:lnTo>
                      <a:pt x="3" y="0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1" y="10"/>
                    </a:lnTo>
                    <a:lnTo>
                      <a:pt x="5" y="11"/>
                    </a:lnTo>
                    <a:lnTo>
                      <a:pt x="13" y="13"/>
                    </a:lnTo>
                    <a:lnTo>
                      <a:pt x="16" y="13"/>
                    </a:lnTo>
                    <a:lnTo>
                      <a:pt x="18" y="12"/>
                    </a:lnTo>
                    <a:lnTo>
                      <a:pt x="21" y="8"/>
                    </a:lnTo>
                    <a:lnTo>
                      <a:pt x="21" y="6"/>
                    </a:lnTo>
                    <a:lnTo>
                      <a:pt x="16" y="3"/>
                    </a:lnTo>
                    <a:lnTo>
                      <a:pt x="16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72" name="Freeform 38">
                <a:extLst>
                  <a:ext uri="{FF2B5EF4-FFF2-40B4-BE49-F238E27FC236}">
                    <a16:creationId xmlns:a16="http://schemas.microsoft.com/office/drawing/2014/main" id="{13894A76-2F95-4467-9E87-85E452A22D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44" y="1463"/>
                <a:ext cx="13" cy="10"/>
              </a:xfrm>
              <a:custGeom>
                <a:avLst/>
                <a:gdLst>
                  <a:gd name="T0" fmla="*/ 8 w 13"/>
                  <a:gd name="T1" fmla="*/ 10 h 10"/>
                  <a:gd name="T2" fmla="*/ 9 w 13"/>
                  <a:gd name="T3" fmla="*/ 9 h 10"/>
                  <a:gd name="T4" fmla="*/ 13 w 13"/>
                  <a:gd name="T5" fmla="*/ 9 h 10"/>
                  <a:gd name="T6" fmla="*/ 10 w 13"/>
                  <a:gd name="T7" fmla="*/ 7 h 10"/>
                  <a:gd name="T8" fmla="*/ 13 w 13"/>
                  <a:gd name="T9" fmla="*/ 4 h 10"/>
                  <a:gd name="T10" fmla="*/ 12 w 13"/>
                  <a:gd name="T11" fmla="*/ 1 h 10"/>
                  <a:gd name="T12" fmla="*/ 8 w 13"/>
                  <a:gd name="T13" fmla="*/ 0 h 10"/>
                  <a:gd name="T14" fmla="*/ 3 w 13"/>
                  <a:gd name="T15" fmla="*/ 0 h 10"/>
                  <a:gd name="T16" fmla="*/ 0 w 13"/>
                  <a:gd name="T17" fmla="*/ 4 h 10"/>
                  <a:gd name="T18" fmla="*/ 6 w 13"/>
                  <a:gd name="T19" fmla="*/ 9 h 10"/>
                  <a:gd name="T20" fmla="*/ 8 w 13"/>
                  <a:gd name="T21" fmla="*/ 10 h 10"/>
                  <a:gd name="T22" fmla="*/ 8 w 13"/>
                  <a:gd name="T23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3" h="10">
                    <a:moveTo>
                      <a:pt x="8" y="10"/>
                    </a:moveTo>
                    <a:lnTo>
                      <a:pt x="9" y="9"/>
                    </a:lnTo>
                    <a:lnTo>
                      <a:pt x="13" y="9"/>
                    </a:lnTo>
                    <a:lnTo>
                      <a:pt x="10" y="7"/>
                    </a:lnTo>
                    <a:lnTo>
                      <a:pt x="13" y="4"/>
                    </a:lnTo>
                    <a:lnTo>
                      <a:pt x="12" y="1"/>
                    </a:lnTo>
                    <a:lnTo>
                      <a:pt x="8" y="0"/>
                    </a:lnTo>
                    <a:lnTo>
                      <a:pt x="3" y="0"/>
                    </a:lnTo>
                    <a:lnTo>
                      <a:pt x="0" y="4"/>
                    </a:lnTo>
                    <a:lnTo>
                      <a:pt x="6" y="9"/>
                    </a:lnTo>
                    <a:lnTo>
                      <a:pt x="8" y="10"/>
                    </a:lnTo>
                    <a:lnTo>
                      <a:pt x="8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73" name="Freeform 39">
                <a:extLst>
                  <a:ext uri="{FF2B5EF4-FFF2-40B4-BE49-F238E27FC236}">
                    <a16:creationId xmlns:a16="http://schemas.microsoft.com/office/drawing/2014/main" id="{2A1F235F-30D2-4263-9123-30DC6C3568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03" y="1398"/>
                <a:ext cx="14" cy="4"/>
              </a:xfrm>
              <a:custGeom>
                <a:avLst/>
                <a:gdLst>
                  <a:gd name="T0" fmla="*/ 5 w 14"/>
                  <a:gd name="T1" fmla="*/ 0 h 4"/>
                  <a:gd name="T2" fmla="*/ 0 w 14"/>
                  <a:gd name="T3" fmla="*/ 2 h 4"/>
                  <a:gd name="T4" fmla="*/ 0 w 14"/>
                  <a:gd name="T5" fmla="*/ 4 h 4"/>
                  <a:gd name="T6" fmla="*/ 11 w 14"/>
                  <a:gd name="T7" fmla="*/ 2 h 4"/>
                  <a:gd name="T8" fmla="*/ 14 w 14"/>
                  <a:gd name="T9" fmla="*/ 0 h 4"/>
                  <a:gd name="T10" fmla="*/ 8 w 14"/>
                  <a:gd name="T11" fmla="*/ 0 h 4"/>
                  <a:gd name="T12" fmla="*/ 5 w 14"/>
                  <a:gd name="T13" fmla="*/ 0 h 4"/>
                  <a:gd name="T14" fmla="*/ 5 w 14"/>
                  <a:gd name="T15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" h="4">
                    <a:moveTo>
                      <a:pt x="5" y="0"/>
                    </a:moveTo>
                    <a:lnTo>
                      <a:pt x="0" y="2"/>
                    </a:lnTo>
                    <a:lnTo>
                      <a:pt x="0" y="4"/>
                    </a:lnTo>
                    <a:lnTo>
                      <a:pt x="11" y="2"/>
                    </a:lnTo>
                    <a:lnTo>
                      <a:pt x="14" y="0"/>
                    </a:lnTo>
                    <a:lnTo>
                      <a:pt x="8" y="0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74" name="Freeform 40">
                <a:extLst>
                  <a:ext uri="{FF2B5EF4-FFF2-40B4-BE49-F238E27FC236}">
                    <a16:creationId xmlns:a16="http://schemas.microsoft.com/office/drawing/2014/main" id="{3A73ED96-723F-43F7-A967-B6335B2F12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78" y="1542"/>
                <a:ext cx="87" cy="70"/>
              </a:xfrm>
              <a:custGeom>
                <a:avLst/>
                <a:gdLst>
                  <a:gd name="T0" fmla="*/ 87 w 87"/>
                  <a:gd name="T1" fmla="*/ 41 h 70"/>
                  <a:gd name="T2" fmla="*/ 85 w 87"/>
                  <a:gd name="T3" fmla="*/ 33 h 70"/>
                  <a:gd name="T4" fmla="*/ 78 w 87"/>
                  <a:gd name="T5" fmla="*/ 33 h 70"/>
                  <a:gd name="T6" fmla="*/ 74 w 87"/>
                  <a:gd name="T7" fmla="*/ 27 h 70"/>
                  <a:gd name="T8" fmla="*/ 63 w 87"/>
                  <a:gd name="T9" fmla="*/ 25 h 70"/>
                  <a:gd name="T10" fmla="*/ 59 w 87"/>
                  <a:gd name="T11" fmla="*/ 27 h 70"/>
                  <a:gd name="T12" fmla="*/ 74 w 87"/>
                  <a:gd name="T13" fmla="*/ 16 h 70"/>
                  <a:gd name="T14" fmla="*/ 72 w 87"/>
                  <a:gd name="T15" fmla="*/ 11 h 70"/>
                  <a:gd name="T16" fmla="*/ 79 w 87"/>
                  <a:gd name="T17" fmla="*/ 7 h 70"/>
                  <a:gd name="T18" fmla="*/ 65 w 87"/>
                  <a:gd name="T19" fmla="*/ 4 h 70"/>
                  <a:gd name="T20" fmla="*/ 54 w 87"/>
                  <a:gd name="T21" fmla="*/ 6 h 70"/>
                  <a:gd name="T22" fmla="*/ 46 w 87"/>
                  <a:gd name="T23" fmla="*/ 5 h 70"/>
                  <a:gd name="T24" fmla="*/ 37 w 87"/>
                  <a:gd name="T25" fmla="*/ 0 h 70"/>
                  <a:gd name="T26" fmla="*/ 37 w 87"/>
                  <a:gd name="T27" fmla="*/ 5 h 70"/>
                  <a:gd name="T28" fmla="*/ 29 w 87"/>
                  <a:gd name="T29" fmla="*/ 4 h 70"/>
                  <a:gd name="T30" fmla="*/ 22 w 87"/>
                  <a:gd name="T31" fmla="*/ 7 h 70"/>
                  <a:gd name="T32" fmla="*/ 29 w 87"/>
                  <a:gd name="T33" fmla="*/ 13 h 70"/>
                  <a:gd name="T34" fmla="*/ 26 w 87"/>
                  <a:gd name="T35" fmla="*/ 12 h 70"/>
                  <a:gd name="T36" fmla="*/ 18 w 87"/>
                  <a:gd name="T37" fmla="*/ 12 h 70"/>
                  <a:gd name="T38" fmla="*/ 24 w 87"/>
                  <a:gd name="T39" fmla="*/ 19 h 70"/>
                  <a:gd name="T40" fmla="*/ 35 w 87"/>
                  <a:gd name="T41" fmla="*/ 17 h 70"/>
                  <a:gd name="T42" fmla="*/ 37 w 87"/>
                  <a:gd name="T43" fmla="*/ 21 h 70"/>
                  <a:gd name="T44" fmla="*/ 33 w 87"/>
                  <a:gd name="T45" fmla="*/ 22 h 70"/>
                  <a:gd name="T46" fmla="*/ 34 w 87"/>
                  <a:gd name="T47" fmla="*/ 29 h 70"/>
                  <a:gd name="T48" fmla="*/ 33 w 87"/>
                  <a:gd name="T49" fmla="*/ 32 h 70"/>
                  <a:gd name="T50" fmla="*/ 24 w 87"/>
                  <a:gd name="T51" fmla="*/ 33 h 70"/>
                  <a:gd name="T52" fmla="*/ 16 w 87"/>
                  <a:gd name="T53" fmla="*/ 29 h 70"/>
                  <a:gd name="T54" fmla="*/ 10 w 87"/>
                  <a:gd name="T55" fmla="*/ 24 h 70"/>
                  <a:gd name="T56" fmla="*/ 3 w 87"/>
                  <a:gd name="T57" fmla="*/ 25 h 70"/>
                  <a:gd name="T58" fmla="*/ 0 w 87"/>
                  <a:gd name="T59" fmla="*/ 33 h 70"/>
                  <a:gd name="T60" fmla="*/ 11 w 87"/>
                  <a:gd name="T61" fmla="*/ 39 h 70"/>
                  <a:gd name="T62" fmla="*/ 14 w 87"/>
                  <a:gd name="T63" fmla="*/ 45 h 70"/>
                  <a:gd name="T64" fmla="*/ 22 w 87"/>
                  <a:gd name="T65" fmla="*/ 45 h 70"/>
                  <a:gd name="T66" fmla="*/ 29 w 87"/>
                  <a:gd name="T67" fmla="*/ 48 h 70"/>
                  <a:gd name="T68" fmla="*/ 45 w 87"/>
                  <a:gd name="T69" fmla="*/ 62 h 70"/>
                  <a:gd name="T70" fmla="*/ 53 w 87"/>
                  <a:gd name="T71" fmla="*/ 70 h 70"/>
                  <a:gd name="T72" fmla="*/ 61 w 87"/>
                  <a:gd name="T73" fmla="*/ 67 h 70"/>
                  <a:gd name="T74" fmla="*/ 59 w 87"/>
                  <a:gd name="T75" fmla="*/ 59 h 70"/>
                  <a:gd name="T76" fmla="*/ 60 w 87"/>
                  <a:gd name="T77" fmla="*/ 57 h 70"/>
                  <a:gd name="T78" fmla="*/ 70 w 87"/>
                  <a:gd name="T79" fmla="*/ 62 h 70"/>
                  <a:gd name="T80" fmla="*/ 80 w 87"/>
                  <a:gd name="T81" fmla="*/ 56 h 70"/>
                  <a:gd name="T82" fmla="*/ 82 w 87"/>
                  <a:gd name="T83" fmla="*/ 54 h 70"/>
                  <a:gd name="T84" fmla="*/ 86 w 87"/>
                  <a:gd name="T85" fmla="*/ 49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87" h="70">
                    <a:moveTo>
                      <a:pt x="85" y="47"/>
                    </a:moveTo>
                    <a:lnTo>
                      <a:pt x="82" y="44"/>
                    </a:lnTo>
                    <a:lnTo>
                      <a:pt x="87" y="41"/>
                    </a:lnTo>
                    <a:lnTo>
                      <a:pt x="87" y="39"/>
                    </a:lnTo>
                    <a:lnTo>
                      <a:pt x="86" y="36"/>
                    </a:lnTo>
                    <a:lnTo>
                      <a:pt x="85" y="33"/>
                    </a:lnTo>
                    <a:lnTo>
                      <a:pt x="79" y="34"/>
                    </a:lnTo>
                    <a:lnTo>
                      <a:pt x="77" y="36"/>
                    </a:lnTo>
                    <a:lnTo>
                      <a:pt x="78" y="33"/>
                    </a:lnTo>
                    <a:lnTo>
                      <a:pt x="76" y="31"/>
                    </a:lnTo>
                    <a:lnTo>
                      <a:pt x="73" y="30"/>
                    </a:lnTo>
                    <a:lnTo>
                      <a:pt x="74" y="27"/>
                    </a:lnTo>
                    <a:lnTo>
                      <a:pt x="69" y="25"/>
                    </a:lnTo>
                    <a:lnTo>
                      <a:pt x="65" y="24"/>
                    </a:lnTo>
                    <a:lnTo>
                      <a:pt x="63" y="25"/>
                    </a:lnTo>
                    <a:lnTo>
                      <a:pt x="61" y="27"/>
                    </a:lnTo>
                    <a:lnTo>
                      <a:pt x="59" y="30"/>
                    </a:lnTo>
                    <a:lnTo>
                      <a:pt x="59" y="27"/>
                    </a:lnTo>
                    <a:lnTo>
                      <a:pt x="63" y="22"/>
                    </a:lnTo>
                    <a:lnTo>
                      <a:pt x="69" y="17"/>
                    </a:lnTo>
                    <a:lnTo>
                      <a:pt x="74" y="16"/>
                    </a:lnTo>
                    <a:lnTo>
                      <a:pt x="76" y="13"/>
                    </a:lnTo>
                    <a:lnTo>
                      <a:pt x="70" y="14"/>
                    </a:lnTo>
                    <a:lnTo>
                      <a:pt x="72" y="11"/>
                    </a:lnTo>
                    <a:lnTo>
                      <a:pt x="74" y="12"/>
                    </a:lnTo>
                    <a:lnTo>
                      <a:pt x="78" y="10"/>
                    </a:lnTo>
                    <a:lnTo>
                      <a:pt x="79" y="7"/>
                    </a:lnTo>
                    <a:lnTo>
                      <a:pt x="77" y="4"/>
                    </a:lnTo>
                    <a:lnTo>
                      <a:pt x="71" y="3"/>
                    </a:lnTo>
                    <a:lnTo>
                      <a:pt x="65" y="4"/>
                    </a:lnTo>
                    <a:lnTo>
                      <a:pt x="62" y="4"/>
                    </a:lnTo>
                    <a:lnTo>
                      <a:pt x="56" y="5"/>
                    </a:lnTo>
                    <a:lnTo>
                      <a:pt x="54" y="6"/>
                    </a:lnTo>
                    <a:lnTo>
                      <a:pt x="51" y="6"/>
                    </a:lnTo>
                    <a:lnTo>
                      <a:pt x="48" y="7"/>
                    </a:lnTo>
                    <a:lnTo>
                      <a:pt x="46" y="5"/>
                    </a:lnTo>
                    <a:lnTo>
                      <a:pt x="41" y="3"/>
                    </a:lnTo>
                    <a:lnTo>
                      <a:pt x="37" y="0"/>
                    </a:lnTo>
                    <a:lnTo>
                      <a:pt x="37" y="0"/>
                    </a:lnTo>
                    <a:lnTo>
                      <a:pt x="35" y="2"/>
                    </a:lnTo>
                    <a:lnTo>
                      <a:pt x="37" y="4"/>
                    </a:lnTo>
                    <a:lnTo>
                      <a:pt x="37" y="5"/>
                    </a:lnTo>
                    <a:lnTo>
                      <a:pt x="35" y="5"/>
                    </a:lnTo>
                    <a:lnTo>
                      <a:pt x="31" y="4"/>
                    </a:lnTo>
                    <a:lnTo>
                      <a:pt x="29" y="4"/>
                    </a:lnTo>
                    <a:lnTo>
                      <a:pt x="26" y="4"/>
                    </a:lnTo>
                    <a:lnTo>
                      <a:pt x="24" y="5"/>
                    </a:lnTo>
                    <a:lnTo>
                      <a:pt x="22" y="7"/>
                    </a:lnTo>
                    <a:lnTo>
                      <a:pt x="26" y="8"/>
                    </a:lnTo>
                    <a:lnTo>
                      <a:pt x="28" y="10"/>
                    </a:lnTo>
                    <a:lnTo>
                      <a:pt x="29" y="13"/>
                    </a:lnTo>
                    <a:lnTo>
                      <a:pt x="31" y="15"/>
                    </a:lnTo>
                    <a:lnTo>
                      <a:pt x="29" y="14"/>
                    </a:lnTo>
                    <a:lnTo>
                      <a:pt x="26" y="12"/>
                    </a:lnTo>
                    <a:lnTo>
                      <a:pt x="24" y="11"/>
                    </a:lnTo>
                    <a:lnTo>
                      <a:pt x="20" y="10"/>
                    </a:lnTo>
                    <a:lnTo>
                      <a:pt x="18" y="12"/>
                    </a:lnTo>
                    <a:lnTo>
                      <a:pt x="16" y="14"/>
                    </a:lnTo>
                    <a:lnTo>
                      <a:pt x="18" y="15"/>
                    </a:lnTo>
                    <a:lnTo>
                      <a:pt x="24" y="19"/>
                    </a:lnTo>
                    <a:lnTo>
                      <a:pt x="27" y="19"/>
                    </a:lnTo>
                    <a:lnTo>
                      <a:pt x="31" y="17"/>
                    </a:lnTo>
                    <a:lnTo>
                      <a:pt x="35" y="17"/>
                    </a:lnTo>
                    <a:lnTo>
                      <a:pt x="37" y="20"/>
                    </a:lnTo>
                    <a:lnTo>
                      <a:pt x="41" y="20"/>
                    </a:lnTo>
                    <a:lnTo>
                      <a:pt x="37" y="21"/>
                    </a:lnTo>
                    <a:lnTo>
                      <a:pt x="31" y="19"/>
                    </a:lnTo>
                    <a:lnTo>
                      <a:pt x="30" y="21"/>
                    </a:lnTo>
                    <a:lnTo>
                      <a:pt x="33" y="22"/>
                    </a:lnTo>
                    <a:lnTo>
                      <a:pt x="35" y="25"/>
                    </a:lnTo>
                    <a:lnTo>
                      <a:pt x="36" y="28"/>
                    </a:lnTo>
                    <a:lnTo>
                      <a:pt x="34" y="29"/>
                    </a:lnTo>
                    <a:lnTo>
                      <a:pt x="31" y="27"/>
                    </a:lnTo>
                    <a:lnTo>
                      <a:pt x="31" y="29"/>
                    </a:lnTo>
                    <a:lnTo>
                      <a:pt x="33" y="32"/>
                    </a:lnTo>
                    <a:lnTo>
                      <a:pt x="29" y="32"/>
                    </a:lnTo>
                    <a:lnTo>
                      <a:pt x="26" y="32"/>
                    </a:lnTo>
                    <a:lnTo>
                      <a:pt x="24" y="33"/>
                    </a:lnTo>
                    <a:lnTo>
                      <a:pt x="20" y="33"/>
                    </a:lnTo>
                    <a:lnTo>
                      <a:pt x="18" y="31"/>
                    </a:lnTo>
                    <a:lnTo>
                      <a:pt x="16" y="29"/>
                    </a:lnTo>
                    <a:lnTo>
                      <a:pt x="13" y="28"/>
                    </a:lnTo>
                    <a:lnTo>
                      <a:pt x="11" y="24"/>
                    </a:lnTo>
                    <a:lnTo>
                      <a:pt x="10" y="24"/>
                    </a:lnTo>
                    <a:lnTo>
                      <a:pt x="9" y="23"/>
                    </a:lnTo>
                    <a:lnTo>
                      <a:pt x="5" y="24"/>
                    </a:lnTo>
                    <a:lnTo>
                      <a:pt x="3" y="25"/>
                    </a:lnTo>
                    <a:lnTo>
                      <a:pt x="2" y="28"/>
                    </a:lnTo>
                    <a:lnTo>
                      <a:pt x="0" y="30"/>
                    </a:lnTo>
                    <a:lnTo>
                      <a:pt x="0" y="33"/>
                    </a:lnTo>
                    <a:lnTo>
                      <a:pt x="5" y="37"/>
                    </a:lnTo>
                    <a:lnTo>
                      <a:pt x="10" y="39"/>
                    </a:lnTo>
                    <a:lnTo>
                      <a:pt x="11" y="39"/>
                    </a:lnTo>
                    <a:lnTo>
                      <a:pt x="12" y="42"/>
                    </a:lnTo>
                    <a:lnTo>
                      <a:pt x="11" y="42"/>
                    </a:lnTo>
                    <a:lnTo>
                      <a:pt x="14" y="45"/>
                    </a:lnTo>
                    <a:lnTo>
                      <a:pt x="17" y="45"/>
                    </a:lnTo>
                    <a:lnTo>
                      <a:pt x="19" y="44"/>
                    </a:lnTo>
                    <a:lnTo>
                      <a:pt x="22" y="45"/>
                    </a:lnTo>
                    <a:lnTo>
                      <a:pt x="24" y="47"/>
                    </a:lnTo>
                    <a:lnTo>
                      <a:pt x="27" y="47"/>
                    </a:lnTo>
                    <a:lnTo>
                      <a:pt x="29" y="48"/>
                    </a:lnTo>
                    <a:lnTo>
                      <a:pt x="35" y="53"/>
                    </a:lnTo>
                    <a:lnTo>
                      <a:pt x="39" y="57"/>
                    </a:lnTo>
                    <a:lnTo>
                      <a:pt x="45" y="62"/>
                    </a:lnTo>
                    <a:lnTo>
                      <a:pt x="47" y="67"/>
                    </a:lnTo>
                    <a:lnTo>
                      <a:pt x="51" y="67"/>
                    </a:lnTo>
                    <a:lnTo>
                      <a:pt x="53" y="70"/>
                    </a:lnTo>
                    <a:lnTo>
                      <a:pt x="55" y="70"/>
                    </a:lnTo>
                    <a:lnTo>
                      <a:pt x="59" y="70"/>
                    </a:lnTo>
                    <a:lnTo>
                      <a:pt x="61" y="67"/>
                    </a:lnTo>
                    <a:lnTo>
                      <a:pt x="63" y="64"/>
                    </a:lnTo>
                    <a:lnTo>
                      <a:pt x="61" y="62"/>
                    </a:lnTo>
                    <a:lnTo>
                      <a:pt x="59" y="59"/>
                    </a:lnTo>
                    <a:lnTo>
                      <a:pt x="59" y="56"/>
                    </a:lnTo>
                    <a:lnTo>
                      <a:pt x="62" y="55"/>
                    </a:lnTo>
                    <a:lnTo>
                      <a:pt x="60" y="57"/>
                    </a:lnTo>
                    <a:lnTo>
                      <a:pt x="61" y="61"/>
                    </a:lnTo>
                    <a:lnTo>
                      <a:pt x="64" y="61"/>
                    </a:lnTo>
                    <a:lnTo>
                      <a:pt x="70" y="62"/>
                    </a:lnTo>
                    <a:lnTo>
                      <a:pt x="72" y="62"/>
                    </a:lnTo>
                    <a:lnTo>
                      <a:pt x="74" y="61"/>
                    </a:lnTo>
                    <a:lnTo>
                      <a:pt x="80" y="56"/>
                    </a:lnTo>
                    <a:lnTo>
                      <a:pt x="84" y="56"/>
                    </a:lnTo>
                    <a:lnTo>
                      <a:pt x="86" y="54"/>
                    </a:lnTo>
                    <a:lnTo>
                      <a:pt x="82" y="54"/>
                    </a:lnTo>
                    <a:lnTo>
                      <a:pt x="86" y="51"/>
                    </a:lnTo>
                    <a:lnTo>
                      <a:pt x="82" y="51"/>
                    </a:lnTo>
                    <a:lnTo>
                      <a:pt x="86" y="49"/>
                    </a:lnTo>
                    <a:lnTo>
                      <a:pt x="85" y="4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75" name="Freeform 41">
                <a:extLst>
                  <a:ext uri="{FF2B5EF4-FFF2-40B4-BE49-F238E27FC236}">
                    <a16:creationId xmlns:a16="http://schemas.microsoft.com/office/drawing/2014/main" id="{B0B7E97C-0206-42E2-8E9D-1ABCDA87C9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70" y="1487"/>
                <a:ext cx="18" cy="7"/>
              </a:xfrm>
              <a:custGeom>
                <a:avLst/>
                <a:gdLst>
                  <a:gd name="T0" fmla="*/ 18 w 18"/>
                  <a:gd name="T1" fmla="*/ 1 h 7"/>
                  <a:gd name="T2" fmla="*/ 12 w 18"/>
                  <a:gd name="T3" fmla="*/ 2 h 7"/>
                  <a:gd name="T4" fmla="*/ 11 w 18"/>
                  <a:gd name="T5" fmla="*/ 6 h 7"/>
                  <a:gd name="T6" fmla="*/ 5 w 18"/>
                  <a:gd name="T7" fmla="*/ 7 h 7"/>
                  <a:gd name="T8" fmla="*/ 0 w 18"/>
                  <a:gd name="T9" fmla="*/ 7 h 7"/>
                  <a:gd name="T10" fmla="*/ 5 w 18"/>
                  <a:gd name="T11" fmla="*/ 2 h 7"/>
                  <a:gd name="T12" fmla="*/ 8 w 18"/>
                  <a:gd name="T13" fmla="*/ 1 h 7"/>
                  <a:gd name="T14" fmla="*/ 13 w 18"/>
                  <a:gd name="T15" fmla="*/ 0 h 7"/>
                  <a:gd name="T16" fmla="*/ 17 w 18"/>
                  <a:gd name="T17" fmla="*/ 0 h 7"/>
                  <a:gd name="T18" fmla="*/ 18 w 18"/>
                  <a:gd name="T19" fmla="*/ 1 h 7"/>
                  <a:gd name="T20" fmla="*/ 18 w 18"/>
                  <a:gd name="T21" fmla="*/ 1 h 7"/>
                  <a:gd name="T22" fmla="*/ 18 w 18"/>
                  <a:gd name="T23" fmla="*/ 1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8" h="7">
                    <a:moveTo>
                      <a:pt x="18" y="1"/>
                    </a:moveTo>
                    <a:lnTo>
                      <a:pt x="12" y="2"/>
                    </a:lnTo>
                    <a:lnTo>
                      <a:pt x="11" y="6"/>
                    </a:lnTo>
                    <a:lnTo>
                      <a:pt x="5" y="7"/>
                    </a:lnTo>
                    <a:lnTo>
                      <a:pt x="0" y="7"/>
                    </a:lnTo>
                    <a:lnTo>
                      <a:pt x="5" y="2"/>
                    </a:lnTo>
                    <a:lnTo>
                      <a:pt x="8" y="1"/>
                    </a:lnTo>
                    <a:lnTo>
                      <a:pt x="13" y="0"/>
                    </a:lnTo>
                    <a:lnTo>
                      <a:pt x="17" y="0"/>
                    </a:lnTo>
                    <a:lnTo>
                      <a:pt x="18" y="1"/>
                    </a:lnTo>
                    <a:lnTo>
                      <a:pt x="18" y="1"/>
                    </a:lnTo>
                    <a:lnTo>
                      <a:pt x="18" y="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76" name="Freeform 42">
                <a:extLst>
                  <a:ext uri="{FF2B5EF4-FFF2-40B4-BE49-F238E27FC236}">
                    <a16:creationId xmlns:a16="http://schemas.microsoft.com/office/drawing/2014/main" id="{0EAF2E22-830E-42B9-A0AA-94DB685FDC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86" y="1476"/>
                <a:ext cx="2" cy="4"/>
              </a:xfrm>
              <a:custGeom>
                <a:avLst/>
                <a:gdLst>
                  <a:gd name="T0" fmla="*/ 2 w 2"/>
                  <a:gd name="T1" fmla="*/ 4 h 4"/>
                  <a:gd name="T2" fmla="*/ 0 w 2"/>
                  <a:gd name="T3" fmla="*/ 4 h 4"/>
                  <a:gd name="T4" fmla="*/ 1 w 2"/>
                  <a:gd name="T5" fmla="*/ 1 h 4"/>
                  <a:gd name="T6" fmla="*/ 2 w 2"/>
                  <a:gd name="T7" fmla="*/ 0 h 4"/>
                  <a:gd name="T8" fmla="*/ 2 w 2"/>
                  <a:gd name="T9" fmla="*/ 4 h 4"/>
                  <a:gd name="T10" fmla="*/ 2 w 2"/>
                  <a:gd name="T11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4">
                    <a:moveTo>
                      <a:pt x="2" y="4"/>
                    </a:moveTo>
                    <a:lnTo>
                      <a:pt x="0" y="4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2" y="4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77" name="Freeform 43">
                <a:extLst>
                  <a:ext uri="{FF2B5EF4-FFF2-40B4-BE49-F238E27FC236}">
                    <a16:creationId xmlns:a16="http://schemas.microsoft.com/office/drawing/2014/main" id="{E83523CC-0ACA-49B4-9CE3-4B0ED40115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18" y="1737"/>
                <a:ext cx="8" cy="10"/>
              </a:xfrm>
              <a:custGeom>
                <a:avLst/>
                <a:gdLst>
                  <a:gd name="T0" fmla="*/ 3 w 8"/>
                  <a:gd name="T1" fmla="*/ 0 h 10"/>
                  <a:gd name="T2" fmla="*/ 3 w 8"/>
                  <a:gd name="T3" fmla="*/ 0 h 10"/>
                  <a:gd name="T4" fmla="*/ 0 w 8"/>
                  <a:gd name="T5" fmla="*/ 1 h 10"/>
                  <a:gd name="T6" fmla="*/ 1 w 8"/>
                  <a:gd name="T7" fmla="*/ 4 h 10"/>
                  <a:gd name="T8" fmla="*/ 1 w 8"/>
                  <a:gd name="T9" fmla="*/ 7 h 10"/>
                  <a:gd name="T10" fmla="*/ 4 w 8"/>
                  <a:gd name="T11" fmla="*/ 8 h 10"/>
                  <a:gd name="T12" fmla="*/ 6 w 8"/>
                  <a:gd name="T13" fmla="*/ 10 h 10"/>
                  <a:gd name="T14" fmla="*/ 8 w 8"/>
                  <a:gd name="T15" fmla="*/ 9 h 10"/>
                  <a:gd name="T16" fmla="*/ 6 w 8"/>
                  <a:gd name="T17" fmla="*/ 4 h 10"/>
                  <a:gd name="T18" fmla="*/ 3 w 8"/>
                  <a:gd name="T19" fmla="*/ 0 h 10"/>
                  <a:gd name="T20" fmla="*/ 3 w 8"/>
                  <a:gd name="T21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" h="10">
                    <a:moveTo>
                      <a:pt x="3" y="0"/>
                    </a:moveTo>
                    <a:lnTo>
                      <a:pt x="3" y="0"/>
                    </a:lnTo>
                    <a:lnTo>
                      <a:pt x="0" y="1"/>
                    </a:lnTo>
                    <a:lnTo>
                      <a:pt x="1" y="4"/>
                    </a:lnTo>
                    <a:lnTo>
                      <a:pt x="1" y="7"/>
                    </a:lnTo>
                    <a:lnTo>
                      <a:pt x="4" y="8"/>
                    </a:lnTo>
                    <a:lnTo>
                      <a:pt x="6" y="10"/>
                    </a:lnTo>
                    <a:lnTo>
                      <a:pt x="8" y="9"/>
                    </a:lnTo>
                    <a:lnTo>
                      <a:pt x="6" y="4"/>
                    </a:lnTo>
                    <a:lnTo>
                      <a:pt x="3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78" name="Freeform 44">
                <a:extLst>
                  <a:ext uri="{FF2B5EF4-FFF2-40B4-BE49-F238E27FC236}">
                    <a16:creationId xmlns:a16="http://schemas.microsoft.com/office/drawing/2014/main" id="{7D07BD7B-9470-4467-9562-B3A3CEEC7D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35" y="1804"/>
                <a:ext cx="27" cy="17"/>
              </a:xfrm>
              <a:custGeom>
                <a:avLst/>
                <a:gdLst>
                  <a:gd name="T0" fmla="*/ 0 w 27"/>
                  <a:gd name="T1" fmla="*/ 11 h 17"/>
                  <a:gd name="T2" fmla="*/ 3 w 27"/>
                  <a:gd name="T3" fmla="*/ 17 h 17"/>
                  <a:gd name="T4" fmla="*/ 6 w 27"/>
                  <a:gd name="T5" fmla="*/ 17 h 17"/>
                  <a:gd name="T6" fmla="*/ 9 w 27"/>
                  <a:gd name="T7" fmla="*/ 16 h 17"/>
                  <a:gd name="T8" fmla="*/ 11 w 27"/>
                  <a:gd name="T9" fmla="*/ 17 h 17"/>
                  <a:gd name="T10" fmla="*/ 17 w 27"/>
                  <a:gd name="T11" fmla="*/ 15 h 17"/>
                  <a:gd name="T12" fmla="*/ 21 w 27"/>
                  <a:gd name="T13" fmla="*/ 9 h 17"/>
                  <a:gd name="T14" fmla="*/ 25 w 27"/>
                  <a:gd name="T15" fmla="*/ 8 h 17"/>
                  <a:gd name="T16" fmla="*/ 27 w 27"/>
                  <a:gd name="T17" fmla="*/ 7 h 17"/>
                  <a:gd name="T18" fmla="*/ 27 w 27"/>
                  <a:gd name="T19" fmla="*/ 1 h 17"/>
                  <a:gd name="T20" fmla="*/ 25 w 27"/>
                  <a:gd name="T21" fmla="*/ 0 h 17"/>
                  <a:gd name="T22" fmla="*/ 17 w 27"/>
                  <a:gd name="T23" fmla="*/ 1 h 17"/>
                  <a:gd name="T24" fmla="*/ 13 w 27"/>
                  <a:gd name="T25" fmla="*/ 3 h 17"/>
                  <a:gd name="T26" fmla="*/ 11 w 27"/>
                  <a:gd name="T27" fmla="*/ 3 h 17"/>
                  <a:gd name="T28" fmla="*/ 9 w 27"/>
                  <a:gd name="T29" fmla="*/ 2 h 17"/>
                  <a:gd name="T30" fmla="*/ 6 w 27"/>
                  <a:gd name="T31" fmla="*/ 5 h 17"/>
                  <a:gd name="T32" fmla="*/ 4 w 27"/>
                  <a:gd name="T33" fmla="*/ 7 h 17"/>
                  <a:gd name="T34" fmla="*/ 0 w 27"/>
                  <a:gd name="T35" fmla="*/ 11 h 17"/>
                  <a:gd name="T36" fmla="*/ 0 w 27"/>
                  <a:gd name="T37" fmla="*/ 11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7" h="17">
                    <a:moveTo>
                      <a:pt x="0" y="11"/>
                    </a:moveTo>
                    <a:lnTo>
                      <a:pt x="3" y="17"/>
                    </a:lnTo>
                    <a:lnTo>
                      <a:pt x="6" y="17"/>
                    </a:lnTo>
                    <a:lnTo>
                      <a:pt x="9" y="16"/>
                    </a:lnTo>
                    <a:lnTo>
                      <a:pt x="11" y="17"/>
                    </a:lnTo>
                    <a:lnTo>
                      <a:pt x="17" y="15"/>
                    </a:lnTo>
                    <a:lnTo>
                      <a:pt x="21" y="9"/>
                    </a:lnTo>
                    <a:lnTo>
                      <a:pt x="25" y="8"/>
                    </a:lnTo>
                    <a:lnTo>
                      <a:pt x="27" y="7"/>
                    </a:lnTo>
                    <a:lnTo>
                      <a:pt x="27" y="1"/>
                    </a:lnTo>
                    <a:lnTo>
                      <a:pt x="25" y="0"/>
                    </a:lnTo>
                    <a:lnTo>
                      <a:pt x="17" y="1"/>
                    </a:lnTo>
                    <a:lnTo>
                      <a:pt x="13" y="3"/>
                    </a:lnTo>
                    <a:lnTo>
                      <a:pt x="11" y="3"/>
                    </a:lnTo>
                    <a:lnTo>
                      <a:pt x="9" y="2"/>
                    </a:lnTo>
                    <a:lnTo>
                      <a:pt x="6" y="5"/>
                    </a:lnTo>
                    <a:lnTo>
                      <a:pt x="4" y="7"/>
                    </a:lnTo>
                    <a:lnTo>
                      <a:pt x="0" y="11"/>
                    </a:lnTo>
                    <a:lnTo>
                      <a:pt x="0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79" name="Freeform 45">
                <a:extLst>
                  <a:ext uri="{FF2B5EF4-FFF2-40B4-BE49-F238E27FC236}">
                    <a16:creationId xmlns:a16="http://schemas.microsoft.com/office/drawing/2014/main" id="{B8EAFAB0-1EF5-4593-ACC9-D3AAB5DD3C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61" y="1999"/>
                <a:ext cx="19" cy="9"/>
              </a:xfrm>
              <a:custGeom>
                <a:avLst/>
                <a:gdLst>
                  <a:gd name="T0" fmla="*/ 14 w 19"/>
                  <a:gd name="T1" fmla="*/ 1 h 9"/>
                  <a:gd name="T2" fmla="*/ 10 w 19"/>
                  <a:gd name="T3" fmla="*/ 0 h 9"/>
                  <a:gd name="T4" fmla="*/ 2 w 19"/>
                  <a:gd name="T5" fmla="*/ 1 h 9"/>
                  <a:gd name="T6" fmla="*/ 0 w 19"/>
                  <a:gd name="T7" fmla="*/ 3 h 9"/>
                  <a:gd name="T8" fmla="*/ 2 w 19"/>
                  <a:gd name="T9" fmla="*/ 4 h 9"/>
                  <a:gd name="T10" fmla="*/ 11 w 19"/>
                  <a:gd name="T11" fmla="*/ 7 h 9"/>
                  <a:gd name="T12" fmla="*/ 14 w 19"/>
                  <a:gd name="T13" fmla="*/ 8 h 9"/>
                  <a:gd name="T14" fmla="*/ 19 w 19"/>
                  <a:gd name="T15" fmla="*/ 9 h 9"/>
                  <a:gd name="T16" fmla="*/ 18 w 19"/>
                  <a:gd name="T17" fmla="*/ 6 h 9"/>
                  <a:gd name="T18" fmla="*/ 14 w 19"/>
                  <a:gd name="T19" fmla="*/ 1 h 9"/>
                  <a:gd name="T20" fmla="*/ 14 w 19"/>
                  <a:gd name="T21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9" h="9">
                    <a:moveTo>
                      <a:pt x="14" y="1"/>
                    </a:moveTo>
                    <a:lnTo>
                      <a:pt x="10" y="0"/>
                    </a:lnTo>
                    <a:lnTo>
                      <a:pt x="2" y="1"/>
                    </a:lnTo>
                    <a:lnTo>
                      <a:pt x="0" y="3"/>
                    </a:lnTo>
                    <a:lnTo>
                      <a:pt x="2" y="4"/>
                    </a:lnTo>
                    <a:lnTo>
                      <a:pt x="11" y="7"/>
                    </a:lnTo>
                    <a:lnTo>
                      <a:pt x="14" y="8"/>
                    </a:lnTo>
                    <a:lnTo>
                      <a:pt x="19" y="9"/>
                    </a:lnTo>
                    <a:lnTo>
                      <a:pt x="18" y="6"/>
                    </a:lnTo>
                    <a:lnTo>
                      <a:pt x="14" y="1"/>
                    </a:lnTo>
                    <a:lnTo>
                      <a:pt x="14" y="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80" name="Freeform 46">
                <a:extLst>
                  <a:ext uri="{FF2B5EF4-FFF2-40B4-BE49-F238E27FC236}">
                    <a16:creationId xmlns:a16="http://schemas.microsoft.com/office/drawing/2014/main" id="{35C0A3BF-BA3B-4DB7-9001-31A3DD569C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8" y="1648"/>
                <a:ext cx="19" cy="8"/>
              </a:xfrm>
              <a:custGeom>
                <a:avLst/>
                <a:gdLst>
                  <a:gd name="T0" fmla="*/ 11 w 19"/>
                  <a:gd name="T1" fmla="*/ 7 h 8"/>
                  <a:gd name="T2" fmla="*/ 11 w 19"/>
                  <a:gd name="T3" fmla="*/ 4 h 8"/>
                  <a:gd name="T4" fmla="*/ 13 w 19"/>
                  <a:gd name="T5" fmla="*/ 5 h 8"/>
                  <a:gd name="T6" fmla="*/ 17 w 19"/>
                  <a:gd name="T7" fmla="*/ 5 h 8"/>
                  <a:gd name="T8" fmla="*/ 19 w 19"/>
                  <a:gd name="T9" fmla="*/ 3 h 8"/>
                  <a:gd name="T10" fmla="*/ 19 w 19"/>
                  <a:gd name="T11" fmla="*/ 1 h 8"/>
                  <a:gd name="T12" fmla="*/ 16 w 19"/>
                  <a:gd name="T13" fmla="*/ 0 h 8"/>
                  <a:gd name="T14" fmla="*/ 11 w 19"/>
                  <a:gd name="T15" fmla="*/ 2 h 8"/>
                  <a:gd name="T16" fmla="*/ 8 w 19"/>
                  <a:gd name="T17" fmla="*/ 1 h 8"/>
                  <a:gd name="T18" fmla="*/ 6 w 19"/>
                  <a:gd name="T19" fmla="*/ 1 h 8"/>
                  <a:gd name="T20" fmla="*/ 6 w 19"/>
                  <a:gd name="T21" fmla="*/ 3 h 8"/>
                  <a:gd name="T22" fmla="*/ 3 w 19"/>
                  <a:gd name="T23" fmla="*/ 2 h 8"/>
                  <a:gd name="T24" fmla="*/ 0 w 19"/>
                  <a:gd name="T25" fmla="*/ 3 h 8"/>
                  <a:gd name="T26" fmla="*/ 6 w 19"/>
                  <a:gd name="T27" fmla="*/ 4 h 8"/>
                  <a:gd name="T28" fmla="*/ 9 w 19"/>
                  <a:gd name="T29" fmla="*/ 7 h 8"/>
                  <a:gd name="T30" fmla="*/ 11 w 19"/>
                  <a:gd name="T31" fmla="*/ 8 h 8"/>
                  <a:gd name="T32" fmla="*/ 11 w 19"/>
                  <a:gd name="T33" fmla="*/ 7 h 8"/>
                  <a:gd name="T34" fmla="*/ 11 w 19"/>
                  <a:gd name="T35" fmla="*/ 7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9" h="8">
                    <a:moveTo>
                      <a:pt x="11" y="7"/>
                    </a:moveTo>
                    <a:lnTo>
                      <a:pt x="11" y="4"/>
                    </a:lnTo>
                    <a:lnTo>
                      <a:pt x="13" y="5"/>
                    </a:lnTo>
                    <a:lnTo>
                      <a:pt x="17" y="5"/>
                    </a:lnTo>
                    <a:lnTo>
                      <a:pt x="19" y="3"/>
                    </a:lnTo>
                    <a:lnTo>
                      <a:pt x="19" y="1"/>
                    </a:lnTo>
                    <a:lnTo>
                      <a:pt x="16" y="0"/>
                    </a:lnTo>
                    <a:lnTo>
                      <a:pt x="11" y="2"/>
                    </a:lnTo>
                    <a:lnTo>
                      <a:pt x="8" y="1"/>
                    </a:lnTo>
                    <a:lnTo>
                      <a:pt x="6" y="1"/>
                    </a:lnTo>
                    <a:lnTo>
                      <a:pt x="6" y="3"/>
                    </a:lnTo>
                    <a:lnTo>
                      <a:pt x="3" y="2"/>
                    </a:lnTo>
                    <a:lnTo>
                      <a:pt x="0" y="3"/>
                    </a:lnTo>
                    <a:lnTo>
                      <a:pt x="6" y="4"/>
                    </a:lnTo>
                    <a:lnTo>
                      <a:pt x="9" y="7"/>
                    </a:lnTo>
                    <a:lnTo>
                      <a:pt x="11" y="8"/>
                    </a:lnTo>
                    <a:lnTo>
                      <a:pt x="11" y="7"/>
                    </a:lnTo>
                    <a:lnTo>
                      <a:pt x="11" y="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81" name="Freeform 47">
                <a:extLst>
                  <a:ext uri="{FF2B5EF4-FFF2-40B4-BE49-F238E27FC236}">
                    <a16:creationId xmlns:a16="http://schemas.microsoft.com/office/drawing/2014/main" id="{0C813FEA-57B6-408B-9913-C1EEF24DB7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85" y="1817"/>
                <a:ext cx="14" cy="18"/>
              </a:xfrm>
              <a:custGeom>
                <a:avLst/>
                <a:gdLst>
                  <a:gd name="T0" fmla="*/ 4 w 14"/>
                  <a:gd name="T1" fmla="*/ 14 h 18"/>
                  <a:gd name="T2" fmla="*/ 6 w 14"/>
                  <a:gd name="T3" fmla="*/ 18 h 18"/>
                  <a:gd name="T4" fmla="*/ 10 w 14"/>
                  <a:gd name="T5" fmla="*/ 14 h 18"/>
                  <a:gd name="T6" fmla="*/ 12 w 14"/>
                  <a:gd name="T7" fmla="*/ 10 h 18"/>
                  <a:gd name="T8" fmla="*/ 13 w 14"/>
                  <a:gd name="T9" fmla="*/ 6 h 18"/>
                  <a:gd name="T10" fmla="*/ 14 w 14"/>
                  <a:gd name="T11" fmla="*/ 4 h 18"/>
                  <a:gd name="T12" fmla="*/ 12 w 14"/>
                  <a:gd name="T13" fmla="*/ 1 h 18"/>
                  <a:gd name="T14" fmla="*/ 10 w 14"/>
                  <a:gd name="T15" fmla="*/ 0 h 18"/>
                  <a:gd name="T16" fmla="*/ 4 w 14"/>
                  <a:gd name="T17" fmla="*/ 1 h 18"/>
                  <a:gd name="T18" fmla="*/ 1 w 14"/>
                  <a:gd name="T19" fmla="*/ 5 h 18"/>
                  <a:gd name="T20" fmla="*/ 0 w 14"/>
                  <a:gd name="T21" fmla="*/ 7 h 18"/>
                  <a:gd name="T22" fmla="*/ 2 w 14"/>
                  <a:gd name="T23" fmla="*/ 13 h 18"/>
                  <a:gd name="T24" fmla="*/ 4 w 14"/>
                  <a:gd name="T25" fmla="*/ 14 h 18"/>
                  <a:gd name="T26" fmla="*/ 4 w 14"/>
                  <a:gd name="T27" fmla="*/ 14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4" h="18">
                    <a:moveTo>
                      <a:pt x="4" y="14"/>
                    </a:moveTo>
                    <a:lnTo>
                      <a:pt x="6" y="18"/>
                    </a:lnTo>
                    <a:lnTo>
                      <a:pt x="10" y="14"/>
                    </a:lnTo>
                    <a:lnTo>
                      <a:pt x="12" y="10"/>
                    </a:lnTo>
                    <a:lnTo>
                      <a:pt x="13" y="6"/>
                    </a:lnTo>
                    <a:lnTo>
                      <a:pt x="14" y="4"/>
                    </a:lnTo>
                    <a:lnTo>
                      <a:pt x="12" y="1"/>
                    </a:lnTo>
                    <a:lnTo>
                      <a:pt x="10" y="0"/>
                    </a:lnTo>
                    <a:lnTo>
                      <a:pt x="4" y="1"/>
                    </a:lnTo>
                    <a:lnTo>
                      <a:pt x="1" y="5"/>
                    </a:lnTo>
                    <a:lnTo>
                      <a:pt x="0" y="7"/>
                    </a:lnTo>
                    <a:lnTo>
                      <a:pt x="2" y="13"/>
                    </a:lnTo>
                    <a:lnTo>
                      <a:pt x="4" y="14"/>
                    </a:lnTo>
                    <a:lnTo>
                      <a:pt x="4" y="1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82" name="Freeform 48">
                <a:extLst>
                  <a:ext uri="{FF2B5EF4-FFF2-40B4-BE49-F238E27FC236}">
                    <a16:creationId xmlns:a16="http://schemas.microsoft.com/office/drawing/2014/main" id="{16D7E10F-B288-45F1-A84F-AE71E5AA3C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97" y="1659"/>
                <a:ext cx="16" cy="13"/>
              </a:xfrm>
              <a:custGeom>
                <a:avLst/>
                <a:gdLst>
                  <a:gd name="T0" fmla="*/ 13 w 16"/>
                  <a:gd name="T1" fmla="*/ 0 h 13"/>
                  <a:gd name="T2" fmla="*/ 10 w 16"/>
                  <a:gd name="T3" fmla="*/ 0 h 13"/>
                  <a:gd name="T4" fmla="*/ 7 w 16"/>
                  <a:gd name="T5" fmla="*/ 6 h 13"/>
                  <a:gd name="T6" fmla="*/ 4 w 16"/>
                  <a:gd name="T7" fmla="*/ 7 h 13"/>
                  <a:gd name="T8" fmla="*/ 1 w 16"/>
                  <a:gd name="T9" fmla="*/ 9 h 13"/>
                  <a:gd name="T10" fmla="*/ 0 w 16"/>
                  <a:gd name="T11" fmla="*/ 13 h 13"/>
                  <a:gd name="T12" fmla="*/ 4 w 16"/>
                  <a:gd name="T13" fmla="*/ 13 h 13"/>
                  <a:gd name="T14" fmla="*/ 8 w 16"/>
                  <a:gd name="T15" fmla="*/ 10 h 13"/>
                  <a:gd name="T16" fmla="*/ 13 w 16"/>
                  <a:gd name="T17" fmla="*/ 5 h 13"/>
                  <a:gd name="T18" fmla="*/ 16 w 16"/>
                  <a:gd name="T19" fmla="*/ 2 h 13"/>
                  <a:gd name="T20" fmla="*/ 15 w 16"/>
                  <a:gd name="T21" fmla="*/ 0 h 13"/>
                  <a:gd name="T22" fmla="*/ 13 w 16"/>
                  <a:gd name="T23" fmla="*/ 0 h 13"/>
                  <a:gd name="T24" fmla="*/ 13 w 16"/>
                  <a:gd name="T25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6" h="13">
                    <a:moveTo>
                      <a:pt x="13" y="0"/>
                    </a:moveTo>
                    <a:lnTo>
                      <a:pt x="10" y="0"/>
                    </a:lnTo>
                    <a:lnTo>
                      <a:pt x="7" y="6"/>
                    </a:lnTo>
                    <a:lnTo>
                      <a:pt x="4" y="7"/>
                    </a:lnTo>
                    <a:lnTo>
                      <a:pt x="1" y="9"/>
                    </a:lnTo>
                    <a:lnTo>
                      <a:pt x="0" y="13"/>
                    </a:lnTo>
                    <a:lnTo>
                      <a:pt x="4" y="13"/>
                    </a:lnTo>
                    <a:lnTo>
                      <a:pt x="8" y="10"/>
                    </a:lnTo>
                    <a:lnTo>
                      <a:pt x="13" y="5"/>
                    </a:lnTo>
                    <a:lnTo>
                      <a:pt x="16" y="2"/>
                    </a:lnTo>
                    <a:lnTo>
                      <a:pt x="15" y="0"/>
                    </a:lnTo>
                    <a:lnTo>
                      <a:pt x="13" y="0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83" name="Freeform 49">
                <a:extLst>
                  <a:ext uri="{FF2B5EF4-FFF2-40B4-BE49-F238E27FC236}">
                    <a16:creationId xmlns:a16="http://schemas.microsoft.com/office/drawing/2014/main" id="{32AEE333-9439-4C86-B2EB-AF90B9F75A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01" y="1683"/>
                <a:ext cx="3" cy="4"/>
              </a:xfrm>
              <a:custGeom>
                <a:avLst/>
                <a:gdLst>
                  <a:gd name="T0" fmla="*/ 1 w 3"/>
                  <a:gd name="T1" fmla="*/ 0 h 4"/>
                  <a:gd name="T2" fmla="*/ 0 w 3"/>
                  <a:gd name="T3" fmla="*/ 1 h 4"/>
                  <a:gd name="T4" fmla="*/ 0 w 3"/>
                  <a:gd name="T5" fmla="*/ 4 h 4"/>
                  <a:gd name="T6" fmla="*/ 3 w 3"/>
                  <a:gd name="T7" fmla="*/ 3 h 4"/>
                  <a:gd name="T8" fmla="*/ 3 w 3"/>
                  <a:gd name="T9" fmla="*/ 1 h 4"/>
                  <a:gd name="T10" fmla="*/ 1 w 3"/>
                  <a:gd name="T11" fmla="*/ 0 h 4"/>
                  <a:gd name="T12" fmla="*/ 1 w 3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4">
                    <a:moveTo>
                      <a:pt x="1" y="0"/>
                    </a:moveTo>
                    <a:lnTo>
                      <a:pt x="0" y="1"/>
                    </a:lnTo>
                    <a:lnTo>
                      <a:pt x="0" y="4"/>
                    </a:lnTo>
                    <a:lnTo>
                      <a:pt x="3" y="3"/>
                    </a:lnTo>
                    <a:lnTo>
                      <a:pt x="3" y="1"/>
                    </a:lnTo>
                    <a:lnTo>
                      <a:pt x="1" y="0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84" name="Freeform 50">
                <a:extLst>
                  <a:ext uri="{FF2B5EF4-FFF2-40B4-BE49-F238E27FC236}">
                    <a16:creationId xmlns:a16="http://schemas.microsoft.com/office/drawing/2014/main" id="{C6E9FB73-B943-4F95-A82E-6158A07AA3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06" y="1650"/>
                <a:ext cx="12" cy="6"/>
              </a:xfrm>
              <a:custGeom>
                <a:avLst/>
                <a:gdLst>
                  <a:gd name="T0" fmla="*/ 8 w 12"/>
                  <a:gd name="T1" fmla="*/ 0 h 6"/>
                  <a:gd name="T2" fmla="*/ 2 w 12"/>
                  <a:gd name="T3" fmla="*/ 2 h 6"/>
                  <a:gd name="T4" fmla="*/ 0 w 12"/>
                  <a:gd name="T5" fmla="*/ 5 h 6"/>
                  <a:gd name="T6" fmla="*/ 2 w 12"/>
                  <a:gd name="T7" fmla="*/ 6 h 6"/>
                  <a:gd name="T8" fmla="*/ 12 w 12"/>
                  <a:gd name="T9" fmla="*/ 2 h 6"/>
                  <a:gd name="T10" fmla="*/ 8 w 12"/>
                  <a:gd name="T11" fmla="*/ 0 h 6"/>
                  <a:gd name="T12" fmla="*/ 8 w 12"/>
                  <a:gd name="T1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6">
                    <a:moveTo>
                      <a:pt x="8" y="0"/>
                    </a:moveTo>
                    <a:lnTo>
                      <a:pt x="2" y="2"/>
                    </a:lnTo>
                    <a:lnTo>
                      <a:pt x="0" y="5"/>
                    </a:lnTo>
                    <a:lnTo>
                      <a:pt x="2" y="6"/>
                    </a:lnTo>
                    <a:lnTo>
                      <a:pt x="12" y="2"/>
                    </a:lnTo>
                    <a:lnTo>
                      <a:pt x="8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85" name="Freeform 51">
                <a:extLst>
                  <a:ext uri="{FF2B5EF4-FFF2-40B4-BE49-F238E27FC236}">
                    <a16:creationId xmlns:a16="http://schemas.microsoft.com/office/drawing/2014/main" id="{EF7B31E3-3B97-4170-90E8-CC2D83D181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11" y="1793"/>
                <a:ext cx="11" cy="9"/>
              </a:xfrm>
              <a:custGeom>
                <a:avLst/>
                <a:gdLst>
                  <a:gd name="T0" fmla="*/ 2 w 11"/>
                  <a:gd name="T1" fmla="*/ 0 h 9"/>
                  <a:gd name="T2" fmla="*/ 0 w 11"/>
                  <a:gd name="T3" fmla="*/ 1 h 9"/>
                  <a:gd name="T4" fmla="*/ 0 w 11"/>
                  <a:gd name="T5" fmla="*/ 3 h 9"/>
                  <a:gd name="T6" fmla="*/ 5 w 11"/>
                  <a:gd name="T7" fmla="*/ 9 h 9"/>
                  <a:gd name="T8" fmla="*/ 8 w 11"/>
                  <a:gd name="T9" fmla="*/ 9 h 9"/>
                  <a:gd name="T10" fmla="*/ 11 w 11"/>
                  <a:gd name="T11" fmla="*/ 8 h 9"/>
                  <a:gd name="T12" fmla="*/ 11 w 11"/>
                  <a:gd name="T13" fmla="*/ 4 h 9"/>
                  <a:gd name="T14" fmla="*/ 10 w 11"/>
                  <a:gd name="T15" fmla="*/ 2 h 9"/>
                  <a:gd name="T16" fmla="*/ 7 w 11"/>
                  <a:gd name="T17" fmla="*/ 1 h 9"/>
                  <a:gd name="T18" fmla="*/ 4 w 11"/>
                  <a:gd name="T19" fmla="*/ 1 h 9"/>
                  <a:gd name="T20" fmla="*/ 2 w 11"/>
                  <a:gd name="T21" fmla="*/ 0 h 9"/>
                  <a:gd name="T22" fmla="*/ 2 w 11"/>
                  <a:gd name="T23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" h="9">
                    <a:moveTo>
                      <a:pt x="2" y="0"/>
                    </a:moveTo>
                    <a:lnTo>
                      <a:pt x="0" y="1"/>
                    </a:lnTo>
                    <a:lnTo>
                      <a:pt x="0" y="3"/>
                    </a:lnTo>
                    <a:lnTo>
                      <a:pt x="5" y="9"/>
                    </a:lnTo>
                    <a:lnTo>
                      <a:pt x="8" y="9"/>
                    </a:lnTo>
                    <a:lnTo>
                      <a:pt x="11" y="8"/>
                    </a:lnTo>
                    <a:lnTo>
                      <a:pt x="11" y="4"/>
                    </a:lnTo>
                    <a:lnTo>
                      <a:pt x="10" y="2"/>
                    </a:lnTo>
                    <a:lnTo>
                      <a:pt x="7" y="1"/>
                    </a:lnTo>
                    <a:lnTo>
                      <a:pt x="4" y="1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86" name="Freeform 52">
                <a:extLst>
                  <a:ext uri="{FF2B5EF4-FFF2-40B4-BE49-F238E27FC236}">
                    <a16:creationId xmlns:a16="http://schemas.microsoft.com/office/drawing/2014/main" id="{D387E02E-9CF0-4B8A-9946-477BE0A5AF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5" y="1657"/>
                <a:ext cx="10" cy="8"/>
              </a:xfrm>
              <a:custGeom>
                <a:avLst/>
                <a:gdLst>
                  <a:gd name="T0" fmla="*/ 4 w 10"/>
                  <a:gd name="T1" fmla="*/ 0 h 8"/>
                  <a:gd name="T2" fmla="*/ 0 w 10"/>
                  <a:gd name="T3" fmla="*/ 1 h 8"/>
                  <a:gd name="T4" fmla="*/ 0 w 10"/>
                  <a:gd name="T5" fmla="*/ 4 h 8"/>
                  <a:gd name="T6" fmla="*/ 0 w 10"/>
                  <a:gd name="T7" fmla="*/ 7 h 8"/>
                  <a:gd name="T8" fmla="*/ 4 w 10"/>
                  <a:gd name="T9" fmla="*/ 8 h 8"/>
                  <a:gd name="T10" fmla="*/ 6 w 10"/>
                  <a:gd name="T11" fmla="*/ 8 h 8"/>
                  <a:gd name="T12" fmla="*/ 7 w 10"/>
                  <a:gd name="T13" fmla="*/ 6 h 8"/>
                  <a:gd name="T14" fmla="*/ 10 w 10"/>
                  <a:gd name="T15" fmla="*/ 3 h 8"/>
                  <a:gd name="T16" fmla="*/ 10 w 10"/>
                  <a:gd name="T17" fmla="*/ 1 h 8"/>
                  <a:gd name="T18" fmla="*/ 6 w 10"/>
                  <a:gd name="T19" fmla="*/ 1 h 8"/>
                  <a:gd name="T20" fmla="*/ 4 w 10"/>
                  <a:gd name="T21" fmla="*/ 0 h 8"/>
                  <a:gd name="T22" fmla="*/ 4 w 10"/>
                  <a:gd name="T23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" h="8">
                    <a:moveTo>
                      <a:pt x="4" y="0"/>
                    </a:moveTo>
                    <a:lnTo>
                      <a:pt x="0" y="1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7" y="6"/>
                    </a:lnTo>
                    <a:lnTo>
                      <a:pt x="10" y="3"/>
                    </a:lnTo>
                    <a:lnTo>
                      <a:pt x="10" y="1"/>
                    </a:lnTo>
                    <a:lnTo>
                      <a:pt x="6" y="1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87" name="Freeform 53">
                <a:extLst>
                  <a:ext uri="{FF2B5EF4-FFF2-40B4-BE49-F238E27FC236}">
                    <a16:creationId xmlns:a16="http://schemas.microsoft.com/office/drawing/2014/main" id="{D450C346-9E69-4B19-9B2B-CBBD9B0ABC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7" y="1684"/>
                <a:ext cx="30" cy="26"/>
              </a:xfrm>
              <a:custGeom>
                <a:avLst/>
                <a:gdLst>
                  <a:gd name="T0" fmla="*/ 1 w 30"/>
                  <a:gd name="T1" fmla="*/ 22 h 26"/>
                  <a:gd name="T2" fmla="*/ 2 w 30"/>
                  <a:gd name="T3" fmla="*/ 24 h 26"/>
                  <a:gd name="T4" fmla="*/ 4 w 30"/>
                  <a:gd name="T5" fmla="*/ 25 h 26"/>
                  <a:gd name="T6" fmla="*/ 8 w 30"/>
                  <a:gd name="T7" fmla="*/ 26 h 26"/>
                  <a:gd name="T8" fmla="*/ 15 w 30"/>
                  <a:gd name="T9" fmla="*/ 25 h 26"/>
                  <a:gd name="T10" fmla="*/ 18 w 30"/>
                  <a:gd name="T11" fmla="*/ 25 h 26"/>
                  <a:gd name="T12" fmla="*/ 23 w 30"/>
                  <a:gd name="T13" fmla="*/ 23 h 26"/>
                  <a:gd name="T14" fmla="*/ 27 w 30"/>
                  <a:gd name="T15" fmla="*/ 22 h 26"/>
                  <a:gd name="T16" fmla="*/ 29 w 30"/>
                  <a:gd name="T17" fmla="*/ 19 h 26"/>
                  <a:gd name="T18" fmla="*/ 30 w 30"/>
                  <a:gd name="T19" fmla="*/ 16 h 26"/>
                  <a:gd name="T20" fmla="*/ 29 w 30"/>
                  <a:gd name="T21" fmla="*/ 8 h 26"/>
                  <a:gd name="T22" fmla="*/ 30 w 30"/>
                  <a:gd name="T23" fmla="*/ 6 h 26"/>
                  <a:gd name="T24" fmla="*/ 29 w 30"/>
                  <a:gd name="T25" fmla="*/ 2 h 26"/>
                  <a:gd name="T26" fmla="*/ 21 w 30"/>
                  <a:gd name="T27" fmla="*/ 0 h 26"/>
                  <a:gd name="T28" fmla="*/ 18 w 30"/>
                  <a:gd name="T29" fmla="*/ 0 h 26"/>
                  <a:gd name="T30" fmla="*/ 15 w 30"/>
                  <a:gd name="T31" fmla="*/ 1 h 26"/>
                  <a:gd name="T32" fmla="*/ 12 w 30"/>
                  <a:gd name="T33" fmla="*/ 0 h 26"/>
                  <a:gd name="T34" fmla="*/ 8 w 30"/>
                  <a:gd name="T35" fmla="*/ 2 h 26"/>
                  <a:gd name="T36" fmla="*/ 4 w 30"/>
                  <a:gd name="T37" fmla="*/ 5 h 26"/>
                  <a:gd name="T38" fmla="*/ 1 w 30"/>
                  <a:gd name="T39" fmla="*/ 10 h 26"/>
                  <a:gd name="T40" fmla="*/ 0 w 30"/>
                  <a:gd name="T41" fmla="*/ 13 h 26"/>
                  <a:gd name="T42" fmla="*/ 0 w 30"/>
                  <a:gd name="T43" fmla="*/ 15 h 26"/>
                  <a:gd name="T44" fmla="*/ 0 w 30"/>
                  <a:gd name="T45" fmla="*/ 18 h 26"/>
                  <a:gd name="T46" fmla="*/ 0 w 30"/>
                  <a:gd name="T47" fmla="*/ 20 h 26"/>
                  <a:gd name="T48" fmla="*/ 1 w 30"/>
                  <a:gd name="T49" fmla="*/ 22 h 26"/>
                  <a:gd name="T50" fmla="*/ 1 w 30"/>
                  <a:gd name="T51" fmla="*/ 22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" h="26">
                    <a:moveTo>
                      <a:pt x="1" y="22"/>
                    </a:moveTo>
                    <a:lnTo>
                      <a:pt x="2" y="24"/>
                    </a:lnTo>
                    <a:lnTo>
                      <a:pt x="4" y="25"/>
                    </a:lnTo>
                    <a:lnTo>
                      <a:pt x="8" y="26"/>
                    </a:lnTo>
                    <a:lnTo>
                      <a:pt x="15" y="25"/>
                    </a:lnTo>
                    <a:lnTo>
                      <a:pt x="18" y="25"/>
                    </a:lnTo>
                    <a:lnTo>
                      <a:pt x="23" y="23"/>
                    </a:lnTo>
                    <a:lnTo>
                      <a:pt x="27" y="22"/>
                    </a:lnTo>
                    <a:lnTo>
                      <a:pt x="29" y="19"/>
                    </a:lnTo>
                    <a:lnTo>
                      <a:pt x="30" y="16"/>
                    </a:lnTo>
                    <a:lnTo>
                      <a:pt x="29" y="8"/>
                    </a:lnTo>
                    <a:lnTo>
                      <a:pt x="30" y="6"/>
                    </a:lnTo>
                    <a:lnTo>
                      <a:pt x="29" y="2"/>
                    </a:lnTo>
                    <a:lnTo>
                      <a:pt x="21" y="0"/>
                    </a:lnTo>
                    <a:lnTo>
                      <a:pt x="18" y="0"/>
                    </a:lnTo>
                    <a:lnTo>
                      <a:pt x="15" y="1"/>
                    </a:lnTo>
                    <a:lnTo>
                      <a:pt x="12" y="0"/>
                    </a:lnTo>
                    <a:lnTo>
                      <a:pt x="8" y="2"/>
                    </a:lnTo>
                    <a:lnTo>
                      <a:pt x="4" y="5"/>
                    </a:lnTo>
                    <a:lnTo>
                      <a:pt x="1" y="10"/>
                    </a:lnTo>
                    <a:lnTo>
                      <a:pt x="0" y="13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0" y="20"/>
                    </a:lnTo>
                    <a:lnTo>
                      <a:pt x="1" y="22"/>
                    </a:lnTo>
                    <a:lnTo>
                      <a:pt x="1" y="2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88" name="Freeform 54">
                <a:extLst>
                  <a:ext uri="{FF2B5EF4-FFF2-40B4-BE49-F238E27FC236}">
                    <a16:creationId xmlns:a16="http://schemas.microsoft.com/office/drawing/2014/main" id="{3E6F7BFF-AB25-4F53-A6AB-FBBD1A68B4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66" y="1681"/>
                <a:ext cx="4" cy="4"/>
              </a:xfrm>
              <a:custGeom>
                <a:avLst/>
                <a:gdLst>
                  <a:gd name="T0" fmla="*/ 0 w 4"/>
                  <a:gd name="T1" fmla="*/ 0 h 4"/>
                  <a:gd name="T2" fmla="*/ 0 w 4"/>
                  <a:gd name="T3" fmla="*/ 2 h 4"/>
                  <a:gd name="T4" fmla="*/ 4 w 4"/>
                  <a:gd name="T5" fmla="*/ 4 h 4"/>
                  <a:gd name="T6" fmla="*/ 4 w 4"/>
                  <a:gd name="T7" fmla="*/ 2 h 4"/>
                  <a:gd name="T8" fmla="*/ 0 w 4"/>
                  <a:gd name="T9" fmla="*/ 0 h 4"/>
                  <a:gd name="T10" fmla="*/ 0 w 4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4">
                    <a:moveTo>
                      <a:pt x="0" y="0"/>
                    </a:moveTo>
                    <a:lnTo>
                      <a:pt x="0" y="2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89" name="Rectangle 55">
                <a:extLst>
                  <a:ext uri="{FF2B5EF4-FFF2-40B4-BE49-F238E27FC236}">
                    <a16:creationId xmlns:a16="http://schemas.microsoft.com/office/drawing/2014/main" id="{05693B65-5043-4CAA-8F7C-35EC9025601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21" y="1391"/>
                <a:ext cx="1" cy="1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90" name="Freeform 56">
                <a:extLst>
                  <a:ext uri="{FF2B5EF4-FFF2-40B4-BE49-F238E27FC236}">
                    <a16:creationId xmlns:a16="http://schemas.microsoft.com/office/drawing/2014/main" id="{59C07678-88DD-4FC2-BB8E-AB19041FAE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21" y="1331"/>
                <a:ext cx="35" cy="4"/>
              </a:xfrm>
              <a:custGeom>
                <a:avLst/>
                <a:gdLst>
                  <a:gd name="T0" fmla="*/ 0 w 35"/>
                  <a:gd name="T1" fmla="*/ 4 h 4"/>
                  <a:gd name="T2" fmla="*/ 0 w 35"/>
                  <a:gd name="T3" fmla="*/ 3 h 4"/>
                  <a:gd name="T4" fmla="*/ 22 w 35"/>
                  <a:gd name="T5" fmla="*/ 1 h 4"/>
                  <a:gd name="T6" fmla="*/ 30 w 35"/>
                  <a:gd name="T7" fmla="*/ 0 h 4"/>
                  <a:gd name="T8" fmla="*/ 35 w 35"/>
                  <a:gd name="T9" fmla="*/ 0 h 4"/>
                  <a:gd name="T10" fmla="*/ 30 w 35"/>
                  <a:gd name="T11" fmla="*/ 2 h 4"/>
                  <a:gd name="T12" fmla="*/ 24 w 35"/>
                  <a:gd name="T13" fmla="*/ 2 h 4"/>
                  <a:gd name="T14" fmla="*/ 18 w 35"/>
                  <a:gd name="T15" fmla="*/ 3 h 4"/>
                  <a:gd name="T16" fmla="*/ 12 w 35"/>
                  <a:gd name="T17" fmla="*/ 3 h 4"/>
                  <a:gd name="T18" fmla="*/ 4 w 35"/>
                  <a:gd name="T19" fmla="*/ 4 h 4"/>
                  <a:gd name="T20" fmla="*/ 0 w 35"/>
                  <a:gd name="T21" fmla="*/ 4 h 4"/>
                  <a:gd name="T22" fmla="*/ 0 w 35"/>
                  <a:gd name="T23" fmla="*/ 4 h 4"/>
                  <a:gd name="T24" fmla="*/ 0 w 35"/>
                  <a:gd name="T25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5" h="4">
                    <a:moveTo>
                      <a:pt x="0" y="4"/>
                    </a:moveTo>
                    <a:lnTo>
                      <a:pt x="0" y="3"/>
                    </a:lnTo>
                    <a:lnTo>
                      <a:pt x="22" y="1"/>
                    </a:lnTo>
                    <a:lnTo>
                      <a:pt x="30" y="0"/>
                    </a:lnTo>
                    <a:lnTo>
                      <a:pt x="35" y="0"/>
                    </a:lnTo>
                    <a:lnTo>
                      <a:pt x="30" y="2"/>
                    </a:lnTo>
                    <a:lnTo>
                      <a:pt x="24" y="2"/>
                    </a:lnTo>
                    <a:lnTo>
                      <a:pt x="18" y="3"/>
                    </a:lnTo>
                    <a:lnTo>
                      <a:pt x="12" y="3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91" name="Freeform 57">
                <a:extLst>
                  <a:ext uri="{FF2B5EF4-FFF2-40B4-BE49-F238E27FC236}">
                    <a16:creationId xmlns:a16="http://schemas.microsoft.com/office/drawing/2014/main" id="{8871E57A-C87C-4E9E-B570-B39B062485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21" y="1326"/>
                <a:ext cx="3" cy="2"/>
              </a:xfrm>
              <a:custGeom>
                <a:avLst/>
                <a:gdLst>
                  <a:gd name="T0" fmla="*/ 0 w 3"/>
                  <a:gd name="T1" fmla="*/ 2 h 2"/>
                  <a:gd name="T2" fmla="*/ 0 w 3"/>
                  <a:gd name="T3" fmla="*/ 0 h 2"/>
                  <a:gd name="T4" fmla="*/ 0 w 3"/>
                  <a:gd name="T5" fmla="*/ 0 h 2"/>
                  <a:gd name="T6" fmla="*/ 3 w 3"/>
                  <a:gd name="T7" fmla="*/ 2 h 2"/>
                  <a:gd name="T8" fmla="*/ 0 w 3"/>
                  <a:gd name="T9" fmla="*/ 2 h 2"/>
                  <a:gd name="T10" fmla="*/ 0 w 3"/>
                  <a:gd name="T11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2">
                    <a:moveTo>
                      <a:pt x="0" y="2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3" y="2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92" name="Freeform 58">
                <a:extLst>
                  <a:ext uri="{FF2B5EF4-FFF2-40B4-BE49-F238E27FC236}">
                    <a16:creationId xmlns:a16="http://schemas.microsoft.com/office/drawing/2014/main" id="{FB3AD00B-F17B-46D0-B697-2A9F0CF8A5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21" y="1306"/>
                <a:ext cx="0" cy="1"/>
              </a:xfrm>
              <a:custGeom>
                <a:avLst/>
                <a:gdLst>
                  <a:gd name="T0" fmla="*/ 1 h 1"/>
                  <a:gd name="T1" fmla="*/ 0 h 1"/>
                  <a:gd name="T2" fmla="*/ 1 h 1"/>
                  <a:gd name="T3" fmla="*/ 1 h 1"/>
                  <a:gd name="T4" fmla="*/ 1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1">
                    <a:moveTo>
                      <a:pt x="0" y="1"/>
                    </a:move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93" name="Freeform 59">
                <a:extLst>
                  <a:ext uri="{FF2B5EF4-FFF2-40B4-BE49-F238E27FC236}">
                    <a16:creationId xmlns:a16="http://schemas.microsoft.com/office/drawing/2014/main" id="{5836CE95-0722-48D7-90FA-5397E9E2B7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20" y="1305"/>
                <a:ext cx="1" cy="1"/>
              </a:xfrm>
              <a:custGeom>
                <a:avLst/>
                <a:gdLst>
                  <a:gd name="T0" fmla="*/ 1 w 1"/>
                  <a:gd name="T1" fmla="*/ 1 h 1"/>
                  <a:gd name="T2" fmla="*/ 0 w 1"/>
                  <a:gd name="T3" fmla="*/ 0 h 1"/>
                  <a:gd name="T4" fmla="*/ 1 w 1"/>
                  <a:gd name="T5" fmla="*/ 0 h 1"/>
                  <a:gd name="T6" fmla="*/ 1 w 1"/>
                  <a:gd name="T7" fmla="*/ 1 h 1"/>
                  <a:gd name="T8" fmla="*/ 1 w 1"/>
                  <a:gd name="T9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1">
                    <a:moveTo>
                      <a:pt x="1" y="1"/>
                    </a:moveTo>
                    <a:lnTo>
                      <a:pt x="0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94" name="Freeform 60">
                <a:extLst>
                  <a:ext uri="{FF2B5EF4-FFF2-40B4-BE49-F238E27FC236}">
                    <a16:creationId xmlns:a16="http://schemas.microsoft.com/office/drawing/2014/main" id="{F5D52485-CD94-4315-A196-0187B8D897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21" y="1304"/>
                <a:ext cx="3" cy="3"/>
              </a:xfrm>
              <a:custGeom>
                <a:avLst/>
                <a:gdLst>
                  <a:gd name="T0" fmla="*/ 0 w 3"/>
                  <a:gd name="T1" fmla="*/ 1 h 3"/>
                  <a:gd name="T2" fmla="*/ 0 w 3"/>
                  <a:gd name="T3" fmla="*/ 0 h 3"/>
                  <a:gd name="T4" fmla="*/ 0 w 3"/>
                  <a:gd name="T5" fmla="*/ 0 h 3"/>
                  <a:gd name="T6" fmla="*/ 3 w 3"/>
                  <a:gd name="T7" fmla="*/ 1 h 3"/>
                  <a:gd name="T8" fmla="*/ 3 w 3"/>
                  <a:gd name="T9" fmla="*/ 3 h 3"/>
                  <a:gd name="T10" fmla="*/ 1 w 3"/>
                  <a:gd name="T11" fmla="*/ 1 h 3"/>
                  <a:gd name="T12" fmla="*/ 0 w 3"/>
                  <a:gd name="T13" fmla="*/ 1 h 3"/>
                  <a:gd name="T14" fmla="*/ 0 w 3"/>
                  <a:gd name="T15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" h="3">
                    <a:moveTo>
                      <a:pt x="0" y="1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3" y="1"/>
                    </a:lnTo>
                    <a:lnTo>
                      <a:pt x="3" y="3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95" name="Freeform 61">
                <a:extLst>
                  <a:ext uri="{FF2B5EF4-FFF2-40B4-BE49-F238E27FC236}">
                    <a16:creationId xmlns:a16="http://schemas.microsoft.com/office/drawing/2014/main" id="{B2A3A276-92D4-4797-A9C8-3D93477906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64" y="2549"/>
                <a:ext cx="21" cy="8"/>
              </a:xfrm>
              <a:custGeom>
                <a:avLst/>
                <a:gdLst>
                  <a:gd name="T0" fmla="*/ 18 w 21"/>
                  <a:gd name="T1" fmla="*/ 8 h 8"/>
                  <a:gd name="T2" fmla="*/ 19 w 21"/>
                  <a:gd name="T3" fmla="*/ 7 h 8"/>
                  <a:gd name="T4" fmla="*/ 21 w 21"/>
                  <a:gd name="T5" fmla="*/ 5 h 8"/>
                  <a:gd name="T6" fmla="*/ 20 w 21"/>
                  <a:gd name="T7" fmla="*/ 2 h 8"/>
                  <a:gd name="T8" fmla="*/ 18 w 21"/>
                  <a:gd name="T9" fmla="*/ 1 h 8"/>
                  <a:gd name="T10" fmla="*/ 2 w 21"/>
                  <a:gd name="T11" fmla="*/ 0 h 8"/>
                  <a:gd name="T12" fmla="*/ 0 w 21"/>
                  <a:gd name="T13" fmla="*/ 2 h 8"/>
                  <a:gd name="T14" fmla="*/ 2 w 21"/>
                  <a:gd name="T15" fmla="*/ 8 h 8"/>
                  <a:gd name="T16" fmla="*/ 4 w 21"/>
                  <a:gd name="T17" fmla="*/ 8 h 8"/>
                  <a:gd name="T18" fmla="*/ 6 w 21"/>
                  <a:gd name="T19" fmla="*/ 8 h 8"/>
                  <a:gd name="T20" fmla="*/ 12 w 21"/>
                  <a:gd name="T21" fmla="*/ 8 h 8"/>
                  <a:gd name="T22" fmla="*/ 14 w 21"/>
                  <a:gd name="T23" fmla="*/ 8 h 8"/>
                  <a:gd name="T24" fmla="*/ 18 w 21"/>
                  <a:gd name="T25" fmla="*/ 8 h 8"/>
                  <a:gd name="T26" fmla="*/ 18 w 21"/>
                  <a:gd name="T27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1" h="8">
                    <a:moveTo>
                      <a:pt x="18" y="8"/>
                    </a:moveTo>
                    <a:lnTo>
                      <a:pt x="19" y="7"/>
                    </a:lnTo>
                    <a:lnTo>
                      <a:pt x="21" y="5"/>
                    </a:lnTo>
                    <a:lnTo>
                      <a:pt x="20" y="2"/>
                    </a:lnTo>
                    <a:lnTo>
                      <a:pt x="18" y="1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12" y="8"/>
                    </a:lnTo>
                    <a:lnTo>
                      <a:pt x="14" y="8"/>
                    </a:lnTo>
                    <a:lnTo>
                      <a:pt x="18" y="8"/>
                    </a:lnTo>
                    <a:lnTo>
                      <a:pt x="18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96" name="Freeform 62">
                <a:extLst>
                  <a:ext uri="{FF2B5EF4-FFF2-40B4-BE49-F238E27FC236}">
                    <a16:creationId xmlns:a16="http://schemas.microsoft.com/office/drawing/2014/main" id="{E178C496-CC02-49FA-A473-AF8315BC18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2" y="2111"/>
                <a:ext cx="33" cy="17"/>
              </a:xfrm>
              <a:custGeom>
                <a:avLst/>
                <a:gdLst>
                  <a:gd name="T0" fmla="*/ 29 w 33"/>
                  <a:gd name="T1" fmla="*/ 8 h 17"/>
                  <a:gd name="T2" fmla="*/ 18 w 33"/>
                  <a:gd name="T3" fmla="*/ 9 h 17"/>
                  <a:gd name="T4" fmla="*/ 13 w 33"/>
                  <a:gd name="T5" fmla="*/ 7 h 17"/>
                  <a:gd name="T6" fmla="*/ 10 w 33"/>
                  <a:gd name="T7" fmla="*/ 8 h 17"/>
                  <a:gd name="T8" fmla="*/ 7 w 33"/>
                  <a:gd name="T9" fmla="*/ 8 h 17"/>
                  <a:gd name="T10" fmla="*/ 8 w 33"/>
                  <a:gd name="T11" fmla="*/ 6 h 17"/>
                  <a:gd name="T12" fmla="*/ 5 w 33"/>
                  <a:gd name="T13" fmla="*/ 3 h 17"/>
                  <a:gd name="T14" fmla="*/ 7 w 33"/>
                  <a:gd name="T15" fmla="*/ 1 h 17"/>
                  <a:gd name="T16" fmla="*/ 4 w 33"/>
                  <a:gd name="T17" fmla="*/ 0 h 17"/>
                  <a:gd name="T18" fmla="*/ 0 w 33"/>
                  <a:gd name="T19" fmla="*/ 6 h 17"/>
                  <a:gd name="T20" fmla="*/ 4 w 33"/>
                  <a:gd name="T21" fmla="*/ 6 h 17"/>
                  <a:gd name="T22" fmla="*/ 5 w 33"/>
                  <a:gd name="T23" fmla="*/ 9 h 17"/>
                  <a:gd name="T24" fmla="*/ 10 w 33"/>
                  <a:gd name="T25" fmla="*/ 10 h 17"/>
                  <a:gd name="T26" fmla="*/ 10 w 33"/>
                  <a:gd name="T27" fmla="*/ 12 h 17"/>
                  <a:gd name="T28" fmla="*/ 13 w 33"/>
                  <a:gd name="T29" fmla="*/ 14 h 17"/>
                  <a:gd name="T30" fmla="*/ 16 w 33"/>
                  <a:gd name="T31" fmla="*/ 14 h 17"/>
                  <a:gd name="T32" fmla="*/ 18 w 33"/>
                  <a:gd name="T33" fmla="*/ 12 h 17"/>
                  <a:gd name="T34" fmla="*/ 22 w 33"/>
                  <a:gd name="T35" fmla="*/ 14 h 17"/>
                  <a:gd name="T36" fmla="*/ 22 w 33"/>
                  <a:gd name="T37" fmla="*/ 17 h 17"/>
                  <a:gd name="T38" fmla="*/ 24 w 33"/>
                  <a:gd name="T39" fmla="*/ 17 h 17"/>
                  <a:gd name="T40" fmla="*/ 27 w 33"/>
                  <a:gd name="T41" fmla="*/ 17 h 17"/>
                  <a:gd name="T42" fmla="*/ 27 w 33"/>
                  <a:gd name="T43" fmla="*/ 14 h 17"/>
                  <a:gd name="T44" fmla="*/ 29 w 33"/>
                  <a:gd name="T45" fmla="*/ 11 h 17"/>
                  <a:gd name="T46" fmla="*/ 33 w 33"/>
                  <a:gd name="T47" fmla="*/ 9 h 17"/>
                  <a:gd name="T48" fmla="*/ 31 w 33"/>
                  <a:gd name="T49" fmla="*/ 8 h 17"/>
                  <a:gd name="T50" fmla="*/ 29 w 33"/>
                  <a:gd name="T51" fmla="*/ 8 h 17"/>
                  <a:gd name="T52" fmla="*/ 29 w 33"/>
                  <a:gd name="T53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33" h="17">
                    <a:moveTo>
                      <a:pt x="29" y="8"/>
                    </a:moveTo>
                    <a:lnTo>
                      <a:pt x="18" y="9"/>
                    </a:lnTo>
                    <a:lnTo>
                      <a:pt x="13" y="7"/>
                    </a:lnTo>
                    <a:lnTo>
                      <a:pt x="10" y="8"/>
                    </a:lnTo>
                    <a:lnTo>
                      <a:pt x="7" y="8"/>
                    </a:lnTo>
                    <a:lnTo>
                      <a:pt x="8" y="6"/>
                    </a:lnTo>
                    <a:lnTo>
                      <a:pt x="5" y="3"/>
                    </a:lnTo>
                    <a:lnTo>
                      <a:pt x="7" y="1"/>
                    </a:lnTo>
                    <a:lnTo>
                      <a:pt x="4" y="0"/>
                    </a:lnTo>
                    <a:lnTo>
                      <a:pt x="0" y="6"/>
                    </a:lnTo>
                    <a:lnTo>
                      <a:pt x="4" y="6"/>
                    </a:lnTo>
                    <a:lnTo>
                      <a:pt x="5" y="9"/>
                    </a:lnTo>
                    <a:lnTo>
                      <a:pt x="10" y="10"/>
                    </a:lnTo>
                    <a:lnTo>
                      <a:pt x="10" y="12"/>
                    </a:lnTo>
                    <a:lnTo>
                      <a:pt x="13" y="14"/>
                    </a:lnTo>
                    <a:lnTo>
                      <a:pt x="16" y="14"/>
                    </a:lnTo>
                    <a:lnTo>
                      <a:pt x="18" y="12"/>
                    </a:lnTo>
                    <a:lnTo>
                      <a:pt x="22" y="14"/>
                    </a:lnTo>
                    <a:lnTo>
                      <a:pt x="22" y="17"/>
                    </a:lnTo>
                    <a:lnTo>
                      <a:pt x="24" y="17"/>
                    </a:lnTo>
                    <a:lnTo>
                      <a:pt x="27" y="17"/>
                    </a:lnTo>
                    <a:lnTo>
                      <a:pt x="27" y="14"/>
                    </a:lnTo>
                    <a:lnTo>
                      <a:pt x="29" y="11"/>
                    </a:lnTo>
                    <a:lnTo>
                      <a:pt x="33" y="9"/>
                    </a:lnTo>
                    <a:lnTo>
                      <a:pt x="31" y="8"/>
                    </a:lnTo>
                    <a:lnTo>
                      <a:pt x="29" y="8"/>
                    </a:lnTo>
                    <a:lnTo>
                      <a:pt x="29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97" name="Freeform 63">
                <a:extLst>
                  <a:ext uri="{FF2B5EF4-FFF2-40B4-BE49-F238E27FC236}">
                    <a16:creationId xmlns:a16="http://schemas.microsoft.com/office/drawing/2014/main" id="{8C6FF026-562C-46D3-A913-28CE0024F0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32" y="1636"/>
                <a:ext cx="42" cy="27"/>
              </a:xfrm>
              <a:custGeom>
                <a:avLst/>
                <a:gdLst>
                  <a:gd name="T0" fmla="*/ 4 w 42"/>
                  <a:gd name="T1" fmla="*/ 7 h 27"/>
                  <a:gd name="T2" fmla="*/ 10 w 42"/>
                  <a:gd name="T3" fmla="*/ 10 h 27"/>
                  <a:gd name="T4" fmla="*/ 4 w 42"/>
                  <a:gd name="T5" fmla="*/ 8 h 27"/>
                  <a:gd name="T6" fmla="*/ 2 w 42"/>
                  <a:gd name="T7" fmla="*/ 10 h 27"/>
                  <a:gd name="T8" fmla="*/ 0 w 42"/>
                  <a:gd name="T9" fmla="*/ 12 h 27"/>
                  <a:gd name="T10" fmla="*/ 4 w 42"/>
                  <a:gd name="T11" fmla="*/ 13 h 27"/>
                  <a:gd name="T12" fmla="*/ 6 w 42"/>
                  <a:gd name="T13" fmla="*/ 15 h 27"/>
                  <a:gd name="T14" fmla="*/ 4 w 42"/>
                  <a:gd name="T15" fmla="*/ 14 h 27"/>
                  <a:gd name="T16" fmla="*/ 0 w 42"/>
                  <a:gd name="T17" fmla="*/ 16 h 27"/>
                  <a:gd name="T18" fmla="*/ 4 w 42"/>
                  <a:gd name="T19" fmla="*/ 17 h 27"/>
                  <a:gd name="T20" fmla="*/ 6 w 42"/>
                  <a:gd name="T21" fmla="*/ 19 h 27"/>
                  <a:gd name="T22" fmla="*/ 12 w 42"/>
                  <a:gd name="T23" fmla="*/ 19 h 27"/>
                  <a:gd name="T24" fmla="*/ 17 w 42"/>
                  <a:gd name="T25" fmla="*/ 21 h 27"/>
                  <a:gd name="T26" fmla="*/ 20 w 42"/>
                  <a:gd name="T27" fmla="*/ 19 h 27"/>
                  <a:gd name="T28" fmla="*/ 22 w 42"/>
                  <a:gd name="T29" fmla="*/ 21 h 27"/>
                  <a:gd name="T30" fmla="*/ 19 w 42"/>
                  <a:gd name="T31" fmla="*/ 21 h 27"/>
                  <a:gd name="T32" fmla="*/ 16 w 42"/>
                  <a:gd name="T33" fmla="*/ 22 h 27"/>
                  <a:gd name="T34" fmla="*/ 13 w 42"/>
                  <a:gd name="T35" fmla="*/ 21 h 27"/>
                  <a:gd name="T36" fmla="*/ 11 w 42"/>
                  <a:gd name="T37" fmla="*/ 23 h 27"/>
                  <a:gd name="T38" fmla="*/ 13 w 42"/>
                  <a:gd name="T39" fmla="*/ 24 h 27"/>
                  <a:gd name="T40" fmla="*/ 16 w 42"/>
                  <a:gd name="T41" fmla="*/ 25 h 27"/>
                  <a:gd name="T42" fmla="*/ 20 w 42"/>
                  <a:gd name="T43" fmla="*/ 27 h 27"/>
                  <a:gd name="T44" fmla="*/ 37 w 42"/>
                  <a:gd name="T45" fmla="*/ 21 h 27"/>
                  <a:gd name="T46" fmla="*/ 39 w 42"/>
                  <a:gd name="T47" fmla="*/ 20 h 27"/>
                  <a:gd name="T48" fmla="*/ 42 w 42"/>
                  <a:gd name="T49" fmla="*/ 17 h 27"/>
                  <a:gd name="T50" fmla="*/ 41 w 42"/>
                  <a:gd name="T51" fmla="*/ 15 h 27"/>
                  <a:gd name="T52" fmla="*/ 40 w 42"/>
                  <a:gd name="T53" fmla="*/ 12 h 27"/>
                  <a:gd name="T54" fmla="*/ 31 w 42"/>
                  <a:gd name="T55" fmla="*/ 10 h 27"/>
                  <a:gd name="T56" fmla="*/ 29 w 42"/>
                  <a:gd name="T57" fmla="*/ 7 h 27"/>
                  <a:gd name="T58" fmla="*/ 27 w 42"/>
                  <a:gd name="T59" fmla="*/ 5 h 27"/>
                  <a:gd name="T60" fmla="*/ 21 w 42"/>
                  <a:gd name="T61" fmla="*/ 2 h 27"/>
                  <a:gd name="T62" fmla="*/ 10 w 42"/>
                  <a:gd name="T63" fmla="*/ 0 h 27"/>
                  <a:gd name="T64" fmla="*/ 7 w 42"/>
                  <a:gd name="T65" fmla="*/ 0 h 27"/>
                  <a:gd name="T66" fmla="*/ 4 w 42"/>
                  <a:gd name="T67" fmla="*/ 0 h 27"/>
                  <a:gd name="T68" fmla="*/ 2 w 42"/>
                  <a:gd name="T69" fmla="*/ 4 h 27"/>
                  <a:gd name="T70" fmla="*/ 2 w 42"/>
                  <a:gd name="T71" fmla="*/ 6 h 27"/>
                  <a:gd name="T72" fmla="*/ 4 w 42"/>
                  <a:gd name="T73" fmla="*/ 7 h 27"/>
                  <a:gd name="T74" fmla="*/ 4 w 42"/>
                  <a:gd name="T75" fmla="*/ 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42" h="27">
                    <a:moveTo>
                      <a:pt x="4" y="7"/>
                    </a:moveTo>
                    <a:lnTo>
                      <a:pt x="10" y="10"/>
                    </a:lnTo>
                    <a:lnTo>
                      <a:pt x="4" y="8"/>
                    </a:lnTo>
                    <a:lnTo>
                      <a:pt x="2" y="10"/>
                    </a:lnTo>
                    <a:lnTo>
                      <a:pt x="0" y="12"/>
                    </a:lnTo>
                    <a:lnTo>
                      <a:pt x="4" y="13"/>
                    </a:lnTo>
                    <a:lnTo>
                      <a:pt x="6" y="15"/>
                    </a:lnTo>
                    <a:lnTo>
                      <a:pt x="4" y="14"/>
                    </a:lnTo>
                    <a:lnTo>
                      <a:pt x="0" y="16"/>
                    </a:lnTo>
                    <a:lnTo>
                      <a:pt x="4" y="17"/>
                    </a:lnTo>
                    <a:lnTo>
                      <a:pt x="6" y="19"/>
                    </a:lnTo>
                    <a:lnTo>
                      <a:pt x="12" y="19"/>
                    </a:lnTo>
                    <a:lnTo>
                      <a:pt x="17" y="21"/>
                    </a:lnTo>
                    <a:lnTo>
                      <a:pt x="20" y="19"/>
                    </a:lnTo>
                    <a:lnTo>
                      <a:pt x="22" y="21"/>
                    </a:lnTo>
                    <a:lnTo>
                      <a:pt x="19" y="21"/>
                    </a:lnTo>
                    <a:lnTo>
                      <a:pt x="16" y="22"/>
                    </a:lnTo>
                    <a:lnTo>
                      <a:pt x="13" y="21"/>
                    </a:lnTo>
                    <a:lnTo>
                      <a:pt x="11" y="23"/>
                    </a:lnTo>
                    <a:lnTo>
                      <a:pt x="13" y="24"/>
                    </a:lnTo>
                    <a:lnTo>
                      <a:pt x="16" y="25"/>
                    </a:lnTo>
                    <a:lnTo>
                      <a:pt x="20" y="27"/>
                    </a:lnTo>
                    <a:lnTo>
                      <a:pt x="37" y="21"/>
                    </a:lnTo>
                    <a:lnTo>
                      <a:pt x="39" y="20"/>
                    </a:lnTo>
                    <a:lnTo>
                      <a:pt x="42" y="17"/>
                    </a:lnTo>
                    <a:lnTo>
                      <a:pt x="41" y="15"/>
                    </a:lnTo>
                    <a:lnTo>
                      <a:pt x="40" y="12"/>
                    </a:lnTo>
                    <a:lnTo>
                      <a:pt x="31" y="10"/>
                    </a:lnTo>
                    <a:lnTo>
                      <a:pt x="29" y="7"/>
                    </a:lnTo>
                    <a:lnTo>
                      <a:pt x="27" y="5"/>
                    </a:lnTo>
                    <a:lnTo>
                      <a:pt x="21" y="2"/>
                    </a:lnTo>
                    <a:lnTo>
                      <a:pt x="10" y="0"/>
                    </a:lnTo>
                    <a:lnTo>
                      <a:pt x="7" y="0"/>
                    </a:lnTo>
                    <a:lnTo>
                      <a:pt x="4" y="0"/>
                    </a:lnTo>
                    <a:lnTo>
                      <a:pt x="2" y="4"/>
                    </a:lnTo>
                    <a:lnTo>
                      <a:pt x="2" y="6"/>
                    </a:lnTo>
                    <a:lnTo>
                      <a:pt x="4" y="7"/>
                    </a:lnTo>
                    <a:lnTo>
                      <a:pt x="4" y="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98" name="Freeform 64">
                <a:extLst>
                  <a:ext uri="{FF2B5EF4-FFF2-40B4-BE49-F238E27FC236}">
                    <a16:creationId xmlns:a16="http://schemas.microsoft.com/office/drawing/2014/main" id="{8E380526-3F9A-4776-9823-97AB252C26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1" y="2059"/>
                <a:ext cx="39" cy="15"/>
              </a:xfrm>
              <a:custGeom>
                <a:avLst/>
                <a:gdLst>
                  <a:gd name="T0" fmla="*/ 35 w 39"/>
                  <a:gd name="T1" fmla="*/ 10 h 15"/>
                  <a:gd name="T2" fmla="*/ 33 w 39"/>
                  <a:gd name="T3" fmla="*/ 9 h 15"/>
                  <a:gd name="T4" fmla="*/ 27 w 39"/>
                  <a:gd name="T5" fmla="*/ 6 h 15"/>
                  <a:gd name="T6" fmla="*/ 19 w 39"/>
                  <a:gd name="T7" fmla="*/ 2 h 15"/>
                  <a:gd name="T8" fmla="*/ 16 w 39"/>
                  <a:gd name="T9" fmla="*/ 2 h 15"/>
                  <a:gd name="T10" fmla="*/ 14 w 39"/>
                  <a:gd name="T11" fmla="*/ 1 h 15"/>
                  <a:gd name="T12" fmla="*/ 9 w 39"/>
                  <a:gd name="T13" fmla="*/ 1 h 15"/>
                  <a:gd name="T14" fmla="*/ 6 w 39"/>
                  <a:gd name="T15" fmla="*/ 0 h 15"/>
                  <a:gd name="T16" fmla="*/ 0 w 39"/>
                  <a:gd name="T17" fmla="*/ 1 h 15"/>
                  <a:gd name="T18" fmla="*/ 3 w 39"/>
                  <a:gd name="T19" fmla="*/ 2 h 15"/>
                  <a:gd name="T20" fmla="*/ 9 w 39"/>
                  <a:gd name="T21" fmla="*/ 4 h 15"/>
                  <a:gd name="T22" fmla="*/ 11 w 39"/>
                  <a:gd name="T23" fmla="*/ 7 h 15"/>
                  <a:gd name="T24" fmla="*/ 13 w 39"/>
                  <a:gd name="T25" fmla="*/ 9 h 15"/>
                  <a:gd name="T26" fmla="*/ 16 w 39"/>
                  <a:gd name="T27" fmla="*/ 10 h 15"/>
                  <a:gd name="T28" fmla="*/ 24 w 39"/>
                  <a:gd name="T29" fmla="*/ 13 h 15"/>
                  <a:gd name="T30" fmla="*/ 32 w 39"/>
                  <a:gd name="T31" fmla="*/ 15 h 15"/>
                  <a:gd name="T32" fmla="*/ 37 w 39"/>
                  <a:gd name="T33" fmla="*/ 15 h 15"/>
                  <a:gd name="T34" fmla="*/ 39 w 39"/>
                  <a:gd name="T35" fmla="*/ 12 h 15"/>
                  <a:gd name="T36" fmla="*/ 35 w 39"/>
                  <a:gd name="T37" fmla="*/ 1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9" h="15">
                    <a:moveTo>
                      <a:pt x="35" y="10"/>
                    </a:moveTo>
                    <a:lnTo>
                      <a:pt x="33" y="9"/>
                    </a:lnTo>
                    <a:lnTo>
                      <a:pt x="27" y="6"/>
                    </a:lnTo>
                    <a:lnTo>
                      <a:pt x="19" y="2"/>
                    </a:lnTo>
                    <a:lnTo>
                      <a:pt x="16" y="2"/>
                    </a:lnTo>
                    <a:lnTo>
                      <a:pt x="14" y="1"/>
                    </a:lnTo>
                    <a:lnTo>
                      <a:pt x="9" y="1"/>
                    </a:lnTo>
                    <a:lnTo>
                      <a:pt x="6" y="0"/>
                    </a:lnTo>
                    <a:lnTo>
                      <a:pt x="0" y="1"/>
                    </a:lnTo>
                    <a:lnTo>
                      <a:pt x="3" y="2"/>
                    </a:lnTo>
                    <a:lnTo>
                      <a:pt x="9" y="4"/>
                    </a:lnTo>
                    <a:lnTo>
                      <a:pt x="11" y="7"/>
                    </a:lnTo>
                    <a:lnTo>
                      <a:pt x="13" y="9"/>
                    </a:lnTo>
                    <a:lnTo>
                      <a:pt x="16" y="10"/>
                    </a:lnTo>
                    <a:lnTo>
                      <a:pt x="24" y="13"/>
                    </a:lnTo>
                    <a:lnTo>
                      <a:pt x="32" y="15"/>
                    </a:lnTo>
                    <a:lnTo>
                      <a:pt x="37" y="15"/>
                    </a:lnTo>
                    <a:lnTo>
                      <a:pt x="39" y="12"/>
                    </a:lnTo>
                    <a:lnTo>
                      <a:pt x="35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99" name="Freeform 65">
                <a:extLst>
                  <a:ext uri="{FF2B5EF4-FFF2-40B4-BE49-F238E27FC236}">
                    <a16:creationId xmlns:a16="http://schemas.microsoft.com/office/drawing/2014/main" id="{FA4EC948-76CD-40D8-9E15-F1256DAF29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22" y="1274"/>
                <a:ext cx="11" cy="4"/>
              </a:xfrm>
              <a:custGeom>
                <a:avLst/>
                <a:gdLst>
                  <a:gd name="T0" fmla="*/ 1 w 11"/>
                  <a:gd name="T1" fmla="*/ 4 h 4"/>
                  <a:gd name="T2" fmla="*/ 8 w 11"/>
                  <a:gd name="T3" fmla="*/ 4 h 4"/>
                  <a:gd name="T4" fmla="*/ 11 w 11"/>
                  <a:gd name="T5" fmla="*/ 2 h 4"/>
                  <a:gd name="T6" fmla="*/ 9 w 11"/>
                  <a:gd name="T7" fmla="*/ 1 h 4"/>
                  <a:gd name="T8" fmla="*/ 2 w 11"/>
                  <a:gd name="T9" fmla="*/ 0 h 4"/>
                  <a:gd name="T10" fmla="*/ 0 w 11"/>
                  <a:gd name="T11" fmla="*/ 1 h 4"/>
                  <a:gd name="T12" fmla="*/ 1 w 11"/>
                  <a:gd name="T13" fmla="*/ 4 h 4"/>
                  <a:gd name="T14" fmla="*/ 1 w 11"/>
                  <a:gd name="T15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4">
                    <a:moveTo>
                      <a:pt x="1" y="4"/>
                    </a:moveTo>
                    <a:lnTo>
                      <a:pt x="8" y="4"/>
                    </a:lnTo>
                    <a:lnTo>
                      <a:pt x="11" y="2"/>
                    </a:lnTo>
                    <a:lnTo>
                      <a:pt x="9" y="1"/>
                    </a:lnTo>
                    <a:lnTo>
                      <a:pt x="2" y="0"/>
                    </a:lnTo>
                    <a:lnTo>
                      <a:pt x="0" y="1"/>
                    </a:lnTo>
                    <a:lnTo>
                      <a:pt x="1" y="4"/>
                    </a:lnTo>
                    <a:lnTo>
                      <a:pt x="1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00" name="Freeform 66">
                <a:extLst>
                  <a:ext uri="{FF2B5EF4-FFF2-40B4-BE49-F238E27FC236}">
                    <a16:creationId xmlns:a16="http://schemas.microsoft.com/office/drawing/2014/main" id="{A2214696-7645-457F-B97A-5771083B78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32" y="1281"/>
                <a:ext cx="43" cy="21"/>
              </a:xfrm>
              <a:custGeom>
                <a:avLst/>
                <a:gdLst>
                  <a:gd name="T0" fmla="*/ 6 w 43"/>
                  <a:gd name="T1" fmla="*/ 6 h 21"/>
                  <a:gd name="T2" fmla="*/ 11 w 43"/>
                  <a:gd name="T3" fmla="*/ 11 h 21"/>
                  <a:gd name="T4" fmla="*/ 28 w 43"/>
                  <a:gd name="T5" fmla="*/ 16 h 21"/>
                  <a:gd name="T6" fmla="*/ 31 w 43"/>
                  <a:gd name="T7" fmla="*/ 17 h 21"/>
                  <a:gd name="T8" fmla="*/ 34 w 43"/>
                  <a:gd name="T9" fmla="*/ 20 h 21"/>
                  <a:gd name="T10" fmla="*/ 36 w 43"/>
                  <a:gd name="T11" fmla="*/ 21 h 21"/>
                  <a:gd name="T12" fmla="*/ 39 w 43"/>
                  <a:gd name="T13" fmla="*/ 20 h 21"/>
                  <a:gd name="T14" fmla="*/ 36 w 43"/>
                  <a:gd name="T15" fmla="*/ 15 h 21"/>
                  <a:gd name="T16" fmla="*/ 39 w 43"/>
                  <a:gd name="T17" fmla="*/ 13 h 21"/>
                  <a:gd name="T18" fmla="*/ 42 w 43"/>
                  <a:gd name="T19" fmla="*/ 12 h 21"/>
                  <a:gd name="T20" fmla="*/ 43 w 43"/>
                  <a:gd name="T21" fmla="*/ 9 h 21"/>
                  <a:gd name="T22" fmla="*/ 41 w 43"/>
                  <a:gd name="T23" fmla="*/ 8 h 21"/>
                  <a:gd name="T24" fmla="*/ 38 w 43"/>
                  <a:gd name="T25" fmla="*/ 7 h 21"/>
                  <a:gd name="T26" fmla="*/ 35 w 43"/>
                  <a:gd name="T27" fmla="*/ 6 h 21"/>
                  <a:gd name="T28" fmla="*/ 24 w 43"/>
                  <a:gd name="T29" fmla="*/ 2 h 21"/>
                  <a:gd name="T30" fmla="*/ 18 w 43"/>
                  <a:gd name="T31" fmla="*/ 0 h 21"/>
                  <a:gd name="T32" fmla="*/ 13 w 43"/>
                  <a:gd name="T33" fmla="*/ 0 h 21"/>
                  <a:gd name="T34" fmla="*/ 9 w 43"/>
                  <a:gd name="T35" fmla="*/ 1 h 21"/>
                  <a:gd name="T36" fmla="*/ 0 w 43"/>
                  <a:gd name="T37" fmla="*/ 1 h 21"/>
                  <a:gd name="T38" fmla="*/ 6 w 43"/>
                  <a:gd name="T39" fmla="*/ 6 h 21"/>
                  <a:gd name="T40" fmla="*/ 6 w 43"/>
                  <a:gd name="T41" fmla="*/ 6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3" h="21">
                    <a:moveTo>
                      <a:pt x="6" y="6"/>
                    </a:moveTo>
                    <a:lnTo>
                      <a:pt x="11" y="11"/>
                    </a:lnTo>
                    <a:lnTo>
                      <a:pt x="28" y="16"/>
                    </a:lnTo>
                    <a:lnTo>
                      <a:pt x="31" y="17"/>
                    </a:lnTo>
                    <a:lnTo>
                      <a:pt x="34" y="20"/>
                    </a:lnTo>
                    <a:lnTo>
                      <a:pt x="36" y="21"/>
                    </a:lnTo>
                    <a:lnTo>
                      <a:pt x="39" y="20"/>
                    </a:lnTo>
                    <a:lnTo>
                      <a:pt x="36" y="15"/>
                    </a:lnTo>
                    <a:lnTo>
                      <a:pt x="39" y="13"/>
                    </a:lnTo>
                    <a:lnTo>
                      <a:pt x="42" y="12"/>
                    </a:lnTo>
                    <a:lnTo>
                      <a:pt x="43" y="9"/>
                    </a:lnTo>
                    <a:lnTo>
                      <a:pt x="41" y="8"/>
                    </a:lnTo>
                    <a:lnTo>
                      <a:pt x="38" y="7"/>
                    </a:lnTo>
                    <a:lnTo>
                      <a:pt x="35" y="6"/>
                    </a:lnTo>
                    <a:lnTo>
                      <a:pt x="24" y="2"/>
                    </a:lnTo>
                    <a:lnTo>
                      <a:pt x="18" y="0"/>
                    </a:lnTo>
                    <a:lnTo>
                      <a:pt x="13" y="0"/>
                    </a:lnTo>
                    <a:lnTo>
                      <a:pt x="9" y="1"/>
                    </a:lnTo>
                    <a:lnTo>
                      <a:pt x="0" y="1"/>
                    </a:lnTo>
                    <a:lnTo>
                      <a:pt x="6" y="6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01" name="Freeform 67">
                <a:extLst>
                  <a:ext uri="{FF2B5EF4-FFF2-40B4-BE49-F238E27FC236}">
                    <a16:creationId xmlns:a16="http://schemas.microsoft.com/office/drawing/2014/main" id="{085472D6-B955-4D4C-ADE0-869CBCE074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8" y="1264"/>
                <a:ext cx="21" cy="7"/>
              </a:xfrm>
              <a:custGeom>
                <a:avLst/>
                <a:gdLst>
                  <a:gd name="T0" fmla="*/ 21 w 21"/>
                  <a:gd name="T1" fmla="*/ 7 h 7"/>
                  <a:gd name="T2" fmla="*/ 19 w 21"/>
                  <a:gd name="T3" fmla="*/ 6 h 7"/>
                  <a:gd name="T4" fmla="*/ 16 w 21"/>
                  <a:gd name="T5" fmla="*/ 4 h 7"/>
                  <a:gd name="T6" fmla="*/ 13 w 21"/>
                  <a:gd name="T7" fmla="*/ 3 h 7"/>
                  <a:gd name="T8" fmla="*/ 9 w 21"/>
                  <a:gd name="T9" fmla="*/ 2 h 7"/>
                  <a:gd name="T10" fmla="*/ 7 w 21"/>
                  <a:gd name="T11" fmla="*/ 0 h 7"/>
                  <a:gd name="T12" fmla="*/ 4 w 21"/>
                  <a:gd name="T13" fmla="*/ 0 h 7"/>
                  <a:gd name="T14" fmla="*/ 0 w 21"/>
                  <a:gd name="T15" fmla="*/ 1 h 7"/>
                  <a:gd name="T16" fmla="*/ 12 w 21"/>
                  <a:gd name="T17" fmla="*/ 7 h 7"/>
                  <a:gd name="T18" fmla="*/ 21 w 21"/>
                  <a:gd name="T19" fmla="*/ 7 h 7"/>
                  <a:gd name="T20" fmla="*/ 21 w 21"/>
                  <a:gd name="T21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1" h="7">
                    <a:moveTo>
                      <a:pt x="21" y="7"/>
                    </a:moveTo>
                    <a:lnTo>
                      <a:pt x="19" y="6"/>
                    </a:lnTo>
                    <a:lnTo>
                      <a:pt x="16" y="4"/>
                    </a:lnTo>
                    <a:lnTo>
                      <a:pt x="13" y="3"/>
                    </a:lnTo>
                    <a:lnTo>
                      <a:pt x="9" y="2"/>
                    </a:lnTo>
                    <a:lnTo>
                      <a:pt x="7" y="0"/>
                    </a:lnTo>
                    <a:lnTo>
                      <a:pt x="4" y="0"/>
                    </a:lnTo>
                    <a:lnTo>
                      <a:pt x="0" y="1"/>
                    </a:lnTo>
                    <a:lnTo>
                      <a:pt x="12" y="7"/>
                    </a:lnTo>
                    <a:lnTo>
                      <a:pt x="21" y="7"/>
                    </a:lnTo>
                    <a:lnTo>
                      <a:pt x="21" y="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02" name="Freeform 68">
                <a:extLst>
                  <a:ext uri="{FF2B5EF4-FFF2-40B4-BE49-F238E27FC236}">
                    <a16:creationId xmlns:a16="http://schemas.microsoft.com/office/drawing/2014/main" id="{9BE2309F-5AF2-4E5A-9513-BFCD9685A5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28" y="1258"/>
                <a:ext cx="26" cy="8"/>
              </a:xfrm>
              <a:custGeom>
                <a:avLst/>
                <a:gdLst>
                  <a:gd name="T0" fmla="*/ 23 w 26"/>
                  <a:gd name="T1" fmla="*/ 8 h 8"/>
                  <a:gd name="T2" fmla="*/ 24 w 26"/>
                  <a:gd name="T3" fmla="*/ 8 h 8"/>
                  <a:gd name="T4" fmla="*/ 26 w 26"/>
                  <a:gd name="T5" fmla="*/ 8 h 8"/>
                  <a:gd name="T6" fmla="*/ 24 w 26"/>
                  <a:gd name="T7" fmla="*/ 6 h 8"/>
                  <a:gd name="T8" fmla="*/ 17 w 26"/>
                  <a:gd name="T9" fmla="*/ 5 h 8"/>
                  <a:gd name="T10" fmla="*/ 15 w 26"/>
                  <a:gd name="T11" fmla="*/ 5 h 8"/>
                  <a:gd name="T12" fmla="*/ 12 w 26"/>
                  <a:gd name="T13" fmla="*/ 3 h 8"/>
                  <a:gd name="T14" fmla="*/ 3 w 26"/>
                  <a:gd name="T15" fmla="*/ 0 h 8"/>
                  <a:gd name="T16" fmla="*/ 0 w 26"/>
                  <a:gd name="T17" fmla="*/ 4 h 8"/>
                  <a:gd name="T18" fmla="*/ 8 w 26"/>
                  <a:gd name="T19" fmla="*/ 4 h 8"/>
                  <a:gd name="T20" fmla="*/ 12 w 26"/>
                  <a:gd name="T21" fmla="*/ 6 h 8"/>
                  <a:gd name="T22" fmla="*/ 15 w 26"/>
                  <a:gd name="T23" fmla="*/ 7 h 8"/>
                  <a:gd name="T24" fmla="*/ 23 w 26"/>
                  <a:gd name="T25" fmla="*/ 8 h 8"/>
                  <a:gd name="T26" fmla="*/ 23 w 26"/>
                  <a:gd name="T27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6" h="8">
                    <a:moveTo>
                      <a:pt x="23" y="8"/>
                    </a:moveTo>
                    <a:lnTo>
                      <a:pt x="24" y="8"/>
                    </a:lnTo>
                    <a:lnTo>
                      <a:pt x="26" y="8"/>
                    </a:lnTo>
                    <a:lnTo>
                      <a:pt x="24" y="6"/>
                    </a:lnTo>
                    <a:lnTo>
                      <a:pt x="17" y="5"/>
                    </a:lnTo>
                    <a:lnTo>
                      <a:pt x="15" y="5"/>
                    </a:lnTo>
                    <a:lnTo>
                      <a:pt x="12" y="3"/>
                    </a:lnTo>
                    <a:lnTo>
                      <a:pt x="3" y="0"/>
                    </a:lnTo>
                    <a:lnTo>
                      <a:pt x="0" y="4"/>
                    </a:lnTo>
                    <a:lnTo>
                      <a:pt x="8" y="4"/>
                    </a:lnTo>
                    <a:lnTo>
                      <a:pt x="12" y="6"/>
                    </a:lnTo>
                    <a:lnTo>
                      <a:pt x="15" y="7"/>
                    </a:lnTo>
                    <a:lnTo>
                      <a:pt x="23" y="8"/>
                    </a:lnTo>
                    <a:lnTo>
                      <a:pt x="23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03" name="Freeform 69">
                <a:extLst>
                  <a:ext uri="{FF2B5EF4-FFF2-40B4-BE49-F238E27FC236}">
                    <a16:creationId xmlns:a16="http://schemas.microsoft.com/office/drawing/2014/main" id="{52DE0D83-8AC6-4EF8-9F77-DF012902F0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31" y="1264"/>
                <a:ext cx="16" cy="7"/>
              </a:xfrm>
              <a:custGeom>
                <a:avLst/>
                <a:gdLst>
                  <a:gd name="T0" fmla="*/ 11 w 16"/>
                  <a:gd name="T1" fmla="*/ 7 h 7"/>
                  <a:gd name="T2" fmla="*/ 13 w 16"/>
                  <a:gd name="T3" fmla="*/ 6 h 7"/>
                  <a:gd name="T4" fmla="*/ 16 w 16"/>
                  <a:gd name="T5" fmla="*/ 3 h 7"/>
                  <a:gd name="T6" fmla="*/ 9 w 16"/>
                  <a:gd name="T7" fmla="*/ 2 h 7"/>
                  <a:gd name="T8" fmla="*/ 6 w 16"/>
                  <a:gd name="T9" fmla="*/ 1 h 7"/>
                  <a:gd name="T10" fmla="*/ 3 w 16"/>
                  <a:gd name="T11" fmla="*/ 0 h 7"/>
                  <a:gd name="T12" fmla="*/ 0 w 16"/>
                  <a:gd name="T13" fmla="*/ 2 h 7"/>
                  <a:gd name="T14" fmla="*/ 3 w 16"/>
                  <a:gd name="T15" fmla="*/ 3 h 7"/>
                  <a:gd name="T16" fmla="*/ 5 w 16"/>
                  <a:gd name="T17" fmla="*/ 3 h 7"/>
                  <a:gd name="T18" fmla="*/ 9 w 16"/>
                  <a:gd name="T19" fmla="*/ 6 h 7"/>
                  <a:gd name="T20" fmla="*/ 11 w 16"/>
                  <a:gd name="T21" fmla="*/ 7 h 7"/>
                  <a:gd name="T22" fmla="*/ 11 w 16"/>
                  <a:gd name="T23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6" h="7">
                    <a:moveTo>
                      <a:pt x="11" y="7"/>
                    </a:moveTo>
                    <a:lnTo>
                      <a:pt x="13" y="6"/>
                    </a:lnTo>
                    <a:lnTo>
                      <a:pt x="16" y="3"/>
                    </a:lnTo>
                    <a:lnTo>
                      <a:pt x="9" y="2"/>
                    </a:lnTo>
                    <a:lnTo>
                      <a:pt x="6" y="1"/>
                    </a:lnTo>
                    <a:lnTo>
                      <a:pt x="3" y="0"/>
                    </a:lnTo>
                    <a:lnTo>
                      <a:pt x="0" y="2"/>
                    </a:lnTo>
                    <a:lnTo>
                      <a:pt x="3" y="3"/>
                    </a:lnTo>
                    <a:lnTo>
                      <a:pt x="5" y="3"/>
                    </a:lnTo>
                    <a:lnTo>
                      <a:pt x="9" y="6"/>
                    </a:lnTo>
                    <a:lnTo>
                      <a:pt x="11" y="7"/>
                    </a:lnTo>
                    <a:lnTo>
                      <a:pt x="11" y="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04" name="Freeform 70">
                <a:extLst>
                  <a:ext uri="{FF2B5EF4-FFF2-40B4-BE49-F238E27FC236}">
                    <a16:creationId xmlns:a16="http://schemas.microsoft.com/office/drawing/2014/main" id="{288B03A0-BD4B-49AE-852E-E2AC358263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65" y="1297"/>
                <a:ext cx="18" cy="8"/>
              </a:xfrm>
              <a:custGeom>
                <a:avLst/>
                <a:gdLst>
                  <a:gd name="T0" fmla="*/ 0 w 18"/>
                  <a:gd name="T1" fmla="*/ 5 h 8"/>
                  <a:gd name="T2" fmla="*/ 0 w 18"/>
                  <a:gd name="T3" fmla="*/ 0 h 8"/>
                  <a:gd name="T4" fmla="*/ 3 w 18"/>
                  <a:gd name="T5" fmla="*/ 1 h 8"/>
                  <a:gd name="T6" fmla="*/ 6 w 18"/>
                  <a:gd name="T7" fmla="*/ 1 h 8"/>
                  <a:gd name="T8" fmla="*/ 9 w 18"/>
                  <a:gd name="T9" fmla="*/ 2 h 8"/>
                  <a:gd name="T10" fmla="*/ 17 w 18"/>
                  <a:gd name="T11" fmla="*/ 7 h 8"/>
                  <a:gd name="T12" fmla="*/ 18 w 18"/>
                  <a:gd name="T13" fmla="*/ 8 h 8"/>
                  <a:gd name="T14" fmla="*/ 13 w 18"/>
                  <a:gd name="T15" fmla="*/ 8 h 8"/>
                  <a:gd name="T16" fmla="*/ 9 w 18"/>
                  <a:gd name="T17" fmla="*/ 8 h 8"/>
                  <a:gd name="T18" fmla="*/ 0 w 18"/>
                  <a:gd name="T19" fmla="*/ 5 h 8"/>
                  <a:gd name="T20" fmla="*/ 0 w 18"/>
                  <a:gd name="T21" fmla="*/ 5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8" h="8">
                    <a:moveTo>
                      <a:pt x="0" y="5"/>
                    </a:moveTo>
                    <a:lnTo>
                      <a:pt x="0" y="0"/>
                    </a:lnTo>
                    <a:lnTo>
                      <a:pt x="3" y="1"/>
                    </a:lnTo>
                    <a:lnTo>
                      <a:pt x="6" y="1"/>
                    </a:lnTo>
                    <a:lnTo>
                      <a:pt x="9" y="2"/>
                    </a:lnTo>
                    <a:lnTo>
                      <a:pt x="17" y="7"/>
                    </a:lnTo>
                    <a:lnTo>
                      <a:pt x="18" y="8"/>
                    </a:lnTo>
                    <a:lnTo>
                      <a:pt x="13" y="8"/>
                    </a:lnTo>
                    <a:lnTo>
                      <a:pt x="9" y="8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05" name="Freeform 71">
                <a:extLst>
                  <a:ext uri="{FF2B5EF4-FFF2-40B4-BE49-F238E27FC236}">
                    <a16:creationId xmlns:a16="http://schemas.microsoft.com/office/drawing/2014/main" id="{011ED35D-E51C-4D5E-82C0-B821E0AD9F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4" y="1293"/>
                <a:ext cx="11" cy="9"/>
              </a:xfrm>
              <a:custGeom>
                <a:avLst/>
                <a:gdLst>
                  <a:gd name="T0" fmla="*/ 11 w 11"/>
                  <a:gd name="T1" fmla="*/ 9 h 9"/>
                  <a:gd name="T2" fmla="*/ 3 w 11"/>
                  <a:gd name="T3" fmla="*/ 7 h 9"/>
                  <a:gd name="T4" fmla="*/ 1 w 11"/>
                  <a:gd name="T5" fmla="*/ 5 h 9"/>
                  <a:gd name="T6" fmla="*/ 0 w 11"/>
                  <a:gd name="T7" fmla="*/ 3 h 9"/>
                  <a:gd name="T8" fmla="*/ 3 w 11"/>
                  <a:gd name="T9" fmla="*/ 0 h 9"/>
                  <a:gd name="T10" fmla="*/ 7 w 11"/>
                  <a:gd name="T11" fmla="*/ 0 h 9"/>
                  <a:gd name="T12" fmla="*/ 9 w 11"/>
                  <a:gd name="T13" fmla="*/ 0 h 9"/>
                  <a:gd name="T14" fmla="*/ 11 w 11"/>
                  <a:gd name="T15" fmla="*/ 4 h 9"/>
                  <a:gd name="T16" fmla="*/ 11 w 11"/>
                  <a:gd name="T17" fmla="*/ 4 h 9"/>
                  <a:gd name="T18" fmla="*/ 11 w 11"/>
                  <a:gd name="T19" fmla="*/ 9 h 9"/>
                  <a:gd name="T20" fmla="*/ 11 w 11"/>
                  <a:gd name="T21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" h="9">
                    <a:moveTo>
                      <a:pt x="11" y="9"/>
                    </a:moveTo>
                    <a:lnTo>
                      <a:pt x="3" y="7"/>
                    </a:lnTo>
                    <a:lnTo>
                      <a:pt x="1" y="5"/>
                    </a:lnTo>
                    <a:lnTo>
                      <a:pt x="0" y="3"/>
                    </a:lnTo>
                    <a:lnTo>
                      <a:pt x="3" y="0"/>
                    </a:lnTo>
                    <a:lnTo>
                      <a:pt x="7" y="0"/>
                    </a:lnTo>
                    <a:lnTo>
                      <a:pt x="9" y="0"/>
                    </a:lnTo>
                    <a:lnTo>
                      <a:pt x="11" y="4"/>
                    </a:lnTo>
                    <a:lnTo>
                      <a:pt x="11" y="4"/>
                    </a:lnTo>
                    <a:lnTo>
                      <a:pt x="11" y="9"/>
                    </a:lnTo>
                    <a:lnTo>
                      <a:pt x="11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06" name="Freeform 72">
                <a:extLst>
                  <a:ext uri="{FF2B5EF4-FFF2-40B4-BE49-F238E27FC236}">
                    <a16:creationId xmlns:a16="http://schemas.microsoft.com/office/drawing/2014/main" id="{76FD86AE-8D79-4E4B-B45D-D64704ECE7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2" y="1297"/>
                <a:ext cx="15" cy="1"/>
              </a:xfrm>
              <a:custGeom>
                <a:avLst/>
                <a:gdLst>
                  <a:gd name="T0" fmla="*/ 12 w 15"/>
                  <a:gd name="T1" fmla="*/ 1 h 1"/>
                  <a:gd name="T2" fmla="*/ 15 w 15"/>
                  <a:gd name="T3" fmla="*/ 1 h 1"/>
                  <a:gd name="T4" fmla="*/ 6 w 15"/>
                  <a:gd name="T5" fmla="*/ 1 h 1"/>
                  <a:gd name="T6" fmla="*/ 0 w 15"/>
                  <a:gd name="T7" fmla="*/ 1 h 1"/>
                  <a:gd name="T8" fmla="*/ 9 w 15"/>
                  <a:gd name="T9" fmla="*/ 0 h 1"/>
                  <a:gd name="T10" fmla="*/ 12 w 15"/>
                  <a:gd name="T11" fmla="*/ 1 h 1"/>
                  <a:gd name="T12" fmla="*/ 12 w 15"/>
                  <a:gd name="T13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" h="1">
                    <a:moveTo>
                      <a:pt x="12" y="1"/>
                    </a:moveTo>
                    <a:lnTo>
                      <a:pt x="15" y="1"/>
                    </a:lnTo>
                    <a:lnTo>
                      <a:pt x="6" y="1"/>
                    </a:lnTo>
                    <a:lnTo>
                      <a:pt x="0" y="1"/>
                    </a:lnTo>
                    <a:lnTo>
                      <a:pt x="9" y="0"/>
                    </a:lnTo>
                    <a:lnTo>
                      <a:pt x="12" y="1"/>
                    </a:lnTo>
                    <a:lnTo>
                      <a:pt x="12" y="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07" name="Freeform 73">
                <a:extLst>
                  <a:ext uri="{FF2B5EF4-FFF2-40B4-BE49-F238E27FC236}">
                    <a16:creationId xmlns:a16="http://schemas.microsoft.com/office/drawing/2014/main" id="{6E36D2D7-CEE2-4400-90C5-28A1334107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02" y="1617"/>
                <a:ext cx="36" cy="16"/>
              </a:xfrm>
              <a:custGeom>
                <a:avLst/>
                <a:gdLst>
                  <a:gd name="T0" fmla="*/ 31 w 36"/>
                  <a:gd name="T1" fmla="*/ 0 h 16"/>
                  <a:gd name="T2" fmla="*/ 28 w 36"/>
                  <a:gd name="T3" fmla="*/ 1 h 16"/>
                  <a:gd name="T4" fmla="*/ 25 w 36"/>
                  <a:gd name="T5" fmla="*/ 2 h 16"/>
                  <a:gd name="T6" fmla="*/ 22 w 36"/>
                  <a:gd name="T7" fmla="*/ 4 h 16"/>
                  <a:gd name="T8" fmla="*/ 20 w 36"/>
                  <a:gd name="T9" fmla="*/ 5 h 16"/>
                  <a:gd name="T10" fmla="*/ 12 w 36"/>
                  <a:gd name="T11" fmla="*/ 5 h 16"/>
                  <a:gd name="T12" fmla="*/ 9 w 36"/>
                  <a:gd name="T13" fmla="*/ 7 h 16"/>
                  <a:gd name="T14" fmla="*/ 7 w 36"/>
                  <a:gd name="T15" fmla="*/ 8 h 16"/>
                  <a:gd name="T16" fmla="*/ 3 w 36"/>
                  <a:gd name="T17" fmla="*/ 10 h 16"/>
                  <a:gd name="T18" fmla="*/ 1 w 36"/>
                  <a:gd name="T19" fmla="*/ 12 h 16"/>
                  <a:gd name="T20" fmla="*/ 0 w 36"/>
                  <a:gd name="T21" fmla="*/ 14 h 16"/>
                  <a:gd name="T22" fmla="*/ 2 w 36"/>
                  <a:gd name="T23" fmla="*/ 16 h 16"/>
                  <a:gd name="T24" fmla="*/ 11 w 36"/>
                  <a:gd name="T25" fmla="*/ 15 h 16"/>
                  <a:gd name="T26" fmla="*/ 13 w 36"/>
                  <a:gd name="T27" fmla="*/ 14 h 16"/>
                  <a:gd name="T28" fmla="*/ 19 w 36"/>
                  <a:gd name="T29" fmla="*/ 14 h 16"/>
                  <a:gd name="T30" fmla="*/ 21 w 36"/>
                  <a:gd name="T31" fmla="*/ 13 h 16"/>
                  <a:gd name="T32" fmla="*/ 25 w 36"/>
                  <a:gd name="T33" fmla="*/ 13 h 16"/>
                  <a:gd name="T34" fmla="*/ 27 w 36"/>
                  <a:gd name="T35" fmla="*/ 13 h 16"/>
                  <a:gd name="T36" fmla="*/ 29 w 36"/>
                  <a:gd name="T37" fmla="*/ 12 h 16"/>
                  <a:gd name="T38" fmla="*/ 35 w 36"/>
                  <a:gd name="T39" fmla="*/ 10 h 16"/>
                  <a:gd name="T40" fmla="*/ 36 w 36"/>
                  <a:gd name="T41" fmla="*/ 8 h 16"/>
                  <a:gd name="T42" fmla="*/ 35 w 36"/>
                  <a:gd name="T43" fmla="*/ 5 h 16"/>
                  <a:gd name="T44" fmla="*/ 33 w 36"/>
                  <a:gd name="T45" fmla="*/ 2 h 16"/>
                  <a:gd name="T46" fmla="*/ 31 w 36"/>
                  <a:gd name="T47" fmla="*/ 0 h 16"/>
                  <a:gd name="T48" fmla="*/ 31 w 36"/>
                  <a:gd name="T49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36" h="16">
                    <a:moveTo>
                      <a:pt x="31" y="0"/>
                    </a:moveTo>
                    <a:lnTo>
                      <a:pt x="28" y="1"/>
                    </a:lnTo>
                    <a:lnTo>
                      <a:pt x="25" y="2"/>
                    </a:lnTo>
                    <a:lnTo>
                      <a:pt x="22" y="4"/>
                    </a:lnTo>
                    <a:lnTo>
                      <a:pt x="20" y="5"/>
                    </a:lnTo>
                    <a:lnTo>
                      <a:pt x="12" y="5"/>
                    </a:lnTo>
                    <a:lnTo>
                      <a:pt x="9" y="7"/>
                    </a:lnTo>
                    <a:lnTo>
                      <a:pt x="7" y="8"/>
                    </a:lnTo>
                    <a:lnTo>
                      <a:pt x="3" y="10"/>
                    </a:lnTo>
                    <a:lnTo>
                      <a:pt x="1" y="12"/>
                    </a:lnTo>
                    <a:lnTo>
                      <a:pt x="0" y="14"/>
                    </a:lnTo>
                    <a:lnTo>
                      <a:pt x="2" y="16"/>
                    </a:lnTo>
                    <a:lnTo>
                      <a:pt x="11" y="15"/>
                    </a:lnTo>
                    <a:lnTo>
                      <a:pt x="13" y="14"/>
                    </a:lnTo>
                    <a:lnTo>
                      <a:pt x="19" y="14"/>
                    </a:lnTo>
                    <a:lnTo>
                      <a:pt x="21" y="13"/>
                    </a:lnTo>
                    <a:lnTo>
                      <a:pt x="25" y="13"/>
                    </a:lnTo>
                    <a:lnTo>
                      <a:pt x="27" y="13"/>
                    </a:lnTo>
                    <a:lnTo>
                      <a:pt x="29" y="12"/>
                    </a:lnTo>
                    <a:lnTo>
                      <a:pt x="35" y="10"/>
                    </a:lnTo>
                    <a:lnTo>
                      <a:pt x="36" y="8"/>
                    </a:lnTo>
                    <a:lnTo>
                      <a:pt x="35" y="5"/>
                    </a:lnTo>
                    <a:lnTo>
                      <a:pt x="33" y="2"/>
                    </a:lnTo>
                    <a:lnTo>
                      <a:pt x="31" y="0"/>
                    </a:lnTo>
                    <a:lnTo>
                      <a:pt x="3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08" name="Freeform 74">
                <a:extLst>
                  <a:ext uri="{FF2B5EF4-FFF2-40B4-BE49-F238E27FC236}">
                    <a16:creationId xmlns:a16="http://schemas.microsoft.com/office/drawing/2014/main" id="{C7406DA9-2DF5-4E66-AB8F-FED2481AEA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05" y="1622"/>
                <a:ext cx="6" cy="3"/>
              </a:xfrm>
              <a:custGeom>
                <a:avLst/>
                <a:gdLst>
                  <a:gd name="T0" fmla="*/ 6 w 6"/>
                  <a:gd name="T1" fmla="*/ 0 h 3"/>
                  <a:gd name="T2" fmla="*/ 2 w 6"/>
                  <a:gd name="T3" fmla="*/ 0 h 3"/>
                  <a:gd name="T4" fmla="*/ 0 w 6"/>
                  <a:gd name="T5" fmla="*/ 1 h 3"/>
                  <a:gd name="T6" fmla="*/ 0 w 6"/>
                  <a:gd name="T7" fmla="*/ 3 h 3"/>
                  <a:gd name="T8" fmla="*/ 4 w 6"/>
                  <a:gd name="T9" fmla="*/ 2 h 3"/>
                  <a:gd name="T10" fmla="*/ 6 w 6"/>
                  <a:gd name="T11" fmla="*/ 0 h 3"/>
                  <a:gd name="T12" fmla="*/ 6 w 6"/>
                  <a:gd name="T13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2" y="0"/>
                    </a:lnTo>
                    <a:lnTo>
                      <a:pt x="0" y="1"/>
                    </a:lnTo>
                    <a:lnTo>
                      <a:pt x="0" y="3"/>
                    </a:lnTo>
                    <a:lnTo>
                      <a:pt x="4" y="2"/>
                    </a:lnTo>
                    <a:lnTo>
                      <a:pt x="6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09" name="Freeform 75">
                <a:extLst>
                  <a:ext uri="{FF2B5EF4-FFF2-40B4-BE49-F238E27FC236}">
                    <a16:creationId xmlns:a16="http://schemas.microsoft.com/office/drawing/2014/main" id="{D9F434CB-F1B9-4540-B230-ECF629F5B0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24" y="1631"/>
                <a:ext cx="4" cy="1"/>
              </a:xfrm>
              <a:custGeom>
                <a:avLst/>
                <a:gdLst>
                  <a:gd name="T0" fmla="*/ 4 w 4"/>
                  <a:gd name="T1" fmla="*/ 0 h 1"/>
                  <a:gd name="T2" fmla="*/ 3 w 4"/>
                  <a:gd name="T3" fmla="*/ 0 h 1"/>
                  <a:gd name="T4" fmla="*/ 0 w 4"/>
                  <a:gd name="T5" fmla="*/ 1 h 1"/>
                  <a:gd name="T6" fmla="*/ 4 w 4"/>
                  <a:gd name="T7" fmla="*/ 0 h 1"/>
                  <a:gd name="T8" fmla="*/ 4 w 4"/>
                  <a:gd name="T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1">
                    <a:moveTo>
                      <a:pt x="4" y="0"/>
                    </a:moveTo>
                    <a:lnTo>
                      <a:pt x="3" y="0"/>
                    </a:lnTo>
                    <a:lnTo>
                      <a:pt x="0" y="1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10" name="Freeform 76">
                <a:extLst>
                  <a:ext uri="{FF2B5EF4-FFF2-40B4-BE49-F238E27FC236}">
                    <a16:creationId xmlns:a16="http://schemas.microsoft.com/office/drawing/2014/main" id="{5D0F453F-3B7D-4EB9-833E-1778DB4B62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38" y="1571"/>
                <a:ext cx="7" cy="2"/>
              </a:xfrm>
              <a:custGeom>
                <a:avLst/>
                <a:gdLst>
                  <a:gd name="T0" fmla="*/ 7 w 7"/>
                  <a:gd name="T1" fmla="*/ 0 h 2"/>
                  <a:gd name="T2" fmla="*/ 6 w 7"/>
                  <a:gd name="T3" fmla="*/ 0 h 2"/>
                  <a:gd name="T4" fmla="*/ 3 w 7"/>
                  <a:gd name="T5" fmla="*/ 0 h 2"/>
                  <a:gd name="T6" fmla="*/ 0 w 7"/>
                  <a:gd name="T7" fmla="*/ 1 h 2"/>
                  <a:gd name="T8" fmla="*/ 6 w 7"/>
                  <a:gd name="T9" fmla="*/ 2 h 2"/>
                  <a:gd name="T10" fmla="*/ 7 w 7"/>
                  <a:gd name="T11" fmla="*/ 0 h 2"/>
                  <a:gd name="T12" fmla="*/ 7 w 7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" h="2">
                    <a:moveTo>
                      <a:pt x="7" y="0"/>
                    </a:moveTo>
                    <a:lnTo>
                      <a:pt x="6" y="0"/>
                    </a:lnTo>
                    <a:lnTo>
                      <a:pt x="3" y="0"/>
                    </a:lnTo>
                    <a:lnTo>
                      <a:pt x="0" y="1"/>
                    </a:lnTo>
                    <a:lnTo>
                      <a:pt x="6" y="2"/>
                    </a:lnTo>
                    <a:lnTo>
                      <a:pt x="7" y="0"/>
                    </a:lnTo>
                    <a:lnTo>
                      <a:pt x="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11" name="Freeform 77">
                <a:extLst>
                  <a:ext uri="{FF2B5EF4-FFF2-40B4-BE49-F238E27FC236}">
                    <a16:creationId xmlns:a16="http://schemas.microsoft.com/office/drawing/2014/main" id="{1A725826-40EB-4379-84CC-2F2A3B0152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40" y="1557"/>
                <a:ext cx="24" cy="5"/>
              </a:xfrm>
              <a:custGeom>
                <a:avLst/>
                <a:gdLst>
                  <a:gd name="T0" fmla="*/ 2 w 24"/>
                  <a:gd name="T1" fmla="*/ 2 h 5"/>
                  <a:gd name="T2" fmla="*/ 13 w 24"/>
                  <a:gd name="T3" fmla="*/ 4 h 5"/>
                  <a:gd name="T4" fmla="*/ 18 w 24"/>
                  <a:gd name="T5" fmla="*/ 5 h 5"/>
                  <a:gd name="T6" fmla="*/ 22 w 24"/>
                  <a:gd name="T7" fmla="*/ 5 h 5"/>
                  <a:gd name="T8" fmla="*/ 24 w 24"/>
                  <a:gd name="T9" fmla="*/ 4 h 5"/>
                  <a:gd name="T10" fmla="*/ 18 w 24"/>
                  <a:gd name="T11" fmla="*/ 1 h 5"/>
                  <a:gd name="T12" fmla="*/ 10 w 24"/>
                  <a:gd name="T13" fmla="*/ 0 h 5"/>
                  <a:gd name="T14" fmla="*/ 2 w 24"/>
                  <a:gd name="T15" fmla="*/ 0 h 5"/>
                  <a:gd name="T16" fmla="*/ 0 w 24"/>
                  <a:gd name="T17" fmla="*/ 2 h 5"/>
                  <a:gd name="T18" fmla="*/ 2 w 24"/>
                  <a:gd name="T19" fmla="*/ 2 h 5"/>
                  <a:gd name="T20" fmla="*/ 2 w 24"/>
                  <a:gd name="T21" fmla="*/ 2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4" h="5">
                    <a:moveTo>
                      <a:pt x="2" y="2"/>
                    </a:moveTo>
                    <a:lnTo>
                      <a:pt x="13" y="4"/>
                    </a:lnTo>
                    <a:lnTo>
                      <a:pt x="18" y="5"/>
                    </a:lnTo>
                    <a:lnTo>
                      <a:pt x="22" y="5"/>
                    </a:lnTo>
                    <a:lnTo>
                      <a:pt x="24" y="4"/>
                    </a:lnTo>
                    <a:lnTo>
                      <a:pt x="18" y="1"/>
                    </a:lnTo>
                    <a:lnTo>
                      <a:pt x="10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12" name="Freeform 78">
                <a:extLst>
                  <a:ext uri="{FF2B5EF4-FFF2-40B4-BE49-F238E27FC236}">
                    <a16:creationId xmlns:a16="http://schemas.microsoft.com/office/drawing/2014/main" id="{B7912520-033D-425C-B561-0C6D87BF7C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0" y="1566"/>
                <a:ext cx="34" cy="9"/>
              </a:xfrm>
              <a:custGeom>
                <a:avLst/>
                <a:gdLst>
                  <a:gd name="T0" fmla="*/ 34 w 34"/>
                  <a:gd name="T1" fmla="*/ 4 h 9"/>
                  <a:gd name="T2" fmla="*/ 28 w 34"/>
                  <a:gd name="T3" fmla="*/ 1 h 9"/>
                  <a:gd name="T4" fmla="*/ 22 w 34"/>
                  <a:gd name="T5" fmla="*/ 1 h 9"/>
                  <a:gd name="T6" fmla="*/ 20 w 34"/>
                  <a:gd name="T7" fmla="*/ 1 h 9"/>
                  <a:gd name="T8" fmla="*/ 16 w 34"/>
                  <a:gd name="T9" fmla="*/ 0 h 9"/>
                  <a:gd name="T10" fmla="*/ 11 w 34"/>
                  <a:gd name="T11" fmla="*/ 1 h 9"/>
                  <a:gd name="T12" fmla="*/ 3 w 34"/>
                  <a:gd name="T13" fmla="*/ 1 h 9"/>
                  <a:gd name="T14" fmla="*/ 0 w 34"/>
                  <a:gd name="T15" fmla="*/ 5 h 9"/>
                  <a:gd name="T16" fmla="*/ 6 w 34"/>
                  <a:gd name="T17" fmla="*/ 4 h 9"/>
                  <a:gd name="T18" fmla="*/ 12 w 34"/>
                  <a:gd name="T19" fmla="*/ 5 h 9"/>
                  <a:gd name="T20" fmla="*/ 20 w 34"/>
                  <a:gd name="T21" fmla="*/ 6 h 9"/>
                  <a:gd name="T22" fmla="*/ 22 w 34"/>
                  <a:gd name="T23" fmla="*/ 7 h 9"/>
                  <a:gd name="T24" fmla="*/ 24 w 34"/>
                  <a:gd name="T25" fmla="*/ 9 h 9"/>
                  <a:gd name="T26" fmla="*/ 29 w 34"/>
                  <a:gd name="T27" fmla="*/ 9 h 9"/>
                  <a:gd name="T28" fmla="*/ 34 w 34"/>
                  <a:gd name="T29" fmla="*/ 9 h 9"/>
                  <a:gd name="T30" fmla="*/ 32 w 34"/>
                  <a:gd name="T31" fmla="*/ 6 h 9"/>
                  <a:gd name="T32" fmla="*/ 34 w 34"/>
                  <a:gd name="T33" fmla="*/ 4 h 9"/>
                  <a:gd name="T34" fmla="*/ 34 w 34"/>
                  <a:gd name="T35" fmla="*/ 4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4" h="9">
                    <a:moveTo>
                      <a:pt x="34" y="4"/>
                    </a:moveTo>
                    <a:lnTo>
                      <a:pt x="28" y="1"/>
                    </a:lnTo>
                    <a:lnTo>
                      <a:pt x="22" y="1"/>
                    </a:lnTo>
                    <a:lnTo>
                      <a:pt x="20" y="1"/>
                    </a:lnTo>
                    <a:lnTo>
                      <a:pt x="16" y="0"/>
                    </a:lnTo>
                    <a:lnTo>
                      <a:pt x="11" y="1"/>
                    </a:lnTo>
                    <a:lnTo>
                      <a:pt x="3" y="1"/>
                    </a:lnTo>
                    <a:lnTo>
                      <a:pt x="0" y="5"/>
                    </a:lnTo>
                    <a:lnTo>
                      <a:pt x="6" y="4"/>
                    </a:lnTo>
                    <a:lnTo>
                      <a:pt x="12" y="5"/>
                    </a:lnTo>
                    <a:lnTo>
                      <a:pt x="20" y="6"/>
                    </a:lnTo>
                    <a:lnTo>
                      <a:pt x="22" y="7"/>
                    </a:lnTo>
                    <a:lnTo>
                      <a:pt x="24" y="9"/>
                    </a:lnTo>
                    <a:lnTo>
                      <a:pt x="29" y="9"/>
                    </a:lnTo>
                    <a:lnTo>
                      <a:pt x="34" y="9"/>
                    </a:lnTo>
                    <a:lnTo>
                      <a:pt x="32" y="6"/>
                    </a:lnTo>
                    <a:lnTo>
                      <a:pt x="34" y="4"/>
                    </a:lnTo>
                    <a:lnTo>
                      <a:pt x="34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13" name="Freeform 79">
                <a:extLst>
                  <a:ext uri="{FF2B5EF4-FFF2-40B4-BE49-F238E27FC236}">
                    <a16:creationId xmlns:a16="http://schemas.microsoft.com/office/drawing/2014/main" id="{0E807397-F55E-4146-A8D2-1DA2F5B98E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0" y="1571"/>
                <a:ext cx="33" cy="19"/>
              </a:xfrm>
              <a:custGeom>
                <a:avLst/>
                <a:gdLst>
                  <a:gd name="T0" fmla="*/ 26 w 33"/>
                  <a:gd name="T1" fmla="*/ 13 h 19"/>
                  <a:gd name="T2" fmla="*/ 24 w 33"/>
                  <a:gd name="T3" fmla="*/ 13 h 19"/>
                  <a:gd name="T4" fmla="*/ 24 w 33"/>
                  <a:gd name="T5" fmla="*/ 11 h 19"/>
                  <a:gd name="T6" fmla="*/ 26 w 33"/>
                  <a:gd name="T7" fmla="*/ 11 h 19"/>
                  <a:gd name="T8" fmla="*/ 30 w 33"/>
                  <a:gd name="T9" fmla="*/ 11 h 19"/>
                  <a:gd name="T10" fmla="*/ 32 w 33"/>
                  <a:gd name="T11" fmla="*/ 12 h 19"/>
                  <a:gd name="T12" fmla="*/ 33 w 33"/>
                  <a:gd name="T13" fmla="*/ 10 h 19"/>
                  <a:gd name="T14" fmla="*/ 31 w 33"/>
                  <a:gd name="T15" fmla="*/ 10 h 19"/>
                  <a:gd name="T16" fmla="*/ 28 w 33"/>
                  <a:gd name="T17" fmla="*/ 8 h 19"/>
                  <a:gd name="T18" fmla="*/ 25 w 33"/>
                  <a:gd name="T19" fmla="*/ 7 h 19"/>
                  <a:gd name="T20" fmla="*/ 23 w 33"/>
                  <a:gd name="T21" fmla="*/ 5 h 19"/>
                  <a:gd name="T22" fmla="*/ 20 w 33"/>
                  <a:gd name="T23" fmla="*/ 4 h 19"/>
                  <a:gd name="T24" fmla="*/ 17 w 33"/>
                  <a:gd name="T25" fmla="*/ 1 h 19"/>
                  <a:gd name="T26" fmla="*/ 12 w 33"/>
                  <a:gd name="T27" fmla="*/ 1 h 19"/>
                  <a:gd name="T28" fmla="*/ 7 w 33"/>
                  <a:gd name="T29" fmla="*/ 0 h 19"/>
                  <a:gd name="T30" fmla="*/ 2 w 33"/>
                  <a:gd name="T31" fmla="*/ 1 h 19"/>
                  <a:gd name="T32" fmla="*/ 0 w 33"/>
                  <a:gd name="T33" fmla="*/ 3 h 19"/>
                  <a:gd name="T34" fmla="*/ 0 w 33"/>
                  <a:gd name="T35" fmla="*/ 5 h 19"/>
                  <a:gd name="T36" fmla="*/ 3 w 33"/>
                  <a:gd name="T37" fmla="*/ 9 h 19"/>
                  <a:gd name="T38" fmla="*/ 6 w 33"/>
                  <a:gd name="T39" fmla="*/ 9 h 19"/>
                  <a:gd name="T40" fmla="*/ 8 w 33"/>
                  <a:gd name="T41" fmla="*/ 11 h 19"/>
                  <a:gd name="T42" fmla="*/ 16 w 33"/>
                  <a:gd name="T43" fmla="*/ 13 h 19"/>
                  <a:gd name="T44" fmla="*/ 22 w 33"/>
                  <a:gd name="T45" fmla="*/ 17 h 19"/>
                  <a:gd name="T46" fmla="*/ 28 w 33"/>
                  <a:gd name="T47" fmla="*/ 19 h 19"/>
                  <a:gd name="T48" fmla="*/ 30 w 33"/>
                  <a:gd name="T49" fmla="*/ 19 h 19"/>
                  <a:gd name="T50" fmla="*/ 31 w 33"/>
                  <a:gd name="T51" fmla="*/ 17 h 19"/>
                  <a:gd name="T52" fmla="*/ 26 w 33"/>
                  <a:gd name="T53" fmla="*/ 13 h 19"/>
                  <a:gd name="T54" fmla="*/ 26 w 33"/>
                  <a:gd name="T55" fmla="*/ 13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33" h="19">
                    <a:moveTo>
                      <a:pt x="26" y="13"/>
                    </a:moveTo>
                    <a:lnTo>
                      <a:pt x="24" y="13"/>
                    </a:lnTo>
                    <a:lnTo>
                      <a:pt x="24" y="11"/>
                    </a:lnTo>
                    <a:lnTo>
                      <a:pt x="26" y="11"/>
                    </a:lnTo>
                    <a:lnTo>
                      <a:pt x="30" y="11"/>
                    </a:lnTo>
                    <a:lnTo>
                      <a:pt x="32" y="12"/>
                    </a:lnTo>
                    <a:lnTo>
                      <a:pt x="33" y="10"/>
                    </a:lnTo>
                    <a:lnTo>
                      <a:pt x="31" y="10"/>
                    </a:lnTo>
                    <a:lnTo>
                      <a:pt x="28" y="8"/>
                    </a:lnTo>
                    <a:lnTo>
                      <a:pt x="25" y="7"/>
                    </a:lnTo>
                    <a:lnTo>
                      <a:pt x="23" y="5"/>
                    </a:lnTo>
                    <a:lnTo>
                      <a:pt x="20" y="4"/>
                    </a:lnTo>
                    <a:lnTo>
                      <a:pt x="17" y="1"/>
                    </a:lnTo>
                    <a:lnTo>
                      <a:pt x="12" y="1"/>
                    </a:lnTo>
                    <a:lnTo>
                      <a:pt x="7" y="0"/>
                    </a:lnTo>
                    <a:lnTo>
                      <a:pt x="2" y="1"/>
                    </a:lnTo>
                    <a:lnTo>
                      <a:pt x="0" y="3"/>
                    </a:lnTo>
                    <a:lnTo>
                      <a:pt x="0" y="5"/>
                    </a:lnTo>
                    <a:lnTo>
                      <a:pt x="3" y="9"/>
                    </a:lnTo>
                    <a:lnTo>
                      <a:pt x="6" y="9"/>
                    </a:lnTo>
                    <a:lnTo>
                      <a:pt x="8" y="11"/>
                    </a:lnTo>
                    <a:lnTo>
                      <a:pt x="16" y="13"/>
                    </a:lnTo>
                    <a:lnTo>
                      <a:pt x="22" y="17"/>
                    </a:lnTo>
                    <a:lnTo>
                      <a:pt x="28" y="19"/>
                    </a:lnTo>
                    <a:lnTo>
                      <a:pt x="30" y="19"/>
                    </a:lnTo>
                    <a:lnTo>
                      <a:pt x="31" y="17"/>
                    </a:lnTo>
                    <a:lnTo>
                      <a:pt x="26" y="13"/>
                    </a:lnTo>
                    <a:lnTo>
                      <a:pt x="26" y="1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14" name="Freeform 80">
                <a:extLst>
                  <a:ext uri="{FF2B5EF4-FFF2-40B4-BE49-F238E27FC236}">
                    <a16:creationId xmlns:a16="http://schemas.microsoft.com/office/drawing/2014/main" id="{EED43C17-7596-4854-B6E8-CC442970A4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83" y="1529"/>
                <a:ext cx="26" cy="10"/>
              </a:xfrm>
              <a:custGeom>
                <a:avLst/>
                <a:gdLst>
                  <a:gd name="T0" fmla="*/ 15 w 26"/>
                  <a:gd name="T1" fmla="*/ 0 h 10"/>
                  <a:gd name="T2" fmla="*/ 9 w 26"/>
                  <a:gd name="T3" fmla="*/ 0 h 10"/>
                  <a:gd name="T4" fmla="*/ 4 w 26"/>
                  <a:gd name="T5" fmla="*/ 2 h 10"/>
                  <a:gd name="T6" fmla="*/ 0 w 26"/>
                  <a:gd name="T7" fmla="*/ 6 h 10"/>
                  <a:gd name="T8" fmla="*/ 4 w 26"/>
                  <a:gd name="T9" fmla="*/ 8 h 10"/>
                  <a:gd name="T10" fmla="*/ 12 w 26"/>
                  <a:gd name="T11" fmla="*/ 10 h 10"/>
                  <a:gd name="T12" fmla="*/ 23 w 26"/>
                  <a:gd name="T13" fmla="*/ 8 h 10"/>
                  <a:gd name="T14" fmla="*/ 26 w 26"/>
                  <a:gd name="T15" fmla="*/ 7 h 10"/>
                  <a:gd name="T16" fmla="*/ 23 w 26"/>
                  <a:gd name="T17" fmla="*/ 6 h 10"/>
                  <a:gd name="T18" fmla="*/ 22 w 26"/>
                  <a:gd name="T19" fmla="*/ 3 h 10"/>
                  <a:gd name="T20" fmla="*/ 18 w 26"/>
                  <a:gd name="T21" fmla="*/ 1 h 10"/>
                  <a:gd name="T22" fmla="*/ 15 w 26"/>
                  <a:gd name="T23" fmla="*/ 0 h 10"/>
                  <a:gd name="T24" fmla="*/ 15 w 26"/>
                  <a:gd name="T25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6" h="10">
                    <a:moveTo>
                      <a:pt x="15" y="0"/>
                    </a:moveTo>
                    <a:lnTo>
                      <a:pt x="9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4" y="8"/>
                    </a:lnTo>
                    <a:lnTo>
                      <a:pt x="12" y="10"/>
                    </a:lnTo>
                    <a:lnTo>
                      <a:pt x="23" y="8"/>
                    </a:lnTo>
                    <a:lnTo>
                      <a:pt x="26" y="7"/>
                    </a:lnTo>
                    <a:lnTo>
                      <a:pt x="23" y="6"/>
                    </a:lnTo>
                    <a:lnTo>
                      <a:pt x="22" y="3"/>
                    </a:lnTo>
                    <a:lnTo>
                      <a:pt x="18" y="1"/>
                    </a:lnTo>
                    <a:lnTo>
                      <a:pt x="15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15" name="Freeform 81">
                <a:extLst>
                  <a:ext uri="{FF2B5EF4-FFF2-40B4-BE49-F238E27FC236}">
                    <a16:creationId xmlns:a16="http://schemas.microsoft.com/office/drawing/2014/main" id="{0E71C552-842C-4BE9-A6FB-72EC5991F3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3" y="1429"/>
                <a:ext cx="3" cy="3"/>
              </a:xfrm>
              <a:custGeom>
                <a:avLst/>
                <a:gdLst>
                  <a:gd name="T0" fmla="*/ 3 w 3"/>
                  <a:gd name="T1" fmla="*/ 0 h 3"/>
                  <a:gd name="T2" fmla="*/ 0 w 3"/>
                  <a:gd name="T3" fmla="*/ 0 h 3"/>
                  <a:gd name="T4" fmla="*/ 0 w 3"/>
                  <a:gd name="T5" fmla="*/ 3 h 3"/>
                  <a:gd name="T6" fmla="*/ 3 w 3"/>
                  <a:gd name="T7" fmla="*/ 0 h 3"/>
                  <a:gd name="T8" fmla="*/ 3 w 3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3">
                    <a:moveTo>
                      <a:pt x="3" y="0"/>
                    </a:moveTo>
                    <a:lnTo>
                      <a:pt x="0" y="0"/>
                    </a:lnTo>
                    <a:lnTo>
                      <a:pt x="0" y="3"/>
                    </a:lnTo>
                    <a:lnTo>
                      <a:pt x="3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16" name="Freeform 82">
                <a:extLst>
                  <a:ext uri="{FF2B5EF4-FFF2-40B4-BE49-F238E27FC236}">
                    <a16:creationId xmlns:a16="http://schemas.microsoft.com/office/drawing/2014/main" id="{5F0BA4A4-E5D8-42A7-950C-0595827962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0" y="1298"/>
                <a:ext cx="14" cy="10"/>
              </a:xfrm>
              <a:custGeom>
                <a:avLst/>
                <a:gdLst>
                  <a:gd name="T0" fmla="*/ 8 w 14"/>
                  <a:gd name="T1" fmla="*/ 9 h 10"/>
                  <a:gd name="T2" fmla="*/ 12 w 14"/>
                  <a:gd name="T3" fmla="*/ 10 h 10"/>
                  <a:gd name="T4" fmla="*/ 14 w 14"/>
                  <a:gd name="T5" fmla="*/ 9 h 10"/>
                  <a:gd name="T6" fmla="*/ 12 w 14"/>
                  <a:gd name="T7" fmla="*/ 6 h 10"/>
                  <a:gd name="T8" fmla="*/ 9 w 14"/>
                  <a:gd name="T9" fmla="*/ 4 h 10"/>
                  <a:gd name="T10" fmla="*/ 7 w 14"/>
                  <a:gd name="T11" fmla="*/ 1 h 10"/>
                  <a:gd name="T12" fmla="*/ 4 w 14"/>
                  <a:gd name="T13" fmla="*/ 0 h 10"/>
                  <a:gd name="T14" fmla="*/ 0 w 14"/>
                  <a:gd name="T15" fmla="*/ 2 h 10"/>
                  <a:gd name="T16" fmla="*/ 3 w 14"/>
                  <a:gd name="T17" fmla="*/ 4 h 10"/>
                  <a:gd name="T18" fmla="*/ 8 w 14"/>
                  <a:gd name="T19" fmla="*/ 9 h 10"/>
                  <a:gd name="T20" fmla="*/ 8 w 14"/>
                  <a:gd name="T21" fmla="*/ 9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4" h="10">
                    <a:moveTo>
                      <a:pt x="8" y="9"/>
                    </a:moveTo>
                    <a:lnTo>
                      <a:pt x="12" y="10"/>
                    </a:lnTo>
                    <a:lnTo>
                      <a:pt x="14" y="9"/>
                    </a:lnTo>
                    <a:lnTo>
                      <a:pt x="12" y="6"/>
                    </a:lnTo>
                    <a:lnTo>
                      <a:pt x="9" y="4"/>
                    </a:lnTo>
                    <a:lnTo>
                      <a:pt x="7" y="1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3" y="4"/>
                    </a:lnTo>
                    <a:lnTo>
                      <a:pt x="8" y="9"/>
                    </a:lnTo>
                    <a:lnTo>
                      <a:pt x="8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17" name="Freeform 83">
                <a:extLst>
                  <a:ext uri="{FF2B5EF4-FFF2-40B4-BE49-F238E27FC236}">
                    <a16:creationId xmlns:a16="http://schemas.microsoft.com/office/drawing/2014/main" id="{8161EEE9-AFDA-4DCE-8F41-BEA401057C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3" y="1513"/>
                <a:ext cx="11" cy="9"/>
              </a:xfrm>
              <a:custGeom>
                <a:avLst/>
                <a:gdLst>
                  <a:gd name="T0" fmla="*/ 7 w 11"/>
                  <a:gd name="T1" fmla="*/ 3 h 9"/>
                  <a:gd name="T2" fmla="*/ 5 w 11"/>
                  <a:gd name="T3" fmla="*/ 3 h 9"/>
                  <a:gd name="T4" fmla="*/ 7 w 11"/>
                  <a:gd name="T5" fmla="*/ 2 h 9"/>
                  <a:gd name="T6" fmla="*/ 7 w 11"/>
                  <a:gd name="T7" fmla="*/ 1 h 9"/>
                  <a:gd name="T8" fmla="*/ 5 w 11"/>
                  <a:gd name="T9" fmla="*/ 0 h 9"/>
                  <a:gd name="T10" fmla="*/ 2 w 11"/>
                  <a:gd name="T11" fmla="*/ 0 h 9"/>
                  <a:gd name="T12" fmla="*/ 0 w 11"/>
                  <a:gd name="T13" fmla="*/ 2 h 9"/>
                  <a:gd name="T14" fmla="*/ 0 w 11"/>
                  <a:gd name="T15" fmla="*/ 5 h 9"/>
                  <a:gd name="T16" fmla="*/ 0 w 11"/>
                  <a:gd name="T17" fmla="*/ 7 h 9"/>
                  <a:gd name="T18" fmla="*/ 3 w 11"/>
                  <a:gd name="T19" fmla="*/ 9 h 9"/>
                  <a:gd name="T20" fmla="*/ 6 w 11"/>
                  <a:gd name="T21" fmla="*/ 9 h 9"/>
                  <a:gd name="T22" fmla="*/ 7 w 11"/>
                  <a:gd name="T23" fmla="*/ 9 h 9"/>
                  <a:gd name="T24" fmla="*/ 11 w 11"/>
                  <a:gd name="T25" fmla="*/ 7 h 9"/>
                  <a:gd name="T26" fmla="*/ 9 w 11"/>
                  <a:gd name="T27" fmla="*/ 3 h 9"/>
                  <a:gd name="T28" fmla="*/ 7 w 11"/>
                  <a:gd name="T29" fmla="*/ 3 h 9"/>
                  <a:gd name="T30" fmla="*/ 7 w 11"/>
                  <a:gd name="T31" fmla="*/ 3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1" h="9">
                    <a:moveTo>
                      <a:pt x="7" y="3"/>
                    </a:moveTo>
                    <a:lnTo>
                      <a:pt x="5" y="3"/>
                    </a:lnTo>
                    <a:lnTo>
                      <a:pt x="7" y="2"/>
                    </a:lnTo>
                    <a:lnTo>
                      <a:pt x="7" y="1"/>
                    </a:lnTo>
                    <a:lnTo>
                      <a:pt x="5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5"/>
                    </a:lnTo>
                    <a:lnTo>
                      <a:pt x="0" y="7"/>
                    </a:lnTo>
                    <a:lnTo>
                      <a:pt x="3" y="9"/>
                    </a:lnTo>
                    <a:lnTo>
                      <a:pt x="6" y="9"/>
                    </a:lnTo>
                    <a:lnTo>
                      <a:pt x="7" y="9"/>
                    </a:lnTo>
                    <a:lnTo>
                      <a:pt x="11" y="7"/>
                    </a:lnTo>
                    <a:lnTo>
                      <a:pt x="9" y="3"/>
                    </a:lnTo>
                    <a:lnTo>
                      <a:pt x="7" y="3"/>
                    </a:lnTo>
                    <a:lnTo>
                      <a:pt x="7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18" name="Freeform 84">
                <a:extLst>
                  <a:ext uri="{FF2B5EF4-FFF2-40B4-BE49-F238E27FC236}">
                    <a16:creationId xmlns:a16="http://schemas.microsoft.com/office/drawing/2014/main" id="{FC162C67-38BF-4669-A5AC-93F365610A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5" y="1429"/>
                <a:ext cx="15" cy="6"/>
              </a:xfrm>
              <a:custGeom>
                <a:avLst/>
                <a:gdLst>
                  <a:gd name="T0" fmla="*/ 5 w 15"/>
                  <a:gd name="T1" fmla="*/ 0 h 6"/>
                  <a:gd name="T2" fmla="*/ 0 w 15"/>
                  <a:gd name="T3" fmla="*/ 0 h 6"/>
                  <a:gd name="T4" fmla="*/ 3 w 15"/>
                  <a:gd name="T5" fmla="*/ 3 h 6"/>
                  <a:gd name="T6" fmla="*/ 5 w 15"/>
                  <a:gd name="T7" fmla="*/ 4 h 6"/>
                  <a:gd name="T8" fmla="*/ 9 w 15"/>
                  <a:gd name="T9" fmla="*/ 5 h 6"/>
                  <a:gd name="T10" fmla="*/ 13 w 15"/>
                  <a:gd name="T11" fmla="*/ 6 h 6"/>
                  <a:gd name="T12" fmla="*/ 15 w 15"/>
                  <a:gd name="T13" fmla="*/ 4 h 6"/>
                  <a:gd name="T14" fmla="*/ 9 w 15"/>
                  <a:gd name="T15" fmla="*/ 4 h 6"/>
                  <a:gd name="T16" fmla="*/ 5 w 15"/>
                  <a:gd name="T17" fmla="*/ 1 h 6"/>
                  <a:gd name="T18" fmla="*/ 5 w 15"/>
                  <a:gd name="T19" fmla="*/ 0 h 6"/>
                  <a:gd name="T20" fmla="*/ 5 w 15"/>
                  <a:gd name="T21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" h="6">
                    <a:moveTo>
                      <a:pt x="5" y="0"/>
                    </a:moveTo>
                    <a:lnTo>
                      <a:pt x="0" y="0"/>
                    </a:lnTo>
                    <a:lnTo>
                      <a:pt x="3" y="3"/>
                    </a:lnTo>
                    <a:lnTo>
                      <a:pt x="5" y="4"/>
                    </a:lnTo>
                    <a:lnTo>
                      <a:pt x="9" y="5"/>
                    </a:lnTo>
                    <a:lnTo>
                      <a:pt x="13" y="6"/>
                    </a:lnTo>
                    <a:lnTo>
                      <a:pt x="15" y="4"/>
                    </a:lnTo>
                    <a:lnTo>
                      <a:pt x="9" y="4"/>
                    </a:lnTo>
                    <a:lnTo>
                      <a:pt x="5" y="1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19" name="Freeform 85">
                <a:extLst>
                  <a:ext uri="{FF2B5EF4-FFF2-40B4-BE49-F238E27FC236}">
                    <a16:creationId xmlns:a16="http://schemas.microsoft.com/office/drawing/2014/main" id="{AE4C2F7B-F594-45D6-BA3D-B38134A51D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23" y="1310"/>
                <a:ext cx="10" cy="6"/>
              </a:xfrm>
              <a:custGeom>
                <a:avLst/>
                <a:gdLst>
                  <a:gd name="T0" fmla="*/ 8 w 10"/>
                  <a:gd name="T1" fmla="*/ 6 h 6"/>
                  <a:gd name="T2" fmla="*/ 10 w 10"/>
                  <a:gd name="T3" fmla="*/ 4 h 6"/>
                  <a:gd name="T4" fmla="*/ 4 w 10"/>
                  <a:gd name="T5" fmla="*/ 0 h 6"/>
                  <a:gd name="T6" fmla="*/ 2 w 10"/>
                  <a:gd name="T7" fmla="*/ 0 h 6"/>
                  <a:gd name="T8" fmla="*/ 0 w 10"/>
                  <a:gd name="T9" fmla="*/ 1 h 6"/>
                  <a:gd name="T10" fmla="*/ 8 w 10"/>
                  <a:gd name="T11" fmla="*/ 6 h 6"/>
                  <a:gd name="T12" fmla="*/ 8 w 10"/>
                  <a:gd name="T13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6">
                    <a:moveTo>
                      <a:pt x="8" y="6"/>
                    </a:moveTo>
                    <a:lnTo>
                      <a:pt x="10" y="4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1"/>
                    </a:lnTo>
                    <a:lnTo>
                      <a:pt x="8" y="6"/>
                    </a:lnTo>
                    <a:lnTo>
                      <a:pt x="8" y="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20" name="Freeform 86">
                <a:extLst>
                  <a:ext uri="{FF2B5EF4-FFF2-40B4-BE49-F238E27FC236}">
                    <a16:creationId xmlns:a16="http://schemas.microsoft.com/office/drawing/2014/main" id="{00DB7028-B639-43B2-BCE4-ED21E1683A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26" y="1503"/>
                <a:ext cx="22" cy="12"/>
              </a:xfrm>
              <a:custGeom>
                <a:avLst/>
                <a:gdLst>
                  <a:gd name="T0" fmla="*/ 14 w 22"/>
                  <a:gd name="T1" fmla="*/ 0 h 12"/>
                  <a:gd name="T2" fmla="*/ 11 w 22"/>
                  <a:gd name="T3" fmla="*/ 2 h 12"/>
                  <a:gd name="T4" fmla="*/ 8 w 22"/>
                  <a:gd name="T5" fmla="*/ 3 h 12"/>
                  <a:gd name="T6" fmla="*/ 5 w 22"/>
                  <a:gd name="T7" fmla="*/ 1 h 12"/>
                  <a:gd name="T8" fmla="*/ 0 w 22"/>
                  <a:gd name="T9" fmla="*/ 2 h 12"/>
                  <a:gd name="T10" fmla="*/ 1 w 22"/>
                  <a:gd name="T11" fmla="*/ 6 h 12"/>
                  <a:gd name="T12" fmla="*/ 0 w 22"/>
                  <a:gd name="T13" fmla="*/ 11 h 12"/>
                  <a:gd name="T14" fmla="*/ 6 w 22"/>
                  <a:gd name="T15" fmla="*/ 12 h 12"/>
                  <a:gd name="T16" fmla="*/ 8 w 22"/>
                  <a:gd name="T17" fmla="*/ 11 h 12"/>
                  <a:gd name="T18" fmla="*/ 11 w 22"/>
                  <a:gd name="T19" fmla="*/ 11 h 12"/>
                  <a:gd name="T20" fmla="*/ 16 w 22"/>
                  <a:gd name="T21" fmla="*/ 11 h 12"/>
                  <a:gd name="T22" fmla="*/ 20 w 22"/>
                  <a:gd name="T23" fmla="*/ 12 h 12"/>
                  <a:gd name="T24" fmla="*/ 22 w 22"/>
                  <a:gd name="T25" fmla="*/ 10 h 12"/>
                  <a:gd name="T26" fmla="*/ 22 w 22"/>
                  <a:gd name="T27" fmla="*/ 8 h 12"/>
                  <a:gd name="T28" fmla="*/ 20 w 22"/>
                  <a:gd name="T29" fmla="*/ 8 h 12"/>
                  <a:gd name="T30" fmla="*/ 16 w 22"/>
                  <a:gd name="T31" fmla="*/ 9 h 12"/>
                  <a:gd name="T32" fmla="*/ 14 w 22"/>
                  <a:gd name="T33" fmla="*/ 8 h 12"/>
                  <a:gd name="T34" fmla="*/ 13 w 22"/>
                  <a:gd name="T35" fmla="*/ 4 h 12"/>
                  <a:gd name="T36" fmla="*/ 9 w 22"/>
                  <a:gd name="T37" fmla="*/ 6 h 12"/>
                  <a:gd name="T38" fmla="*/ 13 w 22"/>
                  <a:gd name="T39" fmla="*/ 4 h 12"/>
                  <a:gd name="T40" fmla="*/ 15 w 22"/>
                  <a:gd name="T41" fmla="*/ 3 h 12"/>
                  <a:gd name="T42" fmla="*/ 14 w 22"/>
                  <a:gd name="T43" fmla="*/ 0 h 12"/>
                  <a:gd name="T44" fmla="*/ 14 w 22"/>
                  <a:gd name="T4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2" h="12">
                    <a:moveTo>
                      <a:pt x="14" y="0"/>
                    </a:moveTo>
                    <a:lnTo>
                      <a:pt x="11" y="2"/>
                    </a:lnTo>
                    <a:lnTo>
                      <a:pt x="8" y="3"/>
                    </a:lnTo>
                    <a:lnTo>
                      <a:pt x="5" y="1"/>
                    </a:lnTo>
                    <a:lnTo>
                      <a:pt x="0" y="2"/>
                    </a:lnTo>
                    <a:lnTo>
                      <a:pt x="1" y="6"/>
                    </a:lnTo>
                    <a:lnTo>
                      <a:pt x="0" y="11"/>
                    </a:lnTo>
                    <a:lnTo>
                      <a:pt x="6" y="12"/>
                    </a:lnTo>
                    <a:lnTo>
                      <a:pt x="8" y="11"/>
                    </a:lnTo>
                    <a:lnTo>
                      <a:pt x="11" y="11"/>
                    </a:lnTo>
                    <a:lnTo>
                      <a:pt x="16" y="11"/>
                    </a:lnTo>
                    <a:lnTo>
                      <a:pt x="20" y="12"/>
                    </a:lnTo>
                    <a:lnTo>
                      <a:pt x="22" y="10"/>
                    </a:lnTo>
                    <a:lnTo>
                      <a:pt x="22" y="8"/>
                    </a:lnTo>
                    <a:lnTo>
                      <a:pt x="20" y="8"/>
                    </a:lnTo>
                    <a:lnTo>
                      <a:pt x="16" y="9"/>
                    </a:lnTo>
                    <a:lnTo>
                      <a:pt x="14" y="8"/>
                    </a:lnTo>
                    <a:lnTo>
                      <a:pt x="13" y="4"/>
                    </a:lnTo>
                    <a:lnTo>
                      <a:pt x="9" y="6"/>
                    </a:lnTo>
                    <a:lnTo>
                      <a:pt x="13" y="4"/>
                    </a:lnTo>
                    <a:lnTo>
                      <a:pt x="15" y="3"/>
                    </a:lnTo>
                    <a:lnTo>
                      <a:pt x="14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21" name="Freeform 87">
                <a:extLst>
                  <a:ext uri="{FF2B5EF4-FFF2-40B4-BE49-F238E27FC236}">
                    <a16:creationId xmlns:a16="http://schemas.microsoft.com/office/drawing/2014/main" id="{D9DEFA48-8289-4954-A706-330203BA5E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97" y="2207"/>
                <a:ext cx="22" cy="39"/>
              </a:xfrm>
              <a:custGeom>
                <a:avLst/>
                <a:gdLst>
                  <a:gd name="T0" fmla="*/ 4 w 22"/>
                  <a:gd name="T1" fmla="*/ 25 h 39"/>
                  <a:gd name="T2" fmla="*/ 3 w 22"/>
                  <a:gd name="T3" fmla="*/ 25 h 39"/>
                  <a:gd name="T4" fmla="*/ 2 w 22"/>
                  <a:gd name="T5" fmla="*/ 35 h 39"/>
                  <a:gd name="T6" fmla="*/ 5 w 22"/>
                  <a:gd name="T7" fmla="*/ 35 h 39"/>
                  <a:gd name="T8" fmla="*/ 5 w 22"/>
                  <a:gd name="T9" fmla="*/ 39 h 39"/>
                  <a:gd name="T10" fmla="*/ 9 w 22"/>
                  <a:gd name="T11" fmla="*/ 38 h 39"/>
                  <a:gd name="T12" fmla="*/ 11 w 22"/>
                  <a:gd name="T13" fmla="*/ 35 h 39"/>
                  <a:gd name="T14" fmla="*/ 12 w 22"/>
                  <a:gd name="T15" fmla="*/ 33 h 39"/>
                  <a:gd name="T16" fmla="*/ 11 w 22"/>
                  <a:gd name="T17" fmla="*/ 32 h 39"/>
                  <a:gd name="T18" fmla="*/ 12 w 22"/>
                  <a:gd name="T19" fmla="*/ 33 h 39"/>
                  <a:gd name="T20" fmla="*/ 16 w 22"/>
                  <a:gd name="T21" fmla="*/ 33 h 39"/>
                  <a:gd name="T22" fmla="*/ 19 w 22"/>
                  <a:gd name="T23" fmla="*/ 33 h 39"/>
                  <a:gd name="T24" fmla="*/ 20 w 22"/>
                  <a:gd name="T25" fmla="*/ 27 h 39"/>
                  <a:gd name="T26" fmla="*/ 20 w 22"/>
                  <a:gd name="T27" fmla="*/ 21 h 39"/>
                  <a:gd name="T28" fmla="*/ 20 w 22"/>
                  <a:gd name="T29" fmla="*/ 19 h 39"/>
                  <a:gd name="T30" fmla="*/ 19 w 22"/>
                  <a:gd name="T31" fmla="*/ 17 h 39"/>
                  <a:gd name="T32" fmla="*/ 20 w 22"/>
                  <a:gd name="T33" fmla="*/ 14 h 39"/>
                  <a:gd name="T34" fmla="*/ 22 w 22"/>
                  <a:gd name="T35" fmla="*/ 12 h 39"/>
                  <a:gd name="T36" fmla="*/ 19 w 22"/>
                  <a:gd name="T37" fmla="*/ 4 h 39"/>
                  <a:gd name="T38" fmla="*/ 17 w 22"/>
                  <a:gd name="T39" fmla="*/ 1 h 39"/>
                  <a:gd name="T40" fmla="*/ 13 w 22"/>
                  <a:gd name="T41" fmla="*/ 0 h 39"/>
                  <a:gd name="T42" fmla="*/ 11 w 22"/>
                  <a:gd name="T43" fmla="*/ 1 h 39"/>
                  <a:gd name="T44" fmla="*/ 9 w 22"/>
                  <a:gd name="T45" fmla="*/ 5 h 39"/>
                  <a:gd name="T46" fmla="*/ 5 w 22"/>
                  <a:gd name="T47" fmla="*/ 6 h 39"/>
                  <a:gd name="T48" fmla="*/ 3 w 22"/>
                  <a:gd name="T49" fmla="*/ 7 h 39"/>
                  <a:gd name="T50" fmla="*/ 0 w 22"/>
                  <a:gd name="T51" fmla="*/ 5 h 39"/>
                  <a:gd name="T52" fmla="*/ 0 w 22"/>
                  <a:gd name="T53" fmla="*/ 9 h 39"/>
                  <a:gd name="T54" fmla="*/ 2 w 22"/>
                  <a:gd name="T55" fmla="*/ 13 h 39"/>
                  <a:gd name="T56" fmla="*/ 4 w 22"/>
                  <a:gd name="T57" fmla="*/ 15 h 39"/>
                  <a:gd name="T58" fmla="*/ 3 w 22"/>
                  <a:gd name="T59" fmla="*/ 21 h 39"/>
                  <a:gd name="T60" fmla="*/ 4 w 22"/>
                  <a:gd name="T61" fmla="*/ 22 h 39"/>
                  <a:gd name="T62" fmla="*/ 4 w 22"/>
                  <a:gd name="T63" fmla="*/ 25 h 39"/>
                  <a:gd name="T64" fmla="*/ 4 w 22"/>
                  <a:gd name="T65" fmla="*/ 25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2" h="39">
                    <a:moveTo>
                      <a:pt x="4" y="25"/>
                    </a:moveTo>
                    <a:lnTo>
                      <a:pt x="3" y="25"/>
                    </a:lnTo>
                    <a:lnTo>
                      <a:pt x="2" y="35"/>
                    </a:lnTo>
                    <a:lnTo>
                      <a:pt x="5" y="35"/>
                    </a:lnTo>
                    <a:lnTo>
                      <a:pt x="5" y="39"/>
                    </a:lnTo>
                    <a:lnTo>
                      <a:pt x="9" y="38"/>
                    </a:lnTo>
                    <a:lnTo>
                      <a:pt x="11" y="35"/>
                    </a:lnTo>
                    <a:lnTo>
                      <a:pt x="12" y="33"/>
                    </a:lnTo>
                    <a:lnTo>
                      <a:pt x="11" y="32"/>
                    </a:lnTo>
                    <a:lnTo>
                      <a:pt x="12" y="33"/>
                    </a:lnTo>
                    <a:lnTo>
                      <a:pt x="16" y="33"/>
                    </a:lnTo>
                    <a:lnTo>
                      <a:pt x="19" y="33"/>
                    </a:lnTo>
                    <a:lnTo>
                      <a:pt x="20" y="27"/>
                    </a:lnTo>
                    <a:lnTo>
                      <a:pt x="20" y="21"/>
                    </a:lnTo>
                    <a:lnTo>
                      <a:pt x="20" y="19"/>
                    </a:lnTo>
                    <a:lnTo>
                      <a:pt x="19" y="17"/>
                    </a:lnTo>
                    <a:lnTo>
                      <a:pt x="20" y="14"/>
                    </a:lnTo>
                    <a:lnTo>
                      <a:pt x="22" y="12"/>
                    </a:lnTo>
                    <a:lnTo>
                      <a:pt x="19" y="4"/>
                    </a:lnTo>
                    <a:lnTo>
                      <a:pt x="17" y="1"/>
                    </a:lnTo>
                    <a:lnTo>
                      <a:pt x="13" y="0"/>
                    </a:lnTo>
                    <a:lnTo>
                      <a:pt x="11" y="1"/>
                    </a:lnTo>
                    <a:lnTo>
                      <a:pt x="9" y="5"/>
                    </a:lnTo>
                    <a:lnTo>
                      <a:pt x="5" y="6"/>
                    </a:lnTo>
                    <a:lnTo>
                      <a:pt x="3" y="7"/>
                    </a:lnTo>
                    <a:lnTo>
                      <a:pt x="0" y="5"/>
                    </a:lnTo>
                    <a:lnTo>
                      <a:pt x="0" y="9"/>
                    </a:lnTo>
                    <a:lnTo>
                      <a:pt x="2" y="13"/>
                    </a:lnTo>
                    <a:lnTo>
                      <a:pt x="4" y="15"/>
                    </a:lnTo>
                    <a:lnTo>
                      <a:pt x="3" y="21"/>
                    </a:lnTo>
                    <a:lnTo>
                      <a:pt x="4" y="22"/>
                    </a:lnTo>
                    <a:lnTo>
                      <a:pt x="4" y="25"/>
                    </a:lnTo>
                    <a:lnTo>
                      <a:pt x="4" y="2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22" name="Freeform 88">
                <a:extLst>
                  <a:ext uri="{FF2B5EF4-FFF2-40B4-BE49-F238E27FC236}">
                    <a16:creationId xmlns:a16="http://schemas.microsoft.com/office/drawing/2014/main" id="{99A5D240-3D54-4A9A-8D38-760A85DB75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02" y="2178"/>
                <a:ext cx="14" cy="27"/>
              </a:xfrm>
              <a:custGeom>
                <a:avLst/>
                <a:gdLst>
                  <a:gd name="T0" fmla="*/ 0 w 14"/>
                  <a:gd name="T1" fmla="*/ 10 h 27"/>
                  <a:gd name="T2" fmla="*/ 2 w 14"/>
                  <a:gd name="T3" fmla="*/ 12 h 27"/>
                  <a:gd name="T4" fmla="*/ 0 w 14"/>
                  <a:gd name="T5" fmla="*/ 17 h 27"/>
                  <a:gd name="T6" fmla="*/ 3 w 14"/>
                  <a:gd name="T7" fmla="*/ 18 h 27"/>
                  <a:gd name="T8" fmla="*/ 2 w 14"/>
                  <a:gd name="T9" fmla="*/ 21 h 27"/>
                  <a:gd name="T10" fmla="*/ 4 w 14"/>
                  <a:gd name="T11" fmla="*/ 22 h 27"/>
                  <a:gd name="T12" fmla="*/ 5 w 14"/>
                  <a:gd name="T13" fmla="*/ 25 h 27"/>
                  <a:gd name="T14" fmla="*/ 8 w 14"/>
                  <a:gd name="T15" fmla="*/ 27 h 27"/>
                  <a:gd name="T16" fmla="*/ 9 w 14"/>
                  <a:gd name="T17" fmla="*/ 27 h 27"/>
                  <a:gd name="T18" fmla="*/ 12 w 14"/>
                  <a:gd name="T19" fmla="*/ 21 h 27"/>
                  <a:gd name="T20" fmla="*/ 12 w 14"/>
                  <a:gd name="T21" fmla="*/ 18 h 27"/>
                  <a:gd name="T22" fmla="*/ 13 w 14"/>
                  <a:gd name="T23" fmla="*/ 15 h 27"/>
                  <a:gd name="T24" fmla="*/ 14 w 14"/>
                  <a:gd name="T25" fmla="*/ 13 h 27"/>
                  <a:gd name="T26" fmla="*/ 13 w 14"/>
                  <a:gd name="T27" fmla="*/ 8 h 27"/>
                  <a:gd name="T28" fmla="*/ 12 w 14"/>
                  <a:gd name="T29" fmla="*/ 5 h 27"/>
                  <a:gd name="T30" fmla="*/ 13 w 14"/>
                  <a:gd name="T31" fmla="*/ 3 h 27"/>
                  <a:gd name="T32" fmla="*/ 12 w 14"/>
                  <a:gd name="T33" fmla="*/ 0 h 27"/>
                  <a:gd name="T34" fmla="*/ 11 w 14"/>
                  <a:gd name="T35" fmla="*/ 2 h 27"/>
                  <a:gd name="T36" fmla="*/ 9 w 14"/>
                  <a:gd name="T37" fmla="*/ 5 h 27"/>
                  <a:gd name="T38" fmla="*/ 7 w 14"/>
                  <a:gd name="T39" fmla="*/ 4 h 27"/>
                  <a:gd name="T40" fmla="*/ 2 w 14"/>
                  <a:gd name="T41" fmla="*/ 8 h 27"/>
                  <a:gd name="T42" fmla="*/ 0 w 14"/>
                  <a:gd name="T43" fmla="*/ 10 h 27"/>
                  <a:gd name="T44" fmla="*/ 0 w 14"/>
                  <a:gd name="T45" fmla="*/ 1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" h="27">
                    <a:moveTo>
                      <a:pt x="0" y="10"/>
                    </a:moveTo>
                    <a:lnTo>
                      <a:pt x="2" y="12"/>
                    </a:lnTo>
                    <a:lnTo>
                      <a:pt x="0" y="17"/>
                    </a:lnTo>
                    <a:lnTo>
                      <a:pt x="3" y="18"/>
                    </a:lnTo>
                    <a:lnTo>
                      <a:pt x="2" y="21"/>
                    </a:lnTo>
                    <a:lnTo>
                      <a:pt x="4" y="22"/>
                    </a:lnTo>
                    <a:lnTo>
                      <a:pt x="5" y="25"/>
                    </a:lnTo>
                    <a:lnTo>
                      <a:pt x="8" y="27"/>
                    </a:lnTo>
                    <a:lnTo>
                      <a:pt x="9" y="27"/>
                    </a:lnTo>
                    <a:lnTo>
                      <a:pt x="12" y="21"/>
                    </a:lnTo>
                    <a:lnTo>
                      <a:pt x="12" y="18"/>
                    </a:lnTo>
                    <a:lnTo>
                      <a:pt x="13" y="15"/>
                    </a:lnTo>
                    <a:lnTo>
                      <a:pt x="14" y="13"/>
                    </a:lnTo>
                    <a:lnTo>
                      <a:pt x="13" y="8"/>
                    </a:lnTo>
                    <a:lnTo>
                      <a:pt x="12" y="5"/>
                    </a:lnTo>
                    <a:lnTo>
                      <a:pt x="13" y="3"/>
                    </a:lnTo>
                    <a:lnTo>
                      <a:pt x="12" y="0"/>
                    </a:lnTo>
                    <a:lnTo>
                      <a:pt x="11" y="2"/>
                    </a:lnTo>
                    <a:lnTo>
                      <a:pt x="9" y="5"/>
                    </a:lnTo>
                    <a:lnTo>
                      <a:pt x="7" y="4"/>
                    </a:lnTo>
                    <a:lnTo>
                      <a:pt x="2" y="8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23" name="Freeform 89">
                <a:extLst>
                  <a:ext uri="{FF2B5EF4-FFF2-40B4-BE49-F238E27FC236}">
                    <a16:creationId xmlns:a16="http://schemas.microsoft.com/office/drawing/2014/main" id="{41A4B892-96EE-4043-9105-806C0DD242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56" y="2255"/>
                <a:ext cx="42" cy="25"/>
              </a:xfrm>
              <a:custGeom>
                <a:avLst/>
                <a:gdLst>
                  <a:gd name="T0" fmla="*/ 26 w 42"/>
                  <a:gd name="T1" fmla="*/ 20 h 25"/>
                  <a:gd name="T2" fmla="*/ 26 w 42"/>
                  <a:gd name="T3" fmla="*/ 21 h 25"/>
                  <a:gd name="T4" fmla="*/ 29 w 42"/>
                  <a:gd name="T5" fmla="*/ 24 h 25"/>
                  <a:gd name="T6" fmla="*/ 34 w 42"/>
                  <a:gd name="T7" fmla="*/ 25 h 25"/>
                  <a:gd name="T8" fmla="*/ 36 w 42"/>
                  <a:gd name="T9" fmla="*/ 25 h 25"/>
                  <a:gd name="T10" fmla="*/ 36 w 42"/>
                  <a:gd name="T11" fmla="*/ 21 h 25"/>
                  <a:gd name="T12" fmla="*/ 38 w 42"/>
                  <a:gd name="T13" fmla="*/ 19 h 25"/>
                  <a:gd name="T14" fmla="*/ 37 w 42"/>
                  <a:gd name="T15" fmla="*/ 17 h 25"/>
                  <a:gd name="T16" fmla="*/ 36 w 42"/>
                  <a:gd name="T17" fmla="*/ 15 h 25"/>
                  <a:gd name="T18" fmla="*/ 35 w 42"/>
                  <a:gd name="T19" fmla="*/ 12 h 25"/>
                  <a:gd name="T20" fmla="*/ 37 w 42"/>
                  <a:gd name="T21" fmla="*/ 8 h 25"/>
                  <a:gd name="T22" fmla="*/ 42 w 42"/>
                  <a:gd name="T23" fmla="*/ 2 h 25"/>
                  <a:gd name="T24" fmla="*/ 42 w 42"/>
                  <a:gd name="T25" fmla="*/ 0 h 25"/>
                  <a:gd name="T26" fmla="*/ 37 w 42"/>
                  <a:gd name="T27" fmla="*/ 2 h 25"/>
                  <a:gd name="T28" fmla="*/ 31 w 42"/>
                  <a:gd name="T29" fmla="*/ 2 h 25"/>
                  <a:gd name="T30" fmla="*/ 26 w 42"/>
                  <a:gd name="T31" fmla="*/ 4 h 25"/>
                  <a:gd name="T32" fmla="*/ 20 w 42"/>
                  <a:gd name="T33" fmla="*/ 3 h 25"/>
                  <a:gd name="T34" fmla="*/ 17 w 42"/>
                  <a:gd name="T35" fmla="*/ 4 h 25"/>
                  <a:gd name="T36" fmla="*/ 12 w 42"/>
                  <a:gd name="T37" fmla="*/ 1 h 25"/>
                  <a:gd name="T38" fmla="*/ 9 w 42"/>
                  <a:gd name="T39" fmla="*/ 1 h 25"/>
                  <a:gd name="T40" fmla="*/ 6 w 42"/>
                  <a:gd name="T41" fmla="*/ 3 h 25"/>
                  <a:gd name="T42" fmla="*/ 4 w 42"/>
                  <a:gd name="T43" fmla="*/ 3 h 25"/>
                  <a:gd name="T44" fmla="*/ 2 w 42"/>
                  <a:gd name="T45" fmla="*/ 3 h 25"/>
                  <a:gd name="T46" fmla="*/ 0 w 42"/>
                  <a:gd name="T47" fmla="*/ 5 h 25"/>
                  <a:gd name="T48" fmla="*/ 0 w 42"/>
                  <a:gd name="T49" fmla="*/ 9 h 25"/>
                  <a:gd name="T50" fmla="*/ 2 w 42"/>
                  <a:gd name="T51" fmla="*/ 11 h 25"/>
                  <a:gd name="T52" fmla="*/ 5 w 42"/>
                  <a:gd name="T53" fmla="*/ 11 h 25"/>
                  <a:gd name="T54" fmla="*/ 14 w 42"/>
                  <a:gd name="T55" fmla="*/ 16 h 25"/>
                  <a:gd name="T56" fmla="*/ 17 w 42"/>
                  <a:gd name="T57" fmla="*/ 18 h 25"/>
                  <a:gd name="T58" fmla="*/ 20 w 42"/>
                  <a:gd name="T59" fmla="*/ 18 h 25"/>
                  <a:gd name="T60" fmla="*/ 22 w 42"/>
                  <a:gd name="T61" fmla="*/ 18 h 25"/>
                  <a:gd name="T62" fmla="*/ 26 w 42"/>
                  <a:gd name="T63" fmla="*/ 20 h 25"/>
                  <a:gd name="T64" fmla="*/ 26 w 42"/>
                  <a:gd name="T65" fmla="*/ 2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2" h="25">
                    <a:moveTo>
                      <a:pt x="26" y="20"/>
                    </a:moveTo>
                    <a:lnTo>
                      <a:pt x="26" y="21"/>
                    </a:lnTo>
                    <a:lnTo>
                      <a:pt x="29" y="24"/>
                    </a:lnTo>
                    <a:lnTo>
                      <a:pt x="34" y="25"/>
                    </a:lnTo>
                    <a:lnTo>
                      <a:pt x="36" y="25"/>
                    </a:lnTo>
                    <a:lnTo>
                      <a:pt x="36" y="21"/>
                    </a:lnTo>
                    <a:lnTo>
                      <a:pt x="38" y="19"/>
                    </a:lnTo>
                    <a:lnTo>
                      <a:pt x="37" y="17"/>
                    </a:lnTo>
                    <a:lnTo>
                      <a:pt x="36" y="15"/>
                    </a:lnTo>
                    <a:lnTo>
                      <a:pt x="35" y="12"/>
                    </a:lnTo>
                    <a:lnTo>
                      <a:pt x="37" y="8"/>
                    </a:lnTo>
                    <a:lnTo>
                      <a:pt x="42" y="2"/>
                    </a:lnTo>
                    <a:lnTo>
                      <a:pt x="42" y="0"/>
                    </a:lnTo>
                    <a:lnTo>
                      <a:pt x="37" y="2"/>
                    </a:lnTo>
                    <a:lnTo>
                      <a:pt x="31" y="2"/>
                    </a:lnTo>
                    <a:lnTo>
                      <a:pt x="26" y="4"/>
                    </a:lnTo>
                    <a:lnTo>
                      <a:pt x="20" y="3"/>
                    </a:lnTo>
                    <a:lnTo>
                      <a:pt x="17" y="4"/>
                    </a:lnTo>
                    <a:lnTo>
                      <a:pt x="12" y="1"/>
                    </a:lnTo>
                    <a:lnTo>
                      <a:pt x="9" y="1"/>
                    </a:lnTo>
                    <a:lnTo>
                      <a:pt x="6" y="3"/>
                    </a:lnTo>
                    <a:lnTo>
                      <a:pt x="4" y="3"/>
                    </a:lnTo>
                    <a:lnTo>
                      <a:pt x="2" y="3"/>
                    </a:lnTo>
                    <a:lnTo>
                      <a:pt x="0" y="5"/>
                    </a:lnTo>
                    <a:lnTo>
                      <a:pt x="0" y="9"/>
                    </a:lnTo>
                    <a:lnTo>
                      <a:pt x="2" y="11"/>
                    </a:lnTo>
                    <a:lnTo>
                      <a:pt x="5" y="11"/>
                    </a:lnTo>
                    <a:lnTo>
                      <a:pt x="14" y="16"/>
                    </a:lnTo>
                    <a:lnTo>
                      <a:pt x="17" y="18"/>
                    </a:lnTo>
                    <a:lnTo>
                      <a:pt x="20" y="18"/>
                    </a:lnTo>
                    <a:lnTo>
                      <a:pt x="22" y="18"/>
                    </a:lnTo>
                    <a:lnTo>
                      <a:pt x="26" y="20"/>
                    </a:lnTo>
                    <a:lnTo>
                      <a:pt x="26" y="2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24" name="Freeform 90">
                <a:extLst>
                  <a:ext uri="{FF2B5EF4-FFF2-40B4-BE49-F238E27FC236}">
                    <a16:creationId xmlns:a16="http://schemas.microsoft.com/office/drawing/2014/main" id="{452BD31F-462A-461D-8E35-0CC6A970412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542" y="1894"/>
                <a:ext cx="166" cy="164"/>
              </a:xfrm>
              <a:custGeom>
                <a:avLst/>
                <a:gdLst>
                  <a:gd name="T0" fmla="*/ 51 w 166"/>
                  <a:gd name="T1" fmla="*/ 12 h 164"/>
                  <a:gd name="T2" fmla="*/ 52 w 166"/>
                  <a:gd name="T3" fmla="*/ 6 h 164"/>
                  <a:gd name="T4" fmla="*/ 54 w 166"/>
                  <a:gd name="T5" fmla="*/ 20 h 164"/>
                  <a:gd name="T6" fmla="*/ 62 w 166"/>
                  <a:gd name="T7" fmla="*/ 30 h 164"/>
                  <a:gd name="T8" fmla="*/ 56 w 166"/>
                  <a:gd name="T9" fmla="*/ 47 h 164"/>
                  <a:gd name="T10" fmla="*/ 60 w 166"/>
                  <a:gd name="T11" fmla="*/ 45 h 164"/>
                  <a:gd name="T12" fmla="*/ 148 w 166"/>
                  <a:gd name="T13" fmla="*/ 113 h 164"/>
                  <a:gd name="T14" fmla="*/ 134 w 166"/>
                  <a:gd name="T15" fmla="*/ 96 h 164"/>
                  <a:gd name="T16" fmla="*/ 135 w 166"/>
                  <a:gd name="T17" fmla="*/ 81 h 164"/>
                  <a:gd name="T18" fmla="*/ 118 w 166"/>
                  <a:gd name="T19" fmla="*/ 60 h 164"/>
                  <a:gd name="T20" fmla="*/ 90 w 166"/>
                  <a:gd name="T21" fmla="*/ 51 h 164"/>
                  <a:gd name="T22" fmla="*/ 103 w 166"/>
                  <a:gd name="T23" fmla="*/ 44 h 164"/>
                  <a:gd name="T24" fmla="*/ 115 w 166"/>
                  <a:gd name="T25" fmla="*/ 28 h 164"/>
                  <a:gd name="T26" fmla="*/ 90 w 166"/>
                  <a:gd name="T27" fmla="*/ 21 h 164"/>
                  <a:gd name="T28" fmla="*/ 87 w 166"/>
                  <a:gd name="T29" fmla="*/ 14 h 164"/>
                  <a:gd name="T30" fmla="*/ 87 w 166"/>
                  <a:gd name="T31" fmla="*/ 2 h 164"/>
                  <a:gd name="T32" fmla="*/ 69 w 166"/>
                  <a:gd name="T33" fmla="*/ 9 h 164"/>
                  <a:gd name="T34" fmla="*/ 62 w 166"/>
                  <a:gd name="T35" fmla="*/ 23 h 164"/>
                  <a:gd name="T36" fmla="*/ 69 w 166"/>
                  <a:gd name="T37" fmla="*/ 30 h 164"/>
                  <a:gd name="T38" fmla="*/ 59 w 166"/>
                  <a:gd name="T39" fmla="*/ 39 h 164"/>
                  <a:gd name="T40" fmla="*/ 72 w 166"/>
                  <a:gd name="T41" fmla="*/ 39 h 164"/>
                  <a:gd name="T42" fmla="*/ 67 w 166"/>
                  <a:gd name="T43" fmla="*/ 48 h 164"/>
                  <a:gd name="T44" fmla="*/ 68 w 166"/>
                  <a:gd name="T45" fmla="*/ 61 h 164"/>
                  <a:gd name="T46" fmla="*/ 77 w 166"/>
                  <a:gd name="T47" fmla="*/ 49 h 164"/>
                  <a:gd name="T48" fmla="*/ 78 w 166"/>
                  <a:gd name="T49" fmla="*/ 63 h 164"/>
                  <a:gd name="T50" fmla="*/ 76 w 166"/>
                  <a:gd name="T51" fmla="*/ 78 h 164"/>
                  <a:gd name="T52" fmla="*/ 87 w 166"/>
                  <a:gd name="T53" fmla="*/ 75 h 164"/>
                  <a:gd name="T54" fmla="*/ 96 w 166"/>
                  <a:gd name="T55" fmla="*/ 83 h 164"/>
                  <a:gd name="T56" fmla="*/ 103 w 166"/>
                  <a:gd name="T57" fmla="*/ 96 h 164"/>
                  <a:gd name="T58" fmla="*/ 92 w 166"/>
                  <a:gd name="T59" fmla="*/ 104 h 164"/>
                  <a:gd name="T60" fmla="*/ 80 w 166"/>
                  <a:gd name="T61" fmla="*/ 111 h 164"/>
                  <a:gd name="T62" fmla="*/ 87 w 166"/>
                  <a:gd name="T63" fmla="*/ 118 h 164"/>
                  <a:gd name="T64" fmla="*/ 75 w 166"/>
                  <a:gd name="T65" fmla="*/ 133 h 164"/>
                  <a:gd name="T66" fmla="*/ 84 w 166"/>
                  <a:gd name="T67" fmla="*/ 135 h 164"/>
                  <a:gd name="T68" fmla="*/ 103 w 166"/>
                  <a:gd name="T69" fmla="*/ 135 h 164"/>
                  <a:gd name="T70" fmla="*/ 94 w 166"/>
                  <a:gd name="T71" fmla="*/ 141 h 164"/>
                  <a:gd name="T72" fmla="*/ 71 w 166"/>
                  <a:gd name="T73" fmla="*/ 158 h 164"/>
                  <a:gd name="T74" fmla="*/ 77 w 166"/>
                  <a:gd name="T75" fmla="*/ 159 h 164"/>
                  <a:gd name="T76" fmla="*/ 95 w 166"/>
                  <a:gd name="T77" fmla="*/ 151 h 164"/>
                  <a:gd name="T78" fmla="*/ 122 w 166"/>
                  <a:gd name="T79" fmla="*/ 150 h 164"/>
                  <a:gd name="T80" fmla="*/ 155 w 166"/>
                  <a:gd name="T81" fmla="*/ 147 h 164"/>
                  <a:gd name="T82" fmla="*/ 148 w 166"/>
                  <a:gd name="T83" fmla="*/ 138 h 164"/>
                  <a:gd name="T84" fmla="*/ 157 w 166"/>
                  <a:gd name="T85" fmla="*/ 129 h 164"/>
                  <a:gd name="T86" fmla="*/ 68 w 166"/>
                  <a:gd name="T87" fmla="*/ 83 h 164"/>
                  <a:gd name="T88" fmla="*/ 61 w 166"/>
                  <a:gd name="T89" fmla="*/ 70 h 164"/>
                  <a:gd name="T90" fmla="*/ 43 w 166"/>
                  <a:gd name="T91" fmla="*/ 70 h 164"/>
                  <a:gd name="T92" fmla="*/ 38 w 166"/>
                  <a:gd name="T93" fmla="*/ 71 h 164"/>
                  <a:gd name="T94" fmla="*/ 32 w 166"/>
                  <a:gd name="T95" fmla="*/ 79 h 164"/>
                  <a:gd name="T96" fmla="*/ 17 w 166"/>
                  <a:gd name="T97" fmla="*/ 87 h 164"/>
                  <a:gd name="T98" fmla="*/ 7 w 166"/>
                  <a:gd name="T99" fmla="*/ 92 h 164"/>
                  <a:gd name="T100" fmla="*/ 3 w 166"/>
                  <a:gd name="T101" fmla="*/ 99 h 164"/>
                  <a:gd name="T102" fmla="*/ 16 w 166"/>
                  <a:gd name="T103" fmla="*/ 106 h 164"/>
                  <a:gd name="T104" fmla="*/ 23 w 166"/>
                  <a:gd name="T105" fmla="*/ 115 h 164"/>
                  <a:gd name="T106" fmla="*/ 9 w 166"/>
                  <a:gd name="T107" fmla="*/ 125 h 164"/>
                  <a:gd name="T108" fmla="*/ 6 w 166"/>
                  <a:gd name="T109" fmla="*/ 134 h 164"/>
                  <a:gd name="T110" fmla="*/ 27 w 166"/>
                  <a:gd name="T111" fmla="*/ 130 h 164"/>
                  <a:gd name="T112" fmla="*/ 43 w 166"/>
                  <a:gd name="T113" fmla="*/ 125 h 164"/>
                  <a:gd name="T114" fmla="*/ 55 w 166"/>
                  <a:gd name="T115" fmla="*/ 121 h 164"/>
                  <a:gd name="T116" fmla="*/ 59 w 166"/>
                  <a:gd name="T117" fmla="*/ 100 h 164"/>
                  <a:gd name="T118" fmla="*/ 67 w 166"/>
                  <a:gd name="T119" fmla="*/ 83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66" h="164">
                    <a:moveTo>
                      <a:pt x="50" y="15"/>
                    </a:moveTo>
                    <a:lnTo>
                      <a:pt x="49" y="15"/>
                    </a:lnTo>
                    <a:lnTo>
                      <a:pt x="45" y="17"/>
                    </a:lnTo>
                    <a:lnTo>
                      <a:pt x="49" y="18"/>
                    </a:lnTo>
                    <a:lnTo>
                      <a:pt x="50" y="15"/>
                    </a:lnTo>
                    <a:close/>
                    <a:moveTo>
                      <a:pt x="50" y="15"/>
                    </a:moveTo>
                    <a:lnTo>
                      <a:pt x="51" y="14"/>
                    </a:lnTo>
                    <a:lnTo>
                      <a:pt x="51" y="12"/>
                    </a:lnTo>
                    <a:lnTo>
                      <a:pt x="52" y="14"/>
                    </a:lnTo>
                    <a:lnTo>
                      <a:pt x="54" y="14"/>
                    </a:lnTo>
                    <a:lnTo>
                      <a:pt x="54" y="11"/>
                    </a:lnTo>
                    <a:lnTo>
                      <a:pt x="56" y="9"/>
                    </a:lnTo>
                    <a:lnTo>
                      <a:pt x="58" y="6"/>
                    </a:lnTo>
                    <a:lnTo>
                      <a:pt x="58" y="4"/>
                    </a:lnTo>
                    <a:lnTo>
                      <a:pt x="55" y="4"/>
                    </a:lnTo>
                    <a:lnTo>
                      <a:pt x="52" y="6"/>
                    </a:lnTo>
                    <a:lnTo>
                      <a:pt x="50" y="9"/>
                    </a:lnTo>
                    <a:lnTo>
                      <a:pt x="49" y="11"/>
                    </a:lnTo>
                    <a:lnTo>
                      <a:pt x="46" y="9"/>
                    </a:lnTo>
                    <a:lnTo>
                      <a:pt x="45" y="11"/>
                    </a:lnTo>
                    <a:lnTo>
                      <a:pt x="46" y="14"/>
                    </a:lnTo>
                    <a:lnTo>
                      <a:pt x="50" y="15"/>
                    </a:lnTo>
                    <a:close/>
                    <a:moveTo>
                      <a:pt x="58" y="20"/>
                    </a:moveTo>
                    <a:lnTo>
                      <a:pt x="54" y="20"/>
                    </a:lnTo>
                    <a:lnTo>
                      <a:pt x="55" y="23"/>
                    </a:lnTo>
                    <a:lnTo>
                      <a:pt x="53" y="22"/>
                    </a:lnTo>
                    <a:lnTo>
                      <a:pt x="50" y="23"/>
                    </a:lnTo>
                    <a:lnTo>
                      <a:pt x="51" y="26"/>
                    </a:lnTo>
                    <a:lnTo>
                      <a:pt x="54" y="27"/>
                    </a:lnTo>
                    <a:lnTo>
                      <a:pt x="56" y="30"/>
                    </a:lnTo>
                    <a:lnTo>
                      <a:pt x="59" y="30"/>
                    </a:lnTo>
                    <a:lnTo>
                      <a:pt x="62" y="30"/>
                    </a:lnTo>
                    <a:lnTo>
                      <a:pt x="60" y="32"/>
                    </a:lnTo>
                    <a:lnTo>
                      <a:pt x="63" y="30"/>
                    </a:lnTo>
                    <a:lnTo>
                      <a:pt x="64" y="28"/>
                    </a:lnTo>
                    <a:lnTo>
                      <a:pt x="61" y="28"/>
                    </a:lnTo>
                    <a:lnTo>
                      <a:pt x="59" y="26"/>
                    </a:lnTo>
                    <a:lnTo>
                      <a:pt x="59" y="23"/>
                    </a:lnTo>
                    <a:lnTo>
                      <a:pt x="58" y="20"/>
                    </a:lnTo>
                    <a:close/>
                    <a:moveTo>
                      <a:pt x="56" y="47"/>
                    </a:moveTo>
                    <a:lnTo>
                      <a:pt x="61" y="46"/>
                    </a:lnTo>
                    <a:lnTo>
                      <a:pt x="64" y="46"/>
                    </a:lnTo>
                    <a:lnTo>
                      <a:pt x="64" y="43"/>
                    </a:lnTo>
                    <a:lnTo>
                      <a:pt x="61" y="43"/>
                    </a:lnTo>
                    <a:lnTo>
                      <a:pt x="59" y="39"/>
                    </a:lnTo>
                    <a:lnTo>
                      <a:pt x="58" y="43"/>
                    </a:lnTo>
                    <a:lnTo>
                      <a:pt x="60" y="43"/>
                    </a:lnTo>
                    <a:lnTo>
                      <a:pt x="60" y="45"/>
                    </a:lnTo>
                    <a:lnTo>
                      <a:pt x="56" y="47"/>
                    </a:lnTo>
                    <a:close/>
                    <a:moveTo>
                      <a:pt x="166" y="116"/>
                    </a:moveTo>
                    <a:lnTo>
                      <a:pt x="165" y="113"/>
                    </a:lnTo>
                    <a:lnTo>
                      <a:pt x="160" y="111"/>
                    </a:lnTo>
                    <a:lnTo>
                      <a:pt x="155" y="109"/>
                    </a:lnTo>
                    <a:lnTo>
                      <a:pt x="152" y="109"/>
                    </a:lnTo>
                    <a:lnTo>
                      <a:pt x="149" y="111"/>
                    </a:lnTo>
                    <a:lnTo>
                      <a:pt x="148" y="113"/>
                    </a:lnTo>
                    <a:lnTo>
                      <a:pt x="143" y="112"/>
                    </a:lnTo>
                    <a:lnTo>
                      <a:pt x="147" y="106"/>
                    </a:lnTo>
                    <a:lnTo>
                      <a:pt x="147" y="104"/>
                    </a:lnTo>
                    <a:lnTo>
                      <a:pt x="146" y="101"/>
                    </a:lnTo>
                    <a:lnTo>
                      <a:pt x="138" y="96"/>
                    </a:lnTo>
                    <a:lnTo>
                      <a:pt x="136" y="96"/>
                    </a:lnTo>
                    <a:lnTo>
                      <a:pt x="132" y="96"/>
                    </a:lnTo>
                    <a:lnTo>
                      <a:pt x="134" y="96"/>
                    </a:lnTo>
                    <a:lnTo>
                      <a:pt x="137" y="96"/>
                    </a:lnTo>
                    <a:lnTo>
                      <a:pt x="138" y="96"/>
                    </a:lnTo>
                    <a:lnTo>
                      <a:pt x="143" y="97"/>
                    </a:lnTo>
                    <a:lnTo>
                      <a:pt x="145" y="97"/>
                    </a:lnTo>
                    <a:lnTo>
                      <a:pt x="141" y="92"/>
                    </a:lnTo>
                    <a:lnTo>
                      <a:pt x="140" y="90"/>
                    </a:lnTo>
                    <a:lnTo>
                      <a:pt x="140" y="88"/>
                    </a:lnTo>
                    <a:lnTo>
                      <a:pt x="135" y="81"/>
                    </a:lnTo>
                    <a:lnTo>
                      <a:pt x="132" y="80"/>
                    </a:lnTo>
                    <a:lnTo>
                      <a:pt x="127" y="79"/>
                    </a:lnTo>
                    <a:lnTo>
                      <a:pt x="127" y="78"/>
                    </a:lnTo>
                    <a:lnTo>
                      <a:pt x="124" y="75"/>
                    </a:lnTo>
                    <a:lnTo>
                      <a:pt x="123" y="70"/>
                    </a:lnTo>
                    <a:lnTo>
                      <a:pt x="122" y="69"/>
                    </a:lnTo>
                    <a:lnTo>
                      <a:pt x="120" y="61"/>
                    </a:lnTo>
                    <a:lnTo>
                      <a:pt x="118" y="60"/>
                    </a:lnTo>
                    <a:lnTo>
                      <a:pt x="113" y="54"/>
                    </a:lnTo>
                    <a:lnTo>
                      <a:pt x="111" y="53"/>
                    </a:lnTo>
                    <a:lnTo>
                      <a:pt x="107" y="52"/>
                    </a:lnTo>
                    <a:lnTo>
                      <a:pt x="104" y="52"/>
                    </a:lnTo>
                    <a:lnTo>
                      <a:pt x="102" y="53"/>
                    </a:lnTo>
                    <a:lnTo>
                      <a:pt x="94" y="53"/>
                    </a:lnTo>
                    <a:lnTo>
                      <a:pt x="92" y="52"/>
                    </a:lnTo>
                    <a:lnTo>
                      <a:pt x="90" y="51"/>
                    </a:lnTo>
                    <a:lnTo>
                      <a:pt x="92" y="52"/>
                    </a:lnTo>
                    <a:lnTo>
                      <a:pt x="94" y="52"/>
                    </a:lnTo>
                    <a:lnTo>
                      <a:pt x="96" y="52"/>
                    </a:lnTo>
                    <a:lnTo>
                      <a:pt x="98" y="52"/>
                    </a:lnTo>
                    <a:lnTo>
                      <a:pt x="102" y="48"/>
                    </a:lnTo>
                    <a:lnTo>
                      <a:pt x="104" y="48"/>
                    </a:lnTo>
                    <a:lnTo>
                      <a:pt x="105" y="46"/>
                    </a:lnTo>
                    <a:lnTo>
                      <a:pt x="103" y="44"/>
                    </a:lnTo>
                    <a:lnTo>
                      <a:pt x="98" y="46"/>
                    </a:lnTo>
                    <a:lnTo>
                      <a:pt x="97" y="45"/>
                    </a:lnTo>
                    <a:lnTo>
                      <a:pt x="102" y="44"/>
                    </a:lnTo>
                    <a:lnTo>
                      <a:pt x="105" y="44"/>
                    </a:lnTo>
                    <a:lnTo>
                      <a:pt x="107" y="41"/>
                    </a:lnTo>
                    <a:lnTo>
                      <a:pt x="110" y="38"/>
                    </a:lnTo>
                    <a:lnTo>
                      <a:pt x="113" y="35"/>
                    </a:lnTo>
                    <a:lnTo>
                      <a:pt x="115" y="28"/>
                    </a:lnTo>
                    <a:lnTo>
                      <a:pt x="118" y="26"/>
                    </a:lnTo>
                    <a:lnTo>
                      <a:pt x="118" y="22"/>
                    </a:lnTo>
                    <a:lnTo>
                      <a:pt x="117" y="20"/>
                    </a:lnTo>
                    <a:lnTo>
                      <a:pt x="109" y="20"/>
                    </a:lnTo>
                    <a:lnTo>
                      <a:pt x="103" y="19"/>
                    </a:lnTo>
                    <a:lnTo>
                      <a:pt x="101" y="20"/>
                    </a:lnTo>
                    <a:lnTo>
                      <a:pt x="96" y="19"/>
                    </a:lnTo>
                    <a:lnTo>
                      <a:pt x="90" y="21"/>
                    </a:lnTo>
                    <a:lnTo>
                      <a:pt x="87" y="21"/>
                    </a:lnTo>
                    <a:lnTo>
                      <a:pt x="85" y="23"/>
                    </a:lnTo>
                    <a:lnTo>
                      <a:pt x="85" y="20"/>
                    </a:lnTo>
                    <a:lnTo>
                      <a:pt x="88" y="19"/>
                    </a:lnTo>
                    <a:lnTo>
                      <a:pt x="88" y="17"/>
                    </a:lnTo>
                    <a:lnTo>
                      <a:pt x="86" y="17"/>
                    </a:lnTo>
                    <a:lnTo>
                      <a:pt x="84" y="15"/>
                    </a:lnTo>
                    <a:lnTo>
                      <a:pt x="87" y="14"/>
                    </a:lnTo>
                    <a:lnTo>
                      <a:pt x="88" y="14"/>
                    </a:lnTo>
                    <a:lnTo>
                      <a:pt x="100" y="5"/>
                    </a:lnTo>
                    <a:lnTo>
                      <a:pt x="100" y="1"/>
                    </a:lnTo>
                    <a:lnTo>
                      <a:pt x="97" y="0"/>
                    </a:lnTo>
                    <a:lnTo>
                      <a:pt x="94" y="1"/>
                    </a:lnTo>
                    <a:lnTo>
                      <a:pt x="93" y="1"/>
                    </a:lnTo>
                    <a:lnTo>
                      <a:pt x="89" y="2"/>
                    </a:lnTo>
                    <a:lnTo>
                      <a:pt x="87" y="2"/>
                    </a:lnTo>
                    <a:lnTo>
                      <a:pt x="85" y="3"/>
                    </a:lnTo>
                    <a:lnTo>
                      <a:pt x="81" y="3"/>
                    </a:lnTo>
                    <a:lnTo>
                      <a:pt x="77" y="2"/>
                    </a:lnTo>
                    <a:lnTo>
                      <a:pt x="75" y="1"/>
                    </a:lnTo>
                    <a:lnTo>
                      <a:pt x="75" y="4"/>
                    </a:lnTo>
                    <a:lnTo>
                      <a:pt x="72" y="5"/>
                    </a:lnTo>
                    <a:lnTo>
                      <a:pt x="73" y="9"/>
                    </a:lnTo>
                    <a:lnTo>
                      <a:pt x="69" y="9"/>
                    </a:lnTo>
                    <a:lnTo>
                      <a:pt x="70" y="11"/>
                    </a:lnTo>
                    <a:lnTo>
                      <a:pt x="70" y="13"/>
                    </a:lnTo>
                    <a:lnTo>
                      <a:pt x="71" y="17"/>
                    </a:lnTo>
                    <a:lnTo>
                      <a:pt x="66" y="15"/>
                    </a:lnTo>
                    <a:lnTo>
                      <a:pt x="63" y="18"/>
                    </a:lnTo>
                    <a:lnTo>
                      <a:pt x="64" y="21"/>
                    </a:lnTo>
                    <a:lnTo>
                      <a:pt x="64" y="22"/>
                    </a:lnTo>
                    <a:lnTo>
                      <a:pt x="62" y="23"/>
                    </a:lnTo>
                    <a:lnTo>
                      <a:pt x="64" y="26"/>
                    </a:lnTo>
                    <a:lnTo>
                      <a:pt x="67" y="26"/>
                    </a:lnTo>
                    <a:lnTo>
                      <a:pt x="64" y="27"/>
                    </a:lnTo>
                    <a:lnTo>
                      <a:pt x="68" y="27"/>
                    </a:lnTo>
                    <a:lnTo>
                      <a:pt x="68" y="29"/>
                    </a:lnTo>
                    <a:lnTo>
                      <a:pt x="66" y="28"/>
                    </a:lnTo>
                    <a:lnTo>
                      <a:pt x="66" y="30"/>
                    </a:lnTo>
                    <a:lnTo>
                      <a:pt x="69" y="30"/>
                    </a:lnTo>
                    <a:lnTo>
                      <a:pt x="67" y="30"/>
                    </a:lnTo>
                    <a:lnTo>
                      <a:pt x="63" y="31"/>
                    </a:lnTo>
                    <a:lnTo>
                      <a:pt x="67" y="34"/>
                    </a:lnTo>
                    <a:lnTo>
                      <a:pt x="63" y="32"/>
                    </a:lnTo>
                    <a:lnTo>
                      <a:pt x="63" y="35"/>
                    </a:lnTo>
                    <a:lnTo>
                      <a:pt x="62" y="38"/>
                    </a:lnTo>
                    <a:lnTo>
                      <a:pt x="61" y="37"/>
                    </a:lnTo>
                    <a:lnTo>
                      <a:pt x="59" y="39"/>
                    </a:lnTo>
                    <a:lnTo>
                      <a:pt x="63" y="38"/>
                    </a:lnTo>
                    <a:lnTo>
                      <a:pt x="67" y="39"/>
                    </a:lnTo>
                    <a:lnTo>
                      <a:pt x="63" y="39"/>
                    </a:lnTo>
                    <a:lnTo>
                      <a:pt x="62" y="41"/>
                    </a:lnTo>
                    <a:lnTo>
                      <a:pt x="64" y="43"/>
                    </a:lnTo>
                    <a:lnTo>
                      <a:pt x="68" y="41"/>
                    </a:lnTo>
                    <a:lnTo>
                      <a:pt x="72" y="36"/>
                    </a:lnTo>
                    <a:lnTo>
                      <a:pt x="72" y="39"/>
                    </a:lnTo>
                    <a:lnTo>
                      <a:pt x="75" y="38"/>
                    </a:lnTo>
                    <a:lnTo>
                      <a:pt x="70" y="39"/>
                    </a:lnTo>
                    <a:lnTo>
                      <a:pt x="69" y="41"/>
                    </a:lnTo>
                    <a:lnTo>
                      <a:pt x="69" y="44"/>
                    </a:lnTo>
                    <a:lnTo>
                      <a:pt x="71" y="44"/>
                    </a:lnTo>
                    <a:lnTo>
                      <a:pt x="69" y="44"/>
                    </a:lnTo>
                    <a:lnTo>
                      <a:pt x="67" y="46"/>
                    </a:lnTo>
                    <a:lnTo>
                      <a:pt x="67" y="48"/>
                    </a:lnTo>
                    <a:lnTo>
                      <a:pt x="66" y="51"/>
                    </a:lnTo>
                    <a:lnTo>
                      <a:pt x="66" y="55"/>
                    </a:lnTo>
                    <a:lnTo>
                      <a:pt x="66" y="57"/>
                    </a:lnTo>
                    <a:lnTo>
                      <a:pt x="64" y="61"/>
                    </a:lnTo>
                    <a:lnTo>
                      <a:pt x="63" y="65"/>
                    </a:lnTo>
                    <a:lnTo>
                      <a:pt x="64" y="65"/>
                    </a:lnTo>
                    <a:lnTo>
                      <a:pt x="67" y="63"/>
                    </a:lnTo>
                    <a:lnTo>
                      <a:pt x="68" y="61"/>
                    </a:lnTo>
                    <a:lnTo>
                      <a:pt x="69" y="53"/>
                    </a:lnTo>
                    <a:lnTo>
                      <a:pt x="71" y="49"/>
                    </a:lnTo>
                    <a:lnTo>
                      <a:pt x="75" y="48"/>
                    </a:lnTo>
                    <a:lnTo>
                      <a:pt x="70" y="52"/>
                    </a:lnTo>
                    <a:lnTo>
                      <a:pt x="72" y="54"/>
                    </a:lnTo>
                    <a:lnTo>
                      <a:pt x="72" y="53"/>
                    </a:lnTo>
                    <a:lnTo>
                      <a:pt x="75" y="55"/>
                    </a:lnTo>
                    <a:lnTo>
                      <a:pt x="77" y="49"/>
                    </a:lnTo>
                    <a:lnTo>
                      <a:pt x="77" y="52"/>
                    </a:lnTo>
                    <a:lnTo>
                      <a:pt x="80" y="54"/>
                    </a:lnTo>
                    <a:lnTo>
                      <a:pt x="77" y="53"/>
                    </a:lnTo>
                    <a:lnTo>
                      <a:pt x="77" y="53"/>
                    </a:lnTo>
                    <a:lnTo>
                      <a:pt x="76" y="56"/>
                    </a:lnTo>
                    <a:lnTo>
                      <a:pt x="76" y="58"/>
                    </a:lnTo>
                    <a:lnTo>
                      <a:pt x="79" y="61"/>
                    </a:lnTo>
                    <a:lnTo>
                      <a:pt x="78" y="63"/>
                    </a:lnTo>
                    <a:lnTo>
                      <a:pt x="75" y="69"/>
                    </a:lnTo>
                    <a:lnTo>
                      <a:pt x="73" y="72"/>
                    </a:lnTo>
                    <a:lnTo>
                      <a:pt x="75" y="73"/>
                    </a:lnTo>
                    <a:lnTo>
                      <a:pt x="72" y="71"/>
                    </a:lnTo>
                    <a:lnTo>
                      <a:pt x="72" y="71"/>
                    </a:lnTo>
                    <a:lnTo>
                      <a:pt x="72" y="73"/>
                    </a:lnTo>
                    <a:lnTo>
                      <a:pt x="76" y="79"/>
                    </a:lnTo>
                    <a:lnTo>
                      <a:pt x="76" y="78"/>
                    </a:lnTo>
                    <a:lnTo>
                      <a:pt x="75" y="75"/>
                    </a:lnTo>
                    <a:lnTo>
                      <a:pt x="78" y="74"/>
                    </a:lnTo>
                    <a:lnTo>
                      <a:pt x="80" y="77"/>
                    </a:lnTo>
                    <a:lnTo>
                      <a:pt x="83" y="75"/>
                    </a:lnTo>
                    <a:lnTo>
                      <a:pt x="83" y="73"/>
                    </a:lnTo>
                    <a:lnTo>
                      <a:pt x="85" y="74"/>
                    </a:lnTo>
                    <a:lnTo>
                      <a:pt x="87" y="74"/>
                    </a:lnTo>
                    <a:lnTo>
                      <a:pt x="87" y="75"/>
                    </a:lnTo>
                    <a:lnTo>
                      <a:pt x="88" y="75"/>
                    </a:lnTo>
                    <a:lnTo>
                      <a:pt x="94" y="72"/>
                    </a:lnTo>
                    <a:lnTo>
                      <a:pt x="102" y="72"/>
                    </a:lnTo>
                    <a:lnTo>
                      <a:pt x="98" y="73"/>
                    </a:lnTo>
                    <a:lnTo>
                      <a:pt x="96" y="75"/>
                    </a:lnTo>
                    <a:lnTo>
                      <a:pt x="94" y="79"/>
                    </a:lnTo>
                    <a:lnTo>
                      <a:pt x="93" y="81"/>
                    </a:lnTo>
                    <a:lnTo>
                      <a:pt x="96" y="83"/>
                    </a:lnTo>
                    <a:lnTo>
                      <a:pt x="98" y="86"/>
                    </a:lnTo>
                    <a:lnTo>
                      <a:pt x="100" y="89"/>
                    </a:lnTo>
                    <a:lnTo>
                      <a:pt x="101" y="87"/>
                    </a:lnTo>
                    <a:lnTo>
                      <a:pt x="102" y="87"/>
                    </a:lnTo>
                    <a:lnTo>
                      <a:pt x="104" y="87"/>
                    </a:lnTo>
                    <a:lnTo>
                      <a:pt x="103" y="91"/>
                    </a:lnTo>
                    <a:lnTo>
                      <a:pt x="101" y="94"/>
                    </a:lnTo>
                    <a:lnTo>
                      <a:pt x="103" y="96"/>
                    </a:lnTo>
                    <a:lnTo>
                      <a:pt x="102" y="96"/>
                    </a:lnTo>
                    <a:lnTo>
                      <a:pt x="101" y="99"/>
                    </a:lnTo>
                    <a:lnTo>
                      <a:pt x="102" y="101"/>
                    </a:lnTo>
                    <a:lnTo>
                      <a:pt x="101" y="101"/>
                    </a:lnTo>
                    <a:lnTo>
                      <a:pt x="101" y="105"/>
                    </a:lnTo>
                    <a:lnTo>
                      <a:pt x="96" y="103"/>
                    </a:lnTo>
                    <a:lnTo>
                      <a:pt x="94" y="104"/>
                    </a:lnTo>
                    <a:lnTo>
                      <a:pt x="92" y="104"/>
                    </a:lnTo>
                    <a:lnTo>
                      <a:pt x="86" y="105"/>
                    </a:lnTo>
                    <a:lnTo>
                      <a:pt x="86" y="104"/>
                    </a:lnTo>
                    <a:lnTo>
                      <a:pt x="83" y="101"/>
                    </a:lnTo>
                    <a:lnTo>
                      <a:pt x="80" y="104"/>
                    </a:lnTo>
                    <a:lnTo>
                      <a:pt x="83" y="107"/>
                    </a:lnTo>
                    <a:lnTo>
                      <a:pt x="85" y="105"/>
                    </a:lnTo>
                    <a:lnTo>
                      <a:pt x="83" y="108"/>
                    </a:lnTo>
                    <a:lnTo>
                      <a:pt x="80" y="111"/>
                    </a:lnTo>
                    <a:lnTo>
                      <a:pt x="77" y="113"/>
                    </a:lnTo>
                    <a:lnTo>
                      <a:pt x="81" y="113"/>
                    </a:lnTo>
                    <a:lnTo>
                      <a:pt x="84" y="111"/>
                    </a:lnTo>
                    <a:lnTo>
                      <a:pt x="86" y="112"/>
                    </a:lnTo>
                    <a:lnTo>
                      <a:pt x="87" y="114"/>
                    </a:lnTo>
                    <a:lnTo>
                      <a:pt x="87" y="115"/>
                    </a:lnTo>
                    <a:lnTo>
                      <a:pt x="88" y="117"/>
                    </a:lnTo>
                    <a:lnTo>
                      <a:pt x="87" y="118"/>
                    </a:lnTo>
                    <a:lnTo>
                      <a:pt x="86" y="121"/>
                    </a:lnTo>
                    <a:lnTo>
                      <a:pt x="84" y="123"/>
                    </a:lnTo>
                    <a:lnTo>
                      <a:pt x="79" y="126"/>
                    </a:lnTo>
                    <a:lnTo>
                      <a:pt x="73" y="128"/>
                    </a:lnTo>
                    <a:lnTo>
                      <a:pt x="71" y="130"/>
                    </a:lnTo>
                    <a:lnTo>
                      <a:pt x="71" y="132"/>
                    </a:lnTo>
                    <a:lnTo>
                      <a:pt x="76" y="133"/>
                    </a:lnTo>
                    <a:lnTo>
                      <a:pt x="75" y="133"/>
                    </a:lnTo>
                    <a:lnTo>
                      <a:pt x="75" y="134"/>
                    </a:lnTo>
                    <a:lnTo>
                      <a:pt x="78" y="134"/>
                    </a:lnTo>
                    <a:lnTo>
                      <a:pt x="80" y="132"/>
                    </a:lnTo>
                    <a:lnTo>
                      <a:pt x="83" y="131"/>
                    </a:lnTo>
                    <a:lnTo>
                      <a:pt x="84" y="133"/>
                    </a:lnTo>
                    <a:lnTo>
                      <a:pt x="87" y="133"/>
                    </a:lnTo>
                    <a:lnTo>
                      <a:pt x="87" y="134"/>
                    </a:lnTo>
                    <a:lnTo>
                      <a:pt x="84" y="135"/>
                    </a:lnTo>
                    <a:lnTo>
                      <a:pt x="87" y="135"/>
                    </a:lnTo>
                    <a:lnTo>
                      <a:pt x="89" y="134"/>
                    </a:lnTo>
                    <a:lnTo>
                      <a:pt x="92" y="135"/>
                    </a:lnTo>
                    <a:lnTo>
                      <a:pt x="94" y="138"/>
                    </a:lnTo>
                    <a:lnTo>
                      <a:pt x="95" y="139"/>
                    </a:lnTo>
                    <a:lnTo>
                      <a:pt x="98" y="139"/>
                    </a:lnTo>
                    <a:lnTo>
                      <a:pt x="102" y="135"/>
                    </a:lnTo>
                    <a:lnTo>
                      <a:pt x="103" y="135"/>
                    </a:lnTo>
                    <a:lnTo>
                      <a:pt x="105" y="135"/>
                    </a:lnTo>
                    <a:lnTo>
                      <a:pt x="110" y="131"/>
                    </a:lnTo>
                    <a:lnTo>
                      <a:pt x="105" y="137"/>
                    </a:lnTo>
                    <a:lnTo>
                      <a:pt x="104" y="138"/>
                    </a:lnTo>
                    <a:lnTo>
                      <a:pt x="102" y="140"/>
                    </a:lnTo>
                    <a:lnTo>
                      <a:pt x="102" y="142"/>
                    </a:lnTo>
                    <a:lnTo>
                      <a:pt x="97" y="142"/>
                    </a:lnTo>
                    <a:lnTo>
                      <a:pt x="94" y="141"/>
                    </a:lnTo>
                    <a:lnTo>
                      <a:pt x="88" y="142"/>
                    </a:lnTo>
                    <a:lnTo>
                      <a:pt x="84" y="146"/>
                    </a:lnTo>
                    <a:lnTo>
                      <a:pt x="81" y="146"/>
                    </a:lnTo>
                    <a:lnTo>
                      <a:pt x="79" y="150"/>
                    </a:lnTo>
                    <a:lnTo>
                      <a:pt x="77" y="152"/>
                    </a:lnTo>
                    <a:lnTo>
                      <a:pt x="75" y="154"/>
                    </a:lnTo>
                    <a:lnTo>
                      <a:pt x="73" y="155"/>
                    </a:lnTo>
                    <a:lnTo>
                      <a:pt x="71" y="158"/>
                    </a:lnTo>
                    <a:lnTo>
                      <a:pt x="69" y="159"/>
                    </a:lnTo>
                    <a:lnTo>
                      <a:pt x="67" y="160"/>
                    </a:lnTo>
                    <a:lnTo>
                      <a:pt x="66" y="163"/>
                    </a:lnTo>
                    <a:lnTo>
                      <a:pt x="68" y="161"/>
                    </a:lnTo>
                    <a:lnTo>
                      <a:pt x="71" y="164"/>
                    </a:lnTo>
                    <a:lnTo>
                      <a:pt x="72" y="164"/>
                    </a:lnTo>
                    <a:lnTo>
                      <a:pt x="75" y="161"/>
                    </a:lnTo>
                    <a:lnTo>
                      <a:pt x="77" y="159"/>
                    </a:lnTo>
                    <a:lnTo>
                      <a:pt x="79" y="158"/>
                    </a:lnTo>
                    <a:lnTo>
                      <a:pt x="83" y="157"/>
                    </a:lnTo>
                    <a:lnTo>
                      <a:pt x="85" y="157"/>
                    </a:lnTo>
                    <a:lnTo>
                      <a:pt x="85" y="156"/>
                    </a:lnTo>
                    <a:lnTo>
                      <a:pt x="85" y="157"/>
                    </a:lnTo>
                    <a:lnTo>
                      <a:pt x="92" y="159"/>
                    </a:lnTo>
                    <a:lnTo>
                      <a:pt x="95" y="157"/>
                    </a:lnTo>
                    <a:lnTo>
                      <a:pt x="95" y="151"/>
                    </a:lnTo>
                    <a:lnTo>
                      <a:pt x="96" y="152"/>
                    </a:lnTo>
                    <a:lnTo>
                      <a:pt x="100" y="151"/>
                    </a:lnTo>
                    <a:lnTo>
                      <a:pt x="104" y="150"/>
                    </a:lnTo>
                    <a:lnTo>
                      <a:pt x="109" y="152"/>
                    </a:lnTo>
                    <a:lnTo>
                      <a:pt x="112" y="152"/>
                    </a:lnTo>
                    <a:lnTo>
                      <a:pt x="115" y="150"/>
                    </a:lnTo>
                    <a:lnTo>
                      <a:pt x="115" y="151"/>
                    </a:lnTo>
                    <a:lnTo>
                      <a:pt x="122" y="150"/>
                    </a:lnTo>
                    <a:lnTo>
                      <a:pt x="124" y="148"/>
                    </a:lnTo>
                    <a:lnTo>
                      <a:pt x="130" y="148"/>
                    </a:lnTo>
                    <a:lnTo>
                      <a:pt x="131" y="150"/>
                    </a:lnTo>
                    <a:lnTo>
                      <a:pt x="135" y="149"/>
                    </a:lnTo>
                    <a:lnTo>
                      <a:pt x="140" y="149"/>
                    </a:lnTo>
                    <a:lnTo>
                      <a:pt x="146" y="150"/>
                    </a:lnTo>
                    <a:lnTo>
                      <a:pt x="149" y="148"/>
                    </a:lnTo>
                    <a:lnTo>
                      <a:pt x="155" y="147"/>
                    </a:lnTo>
                    <a:lnTo>
                      <a:pt x="156" y="144"/>
                    </a:lnTo>
                    <a:lnTo>
                      <a:pt x="160" y="143"/>
                    </a:lnTo>
                    <a:lnTo>
                      <a:pt x="162" y="141"/>
                    </a:lnTo>
                    <a:lnTo>
                      <a:pt x="161" y="139"/>
                    </a:lnTo>
                    <a:lnTo>
                      <a:pt x="155" y="140"/>
                    </a:lnTo>
                    <a:lnTo>
                      <a:pt x="151" y="138"/>
                    </a:lnTo>
                    <a:lnTo>
                      <a:pt x="151" y="137"/>
                    </a:lnTo>
                    <a:lnTo>
                      <a:pt x="148" y="138"/>
                    </a:lnTo>
                    <a:lnTo>
                      <a:pt x="149" y="137"/>
                    </a:lnTo>
                    <a:lnTo>
                      <a:pt x="154" y="135"/>
                    </a:lnTo>
                    <a:lnTo>
                      <a:pt x="153" y="133"/>
                    </a:lnTo>
                    <a:lnTo>
                      <a:pt x="154" y="132"/>
                    </a:lnTo>
                    <a:lnTo>
                      <a:pt x="156" y="131"/>
                    </a:lnTo>
                    <a:lnTo>
                      <a:pt x="160" y="131"/>
                    </a:lnTo>
                    <a:lnTo>
                      <a:pt x="160" y="129"/>
                    </a:lnTo>
                    <a:lnTo>
                      <a:pt x="157" y="129"/>
                    </a:lnTo>
                    <a:lnTo>
                      <a:pt x="163" y="126"/>
                    </a:lnTo>
                    <a:lnTo>
                      <a:pt x="165" y="124"/>
                    </a:lnTo>
                    <a:lnTo>
                      <a:pt x="166" y="118"/>
                    </a:lnTo>
                    <a:lnTo>
                      <a:pt x="166" y="116"/>
                    </a:lnTo>
                    <a:close/>
                    <a:moveTo>
                      <a:pt x="66" y="82"/>
                    </a:moveTo>
                    <a:lnTo>
                      <a:pt x="67" y="81"/>
                    </a:lnTo>
                    <a:lnTo>
                      <a:pt x="67" y="83"/>
                    </a:lnTo>
                    <a:lnTo>
                      <a:pt x="68" y="83"/>
                    </a:lnTo>
                    <a:lnTo>
                      <a:pt x="68" y="80"/>
                    </a:lnTo>
                    <a:lnTo>
                      <a:pt x="67" y="78"/>
                    </a:lnTo>
                    <a:lnTo>
                      <a:pt x="64" y="78"/>
                    </a:lnTo>
                    <a:lnTo>
                      <a:pt x="62" y="79"/>
                    </a:lnTo>
                    <a:lnTo>
                      <a:pt x="62" y="78"/>
                    </a:lnTo>
                    <a:lnTo>
                      <a:pt x="64" y="75"/>
                    </a:lnTo>
                    <a:lnTo>
                      <a:pt x="61" y="71"/>
                    </a:lnTo>
                    <a:lnTo>
                      <a:pt x="61" y="70"/>
                    </a:lnTo>
                    <a:lnTo>
                      <a:pt x="60" y="70"/>
                    </a:lnTo>
                    <a:lnTo>
                      <a:pt x="59" y="67"/>
                    </a:lnTo>
                    <a:lnTo>
                      <a:pt x="53" y="67"/>
                    </a:lnTo>
                    <a:lnTo>
                      <a:pt x="50" y="69"/>
                    </a:lnTo>
                    <a:lnTo>
                      <a:pt x="47" y="67"/>
                    </a:lnTo>
                    <a:lnTo>
                      <a:pt x="45" y="71"/>
                    </a:lnTo>
                    <a:lnTo>
                      <a:pt x="43" y="71"/>
                    </a:lnTo>
                    <a:lnTo>
                      <a:pt x="43" y="70"/>
                    </a:lnTo>
                    <a:lnTo>
                      <a:pt x="45" y="69"/>
                    </a:lnTo>
                    <a:lnTo>
                      <a:pt x="45" y="66"/>
                    </a:lnTo>
                    <a:lnTo>
                      <a:pt x="42" y="65"/>
                    </a:lnTo>
                    <a:lnTo>
                      <a:pt x="40" y="66"/>
                    </a:lnTo>
                    <a:lnTo>
                      <a:pt x="40" y="66"/>
                    </a:lnTo>
                    <a:lnTo>
                      <a:pt x="41" y="69"/>
                    </a:lnTo>
                    <a:lnTo>
                      <a:pt x="38" y="71"/>
                    </a:lnTo>
                    <a:lnTo>
                      <a:pt x="38" y="71"/>
                    </a:lnTo>
                    <a:lnTo>
                      <a:pt x="37" y="69"/>
                    </a:lnTo>
                    <a:lnTo>
                      <a:pt x="35" y="69"/>
                    </a:lnTo>
                    <a:lnTo>
                      <a:pt x="29" y="69"/>
                    </a:lnTo>
                    <a:lnTo>
                      <a:pt x="27" y="71"/>
                    </a:lnTo>
                    <a:lnTo>
                      <a:pt x="28" y="74"/>
                    </a:lnTo>
                    <a:lnTo>
                      <a:pt x="26" y="75"/>
                    </a:lnTo>
                    <a:lnTo>
                      <a:pt x="24" y="79"/>
                    </a:lnTo>
                    <a:lnTo>
                      <a:pt x="32" y="79"/>
                    </a:lnTo>
                    <a:lnTo>
                      <a:pt x="30" y="81"/>
                    </a:lnTo>
                    <a:lnTo>
                      <a:pt x="29" y="81"/>
                    </a:lnTo>
                    <a:lnTo>
                      <a:pt x="28" y="81"/>
                    </a:lnTo>
                    <a:lnTo>
                      <a:pt x="24" y="83"/>
                    </a:lnTo>
                    <a:lnTo>
                      <a:pt x="26" y="87"/>
                    </a:lnTo>
                    <a:lnTo>
                      <a:pt x="20" y="84"/>
                    </a:lnTo>
                    <a:lnTo>
                      <a:pt x="18" y="88"/>
                    </a:lnTo>
                    <a:lnTo>
                      <a:pt x="17" y="87"/>
                    </a:lnTo>
                    <a:lnTo>
                      <a:pt x="15" y="84"/>
                    </a:lnTo>
                    <a:lnTo>
                      <a:pt x="11" y="84"/>
                    </a:lnTo>
                    <a:lnTo>
                      <a:pt x="9" y="86"/>
                    </a:lnTo>
                    <a:lnTo>
                      <a:pt x="6" y="84"/>
                    </a:lnTo>
                    <a:lnTo>
                      <a:pt x="6" y="87"/>
                    </a:lnTo>
                    <a:lnTo>
                      <a:pt x="7" y="87"/>
                    </a:lnTo>
                    <a:lnTo>
                      <a:pt x="7" y="89"/>
                    </a:lnTo>
                    <a:lnTo>
                      <a:pt x="7" y="92"/>
                    </a:lnTo>
                    <a:lnTo>
                      <a:pt x="9" y="92"/>
                    </a:lnTo>
                    <a:lnTo>
                      <a:pt x="11" y="95"/>
                    </a:lnTo>
                    <a:lnTo>
                      <a:pt x="9" y="95"/>
                    </a:lnTo>
                    <a:lnTo>
                      <a:pt x="7" y="97"/>
                    </a:lnTo>
                    <a:lnTo>
                      <a:pt x="10" y="98"/>
                    </a:lnTo>
                    <a:lnTo>
                      <a:pt x="6" y="98"/>
                    </a:lnTo>
                    <a:lnTo>
                      <a:pt x="6" y="99"/>
                    </a:lnTo>
                    <a:lnTo>
                      <a:pt x="3" y="99"/>
                    </a:lnTo>
                    <a:lnTo>
                      <a:pt x="6" y="101"/>
                    </a:lnTo>
                    <a:lnTo>
                      <a:pt x="9" y="104"/>
                    </a:lnTo>
                    <a:lnTo>
                      <a:pt x="11" y="101"/>
                    </a:lnTo>
                    <a:lnTo>
                      <a:pt x="13" y="105"/>
                    </a:lnTo>
                    <a:lnTo>
                      <a:pt x="18" y="104"/>
                    </a:lnTo>
                    <a:lnTo>
                      <a:pt x="19" y="106"/>
                    </a:lnTo>
                    <a:lnTo>
                      <a:pt x="18" y="107"/>
                    </a:lnTo>
                    <a:lnTo>
                      <a:pt x="16" y="106"/>
                    </a:lnTo>
                    <a:lnTo>
                      <a:pt x="13" y="109"/>
                    </a:lnTo>
                    <a:lnTo>
                      <a:pt x="13" y="112"/>
                    </a:lnTo>
                    <a:lnTo>
                      <a:pt x="8" y="117"/>
                    </a:lnTo>
                    <a:lnTo>
                      <a:pt x="12" y="116"/>
                    </a:lnTo>
                    <a:lnTo>
                      <a:pt x="18" y="116"/>
                    </a:lnTo>
                    <a:lnTo>
                      <a:pt x="20" y="113"/>
                    </a:lnTo>
                    <a:lnTo>
                      <a:pt x="20" y="115"/>
                    </a:lnTo>
                    <a:lnTo>
                      <a:pt x="23" y="115"/>
                    </a:lnTo>
                    <a:lnTo>
                      <a:pt x="20" y="115"/>
                    </a:lnTo>
                    <a:lnTo>
                      <a:pt x="13" y="117"/>
                    </a:lnTo>
                    <a:lnTo>
                      <a:pt x="8" y="121"/>
                    </a:lnTo>
                    <a:lnTo>
                      <a:pt x="9" y="123"/>
                    </a:lnTo>
                    <a:lnTo>
                      <a:pt x="2" y="123"/>
                    </a:lnTo>
                    <a:lnTo>
                      <a:pt x="0" y="125"/>
                    </a:lnTo>
                    <a:lnTo>
                      <a:pt x="6" y="125"/>
                    </a:lnTo>
                    <a:lnTo>
                      <a:pt x="9" y="125"/>
                    </a:lnTo>
                    <a:lnTo>
                      <a:pt x="6" y="126"/>
                    </a:lnTo>
                    <a:lnTo>
                      <a:pt x="2" y="128"/>
                    </a:lnTo>
                    <a:lnTo>
                      <a:pt x="0" y="130"/>
                    </a:lnTo>
                    <a:lnTo>
                      <a:pt x="3" y="131"/>
                    </a:lnTo>
                    <a:lnTo>
                      <a:pt x="6" y="131"/>
                    </a:lnTo>
                    <a:lnTo>
                      <a:pt x="10" y="131"/>
                    </a:lnTo>
                    <a:lnTo>
                      <a:pt x="6" y="133"/>
                    </a:lnTo>
                    <a:lnTo>
                      <a:pt x="6" y="134"/>
                    </a:lnTo>
                    <a:lnTo>
                      <a:pt x="8" y="133"/>
                    </a:lnTo>
                    <a:lnTo>
                      <a:pt x="13" y="133"/>
                    </a:lnTo>
                    <a:lnTo>
                      <a:pt x="8" y="135"/>
                    </a:lnTo>
                    <a:lnTo>
                      <a:pt x="11" y="137"/>
                    </a:lnTo>
                    <a:lnTo>
                      <a:pt x="13" y="135"/>
                    </a:lnTo>
                    <a:lnTo>
                      <a:pt x="16" y="137"/>
                    </a:lnTo>
                    <a:lnTo>
                      <a:pt x="28" y="132"/>
                    </a:lnTo>
                    <a:lnTo>
                      <a:pt x="27" y="130"/>
                    </a:lnTo>
                    <a:lnTo>
                      <a:pt x="29" y="130"/>
                    </a:lnTo>
                    <a:lnTo>
                      <a:pt x="30" y="131"/>
                    </a:lnTo>
                    <a:lnTo>
                      <a:pt x="33" y="131"/>
                    </a:lnTo>
                    <a:lnTo>
                      <a:pt x="35" y="128"/>
                    </a:lnTo>
                    <a:lnTo>
                      <a:pt x="37" y="129"/>
                    </a:lnTo>
                    <a:lnTo>
                      <a:pt x="38" y="125"/>
                    </a:lnTo>
                    <a:lnTo>
                      <a:pt x="40" y="125"/>
                    </a:lnTo>
                    <a:lnTo>
                      <a:pt x="43" y="125"/>
                    </a:lnTo>
                    <a:lnTo>
                      <a:pt x="44" y="125"/>
                    </a:lnTo>
                    <a:lnTo>
                      <a:pt x="46" y="122"/>
                    </a:lnTo>
                    <a:lnTo>
                      <a:pt x="47" y="125"/>
                    </a:lnTo>
                    <a:lnTo>
                      <a:pt x="50" y="123"/>
                    </a:lnTo>
                    <a:lnTo>
                      <a:pt x="53" y="124"/>
                    </a:lnTo>
                    <a:lnTo>
                      <a:pt x="55" y="124"/>
                    </a:lnTo>
                    <a:lnTo>
                      <a:pt x="54" y="121"/>
                    </a:lnTo>
                    <a:lnTo>
                      <a:pt x="55" y="121"/>
                    </a:lnTo>
                    <a:lnTo>
                      <a:pt x="58" y="116"/>
                    </a:lnTo>
                    <a:lnTo>
                      <a:pt x="59" y="113"/>
                    </a:lnTo>
                    <a:lnTo>
                      <a:pt x="60" y="111"/>
                    </a:lnTo>
                    <a:lnTo>
                      <a:pt x="60" y="108"/>
                    </a:lnTo>
                    <a:lnTo>
                      <a:pt x="59" y="105"/>
                    </a:lnTo>
                    <a:lnTo>
                      <a:pt x="58" y="103"/>
                    </a:lnTo>
                    <a:lnTo>
                      <a:pt x="59" y="101"/>
                    </a:lnTo>
                    <a:lnTo>
                      <a:pt x="59" y="100"/>
                    </a:lnTo>
                    <a:lnTo>
                      <a:pt x="59" y="100"/>
                    </a:lnTo>
                    <a:lnTo>
                      <a:pt x="56" y="96"/>
                    </a:lnTo>
                    <a:lnTo>
                      <a:pt x="56" y="94"/>
                    </a:lnTo>
                    <a:lnTo>
                      <a:pt x="55" y="91"/>
                    </a:lnTo>
                    <a:lnTo>
                      <a:pt x="56" y="88"/>
                    </a:lnTo>
                    <a:lnTo>
                      <a:pt x="60" y="89"/>
                    </a:lnTo>
                    <a:lnTo>
                      <a:pt x="62" y="87"/>
                    </a:lnTo>
                    <a:lnTo>
                      <a:pt x="67" y="83"/>
                    </a:lnTo>
                    <a:lnTo>
                      <a:pt x="66" y="8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25" name="Freeform 91">
                <a:extLst>
                  <a:ext uri="{FF2B5EF4-FFF2-40B4-BE49-F238E27FC236}">
                    <a16:creationId xmlns:a16="http://schemas.microsoft.com/office/drawing/2014/main" id="{70597AA3-E3E8-4499-9972-B87FD97F8A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18" y="1954"/>
                <a:ext cx="15" cy="11"/>
              </a:xfrm>
              <a:custGeom>
                <a:avLst/>
                <a:gdLst>
                  <a:gd name="T0" fmla="*/ 4 w 15"/>
                  <a:gd name="T1" fmla="*/ 7 h 11"/>
                  <a:gd name="T2" fmla="*/ 9 w 15"/>
                  <a:gd name="T3" fmla="*/ 11 h 11"/>
                  <a:gd name="T4" fmla="*/ 12 w 15"/>
                  <a:gd name="T5" fmla="*/ 10 h 11"/>
                  <a:gd name="T6" fmla="*/ 14 w 15"/>
                  <a:gd name="T7" fmla="*/ 10 h 11"/>
                  <a:gd name="T8" fmla="*/ 15 w 15"/>
                  <a:gd name="T9" fmla="*/ 9 h 11"/>
                  <a:gd name="T10" fmla="*/ 15 w 15"/>
                  <a:gd name="T11" fmla="*/ 5 h 11"/>
                  <a:gd name="T12" fmla="*/ 12 w 15"/>
                  <a:gd name="T13" fmla="*/ 0 h 11"/>
                  <a:gd name="T14" fmla="*/ 12 w 15"/>
                  <a:gd name="T15" fmla="*/ 2 h 11"/>
                  <a:gd name="T16" fmla="*/ 9 w 15"/>
                  <a:gd name="T17" fmla="*/ 3 h 11"/>
                  <a:gd name="T18" fmla="*/ 9 w 15"/>
                  <a:gd name="T19" fmla="*/ 1 h 11"/>
                  <a:gd name="T20" fmla="*/ 6 w 15"/>
                  <a:gd name="T21" fmla="*/ 0 h 11"/>
                  <a:gd name="T22" fmla="*/ 3 w 15"/>
                  <a:gd name="T23" fmla="*/ 2 h 11"/>
                  <a:gd name="T24" fmla="*/ 0 w 15"/>
                  <a:gd name="T25" fmla="*/ 2 h 11"/>
                  <a:gd name="T26" fmla="*/ 4 w 15"/>
                  <a:gd name="T27" fmla="*/ 9 h 11"/>
                  <a:gd name="T28" fmla="*/ 4 w 15"/>
                  <a:gd name="T29" fmla="*/ 7 h 11"/>
                  <a:gd name="T30" fmla="*/ 4 w 15"/>
                  <a:gd name="T31" fmla="*/ 7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5" h="11">
                    <a:moveTo>
                      <a:pt x="4" y="7"/>
                    </a:moveTo>
                    <a:lnTo>
                      <a:pt x="9" y="11"/>
                    </a:lnTo>
                    <a:lnTo>
                      <a:pt x="12" y="10"/>
                    </a:lnTo>
                    <a:lnTo>
                      <a:pt x="14" y="10"/>
                    </a:lnTo>
                    <a:lnTo>
                      <a:pt x="15" y="9"/>
                    </a:lnTo>
                    <a:lnTo>
                      <a:pt x="15" y="5"/>
                    </a:lnTo>
                    <a:lnTo>
                      <a:pt x="12" y="0"/>
                    </a:lnTo>
                    <a:lnTo>
                      <a:pt x="12" y="2"/>
                    </a:lnTo>
                    <a:lnTo>
                      <a:pt x="9" y="3"/>
                    </a:lnTo>
                    <a:lnTo>
                      <a:pt x="9" y="1"/>
                    </a:lnTo>
                    <a:lnTo>
                      <a:pt x="6" y="0"/>
                    </a:lnTo>
                    <a:lnTo>
                      <a:pt x="3" y="2"/>
                    </a:lnTo>
                    <a:lnTo>
                      <a:pt x="0" y="2"/>
                    </a:lnTo>
                    <a:lnTo>
                      <a:pt x="4" y="9"/>
                    </a:lnTo>
                    <a:lnTo>
                      <a:pt x="4" y="7"/>
                    </a:lnTo>
                    <a:lnTo>
                      <a:pt x="4" y="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26" name="Freeform 92">
                <a:extLst>
                  <a:ext uri="{FF2B5EF4-FFF2-40B4-BE49-F238E27FC236}">
                    <a16:creationId xmlns:a16="http://schemas.microsoft.com/office/drawing/2014/main" id="{EA3EE0C3-36EC-46C4-BF50-A8B2149E9F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4" y="1945"/>
                <a:ext cx="24" cy="28"/>
              </a:xfrm>
              <a:custGeom>
                <a:avLst/>
                <a:gdLst>
                  <a:gd name="T0" fmla="*/ 13 w 24"/>
                  <a:gd name="T1" fmla="*/ 24 h 28"/>
                  <a:gd name="T2" fmla="*/ 11 w 24"/>
                  <a:gd name="T3" fmla="*/ 23 h 28"/>
                  <a:gd name="T4" fmla="*/ 7 w 24"/>
                  <a:gd name="T5" fmla="*/ 23 h 28"/>
                  <a:gd name="T6" fmla="*/ 5 w 24"/>
                  <a:gd name="T7" fmla="*/ 21 h 28"/>
                  <a:gd name="T8" fmla="*/ 2 w 24"/>
                  <a:gd name="T9" fmla="*/ 22 h 28"/>
                  <a:gd name="T10" fmla="*/ 1 w 24"/>
                  <a:gd name="T11" fmla="*/ 24 h 28"/>
                  <a:gd name="T12" fmla="*/ 8 w 24"/>
                  <a:gd name="T13" fmla="*/ 28 h 28"/>
                  <a:gd name="T14" fmla="*/ 10 w 24"/>
                  <a:gd name="T15" fmla="*/ 27 h 28"/>
                  <a:gd name="T16" fmla="*/ 13 w 24"/>
                  <a:gd name="T17" fmla="*/ 24 h 28"/>
                  <a:gd name="T18" fmla="*/ 14 w 24"/>
                  <a:gd name="T19" fmla="*/ 26 h 28"/>
                  <a:gd name="T20" fmla="*/ 14 w 24"/>
                  <a:gd name="T21" fmla="*/ 28 h 28"/>
                  <a:gd name="T22" fmla="*/ 15 w 24"/>
                  <a:gd name="T23" fmla="*/ 28 h 28"/>
                  <a:gd name="T24" fmla="*/ 16 w 24"/>
                  <a:gd name="T25" fmla="*/ 22 h 28"/>
                  <a:gd name="T26" fmla="*/ 14 w 24"/>
                  <a:gd name="T27" fmla="*/ 20 h 28"/>
                  <a:gd name="T28" fmla="*/ 17 w 24"/>
                  <a:gd name="T29" fmla="*/ 21 h 28"/>
                  <a:gd name="T30" fmla="*/ 16 w 24"/>
                  <a:gd name="T31" fmla="*/ 18 h 28"/>
                  <a:gd name="T32" fmla="*/ 18 w 24"/>
                  <a:gd name="T33" fmla="*/ 15 h 28"/>
                  <a:gd name="T34" fmla="*/ 20 w 24"/>
                  <a:gd name="T35" fmla="*/ 15 h 28"/>
                  <a:gd name="T36" fmla="*/ 18 w 24"/>
                  <a:gd name="T37" fmla="*/ 10 h 28"/>
                  <a:gd name="T38" fmla="*/ 22 w 24"/>
                  <a:gd name="T39" fmla="*/ 9 h 28"/>
                  <a:gd name="T40" fmla="*/ 23 w 24"/>
                  <a:gd name="T41" fmla="*/ 6 h 28"/>
                  <a:gd name="T42" fmla="*/ 23 w 24"/>
                  <a:gd name="T43" fmla="*/ 2 h 28"/>
                  <a:gd name="T44" fmla="*/ 24 w 24"/>
                  <a:gd name="T45" fmla="*/ 1 h 28"/>
                  <a:gd name="T46" fmla="*/ 20 w 24"/>
                  <a:gd name="T47" fmla="*/ 0 h 28"/>
                  <a:gd name="T48" fmla="*/ 18 w 24"/>
                  <a:gd name="T49" fmla="*/ 0 h 28"/>
                  <a:gd name="T50" fmla="*/ 15 w 24"/>
                  <a:gd name="T51" fmla="*/ 1 h 28"/>
                  <a:gd name="T52" fmla="*/ 16 w 24"/>
                  <a:gd name="T53" fmla="*/ 5 h 28"/>
                  <a:gd name="T54" fmla="*/ 15 w 24"/>
                  <a:gd name="T55" fmla="*/ 6 h 28"/>
                  <a:gd name="T56" fmla="*/ 15 w 24"/>
                  <a:gd name="T57" fmla="*/ 4 h 28"/>
                  <a:gd name="T58" fmla="*/ 11 w 24"/>
                  <a:gd name="T59" fmla="*/ 7 h 28"/>
                  <a:gd name="T60" fmla="*/ 10 w 24"/>
                  <a:gd name="T61" fmla="*/ 5 h 28"/>
                  <a:gd name="T62" fmla="*/ 11 w 24"/>
                  <a:gd name="T63" fmla="*/ 2 h 28"/>
                  <a:gd name="T64" fmla="*/ 6 w 24"/>
                  <a:gd name="T65" fmla="*/ 2 h 28"/>
                  <a:gd name="T66" fmla="*/ 8 w 24"/>
                  <a:gd name="T67" fmla="*/ 4 h 28"/>
                  <a:gd name="T68" fmla="*/ 6 w 24"/>
                  <a:gd name="T69" fmla="*/ 6 h 28"/>
                  <a:gd name="T70" fmla="*/ 0 w 24"/>
                  <a:gd name="T71" fmla="*/ 6 h 28"/>
                  <a:gd name="T72" fmla="*/ 2 w 24"/>
                  <a:gd name="T73" fmla="*/ 9 h 28"/>
                  <a:gd name="T74" fmla="*/ 4 w 24"/>
                  <a:gd name="T75" fmla="*/ 11 h 28"/>
                  <a:gd name="T76" fmla="*/ 2 w 24"/>
                  <a:gd name="T77" fmla="*/ 14 h 28"/>
                  <a:gd name="T78" fmla="*/ 4 w 24"/>
                  <a:gd name="T79" fmla="*/ 14 h 28"/>
                  <a:gd name="T80" fmla="*/ 6 w 24"/>
                  <a:gd name="T81" fmla="*/ 16 h 28"/>
                  <a:gd name="T82" fmla="*/ 11 w 24"/>
                  <a:gd name="T83" fmla="*/ 16 h 28"/>
                  <a:gd name="T84" fmla="*/ 10 w 24"/>
                  <a:gd name="T85" fmla="*/ 19 h 28"/>
                  <a:gd name="T86" fmla="*/ 14 w 24"/>
                  <a:gd name="T87" fmla="*/ 20 h 28"/>
                  <a:gd name="T88" fmla="*/ 11 w 24"/>
                  <a:gd name="T89" fmla="*/ 23 h 28"/>
                  <a:gd name="T90" fmla="*/ 13 w 24"/>
                  <a:gd name="T91" fmla="*/ 24 h 28"/>
                  <a:gd name="T92" fmla="*/ 13 w 24"/>
                  <a:gd name="T93" fmla="*/ 2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4" h="28">
                    <a:moveTo>
                      <a:pt x="13" y="24"/>
                    </a:moveTo>
                    <a:lnTo>
                      <a:pt x="11" y="23"/>
                    </a:lnTo>
                    <a:lnTo>
                      <a:pt x="7" y="23"/>
                    </a:lnTo>
                    <a:lnTo>
                      <a:pt x="5" y="21"/>
                    </a:lnTo>
                    <a:lnTo>
                      <a:pt x="2" y="22"/>
                    </a:lnTo>
                    <a:lnTo>
                      <a:pt x="1" y="24"/>
                    </a:lnTo>
                    <a:lnTo>
                      <a:pt x="8" y="28"/>
                    </a:lnTo>
                    <a:lnTo>
                      <a:pt x="10" y="27"/>
                    </a:lnTo>
                    <a:lnTo>
                      <a:pt x="13" y="24"/>
                    </a:lnTo>
                    <a:lnTo>
                      <a:pt x="14" y="26"/>
                    </a:lnTo>
                    <a:lnTo>
                      <a:pt x="14" y="28"/>
                    </a:lnTo>
                    <a:lnTo>
                      <a:pt x="15" y="28"/>
                    </a:lnTo>
                    <a:lnTo>
                      <a:pt x="16" y="22"/>
                    </a:lnTo>
                    <a:lnTo>
                      <a:pt x="14" y="20"/>
                    </a:lnTo>
                    <a:lnTo>
                      <a:pt x="17" y="21"/>
                    </a:lnTo>
                    <a:lnTo>
                      <a:pt x="16" y="18"/>
                    </a:lnTo>
                    <a:lnTo>
                      <a:pt x="18" y="15"/>
                    </a:lnTo>
                    <a:lnTo>
                      <a:pt x="20" y="15"/>
                    </a:lnTo>
                    <a:lnTo>
                      <a:pt x="18" y="10"/>
                    </a:lnTo>
                    <a:lnTo>
                      <a:pt x="22" y="9"/>
                    </a:lnTo>
                    <a:lnTo>
                      <a:pt x="23" y="6"/>
                    </a:lnTo>
                    <a:lnTo>
                      <a:pt x="23" y="2"/>
                    </a:lnTo>
                    <a:lnTo>
                      <a:pt x="24" y="1"/>
                    </a:lnTo>
                    <a:lnTo>
                      <a:pt x="20" y="0"/>
                    </a:lnTo>
                    <a:lnTo>
                      <a:pt x="18" y="0"/>
                    </a:lnTo>
                    <a:lnTo>
                      <a:pt x="15" y="1"/>
                    </a:lnTo>
                    <a:lnTo>
                      <a:pt x="16" y="5"/>
                    </a:lnTo>
                    <a:lnTo>
                      <a:pt x="15" y="6"/>
                    </a:lnTo>
                    <a:lnTo>
                      <a:pt x="15" y="4"/>
                    </a:lnTo>
                    <a:lnTo>
                      <a:pt x="11" y="7"/>
                    </a:lnTo>
                    <a:lnTo>
                      <a:pt x="10" y="5"/>
                    </a:lnTo>
                    <a:lnTo>
                      <a:pt x="11" y="2"/>
                    </a:lnTo>
                    <a:lnTo>
                      <a:pt x="6" y="2"/>
                    </a:lnTo>
                    <a:lnTo>
                      <a:pt x="8" y="4"/>
                    </a:lnTo>
                    <a:lnTo>
                      <a:pt x="6" y="6"/>
                    </a:lnTo>
                    <a:lnTo>
                      <a:pt x="0" y="6"/>
                    </a:lnTo>
                    <a:lnTo>
                      <a:pt x="2" y="9"/>
                    </a:lnTo>
                    <a:lnTo>
                      <a:pt x="4" y="11"/>
                    </a:lnTo>
                    <a:lnTo>
                      <a:pt x="2" y="14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11" y="16"/>
                    </a:lnTo>
                    <a:lnTo>
                      <a:pt x="10" y="19"/>
                    </a:lnTo>
                    <a:lnTo>
                      <a:pt x="14" y="20"/>
                    </a:lnTo>
                    <a:lnTo>
                      <a:pt x="11" y="23"/>
                    </a:lnTo>
                    <a:lnTo>
                      <a:pt x="13" y="24"/>
                    </a:lnTo>
                    <a:lnTo>
                      <a:pt x="13" y="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27" name="Freeform 93">
                <a:extLst>
                  <a:ext uri="{FF2B5EF4-FFF2-40B4-BE49-F238E27FC236}">
                    <a16:creationId xmlns:a16="http://schemas.microsoft.com/office/drawing/2014/main" id="{177F0E4E-8EAB-4859-A1E8-6535D6FBFD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33" y="1908"/>
                <a:ext cx="12" cy="21"/>
              </a:xfrm>
              <a:custGeom>
                <a:avLst/>
                <a:gdLst>
                  <a:gd name="T0" fmla="*/ 3 w 12"/>
                  <a:gd name="T1" fmla="*/ 18 h 21"/>
                  <a:gd name="T2" fmla="*/ 3 w 12"/>
                  <a:gd name="T3" fmla="*/ 17 h 21"/>
                  <a:gd name="T4" fmla="*/ 6 w 12"/>
                  <a:gd name="T5" fmla="*/ 15 h 21"/>
                  <a:gd name="T6" fmla="*/ 8 w 12"/>
                  <a:gd name="T7" fmla="*/ 13 h 21"/>
                  <a:gd name="T8" fmla="*/ 9 w 12"/>
                  <a:gd name="T9" fmla="*/ 9 h 21"/>
                  <a:gd name="T10" fmla="*/ 9 w 12"/>
                  <a:gd name="T11" fmla="*/ 5 h 21"/>
                  <a:gd name="T12" fmla="*/ 12 w 12"/>
                  <a:gd name="T13" fmla="*/ 4 h 21"/>
                  <a:gd name="T14" fmla="*/ 12 w 12"/>
                  <a:gd name="T15" fmla="*/ 0 h 21"/>
                  <a:gd name="T16" fmla="*/ 9 w 12"/>
                  <a:gd name="T17" fmla="*/ 3 h 21"/>
                  <a:gd name="T18" fmla="*/ 6 w 12"/>
                  <a:gd name="T19" fmla="*/ 3 h 21"/>
                  <a:gd name="T20" fmla="*/ 4 w 12"/>
                  <a:gd name="T21" fmla="*/ 4 h 21"/>
                  <a:gd name="T22" fmla="*/ 1 w 12"/>
                  <a:gd name="T23" fmla="*/ 7 h 21"/>
                  <a:gd name="T24" fmla="*/ 0 w 12"/>
                  <a:gd name="T25" fmla="*/ 9 h 21"/>
                  <a:gd name="T26" fmla="*/ 1 w 12"/>
                  <a:gd name="T27" fmla="*/ 13 h 21"/>
                  <a:gd name="T28" fmla="*/ 1 w 12"/>
                  <a:gd name="T29" fmla="*/ 15 h 21"/>
                  <a:gd name="T30" fmla="*/ 2 w 12"/>
                  <a:gd name="T31" fmla="*/ 17 h 21"/>
                  <a:gd name="T32" fmla="*/ 1 w 12"/>
                  <a:gd name="T33" fmla="*/ 21 h 21"/>
                  <a:gd name="T34" fmla="*/ 3 w 12"/>
                  <a:gd name="T35" fmla="*/ 18 h 21"/>
                  <a:gd name="T36" fmla="*/ 3 w 12"/>
                  <a:gd name="T37" fmla="*/ 18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2" h="21">
                    <a:moveTo>
                      <a:pt x="3" y="18"/>
                    </a:moveTo>
                    <a:lnTo>
                      <a:pt x="3" y="17"/>
                    </a:lnTo>
                    <a:lnTo>
                      <a:pt x="6" y="15"/>
                    </a:lnTo>
                    <a:lnTo>
                      <a:pt x="8" y="13"/>
                    </a:lnTo>
                    <a:lnTo>
                      <a:pt x="9" y="9"/>
                    </a:lnTo>
                    <a:lnTo>
                      <a:pt x="9" y="5"/>
                    </a:lnTo>
                    <a:lnTo>
                      <a:pt x="12" y="4"/>
                    </a:lnTo>
                    <a:lnTo>
                      <a:pt x="12" y="0"/>
                    </a:lnTo>
                    <a:lnTo>
                      <a:pt x="9" y="3"/>
                    </a:lnTo>
                    <a:lnTo>
                      <a:pt x="6" y="3"/>
                    </a:lnTo>
                    <a:lnTo>
                      <a:pt x="4" y="4"/>
                    </a:lnTo>
                    <a:lnTo>
                      <a:pt x="1" y="7"/>
                    </a:lnTo>
                    <a:lnTo>
                      <a:pt x="0" y="9"/>
                    </a:lnTo>
                    <a:lnTo>
                      <a:pt x="1" y="13"/>
                    </a:lnTo>
                    <a:lnTo>
                      <a:pt x="1" y="15"/>
                    </a:lnTo>
                    <a:lnTo>
                      <a:pt x="2" y="17"/>
                    </a:lnTo>
                    <a:lnTo>
                      <a:pt x="1" y="21"/>
                    </a:lnTo>
                    <a:lnTo>
                      <a:pt x="3" y="18"/>
                    </a:lnTo>
                    <a:lnTo>
                      <a:pt x="3" y="1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28" name="Freeform 94">
                <a:extLst>
                  <a:ext uri="{FF2B5EF4-FFF2-40B4-BE49-F238E27FC236}">
                    <a16:creationId xmlns:a16="http://schemas.microsoft.com/office/drawing/2014/main" id="{2198F8DE-799A-48A3-A081-BA0F82D08E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5" y="1895"/>
                <a:ext cx="18" cy="14"/>
              </a:xfrm>
              <a:custGeom>
                <a:avLst/>
                <a:gdLst>
                  <a:gd name="T0" fmla="*/ 1 w 18"/>
                  <a:gd name="T1" fmla="*/ 14 h 14"/>
                  <a:gd name="T2" fmla="*/ 4 w 18"/>
                  <a:gd name="T3" fmla="*/ 11 h 14"/>
                  <a:gd name="T4" fmla="*/ 4 w 18"/>
                  <a:gd name="T5" fmla="*/ 9 h 14"/>
                  <a:gd name="T6" fmla="*/ 8 w 18"/>
                  <a:gd name="T7" fmla="*/ 8 h 14"/>
                  <a:gd name="T8" fmla="*/ 10 w 18"/>
                  <a:gd name="T9" fmla="*/ 8 h 14"/>
                  <a:gd name="T10" fmla="*/ 16 w 18"/>
                  <a:gd name="T11" fmla="*/ 4 h 14"/>
                  <a:gd name="T12" fmla="*/ 18 w 18"/>
                  <a:gd name="T13" fmla="*/ 3 h 14"/>
                  <a:gd name="T14" fmla="*/ 17 w 18"/>
                  <a:gd name="T15" fmla="*/ 1 h 14"/>
                  <a:gd name="T16" fmla="*/ 13 w 18"/>
                  <a:gd name="T17" fmla="*/ 0 h 14"/>
                  <a:gd name="T18" fmla="*/ 11 w 18"/>
                  <a:gd name="T19" fmla="*/ 1 h 14"/>
                  <a:gd name="T20" fmla="*/ 8 w 18"/>
                  <a:gd name="T21" fmla="*/ 0 h 14"/>
                  <a:gd name="T22" fmla="*/ 5 w 18"/>
                  <a:gd name="T23" fmla="*/ 1 h 14"/>
                  <a:gd name="T24" fmla="*/ 3 w 18"/>
                  <a:gd name="T25" fmla="*/ 2 h 14"/>
                  <a:gd name="T26" fmla="*/ 0 w 18"/>
                  <a:gd name="T27" fmla="*/ 2 h 14"/>
                  <a:gd name="T28" fmla="*/ 1 w 18"/>
                  <a:gd name="T29" fmla="*/ 4 h 14"/>
                  <a:gd name="T30" fmla="*/ 0 w 18"/>
                  <a:gd name="T31" fmla="*/ 8 h 14"/>
                  <a:gd name="T32" fmla="*/ 2 w 18"/>
                  <a:gd name="T33" fmla="*/ 9 h 14"/>
                  <a:gd name="T34" fmla="*/ 1 w 18"/>
                  <a:gd name="T35" fmla="*/ 14 h 14"/>
                  <a:gd name="T36" fmla="*/ 1 w 18"/>
                  <a:gd name="T37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8" h="14">
                    <a:moveTo>
                      <a:pt x="1" y="14"/>
                    </a:moveTo>
                    <a:lnTo>
                      <a:pt x="4" y="11"/>
                    </a:lnTo>
                    <a:lnTo>
                      <a:pt x="4" y="9"/>
                    </a:lnTo>
                    <a:lnTo>
                      <a:pt x="8" y="8"/>
                    </a:lnTo>
                    <a:lnTo>
                      <a:pt x="10" y="8"/>
                    </a:lnTo>
                    <a:lnTo>
                      <a:pt x="16" y="4"/>
                    </a:lnTo>
                    <a:lnTo>
                      <a:pt x="18" y="3"/>
                    </a:lnTo>
                    <a:lnTo>
                      <a:pt x="17" y="1"/>
                    </a:lnTo>
                    <a:lnTo>
                      <a:pt x="13" y="0"/>
                    </a:lnTo>
                    <a:lnTo>
                      <a:pt x="11" y="1"/>
                    </a:lnTo>
                    <a:lnTo>
                      <a:pt x="8" y="0"/>
                    </a:lnTo>
                    <a:lnTo>
                      <a:pt x="5" y="1"/>
                    </a:lnTo>
                    <a:lnTo>
                      <a:pt x="3" y="2"/>
                    </a:lnTo>
                    <a:lnTo>
                      <a:pt x="0" y="2"/>
                    </a:lnTo>
                    <a:lnTo>
                      <a:pt x="1" y="4"/>
                    </a:lnTo>
                    <a:lnTo>
                      <a:pt x="0" y="8"/>
                    </a:lnTo>
                    <a:lnTo>
                      <a:pt x="2" y="9"/>
                    </a:lnTo>
                    <a:lnTo>
                      <a:pt x="1" y="14"/>
                    </a:lnTo>
                    <a:lnTo>
                      <a:pt x="1" y="1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29" name="Freeform 95">
                <a:extLst>
                  <a:ext uri="{FF2B5EF4-FFF2-40B4-BE49-F238E27FC236}">
                    <a16:creationId xmlns:a16="http://schemas.microsoft.com/office/drawing/2014/main" id="{6BA6FA1D-8393-45DF-8AF6-7133BA5CBE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" y="1886"/>
                <a:ext cx="12" cy="8"/>
              </a:xfrm>
              <a:custGeom>
                <a:avLst/>
                <a:gdLst>
                  <a:gd name="T0" fmla="*/ 8 w 12"/>
                  <a:gd name="T1" fmla="*/ 0 h 8"/>
                  <a:gd name="T2" fmla="*/ 6 w 12"/>
                  <a:gd name="T3" fmla="*/ 2 h 8"/>
                  <a:gd name="T4" fmla="*/ 0 w 12"/>
                  <a:gd name="T5" fmla="*/ 3 h 8"/>
                  <a:gd name="T6" fmla="*/ 6 w 12"/>
                  <a:gd name="T7" fmla="*/ 4 h 8"/>
                  <a:gd name="T8" fmla="*/ 7 w 12"/>
                  <a:gd name="T9" fmla="*/ 8 h 8"/>
                  <a:gd name="T10" fmla="*/ 12 w 12"/>
                  <a:gd name="T11" fmla="*/ 4 h 8"/>
                  <a:gd name="T12" fmla="*/ 10 w 12"/>
                  <a:gd name="T13" fmla="*/ 1 h 8"/>
                  <a:gd name="T14" fmla="*/ 8 w 12"/>
                  <a:gd name="T15" fmla="*/ 0 h 8"/>
                  <a:gd name="T16" fmla="*/ 8 w 12"/>
                  <a:gd name="T17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" h="8">
                    <a:moveTo>
                      <a:pt x="8" y="0"/>
                    </a:moveTo>
                    <a:lnTo>
                      <a:pt x="6" y="2"/>
                    </a:lnTo>
                    <a:lnTo>
                      <a:pt x="0" y="3"/>
                    </a:lnTo>
                    <a:lnTo>
                      <a:pt x="6" y="4"/>
                    </a:lnTo>
                    <a:lnTo>
                      <a:pt x="7" y="8"/>
                    </a:lnTo>
                    <a:lnTo>
                      <a:pt x="12" y="4"/>
                    </a:lnTo>
                    <a:lnTo>
                      <a:pt x="10" y="1"/>
                    </a:lnTo>
                    <a:lnTo>
                      <a:pt x="8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30" name="Freeform 96">
                <a:extLst>
                  <a:ext uri="{FF2B5EF4-FFF2-40B4-BE49-F238E27FC236}">
                    <a16:creationId xmlns:a16="http://schemas.microsoft.com/office/drawing/2014/main" id="{06D9D89C-97A7-45E6-BDC7-DAC1DFE9503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31" y="1352"/>
                <a:ext cx="226" cy="119"/>
              </a:xfrm>
              <a:custGeom>
                <a:avLst/>
                <a:gdLst>
                  <a:gd name="T0" fmla="*/ 130 w 226"/>
                  <a:gd name="T1" fmla="*/ 47 h 119"/>
                  <a:gd name="T2" fmla="*/ 111 w 226"/>
                  <a:gd name="T3" fmla="*/ 39 h 119"/>
                  <a:gd name="T4" fmla="*/ 94 w 226"/>
                  <a:gd name="T5" fmla="*/ 35 h 119"/>
                  <a:gd name="T6" fmla="*/ 84 w 226"/>
                  <a:gd name="T7" fmla="*/ 21 h 119"/>
                  <a:gd name="T8" fmla="*/ 72 w 226"/>
                  <a:gd name="T9" fmla="*/ 19 h 119"/>
                  <a:gd name="T10" fmla="*/ 73 w 226"/>
                  <a:gd name="T11" fmla="*/ 42 h 119"/>
                  <a:gd name="T12" fmla="*/ 54 w 226"/>
                  <a:gd name="T13" fmla="*/ 23 h 119"/>
                  <a:gd name="T14" fmla="*/ 45 w 226"/>
                  <a:gd name="T15" fmla="*/ 35 h 119"/>
                  <a:gd name="T16" fmla="*/ 35 w 226"/>
                  <a:gd name="T17" fmla="*/ 26 h 119"/>
                  <a:gd name="T18" fmla="*/ 28 w 226"/>
                  <a:gd name="T19" fmla="*/ 23 h 119"/>
                  <a:gd name="T20" fmla="*/ 10 w 226"/>
                  <a:gd name="T21" fmla="*/ 23 h 119"/>
                  <a:gd name="T22" fmla="*/ 3 w 226"/>
                  <a:gd name="T23" fmla="*/ 33 h 119"/>
                  <a:gd name="T24" fmla="*/ 19 w 226"/>
                  <a:gd name="T25" fmla="*/ 41 h 119"/>
                  <a:gd name="T26" fmla="*/ 5 w 226"/>
                  <a:gd name="T27" fmla="*/ 48 h 119"/>
                  <a:gd name="T28" fmla="*/ 22 w 226"/>
                  <a:gd name="T29" fmla="*/ 61 h 119"/>
                  <a:gd name="T30" fmla="*/ 33 w 226"/>
                  <a:gd name="T31" fmla="*/ 70 h 119"/>
                  <a:gd name="T32" fmla="*/ 48 w 226"/>
                  <a:gd name="T33" fmla="*/ 63 h 119"/>
                  <a:gd name="T34" fmla="*/ 61 w 226"/>
                  <a:gd name="T35" fmla="*/ 52 h 119"/>
                  <a:gd name="T36" fmla="*/ 76 w 226"/>
                  <a:gd name="T37" fmla="*/ 60 h 119"/>
                  <a:gd name="T38" fmla="*/ 87 w 226"/>
                  <a:gd name="T39" fmla="*/ 65 h 119"/>
                  <a:gd name="T40" fmla="*/ 63 w 226"/>
                  <a:gd name="T41" fmla="*/ 70 h 119"/>
                  <a:gd name="T42" fmla="*/ 38 w 226"/>
                  <a:gd name="T43" fmla="*/ 80 h 119"/>
                  <a:gd name="T44" fmla="*/ 60 w 226"/>
                  <a:gd name="T45" fmla="*/ 83 h 119"/>
                  <a:gd name="T46" fmla="*/ 85 w 226"/>
                  <a:gd name="T47" fmla="*/ 80 h 119"/>
                  <a:gd name="T48" fmla="*/ 70 w 226"/>
                  <a:gd name="T49" fmla="*/ 90 h 119"/>
                  <a:gd name="T50" fmla="*/ 55 w 226"/>
                  <a:gd name="T51" fmla="*/ 91 h 119"/>
                  <a:gd name="T52" fmla="*/ 51 w 226"/>
                  <a:gd name="T53" fmla="*/ 101 h 119"/>
                  <a:gd name="T54" fmla="*/ 79 w 226"/>
                  <a:gd name="T55" fmla="*/ 107 h 119"/>
                  <a:gd name="T56" fmla="*/ 73 w 226"/>
                  <a:gd name="T57" fmla="*/ 113 h 119"/>
                  <a:gd name="T58" fmla="*/ 85 w 226"/>
                  <a:gd name="T59" fmla="*/ 112 h 119"/>
                  <a:gd name="T60" fmla="*/ 101 w 226"/>
                  <a:gd name="T61" fmla="*/ 92 h 119"/>
                  <a:gd name="T62" fmla="*/ 113 w 226"/>
                  <a:gd name="T63" fmla="*/ 69 h 119"/>
                  <a:gd name="T64" fmla="*/ 135 w 226"/>
                  <a:gd name="T65" fmla="*/ 58 h 119"/>
                  <a:gd name="T66" fmla="*/ 200 w 226"/>
                  <a:gd name="T67" fmla="*/ 9 h 119"/>
                  <a:gd name="T68" fmla="*/ 182 w 226"/>
                  <a:gd name="T69" fmla="*/ 7 h 119"/>
                  <a:gd name="T70" fmla="*/ 172 w 226"/>
                  <a:gd name="T71" fmla="*/ 3 h 119"/>
                  <a:gd name="T72" fmla="*/ 161 w 226"/>
                  <a:gd name="T73" fmla="*/ 15 h 119"/>
                  <a:gd name="T74" fmla="*/ 139 w 226"/>
                  <a:gd name="T75" fmla="*/ 9 h 119"/>
                  <a:gd name="T76" fmla="*/ 124 w 226"/>
                  <a:gd name="T77" fmla="*/ 7 h 119"/>
                  <a:gd name="T78" fmla="*/ 118 w 226"/>
                  <a:gd name="T79" fmla="*/ 14 h 119"/>
                  <a:gd name="T80" fmla="*/ 112 w 226"/>
                  <a:gd name="T81" fmla="*/ 15 h 119"/>
                  <a:gd name="T82" fmla="*/ 112 w 226"/>
                  <a:gd name="T83" fmla="*/ 24 h 119"/>
                  <a:gd name="T84" fmla="*/ 156 w 226"/>
                  <a:gd name="T85" fmla="*/ 23 h 119"/>
                  <a:gd name="T86" fmla="*/ 141 w 226"/>
                  <a:gd name="T87" fmla="*/ 29 h 119"/>
                  <a:gd name="T88" fmla="*/ 136 w 226"/>
                  <a:gd name="T89" fmla="*/ 33 h 119"/>
                  <a:gd name="T90" fmla="*/ 166 w 226"/>
                  <a:gd name="T91" fmla="*/ 40 h 119"/>
                  <a:gd name="T92" fmla="*/ 206 w 226"/>
                  <a:gd name="T93" fmla="*/ 34 h 119"/>
                  <a:gd name="T94" fmla="*/ 225 w 226"/>
                  <a:gd name="T95" fmla="*/ 16 h 119"/>
                  <a:gd name="T96" fmla="*/ 157 w 226"/>
                  <a:gd name="T97" fmla="*/ 64 h 119"/>
                  <a:gd name="T98" fmla="*/ 135 w 226"/>
                  <a:gd name="T99" fmla="*/ 65 h 119"/>
                  <a:gd name="T100" fmla="*/ 180 w 226"/>
                  <a:gd name="T101" fmla="*/ 81 h 119"/>
                  <a:gd name="T102" fmla="*/ 167 w 226"/>
                  <a:gd name="T103" fmla="*/ 69 h 119"/>
                  <a:gd name="T104" fmla="*/ 149 w 226"/>
                  <a:gd name="T105" fmla="*/ 81 h 119"/>
                  <a:gd name="T106" fmla="*/ 148 w 226"/>
                  <a:gd name="T107" fmla="*/ 92 h 119"/>
                  <a:gd name="T108" fmla="*/ 166 w 226"/>
                  <a:gd name="T109" fmla="*/ 98 h 119"/>
                  <a:gd name="T110" fmla="*/ 193 w 226"/>
                  <a:gd name="T111" fmla="*/ 85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226" h="119">
                    <a:moveTo>
                      <a:pt x="135" y="58"/>
                    </a:moveTo>
                    <a:lnTo>
                      <a:pt x="138" y="57"/>
                    </a:lnTo>
                    <a:lnTo>
                      <a:pt x="140" y="58"/>
                    </a:lnTo>
                    <a:lnTo>
                      <a:pt x="146" y="57"/>
                    </a:lnTo>
                    <a:lnTo>
                      <a:pt x="148" y="55"/>
                    </a:lnTo>
                    <a:lnTo>
                      <a:pt x="147" y="51"/>
                    </a:lnTo>
                    <a:lnTo>
                      <a:pt x="136" y="49"/>
                    </a:lnTo>
                    <a:lnTo>
                      <a:pt x="130" y="47"/>
                    </a:lnTo>
                    <a:lnTo>
                      <a:pt x="128" y="47"/>
                    </a:lnTo>
                    <a:lnTo>
                      <a:pt x="124" y="42"/>
                    </a:lnTo>
                    <a:lnTo>
                      <a:pt x="119" y="41"/>
                    </a:lnTo>
                    <a:lnTo>
                      <a:pt x="115" y="42"/>
                    </a:lnTo>
                    <a:lnTo>
                      <a:pt x="113" y="42"/>
                    </a:lnTo>
                    <a:lnTo>
                      <a:pt x="111" y="40"/>
                    </a:lnTo>
                    <a:lnTo>
                      <a:pt x="107" y="39"/>
                    </a:lnTo>
                    <a:lnTo>
                      <a:pt x="111" y="39"/>
                    </a:lnTo>
                    <a:lnTo>
                      <a:pt x="111" y="36"/>
                    </a:lnTo>
                    <a:lnTo>
                      <a:pt x="111" y="33"/>
                    </a:lnTo>
                    <a:lnTo>
                      <a:pt x="110" y="31"/>
                    </a:lnTo>
                    <a:lnTo>
                      <a:pt x="104" y="27"/>
                    </a:lnTo>
                    <a:lnTo>
                      <a:pt x="101" y="30"/>
                    </a:lnTo>
                    <a:lnTo>
                      <a:pt x="99" y="32"/>
                    </a:lnTo>
                    <a:lnTo>
                      <a:pt x="97" y="35"/>
                    </a:lnTo>
                    <a:lnTo>
                      <a:pt x="94" y="35"/>
                    </a:lnTo>
                    <a:lnTo>
                      <a:pt x="96" y="33"/>
                    </a:lnTo>
                    <a:lnTo>
                      <a:pt x="94" y="30"/>
                    </a:lnTo>
                    <a:lnTo>
                      <a:pt x="99" y="26"/>
                    </a:lnTo>
                    <a:lnTo>
                      <a:pt x="99" y="24"/>
                    </a:lnTo>
                    <a:lnTo>
                      <a:pt x="94" y="19"/>
                    </a:lnTo>
                    <a:lnTo>
                      <a:pt x="88" y="18"/>
                    </a:lnTo>
                    <a:lnTo>
                      <a:pt x="85" y="17"/>
                    </a:lnTo>
                    <a:lnTo>
                      <a:pt x="84" y="21"/>
                    </a:lnTo>
                    <a:lnTo>
                      <a:pt x="81" y="19"/>
                    </a:lnTo>
                    <a:lnTo>
                      <a:pt x="80" y="16"/>
                    </a:lnTo>
                    <a:lnTo>
                      <a:pt x="78" y="15"/>
                    </a:lnTo>
                    <a:lnTo>
                      <a:pt x="76" y="15"/>
                    </a:lnTo>
                    <a:lnTo>
                      <a:pt x="74" y="17"/>
                    </a:lnTo>
                    <a:lnTo>
                      <a:pt x="74" y="17"/>
                    </a:lnTo>
                    <a:lnTo>
                      <a:pt x="76" y="21"/>
                    </a:lnTo>
                    <a:lnTo>
                      <a:pt x="72" y="19"/>
                    </a:lnTo>
                    <a:lnTo>
                      <a:pt x="70" y="22"/>
                    </a:lnTo>
                    <a:lnTo>
                      <a:pt x="73" y="31"/>
                    </a:lnTo>
                    <a:lnTo>
                      <a:pt x="74" y="36"/>
                    </a:lnTo>
                    <a:lnTo>
                      <a:pt x="80" y="47"/>
                    </a:lnTo>
                    <a:lnTo>
                      <a:pt x="80" y="50"/>
                    </a:lnTo>
                    <a:lnTo>
                      <a:pt x="78" y="48"/>
                    </a:lnTo>
                    <a:lnTo>
                      <a:pt x="77" y="44"/>
                    </a:lnTo>
                    <a:lnTo>
                      <a:pt x="73" y="42"/>
                    </a:lnTo>
                    <a:lnTo>
                      <a:pt x="71" y="41"/>
                    </a:lnTo>
                    <a:lnTo>
                      <a:pt x="70" y="39"/>
                    </a:lnTo>
                    <a:lnTo>
                      <a:pt x="68" y="36"/>
                    </a:lnTo>
                    <a:lnTo>
                      <a:pt x="65" y="31"/>
                    </a:lnTo>
                    <a:lnTo>
                      <a:pt x="65" y="29"/>
                    </a:lnTo>
                    <a:lnTo>
                      <a:pt x="60" y="24"/>
                    </a:lnTo>
                    <a:lnTo>
                      <a:pt x="56" y="23"/>
                    </a:lnTo>
                    <a:lnTo>
                      <a:pt x="54" y="23"/>
                    </a:lnTo>
                    <a:lnTo>
                      <a:pt x="51" y="25"/>
                    </a:lnTo>
                    <a:lnTo>
                      <a:pt x="51" y="29"/>
                    </a:lnTo>
                    <a:lnTo>
                      <a:pt x="48" y="29"/>
                    </a:lnTo>
                    <a:lnTo>
                      <a:pt x="45" y="31"/>
                    </a:lnTo>
                    <a:lnTo>
                      <a:pt x="48" y="36"/>
                    </a:lnTo>
                    <a:lnTo>
                      <a:pt x="48" y="39"/>
                    </a:lnTo>
                    <a:lnTo>
                      <a:pt x="45" y="38"/>
                    </a:lnTo>
                    <a:lnTo>
                      <a:pt x="45" y="35"/>
                    </a:lnTo>
                    <a:lnTo>
                      <a:pt x="42" y="33"/>
                    </a:lnTo>
                    <a:lnTo>
                      <a:pt x="39" y="33"/>
                    </a:lnTo>
                    <a:lnTo>
                      <a:pt x="36" y="32"/>
                    </a:lnTo>
                    <a:lnTo>
                      <a:pt x="38" y="29"/>
                    </a:lnTo>
                    <a:lnTo>
                      <a:pt x="36" y="29"/>
                    </a:lnTo>
                    <a:lnTo>
                      <a:pt x="30" y="30"/>
                    </a:lnTo>
                    <a:lnTo>
                      <a:pt x="27" y="29"/>
                    </a:lnTo>
                    <a:lnTo>
                      <a:pt x="35" y="26"/>
                    </a:lnTo>
                    <a:lnTo>
                      <a:pt x="38" y="25"/>
                    </a:lnTo>
                    <a:lnTo>
                      <a:pt x="40" y="25"/>
                    </a:lnTo>
                    <a:lnTo>
                      <a:pt x="44" y="25"/>
                    </a:lnTo>
                    <a:lnTo>
                      <a:pt x="46" y="24"/>
                    </a:lnTo>
                    <a:lnTo>
                      <a:pt x="45" y="21"/>
                    </a:lnTo>
                    <a:lnTo>
                      <a:pt x="43" y="21"/>
                    </a:lnTo>
                    <a:lnTo>
                      <a:pt x="37" y="21"/>
                    </a:lnTo>
                    <a:lnTo>
                      <a:pt x="28" y="23"/>
                    </a:lnTo>
                    <a:lnTo>
                      <a:pt x="26" y="23"/>
                    </a:lnTo>
                    <a:lnTo>
                      <a:pt x="22" y="22"/>
                    </a:lnTo>
                    <a:lnTo>
                      <a:pt x="21" y="24"/>
                    </a:lnTo>
                    <a:lnTo>
                      <a:pt x="22" y="26"/>
                    </a:lnTo>
                    <a:lnTo>
                      <a:pt x="20" y="26"/>
                    </a:lnTo>
                    <a:lnTo>
                      <a:pt x="18" y="24"/>
                    </a:lnTo>
                    <a:lnTo>
                      <a:pt x="16" y="21"/>
                    </a:lnTo>
                    <a:lnTo>
                      <a:pt x="10" y="23"/>
                    </a:lnTo>
                    <a:lnTo>
                      <a:pt x="8" y="25"/>
                    </a:lnTo>
                    <a:lnTo>
                      <a:pt x="9" y="27"/>
                    </a:lnTo>
                    <a:lnTo>
                      <a:pt x="7" y="27"/>
                    </a:lnTo>
                    <a:lnTo>
                      <a:pt x="3" y="29"/>
                    </a:lnTo>
                    <a:lnTo>
                      <a:pt x="5" y="30"/>
                    </a:lnTo>
                    <a:lnTo>
                      <a:pt x="3" y="30"/>
                    </a:lnTo>
                    <a:lnTo>
                      <a:pt x="0" y="31"/>
                    </a:lnTo>
                    <a:lnTo>
                      <a:pt x="3" y="33"/>
                    </a:lnTo>
                    <a:lnTo>
                      <a:pt x="3" y="35"/>
                    </a:lnTo>
                    <a:lnTo>
                      <a:pt x="7" y="41"/>
                    </a:lnTo>
                    <a:lnTo>
                      <a:pt x="8" y="44"/>
                    </a:lnTo>
                    <a:lnTo>
                      <a:pt x="11" y="43"/>
                    </a:lnTo>
                    <a:lnTo>
                      <a:pt x="13" y="41"/>
                    </a:lnTo>
                    <a:lnTo>
                      <a:pt x="13" y="38"/>
                    </a:lnTo>
                    <a:lnTo>
                      <a:pt x="19" y="38"/>
                    </a:lnTo>
                    <a:lnTo>
                      <a:pt x="19" y="41"/>
                    </a:lnTo>
                    <a:lnTo>
                      <a:pt x="16" y="42"/>
                    </a:lnTo>
                    <a:lnTo>
                      <a:pt x="16" y="46"/>
                    </a:lnTo>
                    <a:lnTo>
                      <a:pt x="18" y="48"/>
                    </a:lnTo>
                    <a:lnTo>
                      <a:pt x="21" y="50"/>
                    </a:lnTo>
                    <a:lnTo>
                      <a:pt x="18" y="50"/>
                    </a:lnTo>
                    <a:lnTo>
                      <a:pt x="16" y="49"/>
                    </a:lnTo>
                    <a:lnTo>
                      <a:pt x="9" y="47"/>
                    </a:lnTo>
                    <a:lnTo>
                      <a:pt x="5" y="48"/>
                    </a:lnTo>
                    <a:lnTo>
                      <a:pt x="9" y="50"/>
                    </a:lnTo>
                    <a:lnTo>
                      <a:pt x="13" y="52"/>
                    </a:lnTo>
                    <a:lnTo>
                      <a:pt x="11" y="52"/>
                    </a:lnTo>
                    <a:lnTo>
                      <a:pt x="11" y="55"/>
                    </a:lnTo>
                    <a:lnTo>
                      <a:pt x="13" y="58"/>
                    </a:lnTo>
                    <a:lnTo>
                      <a:pt x="17" y="59"/>
                    </a:lnTo>
                    <a:lnTo>
                      <a:pt x="19" y="59"/>
                    </a:lnTo>
                    <a:lnTo>
                      <a:pt x="22" y="61"/>
                    </a:lnTo>
                    <a:lnTo>
                      <a:pt x="25" y="61"/>
                    </a:lnTo>
                    <a:lnTo>
                      <a:pt x="31" y="61"/>
                    </a:lnTo>
                    <a:lnTo>
                      <a:pt x="19" y="63"/>
                    </a:lnTo>
                    <a:lnTo>
                      <a:pt x="22" y="65"/>
                    </a:lnTo>
                    <a:lnTo>
                      <a:pt x="25" y="67"/>
                    </a:lnTo>
                    <a:lnTo>
                      <a:pt x="28" y="68"/>
                    </a:lnTo>
                    <a:lnTo>
                      <a:pt x="29" y="72"/>
                    </a:lnTo>
                    <a:lnTo>
                      <a:pt x="33" y="70"/>
                    </a:lnTo>
                    <a:lnTo>
                      <a:pt x="38" y="72"/>
                    </a:lnTo>
                    <a:lnTo>
                      <a:pt x="40" y="69"/>
                    </a:lnTo>
                    <a:lnTo>
                      <a:pt x="44" y="70"/>
                    </a:lnTo>
                    <a:lnTo>
                      <a:pt x="46" y="68"/>
                    </a:lnTo>
                    <a:lnTo>
                      <a:pt x="47" y="66"/>
                    </a:lnTo>
                    <a:lnTo>
                      <a:pt x="50" y="66"/>
                    </a:lnTo>
                    <a:lnTo>
                      <a:pt x="52" y="64"/>
                    </a:lnTo>
                    <a:lnTo>
                      <a:pt x="48" y="63"/>
                    </a:lnTo>
                    <a:lnTo>
                      <a:pt x="51" y="59"/>
                    </a:lnTo>
                    <a:lnTo>
                      <a:pt x="50" y="57"/>
                    </a:lnTo>
                    <a:lnTo>
                      <a:pt x="52" y="56"/>
                    </a:lnTo>
                    <a:lnTo>
                      <a:pt x="55" y="56"/>
                    </a:lnTo>
                    <a:lnTo>
                      <a:pt x="55" y="59"/>
                    </a:lnTo>
                    <a:lnTo>
                      <a:pt x="57" y="58"/>
                    </a:lnTo>
                    <a:lnTo>
                      <a:pt x="60" y="56"/>
                    </a:lnTo>
                    <a:lnTo>
                      <a:pt x="61" y="52"/>
                    </a:lnTo>
                    <a:lnTo>
                      <a:pt x="64" y="52"/>
                    </a:lnTo>
                    <a:lnTo>
                      <a:pt x="64" y="56"/>
                    </a:lnTo>
                    <a:lnTo>
                      <a:pt x="63" y="58"/>
                    </a:lnTo>
                    <a:lnTo>
                      <a:pt x="61" y="60"/>
                    </a:lnTo>
                    <a:lnTo>
                      <a:pt x="62" y="63"/>
                    </a:lnTo>
                    <a:lnTo>
                      <a:pt x="64" y="64"/>
                    </a:lnTo>
                    <a:lnTo>
                      <a:pt x="70" y="63"/>
                    </a:lnTo>
                    <a:lnTo>
                      <a:pt x="76" y="60"/>
                    </a:lnTo>
                    <a:lnTo>
                      <a:pt x="77" y="58"/>
                    </a:lnTo>
                    <a:lnTo>
                      <a:pt x="80" y="57"/>
                    </a:lnTo>
                    <a:lnTo>
                      <a:pt x="80" y="59"/>
                    </a:lnTo>
                    <a:lnTo>
                      <a:pt x="78" y="61"/>
                    </a:lnTo>
                    <a:lnTo>
                      <a:pt x="78" y="64"/>
                    </a:lnTo>
                    <a:lnTo>
                      <a:pt x="81" y="65"/>
                    </a:lnTo>
                    <a:lnTo>
                      <a:pt x="84" y="66"/>
                    </a:lnTo>
                    <a:lnTo>
                      <a:pt x="87" y="65"/>
                    </a:lnTo>
                    <a:lnTo>
                      <a:pt x="89" y="65"/>
                    </a:lnTo>
                    <a:lnTo>
                      <a:pt x="84" y="67"/>
                    </a:lnTo>
                    <a:lnTo>
                      <a:pt x="81" y="67"/>
                    </a:lnTo>
                    <a:lnTo>
                      <a:pt x="72" y="67"/>
                    </a:lnTo>
                    <a:lnTo>
                      <a:pt x="70" y="67"/>
                    </a:lnTo>
                    <a:lnTo>
                      <a:pt x="67" y="68"/>
                    </a:lnTo>
                    <a:lnTo>
                      <a:pt x="67" y="70"/>
                    </a:lnTo>
                    <a:lnTo>
                      <a:pt x="63" y="70"/>
                    </a:lnTo>
                    <a:lnTo>
                      <a:pt x="55" y="74"/>
                    </a:lnTo>
                    <a:lnTo>
                      <a:pt x="50" y="75"/>
                    </a:lnTo>
                    <a:lnTo>
                      <a:pt x="46" y="74"/>
                    </a:lnTo>
                    <a:lnTo>
                      <a:pt x="46" y="77"/>
                    </a:lnTo>
                    <a:lnTo>
                      <a:pt x="44" y="75"/>
                    </a:lnTo>
                    <a:lnTo>
                      <a:pt x="40" y="75"/>
                    </a:lnTo>
                    <a:lnTo>
                      <a:pt x="38" y="77"/>
                    </a:lnTo>
                    <a:lnTo>
                      <a:pt x="38" y="80"/>
                    </a:lnTo>
                    <a:lnTo>
                      <a:pt x="39" y="83"/>
                    </a:lnTo>
                    <a:lnTo>
                      <a:pt x="40" y="85"/>
                    </a:lnTo>
                    <a:lnTo>
                      <a:pt x="43" y="85"/>
                    </a:lnTo>
                    <a:lnTo>
                      <a:pt x="46" y="84"/>
                    </a:lnTo>
                    <a:lnTo>
                      <a:pt x="48" y="84"/>
                    </a:lnTo>
                    <a:lnTo>
                      <a:pt x="52" y="84"/>
                    </a:lnTo>
                    <a:lnTo>
                      <a:pt x="56" y="83"/>
                    </a:lnTo>
                    <a:lnTo>
                      <a:pt x="60" y="83"/>
                    </a:lnTo>
                    <a:lnTo>
                      <a:pt x="62" y="81"/>
                    </a:lnTo>
                    <a:lnTo>
                      <a:pt x="65" y="81"/>
                    </a:lnTo>
                    <a:lnTo>
                      <a:pt x="68" y="82"/>
                    </a:lnTo>
                    <a:lnTo>
                      <a:pt x="71" y="82"/>
                    </a:lnTo>
                    <a:lnTo>
                      <a:pt x="73" y="82"/>
                    </a:lnTo>
                    <a:lnTo>
                      <a:pt x="79" y="82"/>
                    </a:lnTo>
                    <a:lnTo>
                      <a:pt x="82" y="80"/>
                    </a:lnTo>
                    <a:lnTo>
                      <a:pt x="85" y="80"/>
                    </a:lnTo>
                    <a:lnTo>
                      <a:pt x="84" y="82"/>
                    </a:lnTo>
                    <a:lnTo>
                      <a:pt x="86" y="84"/>
                    </a:lnTo>
                    <a:lnTo>
                      <a:pt x="84" y="83"/>
                    </a:lnTo>
                    <a:lnTo>
                      <a:pt x="69" y="84"/>
                    </a:lnTo>
                    <a:lnTo>
                      <a:pt x="61" y="85"/>
                    </a:lnTo>
                    <a:lnTo>
                      <a:pt x="57" y="86"/>
                    </a:lnTo>
                    <a:lnTo>
                      <a:pt x="55" y="87"/>
                    </a:lnTo>
                    <a:lnTo>
                      <a:pt x="70" y="90"/>
                    </a:lnTo>
                    <a:lnTo>
                      <a:pt x="72" y="92"/>
                    </a:lnTo>
                    <a:lnTo>
                      <a:pt x="74" y="93"/>
                    </a:lnTo>
                    <a:lnTo>
                      <a:pt x="72" y="93"/>
                    </a:lnTo>
                    <a:lnTo>
                      <a:pt x="70" y="91"/>
                    </a:lnTo>
                    <a:lnTo>
                      <a:pt x="67" y="91"/>
                    </a:lnTo>
                    <a:lnTo>
                      <a:pt x="64" y="91"/>
                    </a:lnTo>
                    <a:lnTo>
                      <a:pt x="59" y="90"/>
                    </a:lnTo>
                    <a:lnTo>
                      <a:pt x="55" y="91"/>
                    </a:lnTo>
                    <a:lnTo>
                      <a:pt x="53" y="92"/>
                    </a:lnTo>
                    <a:lnTo>
                      <a:pt x="51" y="90"/>
                    </a:lnTo>
                    <a:lnTo>
                      <a:pt x="47" y="90"/>
                    </a:lnTo>
                    <a:lnTo>
                      <a:pt x="45" y="90"/>
                    </a:lnTo>
                    <a:lnTo>
                      <a:pt x="42" y="91"/>
                    </a:lnTo>
                    <a:lnTo>
                      <a:pt x="43" y="94"/>
                    </a:lnTo>
                    <a:lnTo>
                      <a:pt x="47" y="100"/>
                    </a:lnTo>
                    <a:lnTo>
                      <a:pt x="51" y="101"/>
                    </a:lnTo>
                    <a:lnTo>
                      <a:pt x="53" y="101"/>
                    </a:lnTo>
                    <a:lnTo>
                      <a:pt x="56" y="102"/>
                    </a:lnTo>
                    <a:lnTo>
                      <a:pt x="59" y="104"/>
                    </a:lnTo>
                    <a:lnTo>
                      <a:pt x="62" y="106"/>
                    </a:lnTo>
                    <a:lnTo>
                      <a:pt x="68" y="107"/>
                    </a:lnTo>
                    <a:lnTo>
                      <a:pt x="70" y="104"/>
                    </a:lnTo>
                    <a:lnTo>
                      <a:pt x="73" y="106"/>
                    </a:lnTo>
                    <a:lnTo>
                      <a:pt x="79" y="107"/>
                    </a:lnTo>
                    <a:lnTo>
                      <a:pt x="76" y="108"/>
                    </a:lnTo>
                    <a:lnTo>
                      <a:pt x="73" y="107"/>
                    </a:lnTo>
                    <a:lnTo>
                      <a:pt x="70" y="108"/>
                    </a:lnTo>
                    <a:lnTo>
                      <a:pt x="68" y="108"/>
                    </a:lnTo>
                    <a:lnTo>
                      <a:pt x="64" y="110"/>
                    </a:lnTo>
                    <a:lnTo>
                      <a:pt x="68" y="111"/>
                    </a:lnTo>
                    <a:lnTo>
                      <a:pt x="70" y="112"/>
                    </a:lnTo>
                    <a:lnTo>
                      <a:pt x="73" y="113"/>
                    </a:lnTo>
                    <a:lnTo>
                      <a:pt x="76" y="116"/>
                    </a:lnTo>
                    <a:lnTo>
                      <a:pt x="76" y="119"/>
                    </a:lnTo>
                    <a:lnTo>
                      <a:pt x="79" y="118"/>
                    </a:lnTo>
                    <a:lnTo>
                      <a:pt x="81" y="119"/>
                    </a:lnTo>
                    <a:lnTo>
                      <a:pt x="84" y="118"/>
                    </a:lnTo>
                    <a:lnTo>
                      <a:pt x="87" y="116"/>
                    </a:lnTo>
                    <a:lnTo>
                      <a:pt x="87" y="113"/>
                    </a:lnTo>
                    <a:lnTo>
                      <a:pt x="85" y="112"/>
                    </a:lnTo>
                    <a:lnTo>
                      <a:pt x="89" y="108"/>
                    </a:lnTo>
                    <a:lnTo>
                      <a:pt x="87" y="104"/>
                    </a:lnTo>
                    <a:lnTo>
                      <a:pt x="90" y="104"/>
                    </a:lnTo>
                    <a:lnTo>
                      <a:pt x="93" y="99"/>
                    </a:lnTo>
                    <a:lnTo>
                      <a:pt x="94" y="97"/>
                    </a:lnTo>
                    <a:lnTo>
                      <a:pt x="95" y="93"/>
                    </a:lnTo>
                    <a:lnTo>
                      <a:pt x="98" y="92"/>
                    </a:lnTo>
                    <a:lnTo>
                      <a:pt x="101" y="92"/>
                    </a:lnTo>
                    <a:lnTo>
                      <a:pt x="104" y="90"/>
                    </a:lnTo>
                    <a:lnTo>
                      <a:pt x="105" y="84"/>
                    </a:lnTo>
                    <a:lnTo>
                      <a:pt x="105" y="78"/>
                    </a:lnTo>
                    <a:lnTo>
                      <a:pt x="106" y="76"/>
                    </a:lnTo>
                    <a:lnTo>
                      <a:pt x="112" y="76"/>
                    </a:lnTo>
                    <a:lnTo>
                      <a:pt x="114" y="74"/>
                    </a:lnTo>
                    <a:lnTo>
                      <a:pt x="112" y="72"/>
                    </a:lnTo>
                    <a:lnTo>
                      <a:pt x="113" y="69"/>
                    </a:lnTo>
                    <a:lnTo>
                      <a:pt x="114" y="66"/>
                    </a:lnTo>
                    <a:lnTo>
                      <a:pt x="113" y="64"/>
                    </a:lnTo>
                    <a:lnTo>
                      <a:pt x="119" y="63"/>
                    </a:lnTo>
                    <a:lnTo>
                      <a:pt x="121" y="60"/>
                    </a:lnTo>
                    <a:lnTo>
                      <a:pt x="124" y="59"/>
                    </a:lnTo>
                    <a:lnTo>
                      <a:pt x="128" y="59"/>
                    </a:lnTo>
                    <a:lnTo>
                      <a:pt x="132" y="58"/>
                    </a:lnTo>
                    <a:lnTo>
                      <a:pt x="135" y="58"/>
                    </a:lnTo>
                    <a:close/>
                    <a:moveTo>
                      <a:pt x="226" y="14"/>
                    </a:moveTo>
                    <a:lnTo>
                      <a:pt x="224" y="13"/>
                    </a:lnTo>
                    <a:lnTo>
                      <a:pt x="221" y="10"/>
                    </a:lnTo>
                    <a:lnTo>
                      <a:pt x="218" y="10"/>
                    </a:lnTo>
                    <a:lnTo>
                      <a:pt x="209" y="10"/>
                    </a:lnTo>
                    <a:lnTo>
                      <a:pt x="206" y="10"/>
                    </a:lnTo>
                    <a:lnTo>
                      <a:pt x="204" y="9"/>
                    </a:lnTo>
                    <a:lnTo>
                      <a:pt x="200" y="9"/>
                    </a:lnTo>
                    <a:lnTo>
                      <a:pt x="198" y="8"/>
                    </a:lnTo>
                    <a:lnTo>
                      <a:pt x="195" y="8"/>
                    </a:lnTo>
                    <a:lnTo>
                      <a:pt x="193" y="6"/>
                    </a:lnTo>
                    <a:lnTo>
                      <a:pt x="191" y="7"/>
                    </a:lnTo>
                    <a:lnTo>
                      <a:pt x="188" y="5"/>
                    </a:lnTo>
                    <a:lnTo>
                      <a:pt x="185" y="5"/>
                    </a:lnTo>
                    <a:lnTo>
                      <a:pt x="185" y="7"/>
                    </a:lnTo>
                    <a:lnTo>
                      <a:pt x="182" y="7"/>
                    </a:lnTo>
                    <a:lnTo>
                      <a:pt x="180" y="7"/>
                    </a:lnTo>
                    <a:lnTo>
                      <a:pt x="179" y="9"/>
                    </a:lnTo>
                    <a:lnTo>
                      <a:pt x="176" y="13"/>
                    </a:lnTo>
                    <a:lnTo>
                      <a:pt x="171" y="10"/>
                    </a:lnTo>
                    <a:lnTo>
                      <a:pt x="170" y="8"/>
                    </a:lnTo>
                    <a:lnTo>
                      <a:pt x="173" y="7"/>
                    </a:lnTo>
                    <a:lnTo>
                      <a:pt x="172" y="5"/>
                    </a:lnTo>
                    <a:lnTo>
                      <a:pt x="172" y="3"/>
                    </a:lnTo>
                    <a:lnTo>
                      <a:pt x="166" y="0"/>
                    </a:lnTo>
                    <a:lnTo>
                      <a:pt x="165" y="6"/>
                    </a:lnTo>
                    <a:lnTo>
                      <a:pt x="164" y="3"/>
                    </a:lnTo>
                    <a:lnTo>
                      <a:pt x="162" y="3"/>
                    </a:lnTo>
                    <a:lnTo>
                      <a:pt x="159" y="6"/>
                    </a:lnTo>
                    <a:lnTo>
                      <a:pt x="163" y="7"/>
                    </a:lnTo>
                    <a:lnTo>
                      <a:pt x="161" y="13"/>
                    </a:lnTo>
                    <a:lnTo>
                      <a:pt x="161" y="15"/>
                    </a:lnTo>
                    <a:lnTo>
                      <a:pt x="159" y="16"/>
                    </a:lnTo>
                    <a:lnTo>
                      <a:pt x="157" y="16"/>
                    </a:lnTo>
                    <a:lnTo>
                      <a:pt x="156" y="14"/>
                    </a:lnTo>
                    <a:lnTo>
                      <a:pt x="154" y="13"/>
                    </a:lnTo>
                    <a:lnTo>
                      <a:pt x="150" y="13"/>
                    </a:lnTo>
                    <a:lnTo>
                      <a:pt x="153" y="9"/>
                    </a:lnTo>
                    <a:lnTo>
                      <a:pt x="150" y="7"/>
                    </a:lnTo>
                    <a:lnTo>
                      <a:pt x="139" y="9"/>
                    </a:lnTo>
                    <a:lnTo>
                      <a:pt x="138" y="7"/>
                    </a:lnTo>
                    <a:lnTo>
                      <a:pt x="136" y="7"/>
                    </a:lnTo>
                    <a:lnTo>
                      <a:pt x="133" y="5"/>
                    </a:lnTo>
                    <a:lnTo>
                      <a:pt x="130" y="3"/>
                    </a:lnTo>
                    <a:lnTo>
                      <a:pt x="122" y="0"/>
                    </a:lnTo>
                    <a:lnTo>
                      <a:pt x="120" y="4"/>
                    </a:lnTo>
                    <a:lnTo>
                      <a:pt x="125" y="5"/>
                    </a:lnTo>
                    <a:lnTo>
                      <a:pt x="124" y="7"/>
                    </a:lnTo>
                    <a:lnTo>
                      <a:pt x="122" y="9"/>
                    </a:lnTo>
                    <a:lnTo>
                      <a:pt x="119" y="7"/>
                    </a:lnTo>
                    <a:lnTo>
                      <a:pt x="116" y="6"/>
                    </a:lnTo>
                    <a:lnTo>
                      <a:pt x="113" y="6"/>
                    </a:lnTo>
                    <a:lnTo>
                      <a:pt x="114" y="8"/>
                    </a:lnTo>
                    <a:lnTo>
                      <a:pt x="118" y="10"/>
                    </a:lnTo>
                    <a:lnTo>
                      <a:pt x="120" y="10"/>
                    </a:lnTo>
                    <a:lnTo>
                      <a:pt x="118" y="14"/>
                    </a:lnTo>
                    <a:lnTo>
                      <a:pt x="112" y="10"/>
                    </a:lnTo>
                    <a:lnTo>
                      <a:pt x="110" y="10"/>
                    </a:lnTo>
                    <a:lnTo>
                      <a:pt x="101" y="10"/>
                    </a:lnTo>
                    <a:lnTo>
                      <a:pt x="97" y="12"/>
                    </a:lnTo>
                    <a:lnTo>
                      <a:pt x="103" y="14"/>
                    </a:lnTo>
                    <a:lnTo>
                      <a:pt x="106" y="15"/>
                    </a:lnTo>
                    <a:lnTo>
                      <a:pt x="108" y="15"/>
                    </a:lnTo>
                    <a:lnTo>
                      <a:pt x="112" y="15"/>
                    </a:lnTo>
                    <a:lnTo>
                      <a:pt x="111" y="16"/>
                    </a:lnTo>
                    <a:lnTo>
                      <a:pt x="108" y="16"/>
                    </a:lnTo>
                    <a:lnTo>
                      <a:pt x="105" y="18"/>
                    </a:lnTo>
                    <a:lnTo>
                      <a:pt x="103" y="18"/>
                    </a:lnTo>
                    <a:lnTo>
                      <a:pt x="104" y="22"/>
                    </a:lnTo>
                    <a:lnTo>
                      <a:pt x="106" y="23"/>
                    </a:lnTo>
                    <a:lnTo>
                      <a:pt x="110" y="24"/>
                    </a:lnTo>
                    <a:lnTo>
                      <a:pt x="112" y="24"/>
                    </a:lnTo>
                    <a:lnTo>
                      <a:pt x="119" y="24"/>
                    </a:lnTo>
                    <a:lnTo>
                      <a:pt x="121" y="25"/>
                    </a:lnTo>
                    <a:lnTo>
                      <a:pt x="128" y="24"/>
                    </a:lnTo>
                    <a:lnTo>
                      <a:pt x="133" y="23"/>
                    </a:lnTo>
                    <a:lnTo>
                      <a:pt x="141" y="22"/>
                    </a:lnTo>
                    <a:lnTo>
                      <a:pt x="150" y="22"/>
                    </a:lnTo>
                    <a:lnTo>
                      <a:pt x="154" y="24"/>
                    </a:lnTo>
                    <a:lnTo>
                      <a:pt x="156" y="23"/>
                    </a:lnTo>
                    <a:lnTo>
                      <a:pt x="159" y="23"/>
                    </a:lnTo>
                    <a:lnTo>
                      <a:pt x="156" y="24"/>
                    </a:lnTo>
                    <a:lnTo>
                      <a:pt x="154" y="24"/>
                    </a:lnTo>
                    <a:lnTo>
                      <a:pt x="150" y="25"/>
                    </a:lnTo>
                    <a:lnTo>
                      <a:pt x="141" y="25"/>
                    </a:lnTo>
                    <a:lnTo>
                      <a:pt x="136" y="26"/>
                    </a:lnTo>
                    <a:lnTo>
                      <a:pt x="139" y="29"/>
                    </a:lnTo>
                    <a:lnTo>
                      <a:pt x="141" y="29"/>
                    </a:lnTo>
                    <a:lnTo>
                      <a:pt x="133" y="29"/>
                    </a:lnTo>
                    <a:lnTo>
                      <a:pt x="130" y="27"/>
                    </a:lnTo>
                    <a:lnTo>
                      <a:pt x="128" y="27"/>
                    </a:lnTo>
                    <a:lnTo>
                      <a:pt x="124" y="27"/>
                    </a:lnTo>
                    <a:lnTo>
                      <a:pt x="123" y="31"/>
                    </a:lnTo>
                    <a:lnTo>
                      <a:pt x="128" y="32"/>
                    </a:lnTo>
                    <a:lnTo>
                      <a:pt x="130" y="33"/>
                    </a:lnTo>
                    <a:lnTo>
                      <a:pt x="136" y="33"/>
                    </a:lnTo>
                    <a:lnTo>
                      <a:pt x="141" y="35"/>
                    </a:lnTo>
                    <a:lnTo>
                      <a:pt x="147" y="35"/>
                    </a:lnTo>
                    <a:lnTo>
                      <a:pt x="149" y="35"/>
                    </a:lnTo>
                    <a:lnTo>
                      <a:pt x="153" y="35"/>
                    </a:lnTo>
                    <a:lnTo>
                      <a:pt x="158" y="34"/>
                    </a:lnTo>
                    <a:lnTo>
                      <a:pt x="164" y="35"/>
                    </a:lnTo>
                    <a:lnTo>
                      <a:pt x="164" y="38"/>
                    </a:lnTo>
                    <a:lnTo>
                      <a:pt x="166" y="40"/>
                    </a:lnTo>
                    <a:lnTo>
                      <a:pt x="170" y="41"/>
                    </a:lnTo>
                    <a:lnTo>
                      <a:pt x="175" y="41"/>
                    </a:lnTo>
                    <a:lnTo>
                      <a:pt x="181" y="41"/>
                    </a:lnTo>
                    <a:lnTo>
                      <a:pt x="183" y="41"/>
                    </a:lnTo>
                    <a:lnTo>
                      <a:pt x="185" y="38"/>
                    </a:lnTo>
                    <a:lnTo>
                      <a:pt x="195" y="35"/>
                    </a:lnTo>
                    <a:lnTo>
                      <a:pt x="197" y="38"/>
                    </a:lnTo>
                    <a:lnTo>
                      <a:pt x="206" y="34"/>
                    </a:lnTo>
                    <a:lnTo>
                      <a:pt x="208" y="32"/>
                    </a:lnTo>
                    <a:lnTo>
                      <a:pt x="208" y="30"/>
                    </a:lnTo>
                    <a:lnTo>
                      <a:pt x="210" y="27"/>
                    </a:lnTo>
                    <a:lnTo>
                      <a:pt x="216" y="25"/>
                    </a:lnTo>
                    <a:lnTo>
                      <a:pt x="222" y="22"/>
                    </a:lnTo>
                    <a:lnTo>
                      <a:pt x="225" y="21"/>
                    </a:lnTo>
                    <a:lnTo>
                      <a:pt x="226" y="18"/>
                    </a:lnTo>
                    <a:lnTo>
                      <a:pt x="225" y="16"/>
                    </a:lnTo>
                    <a:lnTo>
                      <a:pt x="226" y="14"/>
                    </a:lnTo>
                    <a:close/>
                    <a:moveTo>
                      <a:pt x="139" y="70"/>
                    </a:moveTo>
                    <a:lnTo>
                      <a:pt x="142" y="72"/>
                    </a:lnTo>
                    <a:lnTo>
                      <a:pt x="145" y="70"/>
                    </a:lnTo>
                    <a:lnTo>
                      <a:pt x="150" y="69"/>
                    </a:lnTo>
                    <a:lnTo>
                      <a:pt x="156" y="69"/>
                    </a:lnTo>
                    <a:lnTo>
                      <a:pt x="157" y="67"/>
                    </a:lnTo>
                    <a:lnTo>
                      <a:pt x="157" y="64"/>
                    </a:lnTo>
                    <a:lnTo>
                      <a:pt x="157" y="61"/>
                    </a:lnTo>
                    <a:lnTo>
                      <a:pt x="150" y="59"/>
                    </a:lnTo>
                    <a:lnTo>
                      <a:pt x="148" y="60"/>
                    </a:lnTo>
                    <a:lnTo>
                      <a:pt x="145" y="59"/>
                    </a:lnTo>
                    <a:lnTo>
                      <a:pt x="139" y="60"/>
                    </a:lnTo>
                    <a:lnTo>
                      <a:pt x="131" y="63"/>
                    </a:lnTo>
                    <a:lnTo>
                      <a:pt x="129" y="63"/>
                    </a:lnTo>
                    <a:lnTo>
                      <a:pt x="135" y="65"/>
                    </a:lnTo>
                    <a:lnTo>
                      <a:pt x="135" y="67"/>
                    </a:lnTo>
                    <a:lnTo>
                      <a:pt x="137" y="68"/>
                    </a:lnTo>
                    <a:lnTo>
                      <a:pt x="137" y="70"/>
                    </a:lnTo>
                    <a:lnTo>
                      <a:pt x="139" y="70"/>
                    </a:lnTo>
                    <a:close/>
                    <a:moveTo>
                      <a:pt x="188" y="81"/>
                    </a:moveTo>
                    <a:lnTo>
                      <a:pt x="184" y="81"/>
                    </a:lnTo>
                    <a:lnTo>
                      <a:pt x="182" y="81"/>
                    </a:lnTo>
                    <a:lnTo>
                      <a:pt x="180" y="81"/>
                    </a:lnTo>
                    <a:lnTo>
                      <a:pt x="176" y="81"/>
                    </a:lnTo>
                    <a:lnTo>
                      <a:pt x="174" y="78"/>
                    </a:lnTo>
                    <a:lnTo>
                      <a:pt x="171" y="77"/>
                    </a:lnTo>
                    <a:lnTo>
                      <a:pt x="170" y="75"/>
                    </a:lnTo>
                    <a:lnTo>
                      <a:pt x="172" y="74"/>
                    </a:lnTo>
                    <a:lnTo>
                      <a:pt x="173" y="72"/>
                    </a:lnTo>
                    <a:lnTo>
                      <a:pt x="171" y="70"/>
                    </a:lnTo>
                    <a:lnTo>
                      <a:pt x="167" y="69"/>
                    </a:lnTo>
                    <a:lnTo>
                      <a:pt x="162" y="70"/>
                    </a:lnTo>
                    <a:lnTo>
                      <a:pt x="159" y="72"/>
                    </a:lnTo>
                    <a:lnTo>
                      <a:pt x="154" y="70"/>
                    </a:lnTo>
                    <a:lnTo>
                      <a:pt x="148" y="72"/>
                    </a:lnTo>
                    <a:lnTo>
                      <a:pt x="139" y="74"/>
                    </a:lnTo>
                    <a:lnTo>
                      <a:pt x="142" y="76"/>
                    </a:lnTo>
                    <a:lnTo>
                      <a:pt x="148" y="78"/>
                    </a:lnTo>
                    <a:lnTo>
                      <a:pt x="149" y="81"/>
                    </a:lnTo>
                    <a:lnTo>
                      <a:pt x="146" y="84"/>
                    </a:lnTo>
                    <a:lnTo>
                      <a:pt x="145" y="86"/>
                    </a:lnTo>
                    <a:lnTo>
                      <a:pt x="141" y="90"/>
                    </a:lnTo>
                    <a:lnTo>
                      <a:pt x="139" y="91"/>
                    </a:lnTo>
                    <a:lnTo>
                      <a:pt x="139" y="93"/>
                    </a:lnTo>
                    <a:lnTo>
                      <a:pt x="141" y="93"/>
                    </a:lnTo>
                    <a:lnTo>
                      <a:pt x="145" y="93"/>
                    </a:lnTo>
                    <a:lnTo>
                      <a:pt x="148" y="92"/>
                    </a:lnTo>
                    <a:lnTo>
                      <a:pt x="156" y="92"/>
                    </a:lnTo>
                    <a:lnTo>
                      <a:pt x="158" y="90"/>
                    </a:lnTo>
                    <a:lnTo>
                      <a:pt x="162" y="90"/>
                    </a:lnTo>
                    <a:lnTo>
                      <a:pt x="164" y="90"/>
                    </a:lnTo>
                    <a:lnTo>
                      <a:pt x="162" y="93"/>
                    </a:lnTo>
                    <a:lnTo>
                      <a:pt x="161" y="99"/>
                    </a:lnTo>
                    <a:lnTo>
                      <a:pt x="163" y="99"/>
                    </a:lnTo>
                    <a:lnTo>
                      <a:pt x="166" y="98"/>
                    </a:lnTo>
                    <a:lnTo>
                      <a:pt x="168" y="95"/>
                    </a:lnTo>
                    <a:lnTo>
                      <a:pt x="172" y="94"/>
                    </a:lnTo>
                    <a:lnTo>
                      <a:pt x="174" y="95"/>
                    </a:lnTo>
                    <a:lnTo>
                      <a:pt x="178" y="94"/>
                    </a:lnTo>
                    <a:lnTo>
                      <a:pt x="180" y="92"/>
                    </a:lnTo>
                    <a:lnTo>
                      <a:pt x="184" y="86"/>
                    </a:lnTo>
                    <a:lnTo>
                      <a:pt x="190" y="85"/>
                    </a:lnTo>
                    <a:lnTo>
                      <a:pt x="193" y="85"/>
                    </a:lnTo>
                    <a:lnTo>
                      <a:pt x="190" y="82"/>
                    </a:lnTo>
                    <a:lnTo>
                      <a:pt x="188" y="8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31" name="Freeform 97">
                <a:extLst>
                  <a:ext uri="{FF2B5EF4-FFF2-40B4-BE49-F238E27FC236}">
                    <a16:creationId xmlns:a16="http://schemas.microsoft.com/office/drawing/2014/main" id="{8B390230-6883-44AE-8AB5-BF57980BDD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98" y="1912"/>
                <a:ext cx="32" cy="21"/>
              </a:xfrm>
              <a:custGeom>
                <a:avLst/>
                <a:gdLst>
                  <a:gd name="T0" fmla="*/ 2 w 32"/>
                  <a:gd name="T1" fmla="*/ 21 h 21"/>
                  <a:gd name="T2" fmla="*/ 0 w 32"/>
                  <a:gd name="T3" fmla="*/ 19 h 21"/>
                  <a:gd name="T4" fmla="*/ 1 w 32"/>
                  <a:gd name="T5" fmla="*/ 16 h 21"/>
                  <a:gd name="T6" fmla="*/ 4 w 32"/>
                  <a:gd name="T7" fmla="*/ 13 h 21"/>
                  <a:gd name="T8" fmla="*/ 6 w 32"/>
                  <a:gd name="T9" fmla="*/ 12 h 21"/>
                  <a:gd name="T10" fmla="*/ 8 w 32"/>
                  <a:gd name="T11" fmla="*/ 12 h 21"/>
                  <a:gd name="T12" fmla="*/ 10 w 32"/>
                  <a:gd name="T13" fmla="*/ 12 h 21"/>
                  <a:gd name="T14" fmla="*/ 13 w 32"/>
                  <a:gd name="T15" fmla="*/ 12 h 21"/>
                  <a:gd name="T16" fmla="*/ 16 w 32"/>
                  <a:gd name="T17" fmla="*/ 12 h 21"/>
                  <a:gd name="T18" fmla="*/ 19 w 32"/>
                  <a:gd name="T19" fmla="*/ 9 h 21"/>
                  <a:gd name="T20" fmla="*/ 20 w 32"/>
                  <a:gd name="T21" fmla="*/ 6 h 21"/>
                  <a:gd name="T22" fmla="*/ 24 w 32"/>
                  <a:gd name="T23" fmla="*/ 3 h 21"/>
                  <a:gd name="T24" fmla="*/ 26 w 32"/>
                  <a:gd name="T25" fmla="*/ 3 h 21"/>
                  <a:gd name="T26" fmla="*/ 32 w 32"/>
                  <a:gd name="T27" fmla="*/ 0 h 21"/>
                  <a:gd name="T28" fmla="*/ 29 w 32"/>
                  <a:gd name="T29" fmla="*/ 3 h 21"/>
                  <a:gd name="T30" fmla="*/ 30 w 32"/>
                  <a:gd name="T31" fmla="*/ 5 h 21"/>
                  <a:gd name="T32" fmla="*/ 30 w 32"/>
                  <a:gd name="T33" fmla="*/ 10 h 21"/>
                  <a:gd name="T34" fmla="*/ 29 w 32"/>
                  <a:gd name="T35" fmla="*/ 13 h 21"/>
                  <a:gd name="T36" fmla="*/ 26 w 32"/>
                  <a:gd name="T37" fmla="*/ 14 h 21"/>
                  <a:gd name="T38" fmla="*/ 24 w 32"/>
                  <a:gd name="T39" fmla="*/ 13 h 21"/>
                  <a:gd name="T40" fmla="*/ 24 w 32"/>
                  <a:gd name="T41" fmla="*/ 13 h 21"/>
                  <a:gd name="T42" fmla="*/ 23 w 32"/>
                  <a:gd name="T43" fmla="*/ 13 h 21"/>
                  <a:gd name="T44" fmla="*/ 20 w 32"/>
                  <a:gd name="T45" fmla="*/ 13 h 21"/>
                  <a:gd name="T46" fmla="*/ 13 w 32"/>
                  <a:gd name="T47" fmla="*/ 14 h 21"/>
                  <a:gd name="T48" fmla="*/ 11 w 32"/>
                  <a:gd name="T49" fmla="*/ 13 h 21"/>
                  <a:gd name="T50" fmla="*/ 11 w 32"/>
                  <a:gd name="T51" fmla="*/ 14 h 21"/>
                  <a:gd name="T52" fmla="*/ 6 w 32"/>
                  <a:gd name="T53" fmla="*/ 16 h 21"/>
                  <a:gd name="T54" fmla="*/ 2 w 32"/>
                  <a:gd name="T55" fmla="*/ 21 h 21"/>
                  <a:gd name="T56" fmla="*/ 2 w 32"/>
                  <a:gd name="T57" fmla="*/ 2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2" h="21">
                    <a:moveTo>
                      <a:pt x="2" y="21"/>
                    </a:moveTo>
                    <a:lnTo>
                      <a:pt x="0" y="19"/>
                    </a:lnTo>
                    <a:lnTo>
                      <a:pt x="1" y="16"/>
                    </a:lnTo>
                    <a:lnTo>
                      <a:pt x="4" y="13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10" y="12"/>
                    </a:lnTo>
                    <a:lnTo>
                      <a:pt x="13" y="12"/>
                    </a:lnTo>
                    <a:lnTo>
                      <a:pt x="16" y="12"/>
                    </a:lnTo>
                    <a:lnTo>
                      <a:pt x="19" y="9"/>
                    </a:lnTo>
                    <a:lnTo>
                      <a:pt x="20" y="6"/>
                    </a:lnTo>
                    <a:lnTo>
                      <a:pt x="24" y="3"/>
                    </a:lnTo>
                    <a:lnTo>
                      <a:pt x="26" y="3"/>
                    </a:lnTo>
                    <a:lnTo>
                      <a:pt x="32" y="0"/>
                    </a:lnTo>
                    <a:lnTo>
                      <a:pt x="29" y="3"/>
                    </a:lnTo>
                    <a:lnTo>
                      <a:pt x="30" y="5"/>
                    </a:lnTo>
                    <a:lnTo>
                      <a:pt x="30" y="10"/>
                    </a:lnTo>
                    <a:lnTo>
                      <a:pt x="29" y="13"/>
                    </a:lnTo>
                    <a:lnTo>
                      <a:pt x="26" y="14"/>
                    </a:lnTo>
                    <a:lnTo>
                      <a:pt x="24" y="13"/>
                    </a:lnTo>
                    <a:lnTo>
                      <a:pt x="24" y="13"/>
                    </a:lnTo>
                    <a:lnTo>
                      <a:pt x="23" y="13"/>
                    </a:lnTo>
                    <a:lnTo>
                      <a:pt x="20" y="13"/>
                    </a:lnTo>
                    <a:lnTo>
                      <a:pt x="13" y="14"/>
                    </a:lnTo>
                    <a:lnTo>
                      <a:pt x="11" y="13"/>
                    </a:lnTo>
                    <a:lnTo>
                      <a:pt x="11" y="14"/>
                    </a:lnTo>
                    <a:lnTo>
                      <a:pt x="6" y="16"/>
                    </a:lnTo>
                    <a:lnTo>
                      <a:pt x="2" y="21"/>
                    </a:lnTo>
                    <a:lnTo>
                      <a:pt x="2" y="2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32" name="Freeform 98">
                <a:extLst>
                  <a:ext uri="{FF2B5EF4-FFF2-40B4-BE49-F238E27FC236}">
                    <a16:creationId xmlns:a16="http://schemas.microsoft.com/office/drawing/2014/main" id="{EAB55EFF-F9DE-40A2-AEFB-CE3BA4B8AF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5" y="1966"/>
                <a:ext cx="12" cy="7"/>
              </a:xfrm>
              <a:custGeom>
                <a:avLst/>
                <a:gdLst>
                  <a:gd name="T0" fmla="*/ 12 w 12"/>
                  <a:gd name="T1" fmla="*/ 3 h 7"/>
                  <a:gd name="T2" fmla="*/ 9 w 12"/>
                  <a:gd name="T3" fmla="*/ 6 h 7"/>
                  <a:gd name="T4" fmla="*/ 7 w 12"/>
                  <a:gd name="T5" fmla="*/ 7 h 7"/>
                  <a:gd name="T6" fmla="*/ 0 w 12"/>
                  <a:gd name="T7" fmla="*/ 3 h 7"/>
                  <a:gd name="T8" fmla="*/ 1 w 12"/>
                  <a:gd name="T9" fmla="*/ 1 h 7"/>
                  <a:gd name="T10" fmla="*/ 4 w 12"/>
                  <a:gd name="T11" fmla="*/ 0 h 7"/>
                  <a:gd name="T12" fmla="*/ 6 w 12"/>
                  <a:gd name="T13" fmla="*/ 2 h 7"/>
                  <a:gd name="T14" fmla="*/ 10 w 12"/>
                  <a:gd name="T15" fmla="*/ 2 h 7"/>
                  <a:gd name="T16" fmla="*/ 12 w 12"/>
                  <a:gd name="T17" fmla="*/ 3 h 7"/>
                  <a:gd name="T18" fmla="*/ 12 w 12"/>
                  <a:gd name="T19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" h="7">
                    <a:moveTo>
                      <a:pt x="12" y="3"/>
                    </a:moveTo>
                    <a:lnTo>
                      <a:pt x="9" y="6"/>
                    </a:lnTo>
                    <a:lnTo>
                      <a:pt x="7" y="7"/>
                    </a:lnTo>
                    <a:lnTo>
                      <a:pt x="0" y="3"/>
                    </a:lnTo>
                    <a:lnTo>
                      <a:pt x="1" y="1"/>
                    </a:lnTo>
                    <a:lnTo>
                      <a:pt x="4" y="0"/>
                    </a:lnTo>
                    <a:lnTo>
                      <a:pt x="6" y="2"/>
                    </a:lnTo>
                    <a:lnTo>
                      <a:pt x="10" y="2"/>
                    </a:lnTo>
                    <a:lnTo>
                      <a:pt x="12" y="3"/>
                    </a:lnTo>
                    <a:lnTo>
                      <a:pt x="12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33" name="Freeform 99">
                <a:extLst>
                  <a:ext uri="{FF2B5EF4-FFF2-40B4-BE49-F238E27FC236}">
                    <a16:creationId xmlns:a16="http://schemas.microsoft.com/office/drawing/2014/main" id="{9FE0C78A-1BB4-4481-AB6B-3BF19C488B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07" y="2297"/>
                <a:ext cx="38" cy="10"/>
              </a:xfrm>
              <a:custGeom>
                <a:avLst/>
                <a:gdLst>
                  <a:gd name="T0" fmla="*/ 36 w 38"/>
                  <a:gd name="T1" fmla="*/ 9 h 10"/>
                  <a:gd name="T2" fmla="*/ 36 w 38"/>
                  <a:gd name="T3" fmla="*/ 9 h 10"/>
                  <a:gd name="T4" fmla="*/ 38 w 38"/>
                  <a:gd name="T5" fmla="*/ 8 h 10"/>
                  <a:gd name="T6" fmla="*/ 38 w 38"/>
                  <a:gd name="T7" fmla="*/ 4 h 10"/>
                  <a:gd name="T8" fmla="*/ 36 w 38"/>
                  <a:gd name="T9" fmla="*/ 5 h 10"/>
                  <a:gd name="T10" fmla="*/ 30 w 38"/>
                  <a:gd name="T11" fmla="*/ 6 h 10"/>
                  <a:gd name="T12" fmla="*/ 30 w 38"/>
                  <a:gd name="T13" fmla="*/ 4 h 10"/>
                  <a:gd name="T14" fmla="*/ 26 w 38"/>
                  <a:gd name="T15" fmla="*/ 4 h 10"/>
                  <a:gd name="T16" fmla="*/ 23 w 38"/>
                  <a:gd name="T17" fmla="*/ 4 h 10"/>
                  <a:gd name="T18" fmla="*/ 20 w 38"/>
                  <a:gd name="T19" fmla="*/ 3 h 10"/>
                  <a:gd name="T20" fmla="*/ 16 w 38"/>
                  <a:gd name="T21" fmla="*/ 2 h 10"/>
                  <a:gd name="T22" fmla="*/ 11 w 38"/>
                  <a:gd name="T23" fmla="*/ 4 h 10"/>
                  <a:gd name="T24" fmla="*/ 9 w 38"/>
                  <a:gd name="T25" fmla="*/ 3 h 10"/>
                  <a:gd name="T26" fmla="*/ 8 w 38"/>
                  <a:gd name="T27" fmla="*/ 1 h 10"/>
                  <a:gd name="T28" fmla="*/ 6 w 38"/>
                  <a:gd name="T29" fmla="*/ 1 h 10"/>
                  <a:gd name="T30" fmla="*/ 0 w 38"/>
                  <a:gd name="T31" fmla="*/ 0 h 10"/>
                  <a:gd name="T32" fmla="*/ 0 w 38"/>
                  <a:gd name="T33" fmla="*/ 5 h 10"/>
                  <a:gd name="T34" fmla="*/ 11 w 38"/>
                  <a:gd name="T35" fmla="*/ 6 h 10"/>
                  <a:gd name="T36" fmla="*/ 16 w 38"/>
                  <a:gd name="T37" fmla="*/ 8 h 10"/>
                  <a:gd name="T38" fmla="*/ 16 w 38"/>
                  <a:gd name="T39" fmla="*/ 9 h 10"/>
                  <a:gd name="T40" fmla="*/ 17 w 38"/>
                  <a:gd name="T41" fmla="*/ 10 h 10"/>
                  <a:gd name="T42" fmla="*/ 22 w 38"/>
                  <a:gd name="T43" fmla="*/ 10 h 10"/>
                  <a:gd name="T44" fmla="*/ 25 w 38"/>
                  <a:gd name="T45" fmla="*/ 9 h 10"/>
                  <a:gd name="T46" fmla="*/ 36 w 38"/>
                  <a:gd name="T47" fmla="*/ 9 h 10"/>
                  <a:gd name="T48" fmla="*/ 36 w 38"/>
                  <a:gd name="T49" fmla="*/ 9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38" h="10">
                    <a:moveTo>
                      <a:pt x="36" y="9"/>
                    </a:moveTo>
                    <a:lnTo>
                      <a:pt x="36" y="9"/>
                    </a:lnTo>
                    <a:lnTo>
                      <a:pt x="38" y="8"/>
                    </a:lnTo>
                    <a:lnTo>
                      <a:pt x="38" y="4"/>
                    </a:lnTo>
                    <a:lnTo>
                      <a:pt x="36" y="5"/>
                    </a:lnTo>
                    <a:lnTo>
                      <a:pt x="30" y="6"/>
                    </a:lnTo>
                    <a:lnTo>
                      <a:pt x="30" y="4"/>
                    </a:lnTo>
                    <a:lnTo>
                      <a:pt x="26" y="4"/>
                    </a:lnTo>
                    <a:lnTo>
                      <a:pt x="23" y="4"/>
                    </a:lnTo>
                    <a:lnTo>
                      <a:pt x="20" y="3"/>
                    </a:lnTo>
                    <a:lnTo>
                      <a:pt x="16" y="2"/>
                    </a:lnTo>
                    <a:lnTo>
                      <a:pt x="11" y="4"/>
                    </a:lnTo>
                    <a:lnTo>
                      <a:pt x="9" y="3"/>
                    </a:lnTo>
                    <a:lnTo>
                      <a:pt x="8" y="1"/>
                    </a:lnTo>
                    <a:lnTo>
                      <a:pt x="6" y="1"/>
                    </a:lnTo>
                    <a:lnTo>
                      <a:pt x="0" y="0"/>
                    </a:lnTo>
                    <a:lnTo>
                      <a:pt x="0" y="5"/>
                    </a:lnTo>
                    <a:lnTo>
                      <a:pt x="11" y="6"/>
                    </a:lnTo>
                    <a:lnTo>
                      <a:pt x="16" y="8"/>
                    </a:lnTo>
                    <a:lnTo>
                      <a:pt x="16" y="9"/>
                    </a:lnTo>
                    <a:lnTo>
                      <a:pt x="17" y="10"/>
                    </a:lnTo>
                    <a:lnTo>
                      <a:pt x="22" y="10"/>
                    </a:lnTo>
                    <a:lnTo>
                      <a:pt x="25" y="9"/>
                    </a:lnTo>
                    <a:lnTo>
                      <a:pt x="36" y="9"/>
                    </a:lnTo>
                    <a:lnTo>
                      <a:pt x="36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34" name="Freeform 100">
                <a:extLst>
                  <a:ext uri="{FF2B5EF4-FFF2-40B4-BE49-F238E27FC236}">
                    <a16:creationId xmlns:a16="http://schemas.microsoft.com/office/drawing/2014/main" id="{5CC346E7-6F69-4751-BB71-3A91696734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64" y="2284"/>
                <a:ext cx="7" cy="8"/>
              </a:xfrm>
              <a:custGeom>
                <a:avLst/>
                <a:gdLst>
                  <a:gd name="T0" fmla="*/ 2 w 7"/>
                  <a:gd name="T1" fmla="*/ 7 h 8"/>
                  <a:gd name="T2" fmla="*/ 6 w 7"/>
                  <a:gd name="T3" fmla="*/ 5 h 8"/>
                  <a:gd name="T4" fmla="*/ 7 w 7"/>
                  <a:gd name="T5" fmla="*/ 0 h 8"/>
                  <a:gd name="T6" fmla="*/ 5 w 7"/>
                  <a:gd name="T7" fmla="*/ 0 h 8"/>
                  <a:gd name="T8" fmla="*/ 1 w 7"/>
                  <a:gd name="T9" fmla="*/ 2 h 8"/>
                  <a:gd name="T10" fmla="*/ 0 w 7"/>
                  <a:gd name="T11" fmla="*/ 5 h 8"/>
                  <a:gd name="T12" fmla="*/ 0 w 7"/>
                  <a:gd name="T13" fmla="*/ 8 h 8"/>
                  <a:gd name="T14" fmla="*/ 2 w 7"/>
                  <a:gd name="T15" fmla="*/ 7 h 8"/>
                  <a:gd name="T16" fmla="*/ 2 w 7"/>
                  <a:gd name="T17" fmla="*/ 7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" h="8">
                    <a:moveTo>
                      <a:pt x="2" y="7"/>
                    </a:moveTo>
                    <a:lnTo>
                      <a:pt x="6" y="5"/>
                    </a:lnTo>
                    <a:lnTo>
                      <a:pt x="7" y="0"/>
                    </a:lnTo>
                    <a:lnTo>
                      <a:pt x="5" y="0"/>
                    </a:lnTo>
                    <a:lnTo>
                      <a:pt x="1" y="2"/>
                    </a:lnTo>
                    <a:lnTo>
                      <a:pt x="0" y="5"/>
                    </a:lnTo>
                    <a:lnTo>
                      <a:pt x="0" y="8"/>
                    </a:lnTo>
                    <a:lnTo>
                      <a:pt x="2" y="7"/>
                    </a:lnTo>
                    <a:lnTo>
                      <a:pt x="2" y="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35" name="Freeform 101">
                <a:extLst>
                  <a:ext uri="{FF2B5EF4-FFF2-40B4-BE49-F238E27FC236}">
                    <a16:creationId xmlns:a16="http://schemas.microsoft.com/office/drawing/2014/main" id="{259AB2AE-FC32-446E-AE0F-BDE7EBEC9F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7" y="2296"/>
                <a:ext cx="31" cy="17"/>
              </a:xfrm>
              <a:custGeom>
                <a:avLst/>
                <a:gdLst>
                  <a:gd name="T0" fmla="*/ 3 w 31"/>
                  <a:gd name="T1" fmla="*/ 14 h 17"/>
                  <a:gd name="T2" fmla="*/ 5 w 31"/>
                  <a:gd name="T3" fmla="*/ 15 h 17"/>
                  <a:gd name="T4" fmla="*/ 8 w 31"/>
                  <a:gd name="T5" fmla="*/ 15 h 17"/>
                  <a:gd name="T6" fmla="*/ 10 w 31"/>
                  <a:gd name="T7" fmla="*/ 17 h 17"/>
                  <a:gd name="T8" fmla="*/ 10 w 31"/>
                  <a:gd name="T9" fmla="*/ 15 h 17"/>
                  <a:gd name="T10" fmla="*/ 11 w 31"/>
                  <a:gd name="T11" fmla="*/ 15 h 17"/>
                  <a:gd name="T12" fmla="*/ 13 w 31"/>
                  <a:gd name="T13" fmla="*/ 14 h 17"/>
                  <a:gd name="T14" fmla="*/ 17 w 31"/>
                  <a:gd name="T15" fmla="*/ 13 h 17"/>
                  <a:gd name="T16" fmla="*/ 19 w 31"/>
                  <a:gd name="T17" fmla="*/ 11 h 17"/>
                  <a:gd name="T18" fmla="*/ 22 w 31"/>
                  <a:gd name="T19" fmla="*/ 11 h 17"/>
                  <a:gd name="T20" fmla="*/ 24 w 31"/>
                  <a:gd name="T21" fmla="*/ 10 h 17"/>
                  <a:gd name="T22" fmla="*/ 22 w 31"/>
                  <a:gd name="T23" fmla="*/ 7 h 17"/>
                  <a:gd name="T24" fmla="*/ 23 w 31"/>
                  <a:gd name="T25" fmla="*/ 5 h 17"/>
                  <a:gd name="T26" fmla="*/ 25 w 31"/>
                  <a:gd name="T27" fmla="*/ 3 h 17"/>
                  <a:gd name="T28" fmla="*/ 29 w 31"/>
                  <a:gd name="T29" fmla="*/ 2 h 17"/>
                  <a:gd name="T30" fmla="*/ 31 w 31"/>
                  <a:gd name="T31" fmla="*/ 0 h 17"/>
                  <a:gd name="T32" fmla="*/ 29 w 31"/>
                  <a:gd name="T33" fmla="*/ 1 h 17"/>
                  <a:gd name="T34" fmla="*/ 24 w 31"/>
                  <a:gd name="T35" fmla="*/ 3 h 17"/>
                  <a:gd name="T36" fmla="*/ 19 w 31"/>
                  <a:gd name="T37" fmla="*/ 4 h 17"/>
                  <a:gd name="T38" fmla="*/ 14 w 31"/>
                  <a:gd name="T39" fmla="*/ 5 h 17"/>
                  <a:gd name="T40" fmla="*/ 12 w 31"/>
                  <a:gd name="T41" fmla="*/ 4 h 17"/>
                  <a:gd name="T42" fmla="*/ 8 w 31"/>
                  <a:gd name="T43" fmla="*/ 6 h 17"/>
                  <a:gd name="T44" fmla="*/ 8 w 31"/>
                  <a:gd name="T45" fmla="*/ 7 h 17"/>
                  <a:gd name="T46" fmla="*/ 4 w 31"/>
                  <a:gd name="T47" fmla="*/ 7 h 17"/>
                  <a:gd name="T48" fmla="*/ 0 w 31"/>
                  <a:gd name="T49" fmla="*/ 10 h 17"/>
                  <a:gd name="T50" fmla="*/ 0 w 31"/>
                  <a:gd name="T51" fmla="*/ 12 h 17"/>
                  <a:gd name="T52" fmla="*/ 3 w 31"/>
                  <a:gd name="T53" fmla="*/ 14 h 17"/>
                  <a:gd name="T54" fmla="*/ 3 w 31"/>
                  <a:gd name="T55" fmla="*/ 14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31" h="17">
                    <a:moveTo>
                      <a:pt x="3" y="14"/>
                    </a:moveTo>
                    <a:lnTo>
                      <a:pt x="5" y="15"/>
                    </a:lnTo>
                    <a:lnTo>
                      <a:pt x="8" y="15"/>
                    </a:lnTo>
                    <a:lnTo>
                      <a:pt x="10" y="17"/>
                    </a:lnTo>
                    <a:lnTo>
                      <a:pt x="10" y="15"/>
                    </a:lnTo>
                    <a:lnTo>
                      <a:pt x="11" y="15"/>
                    </a:lnTo>
                    <a:lnTo>
                      <a:pt x="13" y="14"/>
                    </a:lnTo>
                    <a:lnTo>
                      <a:pt x="17" y="13"/>
                    </a:lnTo>
                    <a:lnTo>
                      <a:pt x="19" y="11"/>
                    </a:lnTo>
                    <a:lnTo>
                      <a:pt x="22" y="11"/>
                    </a:lnTo>
                    <a:lnTo>
                      <a:pt x="24" y="10"/>
                    </a:lnTo>
                    <a:lnTo>
                      <a:pt x="22" y="7"/>
                    </a:lnTo>
                    <a:lnTo>
                      <a:pt x="23" y="5"/>
                    </a:lnTo>
                    <a:lnTo>
                      <a:pt x="25" y="3"/>
                    </a:lnTo>
                    <a:lnTo>
                      <a:pt x="29" y="2"/>
                    </a:lnTo>
                    <a:lnTo>
                      <a:pt x="31" y="0"/>
                    </a:lnTo>
                    <a:lnTo>
                      <a:pt x="29" y="1"/>
                    </a:lnTo>
                    <a:lnTo>
                      <a:pt x="24" y="3"/>
                    </a:lnTo>
                    <a:lnTo>
                      <a:pt x="19" y="4"/>
                    </a:lnTo>
                    <a:lnTo>
                      <a:pt x="14" y="5"/>
                    </a:lnTo>
                    <a:lnTo>
                      <a:pt x="12" y="4"/>
                    </a:lnTo>
                    <a:lnTo>
                      <a:pt x="8" y="6"/>
                    </a:lnTo>
                    <a:lnTo>
                      <a:pt x="8" y="7"/>
                    </a:lnTo>
                    <a:lnTo>
                      <a:pt x="4" y="7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3" y="14"/>
                    </a:lnTo>
                    <a:lnTo>
                      <a:pt x="3" y="1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36" name="Freeform 102">
                <a:extLst>
                  <a:ext uri="{FF2B5EF4-FFF2-40B4-BE49-F238E27FC236}">
                    <a16:creationId xmlns:a16="http://schemas.microsoft.com/office/drawing/2014/main" id="{0EB07D70-0670-4C5E-A35D-A2C60B55EA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45" y="1656"/>
                <a:ext cx="29" cy="18"/>
              </a:xfrm>
              <a:custGeom>
                <a:avLst/>
                <a:gdLst>
                  <a:gd name="T0" fmla="*/ 25 w 29"/>
                  <a:gd name="T1" fmla="*/ 10 h 18"/>
                  <a:gd name="T2" fmla="*/ 27 w 29"/>
                  <a:gd name="T3" fmla="*/ 9 h 18"/>
                  <a:gd name="T4" fmla="*/ 26 w 29"/>
                  <a:gd name="T5" fmla="*/ 11 h 18"/>
                  <a:gd name="T6" fmla="*/ 29 w 29"/>
                  <a:gd name="T7" fmla="*/ 9 h 18"/>
                  <a:gd name="T8" fmla="*/ 27 w 29"/>
                  <a:gd name="T9" fmla="*/ 7 h 18"/>
                  <a:gd name="T10" fmla="*/ 25 w 29"/>
                  <a:gd name="T11" fmla="*/ 4 h 18"/>
                  <a:gd name="T12" fmla="*/ 16 w 29"/>
                  <a:gd name="T13" fmla="*/ 1 h 18"/>
                  <a:gd name="T14" fmla="*/ 14 w 29"/>
                  <a:gd name="T15" fmla="*/ 0 h 18"/>
                  <a:gd name="T16" fmla="*/ 10 w 29"/>
                  <a:gd name="T17" fmla="*/ 0 h 18"/>
                  <a:gd name="T18" fmla="*/ 6 w 29"/>
                  <a:gd name="T19" fmla="*/ 1 h 18"/>
                  <a:gd name="T20" fmla="*/ 2 w 29"/>
                  <a:gd name="T21" fmla="*/ 3 h 18"/>
                  <a:gd name="T22" fmla="*/ 1 w 29"/>
                  <a:gd name="T23" fmla="*/ 7 h 18"/>
                  <a:gd name="T24" fmla="*/ 0 w 29"/>
                  <a:gd name="T25" fmla="*/ 12 h 18"/>
                  <a:gd name="T26" fmla="*/ 0 w 29"/>
                  <a:gd name="T27" fmla="*/ 14 h 18"/>
                  <a:gd name="T28" fmla="*/ 6 w 29"/>
                  <a:gd name="T29" fmla="*/ 18 h 18"/>
                  <a:gd name="T30" fmla="*/ 11 w 29"/>
                  <a:gd name="T31" fmla="*/ 18 h 18"/>
                  <a:gd name="T32" fmla="*/ 17 w 29"/>
                  <a:gd name="T33" fmla="*/ 17 h 18"/>
                  <a:gd name="T34" fmla="*/ 19 w 29"/>
                  <a:gd name="T35" fmla="*/ 16 h 18"/>
                  <a:gd name="T36" fmla="*/ 25 w 29"/>
                  <a:gd name="T37" fmla="*/ 10 h 18"/>
                  <a:gd name="T38" fmla="*/ 25 w 29"/>
                  <a:gd name="T39" fmla="*/ 1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9" h="18">
                    <a:moveTo>
                      <a:pt x="25" y="10"/>
                    </a:moveTo>
                    <a:lnTo>
                      <a:pt x="27" y="9"/>
                    </a:lnTo>
                    <a:lnTo>
                      <a:pt x="26" y="11"/>
                    </a:lnTo>
                    <a:lnTo>
                      <a:pt x="29" y="9"/>
                    </a:lnTo>
                    <a:lnTo>
                      <a:pt x="27" y="7"/>
                    </a:lnTo>
                    <a:lnTo>
                      <a:pt x="25" y="4"/>
                    </a:lnTo>
                    <a:lnTo>
                      <a:pt x="16" y="1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6" y="1"/>
                    </a:lnTo>
                    <a:lnTo>
                      <a:pt x="2" y="3"/>
                    </a:lnTo>
                    <a:lnTo>
                      <a:pt x="1" y="7"/>
                    </a:lnTo>
                    <a:lnTo>
                      <a:pt x="0" y="12"/>
                    </a:lnTo>
                    <a:lnTo>
                      <a:pt x="0" y="14"/>
                    </a:lnTo>
                    <a:lnTo>
                      <a:pt x="6" y="18"/>
                    </a:lnTo>
                    <a:lnTo>
                      <a:pt x="11" y="18"/>
                    </a:lnTo>
                    <a:lnTo>
                      <a:pt x="17" y="17"/>
                    </a:lnTo>
                    <a:lnTo>
                      <a:pt x="19" y="16"/>
                    </a:lnTo>
                    <a:lnTo>
                      <a:pt x="25" y="10"/>
                    </a:lnTo>
                    <a:lnTo>
                      <a:pt x="25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37" name="Freeform 103">
                <a:extLst>
                  <a:ext uri="{FF2B5EF4-FFF2-40B4-BE49-F238E27FC236}">
                    <a16:creationId xmlns:a16="http://schemas.microsoft.com/office/drawing/2014/main" id="{A4105272-A0F1-4815-AB68-50EEF73A62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87" y="1632"/>
                <a:ext cx="27" cy="19"/>
              </a:xfrm>
              <a:custGeom>
                <a:avLst/>
                <a:gdLst>
                  <a:gd name="T0" fmla="*/ 22 w 27"/>
                  <a:gd name="T1" fmla="*/ 11 h 19"/>
                  <a:gd name="T2" fmla="*/ 19 w 27"/>
                  <a:gd name="T3" fmla="*/ 9 h 19"/>
                  <a:gd name="T4" fmla="*/ 17 w 27"/>
                  <a:gd name="T5" fmla="*/ 9 h 19"/>
                  <a:gd name="T6" fmla="*/ 13 w 27"/>
                  <a:gd name="T7" fmla="*/ 7 h 19"/>
                  <a:gd name="T8" fmla="*/ 11 w 27"/>
                  <a:gd name="T9" fmla="*/ 4 h 19"/>
                  <a:gd name="T10" fmla="*/ 5 w 27"/>
                  <a:gd name="T11" fmla="*/ 0 h 19"/>
                  <a:gd name="T12" fmla="*/ 3 w 27"/>
                  <a:gd name="T13" fmla="*/ 1 h 19"/>
                  <a:gd name="T14" fmla="*/ 0 w 27"/>
                  <a:gd name="T15" fmla="*/ 3 h 19"/>
                  <a:gd name="T16" fmla="*/ 3 w 27"/>
                  <a:gd name="T17" fmla="*/ 6 h 19"/>
                  <a:gd name="T18" fmla="*/ 0 w 27"/>
                  <a:gd name="T19" fmla="*/ 6 h 19"/>
                  <a:gd name="T20" fmla="*/ 1 w 27"/>
                  <a:gd name="T21" fmla="*/ 10 h 19"/>
                  <a:gd name="T22" fmla="*/ 2 w 27"/>
                  <a:gd name="T23" fmla="*/ 11 h 19"/>
                  <a:gd name="T24" fmla="*/ 6 w 27"/>
                  <a:gd name="T25" fmla="*/ 15 h 19"/>
                  <a:gd name="T26" fmla="*/ 10 w 27"/>
                  <a:gd name="T27" fmla="*/ 15 h 19"/>
                  <a:gd name="T28" fmla="*/ 12 w 27"/>
                  <a:gd name="T29" fmla="*/ 15 h 19"/>
                  <a:gd name="T30" fmla="*/ 13 w 27"/>
                  <a:gd name="T31" fmla="*/ 18 h 19"/>
                  <a:gd name="T32" fmla="*/ 17 w 27"/>
                  <a:gd name="T33" fmla="*/ 19 h 19"/>
                  <a:gd name="T34" fmla="*/ 19 w 27"/>
                  <a:gd name="T35" fmla="*/ 18 h 19"/>
                  <a:gd name="T36" fmla="*/ 22 w 27"/>
                  <a:gd name="T37" fmla="*/ 19 h 19"/>
                  <a:gd name="T38" fmla="*/ 24 w 27"/>
                  <a:gd name="T39" fmla="*/ 18 h 19"/>
                  <a:gd name="T40" fmla="*/ 27 w 27"/>
                  <a:gd name="T41" fmla="*/ 16 h 19"/>
                  <a:gd name="T42" fmla="*/ 26 w 27"/>
                  <a:gd name="T43" fmla="*/ 12 h 19"/>
                  <a:gd name="T44" fmla="*/ 22 w 27"/>
                  <a:gd name="T45" fmla="*/ 11 h 19"/>
                  <a:gd name="T46" fmla="*/ 22 w 27"/>
                  <a:gd name="T47" fmla="*/ 11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7" h="19">
                    <a:moveTo>
                      <a:pt x="22" y="11"/>
                    </a:moveTo>
                    <a:lnTo>
                      <a:pt x="19" y="9"/>
                    </a:lnTo>
                    <a:lnTo>
                      <a:pt x="17" y="9"/>
                    </a:lnTo>
                    <a:lnTo>
                      <a:pt x="13" y="7"/>
                    </a:lnTo>
                    <a:lnTo>
                      <a:pt x="11" y="4"/>
                    </a:lnTo>
                    <a:lnTo>
                      <a:pt x="5" y="0"/>
                    </a:lnTo>
                    <a:lnTo>
                      <a:pt x="3" y="1"/>
                    </a:lnTo>
                    <a:lnTo>
                      <a:pt x="0" y="3"/>
                    </a:lnTo>
                    <a:lnTo>
                      <a:pt x="3" y="6"/>
                    </a:lnTo>
                    <a:lnTo>
                      <a:pt x="0" y="6"/>
                    </a:lnTo>
                    <a:lnTo>
                      <a:pt x="1" y="10"/>
                    </a:lnTo>
                    <a:lnTo>
                      <a:pt x="2" y="11"/>
                    </a:lnTo>
                    <a:lnTo>
                      <a:pt x="6" y="15"/>
                    </a:lnTo>
                    <a:lnTo>
                      <a:pt x="10" y="15"/>
                    </a:lnTo>
                    <a:lnTo>
                      <a:pt x="12" y="15"/>
                    </a:lnTo>
                    <a:lnTo>
                      <a:pt x="13" y="18"/>
                    </a:lnTo>
                    <a:lnTo>
                      <a:pt x="17" y="19"/>
                    </a:lnTo>
                    <a:lnTo>
                      <a:pt x="19" y="18"/>
                    </a:lnTo>
                    <a:lnTo>
                      <a:pt x="22" y="19"/>
                    </a:lnTo>
                    <a:lnTo>
                      <a:pt x="24" y="18"/>
                    </a:lnTo>
                    <a:lnTo>
                      <a:pt x="27" y="16"/>
                    </a:lnTo>
                    <a:lnTo>
                      <a:pt x="26" y="12"/>
                    </a:lnTo>
                    <a:lnTo>
                      <a:pt x="22" y="11"/>
                    </a:lnTo>
                    <a:lnTo>
                      <a:pt x="22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38" name="Freeform 104">
                <a:extLst>
                  <a:ext uri="{FF2B5EF4-FFF2-40B4-BE49-F238E27FC236}">
                    <a16:creationId xmlns:a16="http://schemas.microsoft.com/office/drawing/2014/main" id="{092F285C-63E9-4844-AD24-FAFBEF7359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98" y="2242"/>
                <a:ext cx="23" cy="17"/>
              </a:xfrm>
              <a:custGeom>
                <a:avLst/>
                <a:gdLst>
                  <a:gd name="T0" fmla="*/ 9 w 23"/>
                  <a:gd name="T1" fmla="*/ 9 h 17"/>
                  <a:gd name="T2" fmla="*/ 8 w 23"/>
                  <a:gd name="T3" fmla="*/ 7 h 17"/>
                  <a:gd name="T4" fmla="*/ 6 w 23"/>
                  <a:gd name="T5" fmla="*/ 5 h 17"/>
                  <a:gd name="T6" fmla="*/ 3 w 23"/>
                  <a:gd name="T7" fmla="*/ 4 h 17"/>
                  <a:gd name="T8" fmla="*/ 0 w 23"/>
                  <a:gd name="T9" fmla="*/ 4 h 17"/>
                  <a:gd name="T10" fmla="*/ 3 w 23"/>
                  <a:gd name="T11" fmla="*/ 1 h 17"/>
                  <a:gd name="T12" fmla="*/ 6 w 23"/>
                  <a:gd name="T13" fmla="*/ 0 h 17"/>
                  <a:gd name="T14" fmla="*/ 8 w 23"/>
                  <a:gd name="T15" fmla="*/ 4 h 17"/>
                  <a:gd name="T16" fmla="*/ 11 w 23"/>
                  <a:gd name="T17" fmla="*/ 5 h 17"/>
                  <a:gd name="T18" fmla="*/ 13 w 23"/>
                  <a:gd name="T19" fmla="*/ 6 h 17"/>
                  <a:gd name="T20" fmla="*/ 16 w 23"/>
                  <a:gd name="T21" fmla="*/ 6 h 17"/>
                  <a:gd name="T22" fmla="*/ 18 w 23"/>
                  <a:gd name="T23" fmla="*/ 9 h 17"/>
                  <a:gd name="T24" fmla="*/ 18 w 23"/>
                  <a:gd name="T25" fmla="*/ 12 h 17"/>
                  <a:gd name="T26" fmla="*/ 20 w 23"/>
                  <a:gd name="T27" fmla="*/ 14 h 17"/>
                  <a:gd name="T28" fmla="*/ 22 w 23"/>
                  <a:gd name="T29" fmla="*/ 15 h 17"/>
                  <a:gd name="T30" fmla="*/ 23 w 23"/>
                  <a:gd name="T31" fmla="*/ 17 h 17"/>
                  <a:gd name="T32" fmla="*/ 22 w 23"/>
                  <a:gd name="T33" fmla="*/ 17 h 17"/>
                  <a:gd name="T34" fmla="*/ 20 w 23"/>
                  <a:gd name="T35" fmla="*/ 16 h 17"/>
                  <a:gd name="T36" fmla="*/ 16 w 23"/>
                  <a:gd name="T37" fmla="*/ 12 h 17"/>
                  <a:gd name="T38" fmla="*/ 11 w 23"/>
                  <a:gd name="T39" fmla="*/ 11 h 17"/>
                  <a:gd name="T40" fmla="*/ 9 w 23"/>
                  <a:gd name="T41" fmla="*/ 9 h 17"/>
                  <a:gd name="T42" fmla="*/ 9 w 23"/>
                  <a:gd name="T43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3" h="17">
                    <a:moveTo>
                      <a:pt x="9" y="9"/>
                    </a:moveTo>
                    <a:lnTo>
                      <a:pt x="8" y="7"/>
                    </a:lnTo>
                    <a:lnTo>
                      <a:pt x="6" y="5"/>
                    </a:lnTo>
                    <a:lnTo>
                      <a:pt x="3" y="4"/>
                    </a:lnTo>
                    <a:lnTo>
                      <a:pt x="0" y="4"/>
                    </a:lnTo>
                    <a:lnTo>
                      <a:pt x="3" y="1"/>
                    </a:lnTo>
                    <a:lnTo>
                      <a:pt x="6" y="0"/>
                    </a:lnTo>
                    <a:lnTo>
                      <a:pt x="8" y="4"/>
                    </a:lnTo>
                    <a:lnTo>
                      <a:pt x="11" y="5"/>
                    </a:lnTo>
                    <a:lnTo>
                      <a:pt x="13" y="6"/>
                    </a:lnTo>
                    <a:lnTo>
                      <a:pt x="16" y="6"/>
                    </a:lnTo>
                    <a:lnTo>
                      <a:pt x="18" y="9"/>
                    </a:lnTo>
                    <a:lnTo>
                      <a:pt x="18" y="12"/>
                    </a:lnTo>
                    <a:lnTo>
                      <a:pt x="20" y="14"/>
                    </a:lnTo>
                    <a:lnTo>
                      <a:pt x="22" y="15"/>
                    </a:lnTo>
                    <a:lnTo>
                      <a:pt x="23" y="17"/>
                    </a:lnTo>
                    <a:lnTo>
                      <a:pt x="22" y="17"/>
                    </a:lnTo>
                    <a:lnTo>
                      <a:pt x="20" y="16"/>
                    </a:lnTo>
                    <a:lnTo>
                      <a:pt x="16" y="12"/>
                    </a:lnTo>
                    <a:lnTo>
                      <a:pt x="11" y="11"/>
                    </a:lnTo>
                    <a:lnTo>
                      <a:pt x="9" y="9"/>
                    </a:lnTo>
                    <a:lnTo>
                      <a:pt x="9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39" name="Freeform 105">
                <a:extLst>
                  <a:ext uri="{FF2B5EF4-FFF2-40B4-BE49-F238E27FC236}">
                    <a16:creationId xmlns:a16="http://schemas.microsoft.com/office/drawing/2014/main" id="{D3749DB2-B6CB-4840-BCB6-C0BBFB0E45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31" y="2123"/>
                <a:ext cx="55" cy="31"/>
              </a:xfrm>
              <a:custGeom>
                <a:avLst/>
                <a:gdLst>
                  <a:gd name="T0" fmla="*/ 15 w 55"/>
                  <a:gd name="T1" fmla="*/ 3 h 31"/>
                  <a:gd name="T2" fmla="*/ 15 w 55"/>
                  <a:gd name="T3" fmla="*/ 2 h 31"/>
                  <a:gd name="T4" fmla="*/ 15 w 55"/>
                  <a:gd name="T5" fmla="*/ 2 h 31"/>
                  <a:gd name="T6" fmla="*/ 15 w 55"/>
                  <a:gd name="T7" fmla="*/ 0 h 31"/>
                  <a:gd name="T8" fmla="*/ 15 w 55"/>
                  <a:gd name="T9" fmla="*/ 0 h 31"/>
                  <a:gd name="T10" fmla="*/ 18 w 55"/>
                  <a:gd name="T11" fmla="*/ 3 h 31"/>
                  <a:gd name="T12" fmla="*/ 19 w 55"/>
                  <a:gd name="T13" fmla="*/ 3 h 31"/>
                  <a:gd name="T14" fmla="*/ 21 w 55"/>
                  <a:gd name="T15" fmla="*/ 6 h 31"/>
                  <a:gd name="T16" fmla="*/ 25 w 55"/>
                  <a:gd name="T17" fmla="*/ 5 h 31"/>
                  <a:gd name="T18" fmla="*/ 26 w 55"/>
                  <a:gd name="T19" fmla="*/ 6 h 31"/>
                  <a:gd name="T20" fmla="*/ 27 w 55"/>
                  <a:gd name="T21" fmla="*/ 5 h 31"/>
                  <a:gd name="T22" fmla="*/ 26 w 55"/>
                  <a:gd name="T23" fmla="*/ 8 h 31"/>
                  <a:gd name="T24" fmla="*/ 26 w 55"/>
                  <a:gd name="T25" fmla="*/ 8 h 31"/>
                  <a:gd name="T26" fmla="*/ 28 w 55"/>
                  <a:gd name="T27" fmla="*/ 7 h 31"/>
                  <a:gd name="T28" fmla="*/ 33 w 55"/>
                  <a:gd name="T29" fmla="*/ 11 h 31"/>
                  <a:gd name="T30" fmla="*/ 34 w 55"/>
                  <a:gd name="T31" fmla="*/ 14 h 31"/>
                  <a:gd name="T32" fmla="*/ 36 w 55"/>
                  <a:gd name="T33" fmla="*/ 16 h 31"/>
                  <a:gd name="T34" fmla="*/ 36 w 55"/>
                  <a:gd name="T35" fmla="*/ 14 h 31"/>
                  <a:gd name="T36" fmla="*/ 33 w 55"/>
                  <a:gd name="T37" fmla="*/ 11 h 31"/>
                  <a:gd name="T38" fmla="*/ 32 w 55"/>
                  <a:gd name="T39" fmla="*/ 9 h 31"/>
                  <a:gd name="T40" fmla="*/ 33 w 55"/>
                  <a:gd name="T41" fmla="*/ 9 h 31"/>
                  <a:gd name="T42" fmla="*/ 33 w 55"/>
                  <a:gd name="T43" fmla="*/ 8 h 31"/>
                  <a:gd name="T44" fmla="*/ 33 w 55"/>
                  <a:gd name="T45" fmla="*/ 9 h 31"/>
                  <a:gd name="T46" fmla="*/ 37 w 55"/>
                  <a:gd name="T47" fmla="*/ 15 h 31"/>
                  <a:gd name="T48" fmla="*/ 41 w 55"/>
                  <a:gd name="T49" fmla="*/ 16 h 31"/>
                  <a:gd name="T50" fmla="*/ 45 w 55"/>
                  <a:gd name="T51" fmla="*/ 15 h 31"/>
                  <a:gd name="T52" fmla="*/ 47 w 55"/>
                  <a:gd name="T53" fmla="*/ 15 h 31"/>
                  <a:gd name="T54" fmla="*/ 50 w 55"/>
                  <a:gd name="T55" fmla="*/ 14 h 31"/>
                  <a:gd name="T56" fmla="*/ 53 w 55"/>
                  <a:gd name="T57" fmla="*/ 14 h 31"/>
                  <a:gd name="T58" fmla="*/ 55 w 55"/>
                  <a:gd name="T59" fmla="*/ 15 h 31"/>
                  <a:gd name="T60" fmla="*/ 52 w 55"/>
                  <a:gd name="T61" fmla="*/ 19 h 31"/>
                  <a:gd name="T62" fmla="*/ 52 w 55"/>
                  <a:gd name="T63" fmla="*/ 21 h 31"/>
                  <a:gd name="T64" fmla="*/ 44 w 55"/>
                  <a:gd name="T65" fmla="*/ 22 h 31"/>
                  <a:gd name="T66" fmla="*/ 42 w 55"/>
                  <a:gd name="T67" fmla="*/ 20 h 31"/>
                  <a:gd name="T68" fmla="*/ 38 w 55"/>
                  <a:gd name="T69" fmla="*/ 20 h 31"/>
                  <a:gd name="T70" fmla="*/ 38 w 55"/>
                  <a:gd name="T71" fmla="*/ 22 h 31"/>
                  <a:gd name="T72" fmla="*/ 36 w 55"/>
                  <a:gd name="T73" fmla="*/ 23 h 31"/>
                  <a:gd name="T74" fmla="*/ 34 w 55"/>
                  <a:gd name="T75" fmla="*/ 25 h 31"/>
                  <a:gd name="T76" fmla="*/ 33 w 55"/>
                  <a:gd name="T77" fmla="*/ 24 h 31"/>
                  <a:gd name="T78" fmla="*/ 27 w 55"/>
                  <a:gd name="T79" fmla="*/ 25 h 31"/>
                  <a:gd name="T80" fmla="*/ 25 w 55"/>
                  <a:gd name="T81" fmla="*/ 28 h 31"/>
                  <a:gd name="T82" fmla="*/ 23 w 55"/>
                  <a:gd name="T83" fmla="*/ 30 h 31"/>
                  <a:gd name="T84" fmla="*/ 20 w 55"/>
                  <a:gd name="T85" fmla="*/ 31 h 31"/>
                  <a:gd name="T86" fmla="*/ 15 w 55"/>
                  <a:gd name="T87" fmla="*/ 31 h 31"/>
                  <a:gd name="T88" fmla="*/ 13 w 55"/>
                  <a:gd name="T89" fmla="*/ 30 h 31"/>
                  <a:gd name="T90" fmla="*/ 13 w 55"/>
                  <a:gd name="T91" fmla="*/ 30 h 31"/>
                  <a:gd name="T92" fmla="*/ 10 w 55"/>
                  <a:gd name="T93" fmla="*/ 29 h 31"/>
                  <a:gd name="T94" fmla="*/ 12 w 55"/>
                  <a:gd name="T95" fmla="*/ 28 h 31"/>
                  <a:gd name="T96" fmla="*/ 12 w 55"/>
                  <a:gd name="T97" fmla="*/ 25 h 31"/>
                  <a:gd name="T98" fmla="*/ 15 w 55"/>
                  <a:gd name="T99" fmla="*/ 22 h 31"/>
                  <a:gd name="T100" fmla="*/ 11 w 55"/>
                  <a:gd name="T101" fmla="*/ 19 h 31"/>
                  <a:gd name="T102" fmla="*/ 10 w 55"/>
                  <a:gd name="T103" fmla="*/ 19 h 31"/>
                  <a:gd name="T104" fmla="*/ 7 w 55"/>
                  <a:gd name="T105" fmla="*/ 17 h 31"/>
                  <a:gd name="T106" fmla="*/ 4 w 55"/>
                  <a:gd name="T107" fmla="*/ 15 h 31"/>
                  <a:gd name="T108" fmla="*/ 2 w 55"/>
                  <a:gd name="T109" fmla="*/ 15 h 31"/>
                  <a:gd name="T110" fmla="*/ 0 w 55"/>
                  <a:gd name="T111" fmla="*/ 16 h 31"/>
                  <a:gd name="T112" fmla="*/ 0 w 55"/>
                  <a:gd name="T113" fmla="*/ 13 h 31"/>
                  <a:gd name="T114" fmla="*/ 6 w 55"/>
                  <a:gd name="T115" fmla="*/ 11 h 31"/>
                  <a:gd name="T116" fmla="*/ 13 w 55"/>
                  <a:gd name="T117" fmla="*/ 7 h 31"/>
                  <a:gd name="T118" fmla="*/ 16 w 55"/>
                  <a:gd name="T119" fmla="*/ 6 h 31"/>
                  <a:gd name="T120" fmla="*/ 15 w 55"/>
                  <a:gd name="T121" fmla="*/ 3 h 31"/>
                  <a:gd name="T122" fmla="*/ 15 w 55"/>
                  <a:gd name="T123" fmla="*/ 3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55" h="31">
                    <a:moveTo>
                      <a:pt x="15" y="3"/>
                    </a:moveTo>
                    <a:lnTo>
                      <a:pt x="15" y="2"/>
                    </a:lnTo>
                    <a:lnTo>
                      <a:pt x="15" y="2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18" y="3"/>
                    </a:lnTo>
                    <a:lnTo>
                      <a:pt x="19" y="3"/>
                    </a:lnTo>
                    <a:lnTo>
                      <a:pt x="21" y="6"/>
                    </a:lnTo>
                    <a:lnTo>
                      <a:pt x="25" y="5"/>
                    </a:lnTo>
                    <a:lnTo>
                      <a:pt x="26" y="6"/>
                    </a:lnTo>
                    <a:lnTo>
                      <a:pt x="27" y="5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8" y="7"/>
                    </a:lnTo>
                    <a:lnTo>
                      <a:pt x="33" y="11"/>
                    </a:lnTo>
                    <a:lnTo>
                      <a:pt x="34" y="14"/>
                    </a:lnTo>
                    <a:lnTo>
                      <a:pt x="36" y="16"/>
                    </a:lnTo>
                    <a:lnTo>
                      <a:pt x="36" y="14"/>
                    </a:lnTo>
                    <a:lnTo>
                      <a:pt x="33" y="11"/>
                    </a:lnTo>
                    <a:lnTo>
                      <a:pt x="32" y="9"/>
                    </a:lnTo>
                    <a:lnTo>
                      <a:pt x="33" y="9"/>
                    </a:lnTo>
                    <a:lnTo>
                      <a:pt x="33" y="8"/>
                    </a:lnTo>
                    <a:lnTo>
                      <a:pt x="33" y="9"/>
                    </a:lnTo>
                    <a:lnTo>
                      <a:pt x="37" y="15"/>
                    </a:lnTo>
                    <a:lnTo>
                      <a:pt x="41" y="16"/>
                    </a:lnTo>
                    <a:lnTo>
                      <a:pt x="45" y="15"/>
                    </a:lnTo>
                    <a:lnTo>
                      <a:pt x="47" y="15"/>
                    </a:lnTo>
                    <a:lnTo>
                      <a:pt x="50" y="14"/>
                    </a:lnTo>
                    <a:lnTo>
                      <a:pt x="53" y="14"/>
                    </a:lnTo>
                    <a:lnTo>
                      <a:pt x="55" y="15"/>
                    </a:lnTo>
                    <a:lnTo>
                      <a:pt x="52" y="19"/>
                    </a:lnTo>
                    <a:lnTo>
                      <a:pt x="52" y="21"/>
                    </a:lnTo>
                    <a:lnTo>
                      <a:pt x="44" y="22"/>
                    </a:lnTo>
                    <a:lnTo>
                      <a:pt x="42" y="20"/>
                    </a:lnTo>
                    <a:lnTo>
                      <a:pt x="38" y="20"/>
                    </a:lnTo>
                    <a:lnTo>
                      <a:pt x="38" y="22"/>
                    </a:lnTo>
                    <a:lnTo>
                      <a:pt x="36" y="23"/>
                    </a:lnTo>
                    <a:lnTo>
                      <a:pt x="34" y="25"/>
                    </a:lnTo>
                    <a:lnTo>
                      <a:pt x="33" y="24"/>
                    </a:lnTo>
                    <a:lnTo>
                      <a:pt x="27" y="25"/>
                    </a:lnTo>
                    <a:lnTo>
                      <a:pt x="25" y="28"/>
                    </a:lnTo>
                    <a:lnTo>
                      <a:pt x="23" y="30"/>
                    </a:lnTo>
                    <a:lnTo>
                      <a:pt x="20" y="31"/>
                    </a:lnTo>
                    <a:lnTo>
                      <a:pt x="15" y="31"/>
                    </a:lnTo>
                    <a:lnTo>
                      <a:pt x="13" y="30"/>
                    </a:lnTo>
                    <a:lnTo>
                      <a:pt x="13" y="30"/>
                    </a:lnTo>
                    <a:lnTo>
                      <a:pt x="10" y="29"/>
                    </a:lnTo>
                    <a:lnTo>
                      <a:pt x="12" y="28"/>
                    </a:lnTo>
                    <a:lnTo>
                      <a:pt x="12" y="25"/>
                    </a:lnTo>
                    <a:lnTo>
                      <a:pt x="15" y="22"/>
                    </a:lnTo>
                    <a:lnTo>
                      <a:pt x="11" y="19"/>
                    </a:lnTo>
                    <a:lnTo>
                      <a:pt x="10" y="19"/>
                    </a:lnTo>
                    <a:lnTo>
                      <a:pt x="7" y="17"/>
                    </a:lnTo>
                    <a:lnTo>
                      <a:pt x="4" y="15"/>
                    </a:lnTo>
                    <a:lnTo>
                      <a:pt x="2" y="15"/>
                    </a:lnTo>
                    <a:lnTo>
                      <a:pt x="0" y="16"/>
                    </a:lnTo>
                    <a:lnTo>
                      <a:pt x="0" y="13"/>
                    </a:lnTo>
                    <a:lnTo>
                      <a:pt x="6" y="11"/>
                    </a:lnTo>
                    <a:lnTo>
                      <a:pt x="13" y="7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5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40" name="Freeform 106">
                <a:extLst>
                  <a:ext uri="{FF2B5EF4-FFF2-40B4-BE49-F238E27FC236}">
                    <a16:creationId xmlns:a16="http://schemas.microsoft.com/office/drawing/2014/main" id="{48B48F5D-8AB8-4FCF-AC26-49936CB165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7" y="2972"/>
                <a:ext cx="99" cy="192"/>
              </a:xfrm>
              <a:custGeom>
                <a:avLst/>
                <a:gdLst>
                  <a:gd name="T0" fmla="*/ 0 w 99"/>
                  <a:gd name="T1" fmla="*/ 146 h 192"/>
                  <a:gd name="T2" fmla="*/ 5 w 99"/>
                  <a:gd name="T3" fmla="*/ 156 h 192"/>
                  <a:gd name="T4" fmla="*/ 6 w 99"/>
                  <a:gd name="T5" fmla="*/ 164 h 192"/>
                  <a:gd name="T6" fmla="*/ 10 w 99"/>
                  <a:gd name="T7" fmla="*/ 181 h 192"/>
                  <a:gd name="T8" fmla="*/ 17 w 99"/>
                  <a:gd name="T9" fmla="*/ 188 h 192"/>
                  <a:gd name="T10" fmla="*/ 32 w 99"/>
                  <a:gd name="T11" fmla="*/ 191 h 192"/>
                  <a:gd name="T12" fmla="*/ 48 w 99"/>
                  <a:gd name="T13" fmla="*/ 185 h 192"/>
                  <a:gd name="T14" fmla="*/ 56 w 99"/>
                  <a:gd name="T15" fmla="*/ 176 h 192"/>
                  <a:gd name="T16" fmla="*/ 60 w 99"/>
                  <a:gd name="T17" fmla="*/ 163 h 192"/>
                  <a:gd name="T18" fmla="*/ 68 w 99"/>
                  <a:gd name="T19" fmla="*/ 134 h 192"/>
                  <a:gd name="T20" fmla="*/ 75 w 99"/>
                  <a:gd name="T21" fmla="*/ 111 h 192"/>
                  <a:gd name="T22" fmla="*/ 84 w 99"/>
                  <a:gd name="T23" fmla="*/ 89 h 192"/>
                  <a:gd name="T24" fmla="*/ 85 w 99"/>
                  <a:gd name="T25" fmla="*/ 82 h 192"/>
                  <a:gd name="T26" fmla="*/ 87 w 99"/>
                  <a:gd name="T27" fmla="*/ 68 h 192"/>
                  <a:gd name="T28" fmla="*/ 88 w 99"/>
                  <a:gd name="T29" fmla="*/ 55 h 192"/>
                  <a:gd name="T30" fmla="*/ 89 w 99"/>
                  <a:gd name="T31" fmla="*/ 46 h 192"/>
                  <a:gd name="T32" fmla="*/ 94 w 99"/>
                  <a:gd name="T33" fmla="*/ 54 h 192"/>
                  <a:gd name="T34" fmla="*/ 99 w 99"/>
                  <a:gd name="T35" fmla="*/ 47 h 192"/>
                  <a:gd name="T36" fmla="*/ 95 w 99"/>
                  <a:gd name="T37" fmla="*/ 37 h 192"/>
                  <a:gd name="T38" fmla="*/ 94 w 99"/>
                  <a:gd name="T39" fmla="*/ 28 h 192"/>
                  <a:gd name="T40" fmla="*/ 91 w 99"/>
                  <a:gd name="T41" fmla="*/ 12 h 192"/>
                  <a:gd name="T42" fmla="*/ 86 w 99"/>
                  <a:gd name="T43" fmla="*/ 5 h 192"/>
                  <a:gd name="T44" fmla="*/ 84 w 99"/>
                  <a:gd name="T45" fmla="*/ 0 h 192"/>
                  <a:gd name="T46" fmla="*/ 78 w 99"/>
                  <a:gd name="T47" fmla="*/ 5 h 192"/>
                  <a:gd name="T48" fmla="*/ 78 w 99"/>
                  <a:gd name="T49" fmla="*/ 10 h 192"/>
                  <a:gd name="T50" fmla="*/ 77 w 99"/>
                  <a:gd name="T51" fmla="*/ 17 h 192"/>
                  <a:gd name="T52" fmla="*/ 69 w 99"/>
                  <a:gd name="T53" fmla="*/ 22 h 192"/>
                  <a:gd name="T54" fmla="*/ 63 w 99"/>
                  <a:gd name="T55" fmla="*/ 23 h 192"/>
                  <a:gd name="T56" fmla="*/ 63 w 99"/>
                  <a:gd name="T57" fmla="*/ 30 h 192"/>
                  <a:gd name="T58" fmla="*/ 65 w 99"/>
                  <a:gd name="T59" fmla="*/ 35 h 192"/>
                  <a:gd name="T60" fmla="*/ 61 w 99"/>
                  <a:gd name="T61" fmla="*/ 37 h 192"/>
                  <a:gd name="T62" fmla="*/ 56 w 99"/>
                  <a:gd name="T63" fmla="*/ 38 h 192"/>
                  <a:gd name="T64" fmla="*/ 54 w 99"/>
                  <a:gd name="T65" fmla="*/ 46 h 192"/>
                  <a:gd name="T66" fmla="*/ 52 w 99"/>
                  <a:gd name="T67" fmla="*/ 47 h 192"/>
                  <a:gd name="T68" fmla="*/ 45 w 99"/>
                  <a:gd name="T69" fmla="*/ 47 h 192"/>
                  <a:gd name="T70" fmla="*/ 44 w 99"/>
                  <a:gd name="T71" fmla="*/ 54 h 192"/>
                  <a:gd name="T72" fmla="*/ 42 w 99"/>
                  <a:gd name="T73" fmla="*/ 53 h 192"/>
                  <a:gd name="T74" fmla="*/ 34 w 99"/>
                  <a:gd name="T75" fmla="*/ 52 h 192"/>
                  <a:gd name="T76" fmla="*/ 24 w 99"/>
                  <a:gd name="T77" fmla="*/ 57 h 192"/>
                  <a:gd name="T78" fmla="*/ 16 w 99"/>
                  <a:gd name="T79" fmla="*/ 57 h 192"/>
                  <a:gd name="T80" fmla="*/ 16 w 99"/>
                  <a:gd name="T81" fmla="*/ 65 h 192"/>
                  <a:gd name="T82" fmla="*/ 10 w 99"/>
                  <a:gd name="T83" fmla="*/ 80 h 192"/>
                  <a:gd name="T84" fmla="*/ 14 w 99"/>
                  <a:gd name="T85" fmla="*/ 94 h 192"/>
                  <a:gd name="T86" fmla="*/ 16 w 99"/>
                  <a:gd name="T87" fmla="*/ 102 h 192"/>
                  <a:gd name="T88" fmla="*/ 16 w 99"/>
                  <a:gd name="T89" fmla="*/ 106 h 192"/>
                  <a:gd name="T90" fmla="*/ 17 w 99"/>
                  <a:gd name="T91" fmla="*/ 111 h 192"/>
                  <a:gd name="T92" fmla="*/ 11 w 99"/>
                  <a:gd name="T93" fmla="*/ 121 h 192"/>
                  <a:gd name="T94" fmla="*/ 7 w 99"/>
                  <a:gd name="T95" fmla="*/ 130 h 192"/>
                  <a:gd name="T96" fmla="*/ 3 w 99"/>
                  <a:gd name="T97" fmla="*/ 133 h 192"/>
                  <a:gd name="T98" fmla="*/ 0 w 99"/>
                  <a:gd name="T99" fmla="*/ 141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99" h="192">
                    <a:moveTo>
                      <a:pt x="0" y="141"/>
                    </a:moveTo>
                    <a:lnTo>
                      <a:pt x="0" y="142"/>
                    </a:lnTo>
                    <a:lnTo>
                      <a:pt x="0" y="146"/>
                    </a:lnTo>
                    <a:lnTo>
                      <a:pt x="1" y="150"/>
                    </a:lnTo>
                    <a:lnTo>
                      <a:pt x="2" y="154"/>
                    </a:lnTo>
                    <a:lnTo>
                      <a:pt x="5" y="156"/>
                    </a:lnTo>
                    <a:lnTo>
                      <a:pt x="5" y="158"/>
                    </a:lnTo>
                    <a:lnTo>
                      <a:pt x="7" y="163"/>
                    </a:lnTo>
                    <a:lnTo>
                      <a:pt x="6" y="164"/>
                    </a:lnTo>
                    <a:lnTo>
                      <a:pt x="6" y="173"/>
                    </a:lnTo>
                    <a:lnTo>
                      <a:pt x="9" y="177"/>
                    </a:lnTo>
                    <a:lnTo>
                      <a:pt x="10" y="181"/>
                    </a:lnTo>
                    <a:lnTo>
                      <a:pt x="11" y="184"/>
                    </a:lnTo>
                    <a:lnTo>
                      <a:pt x="14" y="185"/>
                    </a:lnTo>
                    <a:lnTo>
                      <a:pt x="17" y="188"/>
                    </a:lnTo>
                    <a:lnTo>
                      <a:pt x="20" y="188"/>
                    </a:lnTo>
                    <a:lnTo>
                      <a:pt x="26" y="192"/>
                    </a:lnTo>
                    <a:lnTo>
                      <a:pt x="32" y="191"/>
                    </a:lnTo>
                    <a:lnTo>
                      <a:pt x="35" y="189"/>
                    </a:lnTo>
                    <a:lnTo>
                      <a:pt x="41" y="186"/>
                    </a:lnTo>
                    <a:lnTo>
                      <a:pt x="48" y="185"/>
                    </a:lnTo>
                    <a:lnTo>
                      <a:pt x="51" y="184"/>
                    </a:lnTo>
                    <a:lnTo>
                      <a:pt x="53" y="181"/>
                    </a:lnTo>
                    <a:lnTo>
                      <a:pt x="56" y="176"/>
                    </a:lnTo>
                    <a:lnTo>
                      <a:pt x="56" y="173"/>
                    </a:lnTo>
                    <a:lnTo>
                      <a:pt x="59" y="166"/>
                    </a:lnTo>
                    <a:lnTo>
                      <a:pt x="60" y="163"/>
                    </a:lnTo>
                    <a:lnTo>
                      <a:pt x="61" y="157"/>
                    </a:lnTo>
                    <a:lnTo>
                      <a:pt x="65" y="145"/>
                    </a:lnTo>
                    <a:lnTo>
                      <a:pt x="68" y="134"/>
                    </a:lnTo>
                    <a:lnTo>
                      <a:pt x="74" y="116"/>
                    </a:lnTo>
                    <a:lnTo>
                      <a:pt x="76" y="111"/>
                    </a:lnTo>
                    <a:lnTo>
                      <a:pt x="75" y="111"/>
                    </a:lnTo>
                    <a:lnTo>
                      <a:pt x="76" y="111"/>
                    </a:lnTo>
                    <a:lnTo>
                      <a:pt x="79" y="99"/>
                    </a:lnTo>
                    <a:lnTo>
                      <a:pt x="84" y="89"/>
                    </a:lnTo>
                    <a:lnTo>
                      <a:pt x="84" y="86"/>
                    </a:lnTo>
                    <a:lnTo>
                      <a:pt x="85" y="85"/>
                    </a:lnTo>
                    <a:lnTo>
                      <a:pt x="85" y="82"/>
                    </a:lnTo>
                    <a:lnTo>
                      <a:pt x="86" y="80"/>
                    </a:lnTo>
                    <a:lnTo>
                      <a:pt x="85" y="72"/>
                    </a:lnTo>
                    <a:lnTo>
                      <a:pt x="87" y="68"/>
                    </a:lnTo>
                    <a:lnTo>
                      <a:pt x="91" y="62"/>
                    </a:lnTo>
                    <a:lnTo>
                      <a:pt x="91" y="60"/>
                    </a:lnTo>
                    <a:lnTo>
                      <a:pt x="88" y="55"/>
                    </a:lnTo>
                    <a:lnTo>
                      <a:pt x="88" y="52"/>
                    </a:lnTo>
                    <a:lnTo>
                      <a:pt x="87" y="49"/>
                    </a:lnTo>
                    <a:lnTo>
                      <a:pt x="89" y="46"/>
                    </a:lnTo>
                    <a:lnTo>
                      <a:pt x="91" y="48"/>
                    </a:lnTo>
                    <a:lnTo>
                      <a:pt x="93" y="51"/>
                    </a:lnTo>
                    <a:lnTo>
                      <a:pt x="94" y="54"/>
                    </a:lnTo>
                    <a:lnTo>
                      <a:pt x="96" y="53"/>
                    </a:lnTo>
                    <a:lnTo>
                      <a:pt x="97" y="49"/>
                    </a:lnTo>
                    <a:lnTo>
                      <a:pt x="99" y="47"/>
                    </a:lnTo>
                    <a:lnTo>
                      <a:pt x="99" y="44"/>
                    </a:lnTo>
                    <a:lnTo>
                      <a:pt x="96" y="39"/>
                    </a:lnTo>
                    <a:lnTo>
                      <a:pt x="95" y="37"/>
                    </a:lnTo>
                    <a:lnTo>
                      <a:pt x="95" y="34"/>
                    </a:lnTo>
                    <a:lnTo>
                      <a:pt x="95" y="31"/>
                    </a:lnTo>
                    <a:lnTo>
                      <a:pt x="94" y="28"/>
                    </a:lnTo>
                    <a:lnTo>
                      <a:pt x="94" y="23"/>
                    </a:lnTo>
                    <a:lnTo>
                      <a:pt x="92" y="15"/>
                    </a:lnTo>
                    <a:lnTo>
                      <a:pt x="91" y="12"/>
                    </a:lnTo>
                    <a:lnTo>
                      <a:pt x="89" y="10"/>
                    </a:lnTo>
                    <a:lnTo>
                      <a:pt x="87" y="8"/>
                    </a:lnTo>
                    <a:lnTo>
                      <a:pt x="86" y="5"/>
                    </a:lnTo>
                    <a:lnTo>
                      <a:pt x="84" y="2"/>
                    </a:lnTo>
                    <a:lnTo>
                      <a:pt x="82" y="3"/>
                    </a:lnTo>
                    <a:lnTo>
                      <a:pt x="84" y="0"/>
                    </a:lnTo>
                    <a:lnTo>
                      <a:pt x="80" y="0"/>
                    </a:lnTo>
                    <a:lnTo>
                      <a:pt x="80" y="2"/>
                    </a:lnTo>
                    <a:lnTo>
                      <a:pt x="78" y="5"/>
                    </a:lnTo>
                    <a:lnTo>
                      <a:pt x="76" y="4"/>
                    </a:lnTo>
                    <a:lnTo>
                      <a:pt x="77" y="6"/>
                    </a:lnTo>
                    <a:lnTo>
                      <a:pt x="78" y="10"/>
                    </a:lnTo>
                    <a:lnTo>
                      <a:pt x="77" y="12"/>
                    </a:lnTo>
                    <a:lnTo>
                      <a:pt x="77" y="13"/>
                    </a:lnTo>
                    <a:lnTo>
                      <a:pt x="77" y="17"/>
                    </a:lnTo>
                    <a:lnTo>
                      <a:pt x="74" y="19"/>
                    </a:lnTo>
                    <a:lnTo>
                      <a:pt x="71" y="20"/>
                    </a:lnTo>
                    <a:lnTo>
                      <a:pt x="69" y="22"/>
                    </a:lnTo>
                    <a:lnTo>
                      <a:pt x="67" y="21"/>
                    </a:lnTo>
                    <a:lnTo>
                      <a:pt x="63" y="21"/>
                    </a:lnTo>
                    <a:lnTo>
                      <a:pt x="63" y="23"/>
                    </a:lnTo>
                    <a:lnTo>
                      <a:pt x="65" y="26"/>
                    </a:lnTo>
                    <a:lnTo>
                      <a:pt x="66" y="28"/>
                    </a:lnTo>
                    <a:lnTo>
                      <a:pt x="63" y="30"/>
                    </a:lnTo>
                    <a:lnTo>
                      <a:pt x="61" y="31"/>
                    </a:lnTo>
                    <a:lnTo>
                      <a:pt x="62" y="35"/>
                    </a:lnTo>
                    <a:lnTo>
                      <a:pt x="65" y="35"/>
                    </a:lnTo>
                    <a:lnTo>
                      <a:pt x="65" y="37"/>
                    </a:lnTo>
                    <a:lnTo>
                      <a:pt x="63" y="36"/>
                    </a:lnTo>
                    <a:lnTo>
                      <a:pt x="61" y="37"/>
                    </a:lnTo>
                    <a:lnTo>
                      <a:pt x="57" y="42"/>
                    </a:lnTo>
                    <a:lnTo>
                      <a:pt x="58" y="37"/>
                    </a:lnTo>
                    <a:lnTo>
                      <a:pt x="56" y="38"/>
                    </a:lnTo>
                    <a:lnTo>
                      <a:pt x="54" y="42"/>
                    </a:lnTo>
                    <a:lnTo>
                      <a:pt x="52" y="44"/>
                    </a:lnTo>
                    <a:lnTo>
                      <a:pt x="54" y="46"/>
                    </a:lnTo>
                    <a:lnTo>
                      <a:pt x="54" y="47"/>
                    </a:lnTo>
                    <a:lnTo>
                      <a:pt x="53" y="47"/>
                    </a:lnTo>
                    <a:lnTo>
                      <a:pt x="52" y="47"/>
                    </a:lnTo>
                    <a:lnTo>
                      <a:pt x="51" y="46"/>
                    </a:lnTo>
                    <a:lnTo>
                      <a:pt x="51" y="44"/>
                    </a:lnTo>
                    <a:lnTo>
                      <a:pt x="45" y="47"/>
                    </a:lnTo>
                    <a:lnTo>
                      <a:pt x="42" y="49"/>
                    </a:lnTo>
                    <a:lnTo>
                      <a:pt x="42" y="52"/>
                    </a:lnTo>
                    <a:lnTo>
                      <a:pt x="44" y="54"/>
                    </a:lnTo>
                    <a:lnTo>
                      <a:pt x="43" y="54"/>
                    </a:lnTo>
                    <a:lnTo>
                      <a:pt x="42" y="54"/>
                    </a:lnTo>
                    <a:lnTo>
                      <a:pt x="42" y="53"/>
                    </a:lnTo>
                    <a:lnTo>
                      <a:pt x="41" y="51"/>
                    </a:lnTo>
                    <a:lnTo>
                      <a:pt x="37" y="53"/>
                    </a:lnTo>
                    <a:lnTo>
                      <a:pt x="34" y="52"/>
                    </a:lnTo>
                    <a:lnTo>
                      <a:pt x="28" y="56"/>
                    </a:lnTo>
                    <a:lnTo>
                      <a:pt x="26" y="54"/>
                    </a:lnTo>
                    <a:lnTo>
                      <a:pt x="24" y="57"/>
                    </a:lnTo>
                    <a:lnTo>
                      <a:pt x="22" y="57"/>
                    </a:lnTo>
                    <a:lnTo>
                      <a:pt x="19" y="57"/>
                    </a:lnTo>
                    <a:lnTo>
                      <a:pt x="16" y="57"/>
                    </a:lnTo>
                    <a:lnTo>
                      <a:pt x="16" y="60"/>
                    </a:lnTo>
                    <a:lnTo>
                      <a:pt x="16" y="63"/>
                    </a:lnTo>
                    <a:lnTo>
                      <a:pt x="16" y="65"/>
                    </a:lnTo>
                    <a:lnTo>
                      <a:pt x="12" y="70"/>
                    </a:lnTo>
                    <a:lnTo>
                      <a:pt x="9" y="75"/>
                    </a:lnTo>
                    <a:lnTo>
                      <a:pt x="10" y="80"/>
                    </a:lnTo>
                    <a:lnTo>
                      <a:pt x="10" y="82"/>
                    </a:lnTo>
                    <a:lnTo>
                      <a:pt x="11" y="88"/>
                    </a:lnTo>
                    <a:lnTo>
                      <a:pt x="14" y="94"/>
                    </a:lnTo>
                    <a:lnTo>
                      <a:pt x="14" y="96"/>
                    </a:lnTo>
                    <a:lnTo>
                      <a:pt x="14" y="99"/>
                    </a:lnTo>
                    <a:lnTo>
                      <a:pt x="16" y="102"/>
                    </a:lnTo>
                    <a:lnTo>
                      <a:pt x="16" y="102"/>
                    </a:lnTo>
                    <a:lnTo>
                      <a:pt x="17" y="105"/>
                    </a:lnTo>
                    <a:lnTo>
                      <a:pt x="16" y="106"/>
                    </a:lnTo>
                    <a:lnTo>
                      <a:pt x="16" y="108"/>
                    </a:lnTo>
                    <a:lnTo>
                      <a:pt x="16" y="109"/>
                    </a:lnTo>
                    <a:lnTo>
                      <a:pt x="17" y="111"/>
                    </a:lnTo>
                    <a:lnTo>
                      <a:pt x="16" y="112"/>
                    </a:lnTo>
                    <a:lnTo>
                      <a:pt x="14" y="115"/>
                    </a:lnTo>
                    <a:lnTo>
                      <a:pt x="11" y="121"/>
                    </a:lnTo>
                    <a:lnTo>
                      <a:pt x="9" y="124"/>
                    </a:lnTo>
                    <a:lnTo>
                      <a:pt x="8" y="126"/>
                    </a:lnTo>
                    <a:lnTo>
                      <a:pt x="7" y="130"/>
                    </a:lnTo>
                    <a:lnTo>
                      <a:pt x="5" y="129"/>
                    </a:lnTo>
                    <a:lnTo>
                      <a:pt x="3" y="131"/>
                    </a:lnTo>
                    <a:lnTo>
                      <a:pt x="3" y="133"/>
                    </a:lnTo>
                    <a:lnTo>
                      <a:pt x="1" y="137"/>
                    </a:lnTo>
                    <a:lnTo>
                      <a:pt x="0" y="141"/>
                    </a:lnTo>
                    <a:lnTo>
                      <a:pt x="0" y="14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41" name="Freeform 107">
                <a:extLst>
                  <a:ext uri="{FF2B5EF4-FFF2-40B4-BE49-F238E27FC236}">
                    <a16:creationId xmlns:a16="http://schemas.microsoft.com/office/drawing/2014/main" id="{88F03789-D113-423D-9396-C173EA35EF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01" y="1341"/>
                <a:ext cx="51" cy="14"/>
              </a:xfrm>
              <a:custGeom>
                <a:avLst/>
                <a:gdLst>
                  <a:gd name="T0" fmla="*/ 0 w 51"/>
                  <a:gd name="T1" fmla="*/ 8 h 14"/>
                  <a:gd name="T2" fmla="*/ 0 w 51"/>
                  <a:gd name="T3" fmla="*/ 9 h 14"/>
                  <a:gd name="T4" fmla="*/ 3 w 51"/>
                  <a:gd name="T5" fmla="*/ 9 h 14"/>
                  <a:gd name="T6" fmla="*/ 9 w 51"/>
                  <a:gd name="T7" fmla="*/ 10 h 14"/>
                  <a:gd name="T8" fmla="*/ 11 w 51"/>
                  <a:gd name="T9" fmla="*/ 10 h 14"/>
                  <a:gd name="T10" fmla="*/ 15 w 51"/>
                  <a:gd name="T11" fmla="*/ 11 h 14"/>
                  <a:gd name="T12" fmla="*/ 15 w 51"/>
                  <a:gd name="T13" fmla="*/ 14 h 14"/>
                  <a:gd name="T14" fmla="*/ 18 w 51"/>
                  <a:gd name="T15" fmla="*/ 14 h 14"/>
                  <a:gd name="T16" fmla="*/ 22 w 51"/>
                  <a:gd name="T17" fmla="*/ 10 h 14"/>
                  <a:gd name="T18" fmla="*/ 26 w 51"/>
                  <a:gd name="T19" fmla="*/ 10 h 14"/>
                  <a:gd name="T20" fmla="*/ 32 w 51"/>
                  <a:gd name="T21" fmla="*/ 7 h 14"/>
                  <a:gd name="T22" fmla="*/ 34 w 51"/>
                  <a:gd name="T23" fmla="*/ 4 h 14"/>
                  <a:gd name="T24" fmla="*/ 37 w 51"/>
                  <a:gd name="T25" fmla="*/ 3 h 14"/>
                  <a:gd name="T26" fmla="*/ 43 w 51"/>
                  <a:gd name="T27" fmla="*/ 7 h 14"/>
                  <a:gd name="T28" fmla="*/ 51 w 51"/>
                  <a:gd name="T29" fmla="*/ 8 h 14"/>
                  <a:gd name="T30" fmla="*/ 50 w 51"/>
                  <a:gd name="T31" fmla="*/ 6 h 14"/>
                  <a:gd name="T32" fmla="*/ 48 w 51"/>
                  <a:gd name="T33" fmla="*/ 2 h 14"/>
                  <a:gd name="T34" fmla="*/ 46 w 51"/>
                  <a:gd name="T35" fmla="*/ 1 h 14"/>
                  <a:gd name="T36" fmla="*/ 39 w 51"/>
                  <a:gd name="T37" fmla="*/ 2 h 14"/>
                  <a:gd name="T38" fmla="*/ 34 w 51"/>
                  <a:gd name="T39" fmla="*/ 0 h 14"/>
                  <a:gd name="T40" fmla="*/ 32 w 51"/>
                  <a:gd name="T41" fmla="*/ 1 h 14"/>
                  <a:gd name="T42" fmla="*/ 28 w 51"/>
                  <a:gd name="T43" fmla="*/ 3 h 14"/>
                  <a:gd name="T44" fmla="*/ 26 w 51"/>
                  <a:gd name="T45" fmla="*/ 3 h 14"/>
                  <a:gd name="T46" fmla="*/ 22 w 51"/>
                  <a:gd name="T47" fmla="*/ 3 h 14"/>
                  <a:gd name="T48" fmla="*/ 17 w 51"/>
                  <a:gd name="T49" fmla="*/ 6 h 14"/>
                  <a:gd name="T50" fmla="*/ 0 w 51"/>
                  <a:gd name="T51" fmla="*/ 8 h 14"/>
                  <a:gd name="T52" fmla="*/ 0 w 51"/>
                  <a:gd name="T53" fmla="*/ 8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51" h="14">
                    <a:moveTo>
                      <a:pt x="0" y="8"/>
                    </a:moveTo>
                    <a:lnTo>
                      <a:pt x="0" y="9"/>
                    </a:lnTo>
                    <a:lnTo>
                      <a:pt x="3" y="9"/>
                    </a:lnTo>
                    <a:lnTo>
                      <a:pt x="9" y="10"/>
                    </a:lnTo>
                    <a:lnTo>
                      <a:pt x="11" y="10"/>
                    </a:lnTo>
                    <a:lnTo>
                      <a:pt x="15" y="11"/>
                    </a:lnTo>
                    <a:lnTo>
                      <a:pt x="15" y="14"/>
                    </a:lnTo>
                    <a:lnTo>
                      <a:pt x="18" y="14"/>
                    </a:lnTo>
                    <a:lnTo>
                      <a:pt x="22" y="10"/>
                    </a:lnTo>
                    <a:lnTo>
                      <a:pt x="26" y="10"/>
                    </a:lnTo>
                    <a:lnTo>
                      <a:pt x="32" y="7"/>
                    </a:lnTo>
                    <a:lnTo>
                      <a:pt x="34" y="4"/>
                    </a:lnTo>
                    <a:lnTo>
                      <a:pt x="37" y="3"/>
                    </a:lnTo>
                    <a:lnTo>
                      <a:pt x="43" y="7"/>
                    </a:lnTo>
                    <a:lnTo>
                      <a:pt x="51" y="8"/>
                    </a:lnTo>
                    <a:lnTo>
                      <a:pt x="50" y="6"/>
                    </a:lnTo>
                    <a:lnTo>
                      <a:pt x="48" y="2"/>
                    </a:lnTo>
                    <a:lnTo>
                      <a:pt x="46" y="1"/>
                    </a:lnTo>
                    <a:lnTo>
                      <a:pt x="39" y="2"/>
                    </a:lnTo>
                    <a:lnTo>
                      <a:pt x="34" y="0"/>
                    </a:lnTo>
                    <a:lnTo>
                      <a:pt x="32" y="1"/>
                    </a:lnTo>
                    <a:lnTo>
                      <a:pt x="28" y="3"/>
                    </a:lnTo>
                    <a:lnTo>
                      <a:pt x="26" y="3"/>
                    </a:lnTo>
                    <a:lnTo>
                      <a:pt x="22" y="3"/>
                    </a:lnTo>
                    <a:lnTo>
                      <a:pt x="17" y="6"/>
                    </a:lnTo>
                    <a:lnTo>
                      <a:pt x="0" y="8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42" name="Freeform 108">
                <a:extLst>
                  <a:ext uri="{FF2B5EF4-FFF2-40B4-BE49-F238E27FC236}">
                    <a16:creationId xmlns:a16="http://schemas.microsoft.com/office/drawing/2014/main" id="{1A92046C-A7DD-4066-8B97-E8BD4A2404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25" y="1340"/>
                <a:ext cx="68" cy="26"/>
              </a:xfrm>
              <a:custGeom>
                <a:avLst/>
                <a:gdLst>
                  <a:gd name="T0" fmla="*/ 14 w 68"/>
                  <a:gd name="T1" fmla="*/ 26 h 26"/>
                  <a:gd name="T2" fmla="*/ 23 w 68"/>
                  <a:gd name="T3" fmla="*/ 25 h 26"/>
                  <a:gd name="T4" fmla="*/ 29 w 68"/>
                  <a:gd name="T5" fmla="*/ 24 h 26"/>
                  <a:gd name="T6" fmla="*/ 28 w 68"/>
                  <a:gd name="T7" fmla="*/ 19 h 26"/>
                  <a:gd name="T8" fmla="*/ 39 w 68"/>
                  <a:gd name="T9" fmla="*/ 17 h 26"/>
                  <a:gd name="T10" fmla="*/ 41 w 68"/>
                  <a:gd name="T11" fmla="*/ 13 h 26"/>
                  <a:gd name="T12" fmla="*/ 55 w 68"/>
                  <a:gd name="T13" fmla="*/ 11 h 26"/>
                  <a:gd name="T14" fmla="*/ 62 w 68"/>
                  <a:gd name="T15" fmla="*/ 9 h 26"/>
                  <a:gd name="T16" fmla="*/ 68 w 68"/>
                  <a:gd name="T17" fmla="*/ 8 h 26"/>
                  <a:gd name="T18" fmla="*/ 61 w 68"/>
                  <a:gd name="T19" fmla="*/ 3 h 26"/>
                  <a:gd name="T20" fmla="*/ 53 w 68"/>
                  <a:gd name="T21" fmla="*/ 4 h 26"/>
                  <a:gd name="T22" fmla="*/ 51 w 68"/>
                  <a:gd name="T23" fmla="*/ 3 h 26"/>
                  <a:gd name="T24" fmla="*/ 56 w 68"/>
                  <a:gd name="T25" fmla="*/ 0 h 26"/>
                  <a:gd name="T26" fmla="*/ 45 w 68"/>
                  <a:gd name="T27" fmla="*/ 1 h 26"/>
                  <a:gd name="T28" fmla="*/ 45 w 68"/>
                  <a:gd name="T29" fmla="*/ 0 h 26"/>
                  <a:gd name="T30" fmla="*/ 39 w 68"/>
                  <a:gd name="T31" fmla="*/ 1 h 26"/>
                  <a:gd name="T32" fmla="*/ 34 w 68"/>
                  <a:gd name="T33" fmla="*/ 5 h 26"/>
                  <a:gd name="T34" fmla="*/ 39 w 68"/>
                  <a:gd name="T35" fmla="*/ 5 h 26"/>
                  <a:gd name="T36" fmla="*/ 36 w 68"/>
                  <a:gd name="T37" fmla="*/ 8 h 26"/>
                  <a:gd name="T38" fmla="*/ 31 w 68"/>
                  <a:gd name="T39" fmla="*/ 12 h 26"/>
                  <a:gd name="T40" fmla="*/ 26 w 68"/>
                  <a:gd name="T41" fmla="*/ 12 h 26"/>
                  <a:gd name="T42" fmla="*/ 20 w 68"/>
                  <a:gd name="T43" fmla="*/ 11 h 26"/>
                  <a:gd name="T44" fmla="*/ 9 w 68"/>
                  <a:gd name="T45" fmla="*/ 15 h 26"/>
                  <a:gd name="T46" fmla="*/ 18 w 68"/>
                  <a:gd name="T47" fmla="*/ 13 h 26"/>
                  <a:gd name="T48" fmla="*/ 14 w 68"/>
                  <a:gd name="T49" fmla="*/ 16 h 26"/>
                  <a:gd name="T50" fmla="*/ 14 w 68"/>
                  <a:gd name="T51" fmla="*/ 19 h 26"/>
                  <a:gd name="T52" fmla="*/ 3 w 68"/>
                  <a:gd name="T53" fmla="*/ 17 h 26"/>
                  <a:gd name="T54" fmla="*/ 1 w 68"/>
                  <a:gd name="T55" fmla="*/ 20 h 26"/>
                  <a:gd name="T56" fmla="*/ 10 w 68"/>
                  <a:gd name="T57" fmla="*/ 21 h 26"/>
                  <a:gd name="T58" fmla="*/ 15 w 68"/>
                  <a:gd name="T59" fmla="*/ 20 h 26"/>
                  <a:gd name="T60" fmla="*/ 15 w 68"/>
                  <a:gd name="T61" fmla="*/ 22 h 26"/>
                  <a:gd name="T62" fmla="*/ 12 w 68"/>
                  <a:gd name="T63" fmla="*/ 25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68" h="26">
                    <a:moveTo>
                      <a:pt x="12" y="25"/>
                    </a:moveTo>
                    <a:lnTo>
                      <a:pt x="14" y="26"/>
                    </a:lnTo>
                    <a:lnTo>
                      <a:pt x="20" y="25"/>
                    </a:lnTo>
                    <a:lnTo>
                      <a:pt x="23" y="25"/>
                    </a:lnTo>
                    <a:lnTo>
                      <a:pt x="23" y="22"/>
                    </a:lnTo>
                    <a:lnTo>
                      <a:pt x="29" y="24"/>
                    </a:lnTo>
                    <a:lnTo>
                      <a:pt x="31" y="21"/>
                    </a:lnTo>
                    <a:lnTo>
                      <a:pt x="28" y="19"/>
                    </a:lnTo>
                    <a:lnTo>
                      <a:pt x="28" y="17"/>
                    </a:lnTo>
                    <a:lnTo>
                      <a:pt x="39" y="17"/>
                    </a:lnTo>
                    <a:lnTo>
                      <a:pt x="43" y="16"/>
                    </a:lnTo>
                    <a:lnTo>
                      <a:pt x="41" y="13"/>
                    </a:lnTo>
                    <a:lnTo>
                      <a:pt x="46" y="12"/>
                    </a:lnTo>
                    <a:lnTo>
                      <a:pt x="55" y="11"/>
                    </a:lnTo>
                    <a:lnTo>
                      <a:pt x="58" y="11"/>
                    </a:lnTo>
                    <a:lnTo>
                      <a:pt x="62" y="9"/>
                    </a:lnTo>
                    <a:lnTo>
                      <a:pt x="64" y="9"/>
                    </a:lnTo>
                    <a:lnTo>
                      <a:pt x="68" y="8"/>
                    </a:lnTo>
                    <a:lnTo>
                      <a:pt x="64" y="5"/>
                    </a:lnTo>
                    <a:lnTo>
                      <a:pt x="61" y="3"/>
                    </a:lnTo>
                    <a:lnTo>
                      <a:pt x="55" y="4"/>
                    </a:lnTo>
                    <a:lnTo>
                      <a:pt x="53" y="4"/>
                    </a:lnTo>
                    <a:lnTo>
                      <a:pt x="49" y="5"/>
                    </a:lnTo>
                    <a:lnTo>
                      <a:pt x="51" y="3"/>
                    </a:lnTo>
                    <a:lnTo>
                      <a:pt x="57" y="2"/>
                    </a:lnTo>
                    <a:lnTo>
                      <a:pt x="56" y="0"/>
                    </a:lnTo>
                    <a:lnTo>
                      <a:pt x="47" y="1"/>
                    </a:lnTo>
                    <a:lnTo>
                      <a:pt x="45" y="1"/>
                    </a:lnTo>
                    <a:lnTo>
                      <a:pt x="48" y="0"/>
                    </a:lnTo>
                    <a:lnTo>
                      <a:pt x="45" y="0"/>
                    </a:lnTo>
                    <a:lnTo>
                      <a:pt x="43" y="0"/>
                    </a:lnTo>
                    <a:lnTo>
                      <a:pt x="39" y="1"/>
                    </a:lnTo>
                    <a:lnTo>
                      <a:pt x="31" y="3"/>
                    </a:lnTo>
                    <a:lnTo>
                      <a:pt x="34" y="5"/>
                    </a:lnTo>
                    <a:lnTo>
                      <a:pt x="37" y="5"/>
                    </a:lnTo>
                    <a:lnTo>
                      <a:pt x="39" y="5"/>
                    </a:lnTo>
                    <a:lnTo>
                      <a:pt x="39" y="8"/>
                    </a:lnTo>
                    <a:lnTo>
                      <a:pt x="36" y="8"/>
                    </a:lnTo>
                    <a:lnTo>
                      <a:pt x="34" y="10"/>
                    </a:lnTo>
                    <a:lnTo>
                      <a:pt x="31" y="12"/>
                    </a:lnTo>
                    <a:lnTo>
                      <a:pt x="28" y="12"/>
                    </a:lnTo>
                    <a:lnTo>
                      <a:pt x="26" y="12"/>
                    </a:lnTo>
                    <a:lnTo>
                      <a:pt x="22" y="10"/>
                    </a:lnTo>
                    <a:lnTo>
                      <a:pt x="20" y="11"/>
                    </a:lnTo>
                    <a:lnTo>
                      <a:pt x="17" y="11"/>
                    </a:lnTo>
                    <a:lnTo>
                      <a:pt x="9" y="15"/>
                    </a:lnTo>
                    <a:lnTo>
                      <a:pt x="14" y="13"/>
                    </a:lnTo>
                    <a:lnTo>
                      <a:pt x="18" y="13"/>
                    </a:lnTo>
                    <a:lnTo>
                      <a:pt x="20" y="15"/>
                    </a:lnTo>
                    <a:lnTo>
                      <a:pt x="14" y="16"/>
                    </a:lnTo>
                    <a:lnTo>
                      <a:pt x="17" y="17"/>
                    </a:lnTo>
                    <a:lnTo>
                      <a:pt x="14" y="19"/>
                    </a:lnTo>
                    <a:lnTo>
                      <a:pt x="6" y="19"/>
                    </a:lnTo>
                    <a:lnTo>
                      <a:pt x="3" y="17"/>
                    </a:lnTo>
                    <a:lnTo>
                      <a:pt x="0" y="18"/>
                    </a:lnTo>
                    <a:lnTo>
                      <a:pt x="1" y="20"/>
                    </a:lnTo>
                    <a:lnTo>
                      <a:pt x="4" y="22"/>
                    </a:lnTo>
                    <a:lnTo>
                      <a:pt x="10" y="21"/>
                    </a:lnTo>
                    <a:lnTo>
                      <a:pt x="12" y="20"/>
                    </a:lnTo>
                    <a:lnTo>
                      <a:pt x="15" y="20"/>
                    </a:lnTo>
                    <a:lnTo>
                      <a:pt x="18" y="22"/>
                    </a:lnTo>
                    <a:lnTo>
                      <a:pt x="15" y="22"/>
                    </a:lnTo>
                    <a:lnTo>
                      <a:pt x="12" y="25"/>
                    </a:lnTo>
                    <a:lnTo>
                      <a:pt x="12" y="25"/>
                    </a:lnTo>
                    <a:lnTo>
                      <a:pt x="12" y="2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43" name="Freeform 109">
                <a:extLst>
                  <a:ext uri="{FF2B5EF4-FFF2-40B4-BE49-F238E27FC236}">
                    <a16:creationId xmlns:a16="http://schemas.microsoft.com/office/drawing/2014/main" id="{B979AC05-9150-4342-BBF3-93C8120C5B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65" y="1361"/>
                <a:ext cx="7" cy="6"/>
              </a:xfrm>
              <a:custGeom>
                <a:avLst/>
                <a:gdLst>
                  <a:gd name="T0" fmla="*/ 3 w 7"/>
                  <a:gd name="T1" fmla="*/ 5 h 6"/>
                  <a:gd name="T2" fmla="*/ 3 w 7"/>
                  <a:gd name="T3" fmla="*/ 6 h 6"/>
                  <a:gd name="T4" fmla="*/ 6 w 7"/>
                  <a:gd name="T5" fmla="*/ 4 h 6"/>
                  <a:gd name="T6" fmla="*/ 7 w 7"/>
                  <a:gd name="T7" fmla="*/ 0 h 6"/>
                  <a:gd name="T8" fmla="*/ 5 w 7"/>
                  <a:gd name="T9" fmla="*/ 0 h 6"/>
                  <a:gd name="T10" fmla="*/ 1 w 7"/>
                  <a:gd name="T11" fmla="*/ 0 h 6"/>
                  <a:gd name="T12" fmla="*/ 0 w 7"/>
                  <a:gd name="T13" fmla="*/ 4 h 6"/>
                  <a:gd name="T14" fmla="*/ 3 w 7"/>
                  <a:gd name="T15" fmla="*/ 5 h 6"/>
                  <a:gd name="T16" fmla="*/ 3 w 7"/>
                  <a:gd name="T17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" h="6">
                    <a:moveTo>
                      <a:pt x="3" y="5"/>
                    </a:moveTo>
                    <a:lnTo>
                      <a:pt x="3" y="6"/>
                    </a:lnTo>
                    <a:lnTo>
                      <a:pt x="6" y="4"/>
                    </a:lnTo>
                    <a:lnTo>
                      <a:pt x="7" y="0"/>
                    </a:lnTo>
                    <a:lnTo>
                      <a:pt x="5" y="0"/>
                    </a:lnTo>
                    <a:lnTo>
                      <a:pt x="1" y="0"/>
                    </a:lnTo>
                    <a:lnTo>
                      <a:pt x="0" y="4"/>
                    </a:lnTo>
                    <a:lnTo>
                      <a:pt x="3" y="5"/>
                    </a:lnTo>
                    <a:lnTo>
                      <a:pt x="3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44" name="Freeform 110">
                <a:extLst>
                  <a:ext uri="{FF2B5EF4-FFF2-40B4-BE49-F238E27FC236}">
                    <a16:creationId xmlns:a16="http://schemas.microsoft.com/office/drawing/2014/main" id="{99600106-7BC6-49C7-B50E-5975D0B604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71" y="1365"/>
                <a:ext cx="18" cy="5"/>
              </a:xfrm>
              <a:custGeom>
                <a:avLst/>
                <a:gdLst>
                  <a:gd name="T0" fmla="*/ 7 w 18"/>
                  <a:gd name="T1" fmla="*/ 3 h 5"/>
                  <a:gd name="T2" fmla="*/ 6 w 18"/>
                  <a:gd name="T3" fmla="*/ 4 h 5"/>
                  <a:gd name="T4" fmla="*/ 2 w 18"/>
                  <a:gd name="T5" fmla="*/ 3 h 5"/>
                  <a:gd name="T6" fmla="*/ 0 w 18"/>
                  <a:gd name="T7" fmla="*/ 4 h 5"/>
                  <a:gd name="T8" fmla="*/ 3 w 18"/>
                  <a:gd name="T9" fmla="*/ 5 h 5"/>
                  <a:gd name="T10" fmla="*/ 15 w 18"/>
                  <a:gd name="T11" fmla="*/ 5 h 5"/>
                  <a:gd name="T12" fmla="*/ 18 w 18"/>
                  <a:gd name="T13" fmla="*/ 5 h 5"/>
                  <a:gd name="T14" fmla="*/ 15 w 18"/>
                  <a:gd name="T15" fmla="*/ 3 h 5"/>
                  <a:gd name="T16" fmla="*/ 15 w 18"/>
                  <a:gd name="T17" fmla="*/ 2 h 5"/>
                  <a:gd name="T18" fmla="*/ 12 w 18"/>
                  <a:gd name="T19" fmla="*/ 0 h 5"/>
                  <a:gd name="T20" fmla="*/ 9 w 18"/>
                  <a:gd name="T21" fmla="*/ 2 h 5"/>
                  <a:gd name="T22" fmla="*/ 7 w 18"/>
                  <a:gd name="T23" fmla="*/ 3 h 5"/>
                  <a:gd name="T24" fmla="*/ 7 w 18"/>
                  <a:gd name="T25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8" h="5">
                    <a:moveTo>
                      <a:pt x="7" y="3"/>
                    </a:moveTo>
                    <a:lnTo>
                      <a:pt x="6" y="4"/>
                    </a:lnTo>
                    <a:lnTo>
                      <a:pt x="2" y="3"/>
                    </a:lnTo>
                    <a:lnTo>
                      <a:pt x="0" y="4"/>
                    </a:lnTo>
                    <a:lnTo>
                      <a:pt x="3" y="5"/>
                    </a:lnTo>
                    <a:lnTo>
                      <a:pt x="15" y="5"/>
                    </a:lnTo>
                    <a:lnTo>
                      <a:pt x="18" y="5"/>
                    </a:lnTo>
                    <a:lnTo>
                      <a:pt x="15" y="3"/>
                    </a:lnTo>
                    <a:lnTo>
                      <a:pt x="15" y="2"/>
                    </a:lnTo>
                    <a:lnTo>
                      <a:pt x="12" y="0"/>
                    </a:lnTo>
                    <a:lnTo>
                      <a:pt x="9" y="2"/>
                    </a:lnTo>
                    <a:lnTo>
                      <a:pt x="7" y="3"/>
                    </a:lnTo>
                    <a:lnTo>
                      <a:pt x="7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45" name="Freeform 111">
                <a:extLst>
                  <a:ext uri="{FF2B5EF4-FFF2-40B4-BE49-F238E27FC236}">
                    <a16:creationId xmlns:a16="http://schemas.microsoft.com/office/drawing/2014/main" id="{ABEA6274-FBB3-4F3E-A4B9-534662087E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74" y="1332"/>
                <a:ext cx="8" cy="4"/>
              </a:xfrm>
              <a:custGeom>
                <a:avLst/>
                <a:gdLst>
                  <a:gd name="T0" fmla="*/ 2 w 8"/>
                  <a:gd name="T1" fmla="*/ 3 h 4"/>
                  <a:gd name="T2" fmla="*/ 0 w 8"/>
                  <a:gd name="T3" fmla="*/ 4 h 4"/>
                  <a:gd name="T4" fmla="*/ 6 w 8"/>
                  <a:gd name="T5" fmla="*/ 2 h 4"/>
                  <a:gd name="T6" fmla="*/ 8 w 8"/>
                  <a:gd name="T7" fmla="*/ 1 h 4"/>
                  <a:gd name="T8" fmla="*/ 6 w 8"/>
                  <a:gd name="T9" fmla="*/ 0 h 4"/>
                  <a:gd name="T10" fmla="*/ 4 w 8"/>
                  <a:gd name="T11" fmla="*/ 0 h 4"/>
                  <a:gd name="T12" fmla="*/ 0 w 8"/>
                  <a:gd name="T13" fmla="*/ 1 h 4"/>
                  <a:gd name="T14" fmla="*/ 2 w 8"/>
                  <a:gd name="T15" fmla="*/ 3 h 4"/>
                  <a:gd name="T16" fmla="*/ 2 w 8"/>
                  <a:gd name="T17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4">
                    <a:moveTo>
                      <a:pt x="2" y="3"/>
                    </a:moveTo>
                    <a:lnTo>
                      <a:pt x="0" y="4"/>
                    </a:lnTo>
                    <a:lnTo>
                      <a:pt x="6" y="2"/>
                    </a:lnTo>
                    <a:lnTo>
                      <a:pt x="8" y="1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0" y="1"/>
                    </a:lnTo>
                    <a:lnTo>
                      <a:pt x="2" y="3"/>
                    </a:lnTo>
                    <a:lnTo>
                      <a:pt x="2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46" name="Freeform 112">
                <a:extLst>
                  <a:ext uri="{FF2B5EF4-FFF2-40B4-BE49-F238E27FC236}">
                    <a16:creationId xmlns:a16="http://schemas.microsoft.com/office/drawing/2014/main" id="{C7E71EBB-725C-4D5A-A786-F3F55B274B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89" y="1458"/>
                <a:ext cx="239" cy="172"/>
              </a:xfrm>
              <a:custGeom>
                <a:avLst/>
                <a:gdLst>
                  <a:gd name="T0" fmla="*/ 24 w 239"/>
                  <a:gd name="T1" fmla="*/ 111 h 172"/>
                  <a:gd name="T2" fmla="*/ 14 w 239"/>
                  <a:gd name="T3" fmla="*/ 117 h 172"/>
                  <a:gd name="T4" fmla="*/ 23 w 239"/>
                  <a:gd name="T5" fmla="*/ 121 h 172"/>
                  <a:gd name="T6" fmla="*/ 14 w 239"/>
                  <a:gd name="T7" fmla="*/ 131 h 172"/>
                  <a:gd name="T8" fmla="*/ 2 w 239"/>
                  <a:gd name="T9" fmla="*/ 134 h 172"/>
                  <a:gd name="T10" fmla="*/ 5 w 239"/>
                  <a:gd name="T11" fmla="*/ 149 h 172"/>
                  <a:gd name="T12" fmla="*/ 21 w 239"/>
                  <a:gd name="T13" fmla="*/ 150 h 172"/>
                  <a:gd name="T14" fmla="*/ 33 w 239"/>
                  <a:gd name="T15" fmla="*/ 150 h 172"/>
                  <a:gd name="T16" fmla="*/ 38 w 239"/>
                  <a:gd name="T17" fmla="*/ 158 h 172"/>
                  <a:gd name="T18" fmla="*/ 26 w 239"/>
                  <a:gd name="T19" fmla="*/ 165 h 172"/>
                  <a:gd name="T20" fmla="*/ 40 w 239"/>
                  <a:gd name="T21" fmla="*/ 167 h 172"/>
                  <a:gd name="T22" fmla="*/ 52 w 239"/>
                  <a:gd name="T23" fmla="*/ 172 h 172"/>
                  <a:gd name="T24" fmla="*/ 60 w 239"/>
                  <a:gd name="T25" fmla="*/ 168 h 172"/>
                  <a:gd name="T26" fmla="*/ 69 w 239"/>
                  <a:gd name="T27" fmla="*/ 167 h 172"/>
                  <a:gd name="T28" fmla="*/ 77 w 239"/>
                  <a:gd name="T29" fmla="*/ 169 h 172"/>
                  <a:gd name="T30" fmla="*/ 65 w 239"/>
                  <a:gd name="T31" fmla="*/ 155 h 172"/>
                  <a:gd name="T32" fmla="*/ 55 w 239"/>
                  <a:gd name="T33" fmla="*/ 135 h 172"/>
                  <a:gd name="T34" fmla="*/ 51 w 239"/>
                  <a:gd name="T35" fmla="*/ 124 h 172"/>
                  <a:gd name="T36" fmla="*/ 60 w 239"/>
                  <a:gd name="T37" fmla="*/ 116 h 172"/>
                  <a:gd name="T38" fmla="*/ 65 w 239"/>
                  <a:gd name="T39" fmla="*/ 111 h 172"/>
                  <a:gd name="T40" fmla="*/ 61 w 239"/>
                  <a:gd name="T41" fmla="*/ 108 h 172"/>
                  <a:gd name="T42" fmla="*/ 59 w 239"/>
                  <a:gd name="T43" fmla="*/ 101 h 172"/>
                  <a:gd name="T44" fmla="*/ 47 w 239"/>
                  <a:gd name="T45" fmla="*/ 98 h 172"/>
                  <a:gd name="T46" fmla="*/ 64 w 239"/>
                  <a:gd name="T47" fmla="*/ 99 h 172"/>
                  <a:gd name="T48" fmla="*/ 78 w 239"/>
                  <a:gd name="T49" fmla="*/ 99 h 172"/>
                  <a:gd name="T50" fmla="*/ 79 w 239"/>
                  <a:gd name="T51" fmla="*/ 95 h 172"/>
                  <a:gd name="T52" fmla="*/ 70 w 239"/>
                  <a:gd name="T53" fmla="*/ 87 h 172"/>
                  <a:gd name="T54" fmla="*/ 87 w 239"/>
                  <a:gd name="T55" fmla="*/ 84 h 172"/>
                  <a:gd name="T56" fmla="*/ 88 w 239"/>
                  <a:gd name="T57" fmla="*/ 83 h 172"/>
                  <a:gd name="T58" fmla="*/ 100 w 239"/>
                  <a:gd name="T59" fmla="*/ 77 h 172"/>
                  <a:gd name="T60" fmla="*/ 105 w 239"/>
                  <a:gd name="T61" fmla="*/ 70 h 172"/>
                  <a:gd name="T62" fmla="*/ 115 w 239"/>
                  <a:gd name="T63" fmla="*/ 64 h 172"/>
                  <a:gd name="T64" fmla="*/ 122 w 239"/>
                  <a:gd name="T65" fmla="*/ 61 h 172"/>
                  <a:gd name="T66" fmla="*/ 117 w 239"/>
                  <a:gd name="T67" fmla="*/ 56 h 172"/>
                  <a:gd name="T68" fmla="*/ 136 w 239"/>
                  <a:gd name="T69" fmla="*/ 49 h 172"/>
                  <a:gd name="T70" fmla="*/ 155 w 239"/>
                  <a:gd name="T71" fmla="*/ 41 h 172"/>
                  <a:gd name="T72" fmla="*/ 170 w 239"/>
                  <a:gd name="T73" fmla="*/ 38 h 172"/>
                  <a:gd name="T74" fmla="*/ 201 w 239"/>
                  <a:gd name="T75" fmla="*/ 30 h 172"/>
                  <a:gd name="T76" fmla="*/ 220 w 239"/>
                  <a:gd name="T77" fmla="*/ 23 h 172"/>
                  <a:gd name="T78" fmla="*/ 237 w 239"/>
                  <a:gd name="T79" fmla="*/ 14 h 172"/>
                  <a:gd name="T80" fmla="*/ 232 w 239"/>
                  <a:gd name="T81" fmla="*/ 2 h 172"/>
                  <a:gd name="T82" fmla="*/ 209 w 239"/>
                  <a:gd name="T83" fmla="*/ 3 h 172"/>
                  <a:gd name="T84" fmla="*/ 190 w 239"/>
                  <a:gd name="T85" fmla="*/ 14 h 172"/>
                  <a:gd name="T86" fmla="*/ 168 w 239"/>
                  <a:gd name="T87" fmla="*/ 19 h 172"/>
                  <a:gd name="T88" fmla="*/ 149 w 239"/>
                  <a:gd name="T89" fmla="*/ 21 h 172"/>
                  <a:gd name="T90" fmla="*/ 132 w 239"/>
                  <a:gd name="T91" fmla="*/ 27 h 172"/>
                  <a:gd name="T92" fmla="*/ 120 w 239"/>
                  <a:gd name="T93" fmla="*/ 29 h 172"/>
                  <a:gd name="T94" fmla="*/ 103 w 239"/>
                  <a:gd name="T95" fmla="*/ 32 h 172"/>
                  <a:gd name="T96" fmla="*/ 85 w 239"/>
                  <a:gd name="T97" fmla="*/ 41 h 172"/>
                  <a:gd name="T98" fmla="*/ 74 w 239"/>
                  <a:gd name="T99" fmla="*/ 47 h 172"/>
                  <a:gd name="T100" fmla="*/ 61 w 239"/>
                  <a:gd name="T101" fmla="*/ 52 h 172"/>
                  <a:gd name="T102" fmla="*/ 72 w 239"/>
                  <a:gd name="T103" fmla="*/ 57 h 172"/>
                  <a:gd name="T104" fmla="*/ 72 w 239"/>
                  <a:gd name="T105" fmla="*/ 65 h 172"/>
                  <a:gd name="T106" fmla="*/ 56 w 239"/>
                  <a:gd name="T107" fmla="*/ 69 h 172"/>
                  <a:gd name="T108" fmla="*/ 52 w 239"/>
                  <a:gd name="T109" fmla="*/ 74 h 172"/>
                  <a:gd name="T110" fmla="*/ 56 w 239"/>
                  <a:gd name="T111" fmla="*/ 78 h 172"/>
                  <a:gd name="T112" fmla="*/ 42 w 239"/>
                  <a:gd name="T113" fmla="*/ 84 h 172"/>
                  <a:gd name="T114" fmla="*/ 33 w 239"/>
                  <a:gd name="T115" fmla="*/ 92 h 172"/>
                  <a:gd name="T116" fmla="*/ 48 w 239"/>
                  <a:gd name="T117" fmla="*/ 91 h 172"/>
                  <a:gd name="T118" fmla="*/ 39 w 239"/>
                  <a:gd name="T119" fmla="*/ 101 h 172"/>
                  <a:gd name="T120" fmla="*/ 28 w 239"/>
                  <a:gd name="T121" fmla="*/ 104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39" h="172">
                    <a:moveTo>
                      <a:pt x="26" y="104"/>
                    </a:moveTo>
                    <a:lnTo>
                      <a:pt x="25" y="105"/>
                    </a:lnTo>
                    <a:lnTo>
                      <a:pt x="24" y="108"/>
                    </a:lnTo>
                    <a:lnTo>
                      <a:pt x="26" y="109"/>
                    </a:lnTo>
                    <a:lnTo>
                      <a:pt x="24" y="111"/>
                    </a:lnTo>
                    <a:lnTo>
                      <a:pt x="26" y="113"/>
                    </a:lnTo>
                    <a:lnTo>
                      <a:pt x="21" y="112"/>
                    </a:lnTo>
                    <a:lnTo>
                      <a:pt x="17" y="113"/>
                    </a:lnTo>
                    <a:lnTo>
                      <a:pt x="15" y="115"/>
                    </a:lnTo>
                    <a:lnTo>
                      <a:pt x="14" y="117"/>
                    </a:lnTo>
                    <a:lnTo>
                      <a:pt x="17" y="118"/>
                    </a:lnTo>
                    <a:lnTo>
                      <a:pt x="19" y="118"/>
                    </a:lnTo>
                    <a:lnTo>
                      <a:pt x="23" y="118"/>
                    </a:lnTo>
                    <a:lnTo>
                      <a:pt x="19" y="121"/>
                    </a:lnTo>
                    <a:lnTo>
                      <a:pt x="23" y="121"/>
                    </a:lnTo>
                    <a:lnTo>
                      <a:pt x="17" y="124"/>
                    </a:lnTo>
                    <a:lnTo>
                      <a:pt x="19" y="126"/>
                    </a:lnTo>
                    <a:lnTo>
                      <a:pt x="16" y="128"/>
                    </a:lnTo>
                    <a:lnTo>
                      <a:pt x="14" y="129"/>
                    </a:lnTo>
                    <a:lnTo>
                      <a:pt x="14" y="131"/>
                    </a:lnTo>
                    <a:lnTo>
                      <a:pt x="13" y="134"/>
                    </a:lnTo>
                    <a:lnTo>
                      <a:pt x="10" y="132"/>
                    </a:lnTo>
                    <a:lnTo>
                      <a:pt x="7" y="133"/>
                    </a:lnTo>
                    <a:lnTo>
                      <a:pt x="5" y="132"/>
                    </a:lnTo>
                    <a:lnTo>
                      <a:pt x="2" y="134"/>
                    </a:lnTo>
                    <a:lnTo>
                      <a:pt x="0" y="137"/>
                    </a:lnTo>
                    <a:lnTo>
                      <a:pt x="0" y="139"/>
                    </a:lnTo>
                    <a:lnTo>
                      <a:pt x="0" y="142"/>
                    </a:lnTo>
                    <a:lnTo>
                      <a:pt x="2" y="148"/>
                    </a:lnTo>
                    <a:lnTo>
                      <a:pt x="5" y="149"/>
                    </a:lnTo>
                    <a:lnTo>
                      <a:pt x="8" y="149"/>
                    </a:lnTo>
                    <a:lnTo>
                      <a:pt x="10" y="147"/>
                    </a:lnTo>
                    <a:lnTo>
                      <a:pt x="17" y="147"/>
                    </a:lnTo>
                    <a:lnTo>
                      <a:pt x="18" y="150"/>
                    </a:lnTo>
                    <a:lnTo>
                      <a:pt x="21" y="150"/>
                    </a:lnTo>
                    <a:lnTo>
                      <a:pt x="26" y="148"/>
                    </a:lnTo>
                    <a:lnTo>
                      <a:pt x="26" y="151"/>
                    </a:lnTo>
                    <a:lnTo>
                      <a:pt x="28" y="154"/>
                    </a:lnTo>
                    <a:lnTo>
                      <a:pt x="31" y="151"/>
                    </a:lnTo>
                    <a:lnTo>
                      <a:pt x="33" y="150"/>
                    </a:lnTo>
                    <a:lnTo>
                      <a:pt x="31" y="152"/>
                    </a:lnTo>
                    <a:lnTo>
                      <a:pt x="27" y="155"/>
                    </a:lnTo>
                    <a:lnTo>
                      <a:pt x="31" y="156"/>
                    </a:lnTo>
                    <a:lnTo>
                      <a:pt x="36" y="156"/>
                    </a:lnTo>
                    <a:lnTo>
                      <a:pt x="38" y="158"/>
                    </a:lnTo>
                    <a:lnTo>
                      <a:pt x="34" y="157"/>
                    </a:lnTo>
                    <a:lnTo>
                      <a:pt x="28" y="160"/>
                    </a:lnTo>
                    <a:lnTo>
                      <a:pt x="32" y="163"/>
                    </a:lnTo>
                    <a:lnTo>
                      <a:pt x="28" y="164"/>
                    </a:lnTo>
                    <a:lnTo>
                      <a:pt x="26" y="165"/>
                    </a:lnTo>
                    <a:lnTo>
                      <a:pt x="28" y="165"/>
                    </a:lnTo>
                    <a:lnTo>
                      <a:pt x="32" y="166"/>
                    </a:lnTo>
                    <a:lnTo>
                      <a:pt x="34" y="166"/>
                    </a:lnTo>
                    <a:lnTo>
                      <a:pt x="38" y="167"/>
                    </a:lnTo>
                    <a:lnTo>
                      <a:pt x="40" y="167"/>
                    </a:lnTo>
                    <a:lnTo>
                      <a:pt x="43" y="169"/>
                    </a:lnTo>
                    <a:lnTo>
                      <a:pt x="45" y="169"/>
                    </a:lnTo>
                    <a:lnTo>
                      <a:pt x="43" y="166"/>
                    </a:lnTo>
                    <a:lnTo>
                      <a:pt x="47" y="169"/>
                    </a:lnTo>
                    <a:lnTo>
                      <a:pt x="52" y="172"/>
                    </a:lnTo>
                    <a:lnTo>
                      <a:pt x="52" y="169"/>
                    </a:lnTo>
                    <a:lnTo>
                      <a:pt x="56" y="167"/>
                    </a:lnTo>
                    <a:lnTo>
                      <a:pt x="58" y="171"/>
                    </a:lnTo>
                    <a:lnTo>
                      <a:pt x="64" y="172"/>
                    </a:lnTo>
                    <a:lnTo>
                      <a:pt x="60" y="168"/>
                    </a:lnTo>
                    <a:lnTo>
                      <a:pt x="66" y="171"/>
                    </a:lnTo>
                    <a:lnTo>
                      <a:pt x="69" y="172"/>
                    </a:lnTo>
                    <a:lnTo>
                      <a:pt x="72" y="171"/>
                    </a:lnTo>
                    <a:lnTo>
                      <a:pt x="66" y="167"/>
                    </a:lnTo>
                    <a:lnTo>
                      <a:pt x="69" y="167"/>
                    </a:lnTo>
                    <a:lnTo>
                      <a:pt x="72" y="169"/>
                    </a:lnTo>
                    <a:lnTo>
                      <a:pt x="74" y="171"/>
                    </a:lnTo>
                    <a:lnTo>
                      <a:pt x="79" y="172"/>
                    </a:lnTo>
                    <a:lnTo>
                      <a:pt x="74" y="169"/>
                    </a:lnTo>
                    <a:lnTo>
                      <a:pt x="77" y="169"/>
                    </a:lnTo>
                    <a:lnTo>
                      <a:pt x="81" y="171"/>
                    </a:lnTo>
                    <a:lnTo>
                      <a:pt x="83" y="169"/>
                    </a:lnTo>
                    <a:lnTo>
                      <a:pt x="84" y="167"/>
                    </a:lnTo>
                    <a:lnTo>
                      <a:pt x="75" y="164"/>
                    </a:lnTo>
                    <a:lnTo>
                      <a:pt x="65" y="155"/>
                    </a:lnTo>
                    <a:lnTo>
                      <a:pt x="62" y="152"/>
                    </a:lnTo>
                    <a:lnTo>
                      <a:pt x="59" y="147"/>
                    </a:lnTo>
                    <a:lnTo>
                      <a:pt x="56" y="141"/>
                    </a:lnTo>
                    <a:lnTo>
                      <a:pt x="56" y="138"/>
                    </a:lnTo>
                    <a:lnTo>
                      <a:pt x="55" y="135"/>
                    </a:lnTo>
                    <a:lnTo>
                      <a:pt x="55" y="133"/>
                    </a:lnTo>
                    <a:lnTo>
                      <a:pt x="57" y="130"/>
                    </a:lnTo>
                    <a:lnTo>
                      <a:pt x="55" y="128"/>
                    </a:lnTo>
                    <a:lnTo>
                      <a:pt x="53" y="124"/>
                    </a:lnTo>
                    <a:lnTo>
                      <a:pt x="51" y="124"/>
                    </a:lnTo>
                    <a:lnTo>
                      <a:pt x="57" y="123"/>
                    </a:lnTo>
                    <a:lnTo>
                      <a:pt x="55" y="121"/>
                    </a:lnTo>
                    <a:lnTo>
                      <a:pt x="58" y="121"/>
                    </a:lnTo>
                    <a:lnTo>
                      <a:pt x="58" y="117"/>
                    </a:lnTo>
                    <a:lnTo>
                      <a:pt x="60" y="116"/>
                    </a:lnTo>
                    <a:lnTo>
                      <a:pt x="55" y="115"/>
                    </a:lnTo>
                    <a:lnTo>
                      <a:pt x="60" y="115"/>
                    </a:lnTo>
                    <a:lnTo>
                      <a:pt x="62" y="116"/>
                    </a:lnTo>
                    <a:lnTo>
                      <a:pt x="66" y="114"/>
                    </a:lnTo>
                    <a:lnTo>
                      <a:pt x="65" y="111"/>
                    </a:lnTo>
                    <a:lnTo>
                      <a:pt x="62" y="112"/>
                    </a:lnTo>
                    <a:lnTo>
                      <a:pt x="59" y="111"/>
                    </a:lnTo>
                    <a:lnTo>
                      <a:pt x="65" y="109"/>
                    </a:lnTo>
                    <a:lnTo>
                      <a:pt x="67" y="108"/>
                    </a:lnTo>
                    <a:lnTo>
                      <a:pt x="61" y="108"/>
                    </a:lnTo>
                    <a:lnTo>
                      <a:pt x="67" y="107"/>
                    </a:lnTo>
                    <a:lnTo>
                      <a:pt x="70" y="106"/>
                    </a:lnTo>
                    <a:lnTo>
                      <a:pt x="67" y="104"/>
                    </a:lnTo>
                    <a:lnTo>
                      <a:pt x="62" y="103"/>
                    </a:lnTo>
                    <a:lnTo>
                      <a:pt x="59" y="101"/>
                    </a:lnTo>
                    <a:lnTo>
                      <a:pt x="53" y="101"/>
                    </a:lnTo>
                    <a:lnTo>
                      <a:pt x="51" y="99"/>
                    </a:lnTo>
                    <a:lnTo>
                      <a:pt x="48" y="99"/>
                    </a:lnTo>
                    <a:lnTo>
                      <a:pt x="43" y="100"/>
                    </a:lnTo>
                    <a:lnTo>
                      <a:pt x="47" y="98"/>
                    </a:lnTo>
                    <a:lnTo>
                      <a:pt x="49" y="98"/>
                    </a:lnTo>
                    <a:lnTo>
                      <a:pt x="55" y="100"/>
                    </a:lnTo>
                    <a:lnTo>
                      <a:pt x="58" y="100"/>
                    </a:lnTo>
                    <a:lnTo>
                      <a:pt x="60" y="101"/>
                    </a:lnTo>
                    <a:lnTo>
                      <a:pt x="64" y="99"/>
                    </a:lnTo>
                    <a:lnTo>
                      <a:pt x="65" y="103"/>
                    </a:lnTo>
                    <a:lnTo>
                      <a:pt x="73" y="103"/>
                    </a:lnTo>
                    <a:lnTo>
                      <a:pt x="73" y="100"/>
                    </a:lnTo>
                    <a:lnTo>
                      <a:pt x="76" y="100"/>
                    </a:lnTo>
                    <a:lnTo>
                      <a:pt x="78" y="99"/>
                    </a:lnTo>
                    <a:lnTo>
                      <a:pt x="78" y="96"/>
                    </a:lnTo>
                    <a:lnTo>
                      <a:pt x="76" y="95"/>
                    </a:lnTo>
                    <a:lnTo>
                      <a:pt x="74" y="92"/>
                    </a:lnTo>
                    <a:lnTo>
                      <a:pt x="76" y="95"/>
                    </a:lnTo>
                    <a:lnTo>
                      <a:pt x="79" y="95"/>
                    </a:lnTo>
                    <a:lnTo>
                      <a:pt x="82" y="95"/>
                    </a:lnTo>
                    <a:lnTo>
                      <a:pt x="85" y="92"/>
                    </a:lnTo>
                    <a:lnTo>
                      <a:pt x="83" y="89"/>
                    </a:lnTo>
                    <a:lnTo>
                      <a:pt x="79" y="88"/>
                    </a:lnTo>
                    <a:lnTo>
                      <a:pt x="70" y="87"/>
                    </a:lnTo>
                    <a:lnTo>
                      <a:pt x="82" y="88"/>
                    </a:lnTo>
                    <a:lnTo>
                      <a:pt x="85" y="90"/>
                    </a:lnTo>
                    <a:lnTo>
                      <a:pt x="87" y="90"/>
                    </a:lnTo>
                    <a:lnTo>
                      <a:pt x="88" y="87"/>
                    </a:lnTo>
                    <a:lnTo>
                      <a:pt x="87" y="84"/>
                    </a:lnTo>
                    <a:lnTo>
                      <a:pt x="84" y="82"/>
                    </a:lnTo>
                    <a:lnTo>
                      <a:pt x="82" y="81"/>
                    </a:lnTo>
                    <a:lnTo>
                      <a:pt x="84" y="79"/>
                    </a:lnTo>
                    <a:lnTo>
                      <a:pt x="86" y="82"/>
                    </a:lnTo>
                    <a:lnTo>
                      <a:pt x="88" y="83"/>
                    </a:lnTo>
                    <a:lnTo>
                      <a:pt x="92" y="81"/>
                    </a:lnTo>
                    <a:lnTo>
                      <a:pt x="94" y="81"/>
                    </a:lnTo>
                    <a:lnTo>
                      <a:pt x="96" y="80"/>
                    </a:lnTo>
                    <a:lnTo>
                      <a:pt x="94" y="79"/>
                    </a:lnTo>
                    <a:lnTo>
                      <a:pt x="100" y="77"/>
                    </a:lnTo>
                    <a:lnTo>
                      <a:pt x="96" y="71"/>
                    </a:lnTo>
                    <a:lnTo>
                      <a:pt x="94" y="69"/>
                    </a:lnTo>
                    <a:lnTo>
                      <a:pt x="100" y="70"/>
                    </a:lnTo>
                    <a:lnTo>
                      <a:pt x="103" y="71"/>
                    </a:lnTo>
                    <a:lnTo>
                      <a:pt x="105" y="70"/>
                    </a:lnTo>
                    <a:lnTo>
                      <a:pt x="107" y="66"/>
                    </a:lnTo>
                    <a:lnTo>
                      <a:pt x="107" y="64"/>
                    </a:lnTo>
                    <a:lnTo>
                      <a:pt x="112" y="68"/>
                    </a:lnTo>
                    <a:lnTo>
                      <a:pt x="115" y="66"/>
                    </a:lnTo>
                    <a:lnTo>
                      <a:pt x="115" y="64"/>
                    </a:lnTo>
                    <a:lnTo>
                      <a:pt x="111" y="62"/>
                    </a:lnTo>
                    <a:lnTo>
                      <a:pt x="115" y="63"/>
                    </a:lnTo>
                    <a:lnTo>
                      <a:pt x="117" y="64"/>
                    </a:lnTo>
                    <a:lnTo>
                      <a:pt x="121" y="63"/>
                    </a:lnTo>
                    <a:lnTo>
                      <a:pt x="122" y="61"/>
                    </a:lnTo>
                    <a:lnTo>
                      <a:pt x="125" y="60"/>
                    </a:lnTo>
                    <a:lnTo>
                      <a:pt x="126" y="57"/>
                    </a:lnTo>
                    <a:lnTo>
                      <a:pt x="120" y="57"/>
                    </a:lnTo>
                    <a:lnTo>
                      <a:pt x="117" y="57"/>
                    </a:lnTo>
                    <a:lnTo>
                      <a:pt x="117" y="56"/>
                    </a:lnTo>
                    <a:lnTo>
                      <a:pt x="122" y="56"/>
                    </a:lnTo>
                    <a:lnTo>
                      <a:pt x="126" y="55"/>
                    </a:lnTo>
                    <a:lnTo>
                      <a:pt x="134" y="51"/>
                    </a:lnTo>
                    <a:lnTo>
                      <a:pt x="136" y="47"/>
                    </a:lnTo>
                    <a:lnTo>
                      <a:pt x="136" y="49"/>
                    </a:lnTo>
                    <a:lnTo>
                      <a:pt x="139" y="48"/>
                    </a:lnTo>
                    <a:lnTo>
                      <a:pt x="145" y="45"/>
                    </a:lnTo>
                    <a:lnTo>
                      <a:pt x="147" y="44"/>
                    </a:lnTo>
                    <a:lnTo>
                      <a:pt x="153" y="43"/>
                    </a:lnTo>
                    <a:lnTo>
                      <a:pt x="155" y="41"/>
                    </a:lnTo>
                    <a:lnTo>
                      <a:pt x="159" y="40"/>
                    </a:lnTo>
                    <a:lnTo>
                      <a:pt x="161" y="40"/>
                    </a:lnTo>
                    <a:lnTo>
                      <a:pt x="164" y="39"/>
                    </a:lnTo>
                    <a:lnTo>
                      <a:pt x="167" y="37"/>
                    </a:lnTo>
                    <a:lnTo>
                      <a:pt x="170" y="38"/>
                    </a:lnTo>
                    <a:lnTo>
                      <a:pt x="175" y="36"/>
                    </a:lnTo>
                    <a:lnTo>
                      <a:pt x="186" y="35"/>
                    </a:lnTo>
                    <a:lnTo>
                      <a:pt x="192" y="31"/>
                    </a:lnTo>
                    <a:lnTo>
                      <a:pt x="197" y="30"/>
                    </a:lnTo>
                    <a:lnTo>
                      <a:pt x="201" y="30"/>
                    </a:lnTo>
                    <a:lnTo>
                      <a:pt x="203" y="29"/>
                    </a:lnTo>
                    <a:lnTo>
                      <a:pt x="205" y="29"/>
                    </a:lnTo>
                    <a:lnTo>
                      <a:pt x="209" y="27"/>
                    </a:lnTo>
                    <a:lnTo>
                      <a:pt x="214" y="26"/>
                    </a:lnTo>
                    <a:lnTo>
                      <a:pt x="220" y="23"/>
                    </a:lnTo>
                    <a:lnTo>
                      <a:pt x="226" y="21"/>
                    </a:lnTo>
                    <a:lnTo>
                      <a:pt x="229" y="21"/>
                    </a:lnTo>
                    <a:lnTo>
                      <a:pt x="231" y="19"/>
                    </a:lnTo>
                    <a:lnTo>
                      <a:pt x="233" y="17"/>
                    </a:lnTo>
                    <a:lnTo>
                      <a:pt x="237" y="14"/>
                    </a:lnTo>
                    <a:lnTo>
                      <a:pt x="238" y="12"/>
                    </a:lnTo>
                    <a:lnTo>
                      <a:pt x="239" y="10"/>
                    </a:lnTo>
                    <a:lnTo>
                      <a:pt x="239" y="6"/>
                    </a:lnTo>
                    <a:lnTo>
                      <a:pt x="238" y="4"/>
                    </a:lnTo>
                    <a:lnTo>
                      <a:pt x="232" y="2"/>
                    </a:lnTo>
                    <a:lnTo>
                      <a:pt x="229" y="1"/>
                    </a:lnTo>
                    <a:lnTo>
                      <a:pt x="227" y="0"/>
                    </a:lnTo>
                    <a:lnTo>
                      <a:pt x="220" y="0"/>
                    </a:lnTo>
                    <a:lnTo>
                      <a:pt x="214" y="2"/>
                    </a:lnTo>
                    <a:lnTo>
                      <a:pt x="209" y="3"/>
                    </a:lnTo>
                    <a:lnTo>
                      <a:pt x="201" y="7"/>
                    </a:lnTo>
                    <a:lnTo>
                      <a:pt x="197" y="9"/>
                    </a:lnTo>
                    <a:lnTo>
                      <a:pt x="198" y="14"/>
                    </a:lnTo>
                    <a:lnTo>
                      <a:pt x="194" y="12"/>
                    </a:lnTo>
                    <a:lnTo>
                      <a:pt x="190" y="14"/>
                    </a:lnTo>
                    <a:lnTo>
                      <a:pt x="187" y="15"/>
                    </a:lnTo>
                    <a:lnTo>
                      <a:pt x="185" y="14"/>
                    </a:lnTo>
                    <a:lnTo>
                      <a:pt x="173" y="20"/>
                    </a:lnTo>
                    <a:lnTo>
                      <a:pt x="171" y="19"/>
                    </a:lnTo>
                    <a:lnTo>
                      <a:pt x="168" y="19"/>
                    </a:lnTo>
                    <a:lnTo>
                      <a:pt x="166" y="20"/>
                    </a:lnTo>
                    <a:lnTo>
                      <a:pt x="160" y="22"/>
                    </a:lnTo>
                    <a:lnTo>
                      <a:pt x="154" y="22"/>
                    </a:lnTo>
                    <a:lnTo>
                      <a:pt x="151" y="23"/>
                    </a:lnTo>
                    <a:lnTo>
                      <a:pt x="149" y="21"/>
                    </a:lnTo>
                    <a:lnTo>
                      <a:pt x="145" y="21"/>
                    </a:lnTo>
                    <a:lnTo>
                      <a:pt x="139" y="20"/>
                    </a:lnTo>
                    <a:lnTo>
                      <a:pt x="132" y="21"/>
                    </a:lnTo>
                    <a:lnTo>
                      <a:pt x="130" y="23"/>
                    </a:lnTo>
                    <a:lnTo>
                      <a:pt x="132" y="27"/>
                    </a:lnTo>
                    <a:lnTo>
                      <a:pt x="126" y="27"/>
                    </a:lnTo>
                    <a:lnTo>
                      <a:pt x="128" y="26"/>
                    </a:lnTo>
                    <a:lnTo>
                      <a:pt x="122" y="26"/>
                    </a:lnTo>
                    <a:lnTo>
                      <a:pt x="120" y="26"/>
                    </a:lnTo>
                    <a:lnTo>
                      <a:pt x="120" y="29"/>
                    </a:lnTo>
                    <a:lnTo>
                      <a:pt x="117" y="29"/>
                    </a:lnTo>
                    <a:lnTo>
                      <a:pt x="115" y="30"/>
                    </a:lnTo>
                    <a:lnTo>
                      <a:pt x="111" y="30"/>
                    </a:lnTo>
                    <a:lnTo>
                      <a:pt x="105" y="32"/>
                    </a:lnTo>
                    <a:lnTo>
                      <a:pt x="103" y="32"/>
                    </a:lnTo>
                    <a:lnTo>
                      <a:pt x="100" y="34"/>
                    </a:lnTo>
                    <a:lnTo>
                      <a:pt x="98" y="36"/>
                    </a:lnTo>
                    <a:lnTo>
                      <a:pt x="90" y="38"/>
                    </a:lnTo>
                    <a:lnTo>
                      <a:pt x="91" y="40"/>
                    </a:lnTo>
                    <a:lnTo>
                      <a:pt x="85" y="41"/>
                    </a:lnTo>
                    <a:lnTo>
                      <a:pt x="85" y="45"/>
                    </a:lnTo>
                    <a:lnTo>
                      <a:pt x="84" y="47"/>
                    </a:lnTo>
                    <a:lnTo>
                      <a:pt x="82" y="46"/>
                    </a:lnTo>
                    <a:lnTo>
                      <a:pt x="76" y="46"/>
                    </a:lnTo>
                    <a:lnTo>
                      <a:pt x="74" y="47"/>
                    </a:lnTo>
                    <a:lnTo>
                      <a:pt x="75" y="51"/>
                    </a:lnTo>
                    <a:lnTo>
                      <a:pt x="69" y="54"/>
                    </a:lnTo>
                    <a:lnTo>
                      <a:pt x="67" y="52"/>
                    </a:lnTo>
                    <a:lnTo>
                      <a:pt x="64" y="51"/>
                    </a:lnTo>
                    <a:lnTo>
                      <a:pt x="61" y="52"/>
                    </a:lnTo>
                    <a:lnTo>
                      <a:pt x="60" y="54"/>
                    </a:lnTo>
                    <a:lnTo>
                      <a:pt x="62" y="56"/>
                    </a:lnTo>
                    <a:lnTo>
                      <a:pt x="66" y="56"/>
                    </a:lnTo>
                    <a:lnTo>
                      <a:pt x="68" y="57"/>
                    </a:lnTo>
                    <a:lnTo>
                      <a:pt x="72" y="57"/>
                    </a:lnTo>
                    <a:lnTo>
                      <a:pt x="62" y="61"/>
                    </a:lnTo>
                    <a:lnTo>
                      <a:pt x="60" y="62"/>
                    </a:lnTo>
                    <a:lnTo>
                      <a:pt x="64" y="62"/>
                    </a:lnTo>
                    <a:lnTo>
                      <a:pt x="66" y="62"/>
                    </a:lnTo>
                    <a:lnTo>
                      <a:pt x="72" y="65"/>
                    </a:lnTo>
                    <a:lnTo>
                      <a:pt x="74" y="65"/>
                    </a:lnTo>
                    <a:lnTo>
                      <a:pt x="72" y="65"/>
                    </a:lnTo>
                    <a:lnTo>
                      <a:pt x="66" y="64"/>
                    </a:lnTo>
                    <a:lnTo>
                      <a:pt x="57" y="65"/>
                    </a:lnTo>
                    <a:lnTo>
                      <a:pt x="56" y="69"/>
                    </a:lnTo>
                    <a:lnTo>
                      <a:pt x="58" y="70"/>
                    </a:lnTo>
                    <a:lnTo>
                      <a:pt x="61" y="69"/>
                    </a:lnTo>
                    <a:lnTo>
                      <a:pt x="65" y="71"/>
                    </a:lnTo>
                    <a:lnTo>
                      <a:pt x="56" y="72"/>
                    </a:lnTo>
                    <a:lnTo>
                      <a:pt x="52" y="74"/>
                    </a:lnTo>
                    <a:lnTo>
                      <a:pt x="56" y="74"/>
                    </a:lnTo>
                    <a:lnTo>
                      <a:pt x="58" y="77"/>
                    </a:lnTo>
                    <a:lnTo>
                      <a:pt x="56" y="75"/>
                    </a:lnTo>
                    <a:lnTo>
                      <a:pt x="50" y="77"/>
                    </a:lnTo>
                    <a:lnTo>
                      <a:pt x="56" y="78"/>
                    </a:lnTo>
                    <a:lnTo>
                      <a:pt x="58" y="80"/>
                    </a:lnTo>
                    <a:lnTo>
                      <a:pt x="50" y="79"/>
                    </a:lnTo>
                    <a:lnTo>
                      <a:pt x="44" y="82"/>
                    </a:lnTo>
                    <a:lnTo>
                      <a:pt x="44" y="84"/>
                    </a:lnTo>
                    <a:lnTo>
                      <a:pt x="42" y="84"/>
                    </a:lnTo>
                    <a:lnTo>
                      <a:pt x="39" y="86"/>
                    </a:lnTo>
                    <a:lnTo>
                      <a:pt x="36" y="88"/>
                    </a:lnTo>
                    <a:lnTo>
                      <a:pt x="33" y="89"/>
                    </a:lnTo>
                    <a:lnTo>
                      <a:pt x="31" y="90"/>
                    </a:lnTo>
                    <a:lnTo>
                      <a:pt x="33" y="92"/>
                    </a:lnTo>
                    <a:lnTo>
                      <a:pt x="36" y="94"/>
                    </a:lnTo>
                    <a:lnTo>
                      <a:pt x="39" y="94"/>
                    </a:lnTo>
                    <a:lnTo>
                      <a:pt x="42" y="91"/>
                    </a:lnTo>
                    <a:lnTo>
                      <a:pt x="44" y="91"/>
                    </a:lnTo>
                    <a:lnTo>
                      <a:pt x="48" y="91"/>
                    </a:lnTo>
                    <a:lnTo>
                      <a:pt x="50" y="91"/>
                    </a:lnTo>
                    <a:lnTo>
                      <a:pt x="42" y="94"/>
                    </a:lnTo>
                    <a:lnTo>
                      <a:pt x="40" y="96"/>
                    </a:lnTo>
                    <a:lnTo>
                      <a:pt x="39" y="98"/>
                    </a:lnTo>
                    <a:lnTo>
                      <a:pt x="39" y="101"/>
                    </a:lnTo>
                    <a:lnTo>
                      <a:pt x="43" y="100"/>
                    </a:lnTo>
                    <a:lnTo>
                      <a:pt x="40" y="101"/>
                    </a:lnTo>
                    <a:lnTo>
                      <a:pt x="38" y="103"/>
                    </a:lnTo>
                    <a:lnTo>
                      <a:pt x="32" y="101"/>
                    </a:lnTo>
                    <a:lnTo>
                      <a:pt x="28" y="104"/>
                    </a:lnTo>
                    <a:lnTo>
                      <a:pt x="26" y="104"/>
                    </a:lnTo>
                    <a:lnTo>
                      <a:pt x="26" y="10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47" name="Freeform 113">
                <a:extLst>
                  <a:ext uri="{FF2B5EF4-FFF2-40B4-BE49-F238E27FC236}">
                    <a16:creationId xmlns:a16="http://schemas.microsoft.com/office/drawing/2014/main" id="{85528C43-0005-431A-AB4E-0F28F26A43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02" y="1356"/>
                <a:ext cx="18" cy="6"/>
              </a:xfrm>
              <a:custGeom>
                <a:avLst/>
                <a:gdLst>
                  <a:gd name="T0" fmla="*/ 0 w 18"/>
                  <a:gd name="T1" fmla="*/ 5 h 6"/>
                  <a:gd name="T2" fmla="*/ 4 w 18"/>
                  <a:gd name="T3" fmla="*/ 6 h 6"/>
                  <a:gd name="T4" fmla="*/ 13 w 18"/>
                  <a:gd name="T5" fmla="*/ 6 h 6"/>
                  <a:gd name="T6" fmla="*/ 15 w 18"/>
                  <a:gd name="T7" fmla="*/ 6 h 6"/>
                  <a:gd name="T8" fmla="*/ 18 w 18"/>
                  <a:gd name="T9" fmla="*/ 3 h 6"/>
                  <a:gd name="T10" fmla="*/ 15 w 18"/>
                  <a:gd name="T11" fmla="*/ 2 h 6"/>
                  <a:gd name="T12" fmla="*/ 12 w 18"/>
                  <a:gd name="T13" fmla="*/ 0 h 6"/>
                  <a:gd name="T14" fmla="*/ 6 w 18"/>
                  <a:gd name="T15" fmla="*/ 0 h 6"/>
                  <a:gd name="T16" fmla="*/ 4 w 18"/>
                  <a:gd name="T17" fmla="*/ 2 h 6"/>
                  <a:gd name="T18" fmla="*/ 2 w 18"/>
                  <a:gd name="T19" fmla="*/ 3 h 6"/>
                  <a:gd name="T20" fmla="*/ 0 w 18"/>
                  <a:gd name="T21" fmla="*/ 5 h 6"/>
                  <a:gd name="T22" fmla="*/ 0 w 18"/>
                  <a:gd name="T23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8" h="6">
                    <a:moveTo>
                      <a:pt x="0" y="5"/>
                    </a:moveTo>
                    <a:lnTo>
                      <a:pt x="4" y="6"/>
                    </a:lnTo>
                    <a:lnTo>
                      <a:pt x="13" y="6"/>
                    </a:lnTo>
                    <a:lnTo>
                      <a:pt x="15" y="6"/>
                    </a:lnTo>
                    <a:lnTo>
                      <a:pt x="18" y="3"/>
                    </a:lnTo>
                    <a:lnTo>
                      <a:pt x="15" y="2"/>
                    </a:lnTo>
                    <a:lnTo>
                      <a:pt x="12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2" y="3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48" name="Freeform 114">
                <a:extLst>
                  <a:ext uri="{FF2B5EF4-FFF2-40B4-BE49-F238E27FC236}">
                    <a16:creationId xmlns:a16="http://schemas.microsoft.com/office/drawing/2014/main" id="{EFF2A363-285C-497E-898A-64E3E6C78C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22" y="1350"/>
                <a:ext cx="8" cy="5"/>
              </a:xfrm>
              <a:custGeom>
                <a:avLst/>
                <a:gdLst>
                  <a:gd name="T0" fmla="*/ 0 w 8"/>
                  <a:gd name="T1" fmla="*/ 2 h 5"/>
                  <a:gd name="T2" fmla="*/ 1 w 8"/>
                  <a:gd name="T3" fmla="*/ 3 h 5"/>
                  <a:gd name="T4" fmla="*/ 6 w 8"/>
                  <a:gd name="T5" fmla="*/ 5 h 5"/>
                  <a:gd name="T6" fmla="*/ 8 w 8"/>
                  <a:gd name="T7" fmla="*/ 2 h 5"/>
                  <a:gd name="T8" fmla="*/ 6 w 8"/>
                  <a:gd name="T9" fmla="*/ 0 h 5"/>
                  <a:gd name="T10" fmla="*/ 2 w 8"/>
                  <a:gd name="T11" fmla="*/ 0 h 5"/>
                  <a:gd name="T12" fmla="*/ 0 w 8"/>
                  <a:gd name="T13" fmla="*/ 0 h 5"/>
                  <a:gd name="T14" fmla="*/ 0 w 8"/>
                  <a:gd name="T15" fmla="*/ 2 h 5"/>
                  <a:gd name="T16" fmla="*/ 0 w 8"/>
                  <a:gd name="T17" fmla="*/ 2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5">
                    <a:moveTo>
                      <a:pt x="0" y="2"/>
                    </a:moveTo>
                    <a:lnTo>
                      <a:pt x="1" y="3"/>
                    </a:lnTo>
                    <a:lnTo>
                      <a:pt x="6" y="5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49" name="Freeform 115">
                <a:extLst>
                  <a:ext uri="{FF2B5EF4-FFF2-40B4-BE49-F238E27FC236}">
                    <a16:creationId xmlns:a16="http://schemas.microsoft.com/office/drawing/2014/main" id="{5DCAC0DB-BCB9-4495-BE5E-2C8A836FD5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24" y="1340"/>
                <a:ext cx="27" cy="5"/>
              </a:xfrm>
              <a:custGeom>
                <a:avLst/>
                <a:gdLst>
                  <a:gd name="T0" fmla="*/ 0 w 27"/>
                  <a:gd name="T1" fmla="*/ 2 h 5"/>
                  <a:gd name="T2" fmla="*/ 1 w 27"/>
                  <a:gd name="T3" fmla="*/ 3 h 5"/>
                  <a:gd name="T4" fmla="*/ 7 w 27"/>
                  <a:gd name="T5" fmla="*/ 3 h 5"/>
                  <a:gd name="T6" fmla="*/ 10 w 27"/>
                  <a:gd name="T7" fmla="*/ 5 h 5"/>
                  <a:gd name="T8" fmla="*/ 13 w 27"/>
                  <a:gd name="T9" fmla="*/ 5 h 5"/>
                  <a:gd name="T10" fmla="*/ 18 w 27"/>
                  <a:gd name="T11" fmla="*/ 4 h 5"/>
                  <a:gd name="T12" fmla="*/ 24 w 27"/>
                  <a:gd name="T13" fmla="*/ 3 h 5"/>
                  <a:gd name="T14" fmla="*/ 27 w 27"/>
                  <a:gd name="T15" fmla="*/ 3 h 5"/>
                  <a:gd name="T16" fmla="*/ 15 w 27"/>
                  <a:gd name="T17" fmla="*/ 0 h 5"/>
                  <a:gd name="T18" fmla="*/ 13 w 27"/>
                  <a:gd name="T19" fmla="*/ 2 h 5"/>
                  <a:gd name="T20" fmla="*/ 9 w 27"/>
                  <a:gd name="T21" fmla="*/ 1 h 5"/>
                  <a:gd name="T22" fmla="*/ 7 w 27"/>
                  <a:gd name="T23" fmla="*/ 1 h 5"/>
                  <a:gd name="T24" fmla="*/ 4 w 27"/>
                  <a:gd name="T25" fmla="*/ 1 h 5"/>
                  <a:gd name="T26" fmla="*/ 0 w 27"/>
                  <a:gd name="T27" fmla="*/ 2 h 5"/>
                  <a:gd name="T28" fmla="*/ 0 w 27"/>
                  <a:gd name="T29" fmla="*/ 2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7" h="5">
                    <a:moveTo>
                      <a:pt x="0" y="2"/>
                    </a:moveTo>
                    <a:lnTo>
                      <a:pt x="1" y="3"/>
                    </a:lnTo>
                    <a:lnTo>
                      <a:pt x="7" y="3"/>
                    </a:lnTo>
                    <a:lnTo>
                      <a:pt x="10" y="5"/>
                    </a:lnTo>
                    <a:lnTo>
                      <a:pt x="13" y="5"/>
                    </a:lnTo>
                    <a:lnTo>
                      <a:pt x="18" y="4"/>
                    </a:lnTo>
                    <a:lnTo>
                      <a:pt x="24" y="3"/>
                    </a:lnTo>
                    <a:lnTo>
                      <a:pt x="27" y="3"/>
                    </a:lnTo>
                    <a:lnTo>
                      <a:pt x="15" y="0"/>
                    </a:lnTo>
                    <a:lnTo>
                      <a:pt x="13" y="2"/>
                    </a:lnTo>
                    <a:lnTo>
                      <a:pt x="9" y="1"/>
                    </a:lnTo>
                    <a:lnTo>
                      <a:pt x="7" y="1"/>
                    </a:lnTo>
                    <a:lnTo>
                      <a:pt x="4" y="1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50" name="Freeform 116">
                <a:extLst>
                  <a:ext uri="{FF2B5EF4-FFF2-40B4-BE49-F238E27FC236}">
                    <a16:creationId xmlns:a16="http://schemas.microsoft.com/office/drawing/2014/main" id="{D7C91335-D64E-4F2D-8FEE-AC057332EE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0" y="1333"/>
                <a:ext cx="43" cy="14"/>
              </a:xfrm>
              <a:custGeom>
                <a:avLst/>
                <a:gdLst>
                  <a:gd name="T0" fmla="*/ 0 w 43"/>
                  <a:gd name="T1" fmla="*/ 3 h 14"/>
                  <a:gd name="T2" fmla="*/ 0 w 43"/>
                  <a:gd name="T3" fmla="*/ 3 h 14"/>
                  <a:gd name="T4" fmla="*/ 9 w 43"/>
                  <a:gd name="T5" fmla="*/ 5 h 14"/>
                  <a:gd name="T6" fmla="*/ 11 w 43"/>
                  <a:gd name="T7" fmla="*/ 5 h 14"/>
                  <a:gd name="T8" fmla="*/ 15 w 43"/>
                  <a:gd name="T9" fmla="*/ 7 h 14"/>
                  <a:gd name="T10" fmla="*/ 17 w 43"/>
                  <a:gd name="T11" fmla="*/ 7 h 14"/>
                  <a:gd name="T12" fmla="*/ 20 w 43"/>
                  <a:gd name="T13" fmla="*/ 8 h 14"/>
                  <a:gd name="T14" fmla="*/ 28 w 43"/>
                  <a:gd name="T15" fmla="*/ 9 h 14"/>
                  <a:gd name="T16" fmla="*/ 37 w 43"/>
                  <a:gd name="T17" fmla="*/ 14 h 14"/>
                  <a:gd name="T18" fmla="*/ 43 w 43"/>
                  <a:gd name="T19" fmla="*/ 12 h 14"/>
                  <a:gd name="T20" fmla="*/ 43 w 43"/>
                  <a:gd name="T21" fmla="*/ 9 h 14"/>
                  <a:gd name="T22" fmla="*/ 33 w 43"/>
                  <a:gd name="T23" fmla="*/ 7 h 14"/>
                  <a:gd name="T24" fmla="*/ 29 w 43"/>
                  <a:gd name="T25" fmla="*/ 5 h 14"/>
                  <a:gd name="T26" fmla="*/ 24 w 43"/>
                  <a:gd name="T27" fmla="*/ 2 h 14"/>
                  <a:gd name="T28" fmla="*/ 17 w 43"/>
                  <a:gd name="T29" fmla="*/ 3 h 14"/>
                  <a:gd name="T30" fmla="*/ 15 w 43"/>
                  <a:gd name="T31" fmla="*/ 3 h 14"/>
                  <a:gd name="T32" fmla="*/ 11 w 43"/>
                  <a:gd name="T33" fmla="*/ 2 h 14"/>
                  <a:gd name="T34" fmla="*/ 2 w 43"/>
                  <a:gd name="T35" fmla="*/ 0 h 14"/>
                  <a:gd name="T36" fmla="*/ 0 w 43"/>
                  <a:gd name="T37" fmla="*/ 3 h 14"/>
                  <a:gd name="T38" fmla="*/ 0 w 43"/>
                  <a:gd name="T39" fmla="*/ 3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3" h="14">
                    <a:moveTo>
                      <a:pt x="0" y="3"/>
                    </a:moveTo>
                    <a:lnTo>
                      <a:pt x="0" y="3"/>
                    </a:lnTo>
                    <a:lnTo>
                      <a:pt x="9" y="5"/>
                    </a:lnTo>
                    <a:lnTo>
                      <a:pt x="11" y="5"/>
                    </a:lnTo>
                    <a:lnTo>
                      <a:pt x="15" y="7"/>
                    </a:lnTo>
                    <a:lnTo>
                      <a:pt x="17" y="7"/>
                    </a:lnTo>
                    <a:lnTo>
                      <a:pt x="20" y="8"/>
                    </a:lnTo>
                    <a:lnTo>
                      <a:pt x="28" y="9"/>
                    </a:lnTo>
                    <a:lnTo>
                      <a:pt x="37" y="14"/>
                    </a:lnTo>
                    <a:lnTo>
                      <a:pt x="43" y="12"/>
                    </a:lnTo>
                    <a:lnTo>
                      <a:pt x="43" y="9"/>
                    </a:lnTo>
                    <a:lnTo>
                      <a:pt x="33" y="7"/>
                    </a:lnTo>
                    <a:lnTo>
                      <a:pt x="29" y="5"/>
                    </a:lnTo>
                    <a:lnTo>
                      <a:pt x="24" y="2"/>
                    </a:lnTo>
                    <a:lnTo>
                      <a:pt x="17" y="3"/>
                    </a:lnTo>
                    <a:lnTo>
                      <a:pt x="15" y="3"/>
                    </a:lnTo>
                    <a:lnTo>
                      <a:pt x="11" y="2"/>
                    </a:lnTo>
                    <a:lnTo>
                      <a:pt x="2" y="0"/>
                    </a:lnTo>
                    <a:lnTo>
                      <a:pt x="0" y="3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51" name="Freeform 117">
                <a:extLst>
                  <a:ext uri="{FF2B5EF4-FFF2-40B4-BE49-F238E27FC236}">
                    <a16:creationId xmlns:a16="http://schemas.microsoft.com/office/drawing/2014/main" id="{972FDF78-1932-4974-8D3E-3CFF12E77B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45" y="1343"/>
                <a:ext cx="19" cy="6"/>
              </a:xfrm>
              <a:custGeom>
                <a:avLst/>
                <a:gdLst>
                  <a:gd name="T0" fmla="*/ 0 w 19"/>
                  <a:gd name="T1" fmla="*/ 2 h 6"/>
                  <a:gd name="T2" fmla="*/ 1 w 19"/>
                  <a:gd name="T3" fmla="*/ 5 h 6"/>
                  <a:gd name="T4" fmla="*/ 4 w 19"/>
                  <a:gd name="T5" fmla="*/ 6 h 6"/>
                  <a:gd name="T6" fmla="*/ 8 w 19"/>
                  <a:gd name="T7" fmla="*/ 6 h 6"/>
                  <a:gd name="T8" fmla="*/ 10 w 19"/>
                  <a:gd name="T9" fmla="*/ 5 h 6"/>
                  <a:gd name="T10" fmla="*/ 17 w 19"/>
                  <a:gd name="T11" fmla="*/ 6 h 6"/>
                  <a:gd name="T12" fmla="*/ 19 w 19"/>
                  <a:gd name="T13" fmla="*/ 5 h 6"/>
                  <a:gd name="T14" fmla="*/ 17 w 19"/>
                  <a:gd name="T15" fmla="*/ 2 h 6"/>
                  <a:gd name="T16" fmla="*/ 14 w 19"/>
                  <a:gd name="T17" fmla="*/ 0 h 6"/>
                  <a:gd name="T18" fmla="*/ 5 w 19"/>
                  <a:gd name="T19" fmla="*/ 1 h 6"/>
                  <a:gd name="T20" fmla="*/ 2 w 19"/>
                  <a:gd name="T21" fmla="*/ 2 h 6"/>
                  <a:gd name="T22" fmla="*/ 0 w 19"/>
                  <a:gd name="T23" fmla="*/ 2 h 6"/>
                  <a:gd name="T24" fmla="*/ 0 w 19"/>
                  <a:gd name="T25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6">
                    <a:moveTo>
                      <a:pt x="0" y="2"/>
                    </a:moveTo>
                    <a:lnTo>
                      <a:pt x="1" y="5"/>
                    </a:lnTo>
                    <a:lnTo>
                      <a:pt x="4" y="6"/>
                    </a:lnTo>
                    <a:lnTo>
                      <a:pt x="8" y="6"/>
                    </a:lnTo>
                    <a:lnTo>
                      <a:pt x="10" y="5"/>
                    </a:lnTo>
                    <a:lnTo>
                      <a:pt x="17" y="6"/>
                    </a:lnTo>
                    <a:lnTo>
                      <a:pt x="19" y="5"/>
                    </a:lnTo>
                    <a:lnTo>
                      <a:pt x="17" y="2"/>
                    </a:lnTo>
                    <a:lnTo>
                      <a:pt x="14" y="0"/>
                    </a:lnTo>
                    <a:lnTo>
                      <a:pt x="5" y="1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52" name="Freeform 118">
                <a:extLst>
                  <a:ext uri="{FF2B5EF4-FFF2-40B4-BE49-F238E27FC236}">
                    <a16:creationId xmlns:a16="http://schemas.microsoft.com/office/drawing/2014/main" id="{AD3FF816-A54E-4701-BB7F-E7ACAEA058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45" y="1324"/>
                <a:ext cx="32" cy="7"/>
              </a:xfrm>
              <a:custGeom>
                <a:avLst/>
                <a:gdLst>
                  <a:gd name="T0" fmla="*/ 1 w 32"/>
                  <a:gd name="T1" fmla="*/ 6 h 7"/>
                  <a:gd name="T2" fmla="*/ 1 w 32"/>
                  <a:gd name="T3" fmla="*/ 6 h 7"/>
                  <a:gd name="T4" fmla="*/ 6 w 32"/>
                  <a:gd name="T5" fmla="*/ 7 h 7"/>
                  <a:gd name="T6" fmla="*/ 9 w 32"/>
                  <a:gd name="T7" fmla="*/ 6 h 7"/>
                  <a:gd name="T8" fmla="*/ 12 w 32"/>
                  <a:gd name="T9" fmla="*/ 7 h 7"/>
                  <a:gd name="T10" fmla="*/ 27 w 32"/>
                  <a:gd name="T11" fmla="*/ 3 h 7"/>
                  <a:gd name="T12" fmla="*/ 29 w 32"/>
                  <a:gd name="T13" fmla="*/ 3 h 7"/>
                  <a:gd name="T14" fmla="*/ 32 w 32"/>
                  <a:gd name="T15" fmla="*/ 3 h 7"/>
                  <a:gd name="T16" fmla="*/ 30 w 32"/>
                  <a:gd name="T17" fmla="*/ 2 h 7"/>
                  <a:gd name="T18" fmla="*/ 27 w 32"/>
                  <a:gd name="T19" fmla="*/ 2 h 7"/>
                  <a:gd name="T20" fmla="*/ 21 w 32"/>
                  <a:gd name="T21" fmla="*/ 0 h 7"/>
                  <a:gd name="T22" fmla="*/ 18 w 32"/>
                  <a:gd name="T23" fmla="*/ 0 h 7"/>
                  <a:gd name="T24" fmla="*/ 16 w 32"/>
                  <a:gd name="T25" fmla="*/ 0 h 7"/>
                  <a:gd name="T26" fmla="*/ 12 w 32"/>
                  <a:gd name="T27" fmla="*/ 1 h 7"/>
                  <a:gd name="T28" fmla="*/ 13 w 32"/>
                  <a:gd name="T29" fmla="*/ 4 h 7"/>
                  <a:gd name="T30" fmla="*/ 5 w 32"/>
                  <a:gd name="T31" fmla="*/ 2 h 7"/>
                  <a:gd name="T32" fmla="*/ 3 w 32"/>
                  <a:gd name="T33" fmla="*/ 2 h 7"/>
                  <a:gd name="T34" fmla="*/ 0 w 32"/>
                  <a:gd name="T35" fmla="*/ 2 h 7"/>
                  <a:gd name="T36" fmla="*/ 1 w 32"/>
                  <a:gd name="T37" fmla="*/ 6 h 7"/>
                  <a:gd name="T38" fmla="*/ 1 w 32"/>
                  <a:gd name="T39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32" h="7">
                    <a:moveTo>
                      <a:pt x="1" y="6"/>
                    </a:moveTo>
                    <a:lnTo>
                      <a:pt x="1" y="6"/>
                    </a:lnTo>
                    <a:lnTo>
                      <a:pt x="6" y="7"/>
                    </a:lnTo>
                    <a:lnTo>
                      <a:pt x="9" y="6"/>
                    </a:lnTo>
                    <a:lnTo>
                      <a:pt x="12" y="7"/>
                    </a:lnTo>
                    <a:lnTo>
                      <a:pt x="27" y="3"/>
                    </a:lnTo>
                    <a:lnTo>
                      <a:pt x="29" y="3"/>
                    </a:lnTo>
                    <a:lnTo>
                      <a:pt x="32" y="3"/>
                    </a:lnTo>
                    <a:lnTo>
                      <a:pt x="30" y="2"/>
                    </a:lnTo>
                    <a:lnTo>
                      <a:pt x="27" y="2"/>
                    </a:lnTo>
                    <a:lnTo>
                      <a:pt x="21" y="0"/>
                    </a:lnTo>
                    <a:lnTo>
                      <a:pt x="18" y="0"/>
                    </a:lnTo>
                    <a:lnTo>
                      <a:pt x="16" y="0"/>
                    </a:lnTo>
                    <a:lnTo>
                      <a:pt x="12" y="1"/>
                    </a:lnTo>
                    <a:lnTo>
                      <a:pt x="13" y="4"/>
                    </a:lnTo>
                    <a:lnTo>
                      <a:pt x="5" y="2"/>
                    </a:lnTo>
                    <a:lnTo>
                      <a:pt x="3" y="2"/>
                    </a:lnTo>
                    <a:lnTo>
                      <a:pt x="0" y="2"/>
                    </a:lnTo>
                    <a:lnTo>
                      <a:pt x="1" y="6"/>
                    </a:lnTo>
                    <a:lnTo>
                      <a:pt x="1" y="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53" name="Freeform 119">
                <a:extLst>
                  <a:ext uri="{FF2B5EF4-FFF2-40B4-BE49-F238E27FC236}">
                    <a16:creationId xmlns:a16="http://schemas.microsoft.com/office/drawing/2014/main" id="{963387CE-EE25-4F0A-AD82-D6987E1ABF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49" y="1357"/>
                <a:ext cx="18" cy="9"/>
              </a:xfrm>
              <a:custGeom>
                <a:avLst/>
                <a:gdLst>
                  <a:gd name="T0" fmla="*/ 0 w 18"/>
                  <a:gd name="T1" fmla="*/ 8 h 9"/>
                  <a:gd name="T2" fmla="*/ 0 w 18"/>
                  <a:gd name="T3" fmla="*/ 9 h 9"/>
                  <a:gd name="T4" fmla="*/ 4 w 18"/>
                  <a:gd name="T5" fmla="*/ 9 h 9"/>
                  <a:gd name="T6" fmla="*/ 15 w 18"/>
                  <a:gd name="T7" fmla="*/ 9 h 9"/>
                  <a:gd name="T8" fmla="*/ 17 w 18"/>
                  <a:gd name="T9" fmla="*/ 9 h 9"/>
                  <a:gd name="T10" fmla="*/ 18 w 18"/>
                  <a:gd name="T11" fmla="*/ 5 h 9"/>
                  <a:gd name="T12" fmla="*/ 17 w 18"/>
                  <a:gd name="T13" fmla="*/ 0 h 9"/>
                  <a:gd name="T14" fmla="*/ 14 w 18"/>
                  <a:gd name="T15" fmla="*/ 0 h 9"/>
                  <a:gd name="T16" fmla="*/ 10 w 18"/>
                  <a:gd name="T17" fmla="*/ 1 h 9"/>
                  <a:gd name="T18" fmla="*/ 5 w 18"/>
                  <a:gd name="T19" fmla="*/ 1 h 9"/>
                  <a:gd name="T20" fmla="*/ 2 w 18"/>
                  <a:gd name="T21" fmla="*/ 3 h 9"/>
                  <a:gd name="T22" fmla="*/ 2 w 18"/>
                  <a:gd name="T23" fmla="*/ 5 h 9"/>
                  <a:gd name="T24" fmla="*/ 0 w 18"/>
                  <a:gd name="T25" fmla="*/ 8 h 9"/>
                  <a:gd name="T26" fmla="*/ 0 w 18"/>
                  <a:gd name="T27" fmla="*/ 8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8" h="9">
                    <a:moveTo>
                      <a:pt x="0" y="8"/>
                    </a:moveTo>
                    <a:lnTo>
                      <a:pt x="0" y="9"/>
                    </a:lnTo>
                    <a:lnTo>
                      <a:pt x="4" y="9"/>
                    </a:lnTo>
                    <a:lnTo>
                      <a:pt x="15" y="9"/>
                    </a:lnTo>
                    <a:lnTo>
                      <a:pt x="17" y="9"/>
                    </a:lnTo>
                    <a:lnTo>
                      <a:pt x="18" y="5"/>
                    </a:lnTo>
                    <a:lnTo>
                      <a:pt x="17" y="0"/>
                    </a:lnTo>
                    <a:lnTo>
                      <a:pt x="14" y="0"/>
                    </a:lnTo>
                    <a:lnTo>
                      <a:pt x="10" y="1"/>
                    </a:lnTo>
                    <a:lnTo>
                      <a:pt x="5" y="1"/>
                    </a:lnTo>
                    <a:lnTo>
                      <a:pt x="2" y="3"/>
                    </a:lnTo>
                    <a:lnTo>
                      <a:pt x="2" y="5"/>
                    </a:lnTo>
                    <a:lnTo>
                      <a:pt x="0" y="8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54" name="Freeform 120">
                <a:extLst>
                  <a:ext uri="{FF2B5EF4-FFF2-40B4-BE49-F238E27FC236}">
                    <a16:creationId xmlns:a16="http://schemas.microsoft.com/office/drawing/2014/main" id="{53DE4096-8B28-4BAF-8322-52100EF773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53" y="1333"/>
                <a:ext cx="29" cy="8"/>
              </a:xfrm>
              <a:custGeom>
                <a:avLst/>
                <a:gdLst>
                  <a:gd name="T0" fmla="*/ 0 w 29"/>
                  <a:gd name="T1" fmla="*/ 0 h 8"/>
                  <a:gd name="T2" fmla="*/ 2 w 29"/>
                  <a:gd name="T3" fmla="*/ 1 h 8"/>
                  <a:gd name="T4" fmla="*/ 9 w 29"/>
                  <a:gd name="T5" fmla="*/ 2 h 8"/>
                  <a:gd name="T6" fmla="*/ 11 w 29"/>
                  <a:gd name="T7" fmla="*/ 5 h 8"/>
                  <a:gd name="T8" fmla="*/ 14 w 29"/>
                  <a:gd name="T9" fmla="*/ 5 h 8"/>
                  <a:gd name="T10" fmla="*/ 18 w 29"/>
                  <a:gd name="T11" fmla="*/ 8 h 8"/>
                  <a:gd name="T12" fmla="*/ 23 w 29"/>
                  <a:gd name="T13" fmla="*/ 8 h 8"/>
                  <a:gd name="T14" fmla="*/ 29 w 29"/>
                  <a:gd name="T15" fmla="*/ 6 h 8"/>
                  <a:gd name="T16" fmla="*/ 23 w 29"/>
                  <a:gd name="T17" fmla="*/ 5 h 8"/>
                  <a:gd name="T18" fmla="*/ 20 w 29"/>
                  <a:gd name="T19" fmla="*/ 2 h 8"/>
                  <a:gd name="T20" fmla="*/ 14 w 29"/>
                  <a:gd name="T21" fmla="*/ 2 h 8"/>
                  <a:gd name="T22" fmla="*/ 9 w 29"/>
                  <a:gd name="T23" fmla="*/ 0 h 8"/>
                  <a:gd name="T24" fmla="*/ 0 w 29"/>
                  <a:gd name="T25" fmla="*/ 0 h 8"/>
                  <a:gd name="T26" fmla="*/ 0 w 29"/>
                  <a:gd name="T27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9" h="8">
                    <a:moveTo>
                      <a:pt x="0" y="0"/>
                    </a:moveTo>
                    <a:lnTo>
                      <a:pt x="2" y="1"/>
                    </a:lnTo>
                    <a:lnTo>
                      <a:pt x="9" y="2"/>
                    </a:lnTo>
                    <a:lnTo>
                      <a:pt x="11" y="5"/>
                    </a:lnTo>
                    <a:lnTo>
                      <a:pt x="14" y="5"/>
                    </a:lnTo>
                    <a:lnTo>
                      <a:pt x="18" y="8"/>
                    </a:lnTo>
                    <a:lnTo>
                      <a:pt x="23" y="8"/>
                    </a:lnTo>
                    <a:lnTo>
                      <a:pt x="29" y="6"/>
                    </a:lnTo>
                    <a:lnTo>
                      <a:pt x="23" y="5"/>
                    </a:lnTo>
                    <a:lnTo>
                      <a:pt x="20" y="2"/>
                    </a:lnTo>
                    <a:lnTo>
                      <a:pt x="14" y="2"/>
                    </a:lnTo>
                    <a:lnTo>
                      <a:pt x="9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55" name="Freeform 121">
                <a:extLst>
                  <a:ext uri="{FF2B5EF4-FFF2-40B4-BE49-F238E27FC236}">
                    <a16:creationId xmlns:a16="http://schemas.microsoft.com/office/drawing/2014/main" id="{121147A3-DB3A-4B8F-9C92-37AD4EA86D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63" y="1318"/>
                <a:ext cx="22" cy="7"/>
              </a:xfrm>
              <a:custGeom>
                <a:avLst/>
                <a:gdLst>
                  <a:gd name="T0" fmla="*/ 17 w 22"/>
                  <a:gd name="T1" fmla="*/ 7 h 7"/>
                  <a:gd name="T2" fmla="*/ 19 w 22"/>
                  <a:gd name="T3" fmla="*/ 6 h 7"/>
                  <a:gd name="T4" fmla="*/ 22 w 22"/>
                  <a:gd name="T5" fmla="*/ 5 h 7"/>
                  <a:gd name="T6" fmla="*/ 20 w 22"/>
                  <a:gd name="T7" fmla="*/ 4 h 7"/>
                  <a:gd name="T8" fmla="*/ 17 w 22"/>
                  <a:gd name="T9" fmla="*/ 3 h 7"/>
                  <a:gd name="T10" fmla="*/ 13 w 22"/>
                  <a:gd name="T11" fmla="*/ 1 h 7"/>
                  <a:gd name="T12" fmla="*/ 11 w 22"/>
                  <a:gd name="T13" fmla="*/ 0 h 7"/>
                  <a:gd name="T14" fmla="*/ 8 w 22"/>
                  <a:gd name="T15" fmla="*/ 1 h 7"/>
                  <a:gd name="T16" fmla="*/ 5 w 22"/>
                  <a:gd name="T17" fmla="*/ 1 h 7"/>
                  <a:gd name="T18" fmla="*/ 2 w 22"/>
                  <a:gd name="T19" fmla="*/ 3 h 7"/>
                  <a:gd name="T20" fmla="*/ 0 w 22"/>
                  <a:gd name="T21" fmla="*/ 5 h 7"/>
                  <a:gd name="T22" fmla="*/ 5 w 22"/>
                  <a:gd name="T23" fmla="*/ 5 h 7"/>
                  <a:gd name="T24" fmla="*/ 9 w 22"/>
                  <a:gd name="T25" fmla="*/ 5 h 7"/>
                  <a:gd name="T26" fmla="*/ 11 w 22"/>
                  <a:gd name="T27" fmla="*/ 6 h 7"/>
                  <a:gd name="T28" fmla="*/ 17 w 22"/>
                  <a:gd name="T29" fmla="*/ 7 h 7"/>
                  <a:gd name="T30" fmla="*/ 17 w 22"/>
                  <a:gd name="T31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2" h="7">
                    <a:moveTo>
                      <a:pt x="17" y="7"/>
                    </a:moveTo>
                    <a:lnTo>
                      <a:pt x="19" y="6"/>
                    </a:lnTo>
                    <a:lnTo>
                      <a:pt x="22" y="5"/>
                    </a:lnTo>
                    <a:lnTo>
                      <a:pt x="20" y="4"/>
                    </a:lnTo>
                    <a:lnTo>
                      <a:pt x="17" y="3"/>
                    </a:lnTo>
                    <a:lnTo>
                      <a:pt x="13" y="1"/>
                    </a:lnTo>
                    <a:lnTo>
                      <a:pt x="11" y="0"/>
                    </a:lnTo>
                    <a:lnTo>
                      <a:pt x="8" y="1"/>
                    </a:lnTo>
                    <a:lnTo>
                      <a:pt x="5" y="1"/>
                    </a:lnTo>
                    <a:lnTo>
                      <a:pt x="2" y="3"/>
                    </a:lnTo>
                    <a:lnTo>
                      <a:pt x="0" y="5"/>
                    </a:lnTo>
                    <a:lnTo>
                      <a:pt x="5" y="5"/>
                    </a:lnTo>
                    <a:lnTo>
                      <a:pt x="9" y="5"/>
                    </a:lnTo>
                    <a:lnTo>
                      <a:pt x="11" y="6"/>
                    </a:lnTo>
                    <a:lnTo>
                      <a:pt x="17" y="7"/>
                    </a:lnTo>
                    <a:lnTo>
                      <a:pt x="17" y="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56" name="Freeform 122">
                <a:extLst>
                  <a:ext uri="{FF2B5EF4-FFF2-40B4-BE49-F238E27FC236}">
                    <a16:creationId xmlns:a16="http://schemas.microsoft.com/office/drawing/2014/main" id="{B826EF85-EB83-42AE-90A9-E7E59614D4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66" y="1353"/>
                <a:ext cx="28" cy="12"/>
              </a:xfrm>
              <a:custGeom>
                <a:avLst/>
                <a:gdLst>
                  <a:gd name="T0" fmla="*/ 8 w 28"/>
                  <a:gd name="T1" fmla="*/ 12 h 12"/>
                  <a:gd name="T2" fmla="*/ 13 w 28"/>
                  <a:gd name="T3" fmla="*/ 12 h 12"/>
                  <a:gd name="T4" fmla="*/ 13 w 28"/>
                  <a:gd name="T5" fmla="*/ 9 h 12"/>
                  <a:gd name="T6" fmla="*/ 15 w 28"/>
                  <a:gd name="T7" fmla="*/ 9 h 12"/>
                  <a:gd name="T8" fmla="*/ 17 w 28"/>
                  <a:gd name="T9" fmla="*/ 8 h 12"/>
                  <a:gd name="T10" fmla="*/ 15 w 28"/>
                  <a:gd name="T11" fmla="*/ 6 h 12"/>
                  <a:gd name="T12" fmla="*/ 18 w 28"/>
                  <a:gd name="T13" fmla="*/ 6 h 12"/>
                  <a:gd name="T14" fmla="*/ 21 w 28"/>
                  <a:gd name="T15" fmla="*/ 6 h 12"/>
                  <a:gd name="T16" fmla="*/ 23 w 28"/>
                  <a:gd name="T17" fmla="*/ 5 h 12"/>
                  <a:gd name="T18" fmla="*/ 26 w 28"/>
                  <a:gd name="T19" fmla="*/ 5 h 12"/>
                  <a:gd name="T20" fmla="*/ 28 w 28"/>
                  <a:gd name="T21" fmla="*/ 4 h 12"/>
                  <a:gd name="T22" fmla="*/ 18 w 28"/>
                  <a:gd name="T23" fmla="*/ 0 h 12"/>
                  <a:gd name="T24" fmla="*/ 11 w 28"/>
                  <a:gd name="T25" fmla="*/ 0 h 12"/>
                  <a:gd name="T26" fmla="*/ 4 w 28"/>
                  <a:gd name="T27" fmla="*/ 0 h 12"/>
                  <a:gd name="T28" fmla="*/ 0 w 28"/>
                  <a:gd name="T29" fmla="*/ 2 h 12"/>
                  <a:gd name="T30" fmla="*/ 2 w 28"/>
                  <a:gd name="T31" fmla="*/ 3 h 12"/>
                  <a:gd name="T32" fmla="*/ 2 w 28"/>
                  <a:gd name="T33" fmla="*/ 6 h 12"/>
                  <a:gd name="T34" fmla="*/ 4 w 28"/>
                  <a:gd name="T35" fmla="*/ 8 h 12"/>
                  <a:gd name="T36" fmla="*/ 6 w 28"/>
                  <a:gd name="T37" fmla="*/ 12 h 12"/>
                  <a:gd name="T38" fmla="*/ 8 w 28"/>
                  <a:gd name="T39" fmla="*/ 12 h 12"/>
                  <a:gd name="T40" fmla="*/ 8 w 28"/>
                  <a:gd name="T41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8" h="12">
                    <a:moveTo>
                      <a:pt x="8" y="12"/>
                    </a:moveTo>
                    <a:lnTo>
                      <a:pt x="13" y="12"/>
                    </a:lnTo>
                    <a:lnTo>
                      <a:pt x="13" y="9"/>
                    </a:lnTo>
                    <a:lnTo>
                      <a:pt x="15" y="9"/>
                    </a:lnTo>
                    <a:lnTo>
                      <a:pt x="17" y="8"/>
                    </a:lnTo>
                    <a:lnTo>
                      <a:pt x="15" y="6"/>
                    </a:lnTo>
                    <a:lnTo>
                      <a:pt x="18" y="6"/>
                    </a:lnTo>
                    <a:lnTo>
                      <a:pt x="21" y="6"/>
                    </a:lnTo>
                    <a:lnTo>
                      <a:pt x="23" y="5"/>
                    </a:lnTo>
                    <a:lnTo>
                      <a:pt x="26" y="5"/>
                    </a:lnTo>
                    <a:lnTo>
                      <a:pt x="28" y="4"/>
                    </a:lnTo>
                    <a:lnTo>
                      <a:pt x="18" y="0"/>
                    </a:lnTo>
                    <a:lnTo>
                      <a:pt x="11" y="0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2" y="3"/>
                    </a:lnTo>
                    <a:lnTo>
                      <a:pt x="2" y="6"/>
                    </a:lnTo>
                    <a:lnTo>
                      <a:pt x="4" y="8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8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57" name="Freeform 123">
                <a:extLst>
                  <a:ext uri="{FF2B5EF4-FFF2-40B4-BE49-F238E27FC236}">
                    <a16:creationId xmlns:a16="http://schemas.microsoft.com/office/drawing/2014/main" id="{BC242B0D-6421-4A53-ACCB-365C079AE7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66" y="1328"/>
                <a:ext cx="11" cy="4"/>
              </a:xfrm>
              <a:custGeom>
                <a:avLst/>
                <a:gdLst>
                  <a:gd name="T0" fmla="*/ 0 w 11"/>
                  <a:gd name="T1" fmla="*/ 3 h 4"/>
                  <a:gd name="T2" fmla="*/ 1 w 11"/>
                  <a:gd name="T3" fmla="*/ 4 h 4"/>
                  <a:gd name="T4" fmla="*/ 7 w 11"/>
                  <a:gd name="T5" fmla="*/ 4 h 4"/>
                  <a:gd name="T6" fmla="*/ 10 w 11"/>
                  <a:gd name="T7" fmla="*/ 4 h 4"/>
                  <a:gd name="T8" fmla="*/ 11 w 11"/>
                  <a:gd name="T9" fmla="*/ 0 h 4"/>
                  <a:gd name="T10" fmla="*/ 6 w 11"/>
                  <a:gd name="T11" fmla="*/ 2 h 4"/>
                  <a:gd name="T12" fmla="*/ 0 w 11"/>
                  <a:gd name="T13" fmla="*/ 3 h 4"/>
                  <a:gd name="T14" fmla="*/ 0 w 11"/>
                  <a:gd name="T15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4">
                    <a:moveTo>
                      <a:pt x="0" y="3"/>
                    </a:moveTo>
                    <a:lnTo>
                      <a:pt x="1" y="4"/>
                    </a:lnTo>
                    <a:lnTo>
                      <a:pt x="7" y="4"/>
                    </a:lnTo>
                    <a:lnTo>
                      <a:pt x="10" y="4"/>
                    </a:lnTo>
                    <a:lnTo>
                      <a:pt x="11" y="0"/>
                    </a:lnTo>
                    <a:lnTo>
                      <a:pt x="6" y="2"/>
                    </a:lnTo>
                    <a:lnTo>
                      <a:pt x="0" y="3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58" name="Freeform 124">
                <a:extLst>
                  <a:ext uri="{FF2B5EF4-FFF2-40B4-BE49-F238E27FC236}">
                    <a16:creationId xmlns:a16="http://schemas.microsoft.com/office/drawing/2014/main" id="{BCF302FE-6C23-45A7-841C-1760AD1C33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76" y="1333"/>
                <a:ext cx="12" cy="6"/>
              </a:xfrm>
              <a:custGeom>
                <a:avLst/>
                <a:gdLst>
                  <a:gd name="T0" fmla="*/ 0 w 12"/>
                  <a:gd name="T1" fmla="*/ 2 h 6"/>
                  <a:gd name="T2" fmla="*/ 8 w 12"/>
                  <a:gd name="T3" fmla="*/ 6 h 6"/>
                  <a:gd name="T4" fmla="*/ 11 w 12"/>
                  <a:gd name="T5" fmla="*/ 5 h 6"/>
                  <a:gd name="T6" fmla="*/ 12 w 12"/>
                  <a:gd name="T7" fmla="*/ 2 h 6"/>
                  <a:gd name="T8" fmla="*/ 6 w 12"/>
                  <a:gd name="T9" fmla="*/ 0 h 6"/>
                  <a:gd name="T10" fmla="*/ 4 w 12"/>
                  <a:gd name="T11" fmla="*/ 0 h 6"/>
                  <a:gd name="T12" fmla="*/ 0 w 12"/>
                  <a:gd name="T13" fmla="*/ 2 h 6"/>
                  <a:gd name="T14" fmla="*/ 0 w 12"/>
                  <a:gd name="T15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" h="6">
                    <a:moveTo>
                      <a:pt x="0" y="2"/>
                    </a:moveTo>
                    <a:lnTo>
                      <a:pt x="8" y="6"/>
                    </a:lnTo>
                    <a:lnTo>
                      <a:pt x="11" y="5"/>
                    </a:lnTo>
                    <a:lnTo>
                      <a:pt x="12" y="2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59" name="Freeform 125">
                <a:extLst>
                  <a:ext uri="{FF2B5EF4-FFF2-40B4-BE49-F238E27FC236}">
                    <a16:creationId xmlns:a16="http://schemas.microsoft.com/office/drawing/2014/main" id="{6D93FB4C-6453-4CA9-85AE-6BBEE1C32B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77" y="1340"/>
                <a:ext cx="15" cy="4"/>
              </a:xfrm>
              <a:custGeom>
                <a:avLst/>
                <a:gdLst>
                  <a:gd name="T0" fmla="*/ 2 w 15"/>
                  <a:gd name="T1" fmla="*/ 2 h 4"/>
                  <a:gd name="T2" fmla="*/ 0 w 15"/>
                  <a:gd name="T3" fmla="*/ 3 h 4"/>
                  <a:gd name="T4" fmla="*/ 10 w 15"/>
                  <a:gd name="T5" fmla="*/ 4 h 4"/>
                  <a:gd name="T6" fmla="*/ 12 w 15"/>
                  <a:gd name="T7" fmla="*/ 3 h 4"/>
                  <a:gd name="T8" fmla="*/ 15 w 15"/>
                  <a:gd name="T9" fmla="*/ 3 h 4"/>
                  <a:gd name="T10" fmla="*/ 15 w 15"/>
                  <a:gd name="T11" fmla="*/ 1 h 4"/>
                  <a:gd name="T12" fmla="*/ 12 w 15"/>
                  <a:gd name="T13" fmla="*/ 0 h 4"/>
                  <a:gd name="T14" fmla="*/ 7 w 15"/>
                  <a:gd name="T15" fmla="*/ 1 h 4"/>
                  <a:gd name="T16" fmla="*/ 2 w 15"/>
                  <a:gd name="T17" fmla="*/ 2 h 4"/>
                  <a:gd name="T18" fmla="*/ 2 w 15"/>
                  <a:gd name="T19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" h="4">
                    <a:moveTo>
                      <a:pt x="2" y="2"/>
                    </a:moveTo>
                    <a:lnTo>
                      <a:pt x="0" y="3"/>
                    </a:lnTo>
                    <a:lnTo>
                      <a:pt x="10" y="4"/>
                    </a:lnTo>
                    <a:lnTo>
                      <a:pt x="12" y="3"/>
                    </a:lnTo>
                    <a:lnTo>
                      <a:pt x="15" y="3"/>
                    </a:lnTo>
                    <a:lnTo>
                      <a:pt x="15" y="1"/>
                    </a:lnTo>
                    <a:lnTo>
                      <a:pt x="12" y="0"/>
                    </a:lnTo>
                    <a:lnTo>
                      <a:pt x="7" y="1"/>
                    </a:lnTo>
                    <a:lnTo>
                      <a:pt x="2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60" name="Freeform 126">
                <a:extLst>
                  <a:ext uri="{FF2B5EF4-FFF2-40B4-BE49-F238E27FC236}">
                    <a16:creationId xmlns:a16="http://schemas.microsoft.com/office/drawing/2014/main" id="{D4216DD6-1999-466D-AC78-71874BBD18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79" y="1309"/>
                <a:ext cx="19" cy="5"/>
              </a:xfrm>
              <a:custGeom>
                <a:avLst/>
                <a:gdLst>
                  <a:gd name="T0" fmla="*/ 1 w 19"/>
                  <a:gd name="T1" fmla="*/ 5 h 5"/>
                  <a:gd name="T2" fmla="*/ 9 w 19"/>
                  <a:gd name="T3" fmla="*/ 4 h 5"/>
                  <a:gd name="T4" fmla="*/ 18 w 19"/>
                  <a:gd name="T5" fmla="*/ 4 h 5"/>
                  <a:gd name="T6" fmla="*/ 19 w 19"/>
                  <a:gd name="T7" fmla="*/ 0 h 5"/>
                  <a:gd name="T8" fmla="*/ 17 w 19"/>
                  <a:gd name="T9" fmla="*/ 0 h 5"/>
                  <a:gd name="T10" fmla="*/ 2 w 19"/>
                  <a:gd name="T11" fmla="*/ 1 h 5"/>
                  <a:gd name="T12" fmla="*/ 0 w 19"/>
                  <a:gd name="T13" fmla="*/ 1 h 5"/>
                  <a:gd name="T14" fmla="*/ 2 w 19"/>
                  <a:gd name="T15" fmla="*/ 2 h 5"/>
                  <a:gd name="T16" fmla="*/ 1 w 19"/>
                  <a:gd name="T17" fmla="*/ 5 h 5"/>
                  <a:gd name="T18" fmla="*/ 1 w 19"/>
                  <a:gd name="T19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" h="5">
                    <a:moveTo>
                      <a:pt x="1" y="5"/>
                    </a:moveTo>
                    <a:lnTo>
                      <a:pt x="9" y="4"/>
                    </a:lnTo>
                    <a:lnTo>
                      <a:pt x="18" y="4"/>
                    </a:lnTo>
                    <a:lnTo>
                      <a:pt x="19" y="0"/>
                    </a:lnTo>
                    <a:lnTo>
                      <a:pt x="17" y="0"/>
                    </a:lnTo>
                    <a:lnTo>
                      <a:pt x="2" y="1"/>
                    </a:lnTo>
                    <a:lnTo>
                      <a:pt x="0" y="1"/>
                    </a:lnTo>
                    <a:lnTo>
                      <a:pt x="2" y="2"/>
                    </a:lnTo>
                    <a:lnTo>
                      <a:pt x="1" y="5"/>
                    </a:lnTo>
                    <a:lnTo>
                      <a:pt x="1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61" name="Freeform 127">
                <a:extLst>
                  <a:ext uri="{FF2B5EF4-FFF2-40B4-BE49-F238E27FC236}">
                    <a16:creationId xmlns:a16="http://schemas.microsoft.com/office/drawing/2014/main" id="{FBDD778E-B921-48FA-9A21-718A23992A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85" y="1324"/>
                <a:ext cx="12" cy="3"/>
              </a:xfrm>
              <a:custGeom>
                <a:avLst/>
                <a:gdLst>
                  <a:gd name="T0" fmla="*/ 0 w 12"/>
                  <a:gd name="T1" fmla="*/ 1 h 3"/>
                  <a:gd name="T2" fmla="*/ 0 w 12"/>
                  <a:gd name="T3" fmla="*/ 2 h 3"/>
                  <a:gd name="T4" fmla="*/ 4 w 12"/>
                  <a:gd name="T5" fmla="*/ 3 h 3"/>
                  <a:gd name="T6" fmla="*/ 8 w 12"/>
                  <a:gd name="T7" fmla="*/ 3 h 3"/>
                  <a:gd name="T8" fmla="*/ 12 w 12"/>
                  <a:gd name="T9" fmla="*/ 1 h 3"/>
                  <a:gd name="T10" fmla="*/ 8 w 12"/>
                  <a:gd name="T11" fmla="*/ 0 h 3"/>
                  <a:gd name="T12" fmla="*/ 6 w 12"/>
                  <a:gd name="T13" fmla="*/ 0 h 3"/>
                  <a:gd name="T14" fmla="*/ 0 w 12"/>
                  <a:gd name="T15" fmla="*/ 1 h 3"/>
                  <a:gd name="T16" fmla="*/ 0 w 12"/>
                  <a:gd name="T17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" h="3">
                    <a:moveTo>
                      <a:pt x="0" y="1"/>
                    </a:moveTo>
                    <a:lnTo>
                      <a:pt x="0" y="2"/>
                    </a:lnTo>
                    <a:lnTo>
                      <a:pt x="4" y="3"/>
                    </a:lnTo>
                    <a:lnTo>
                      <a:pt x="8" y="3"/>
                    </a:lnTo>
                    <a:lnTo>
                      <a:pt x="12" y="1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0" y="1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62" name="Freeform 128">
                <a:extLst>
                  <a:ext uri="{FF2B5EF4-FFF2-40B4-BE49-F238E27FC236}">
                    <a16:creationId xmlns:a16="http://schemas.microsoft.com/office/drawing/2014/main" id="{45C72761-2C4E-42C5-A2F2-16F849EFEB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90" y="1487"/>
                <a:ext cx="6" cy="2"/>
              </a:xfrm>
              <a:custGeom>
                <a:avLst/>
                <a:gdLst>
                  <a:gd name="T0" fmla="*/ 0 w 6"/>
                  <a:gd name="T1" fmla="*/ 2 h 2"/>
                  <a:gd name="T2" fmla="*/ 0 w 6"/>
                  <a:gd name="T3" fmla="*/ 2 h 2"/>
                  <a:gd name="T4" fmla="*/ 2 w 6"/>
                  <a:gd name="T5" fmla="*/ 2 h 2"/>
                  <a:gd name="T6" fmla="*/ 6 w 6"/>
                  <a:gd name="T7" fmla="*/ 0 h 2"/>
                  <a:gd name="T8" fmla="*/ 0 w 6"/>
                  <a:gd name="T9" fmla="*/ 2 h 2"/>
                  <a:gd name="T10" fmla="*/ 0 w 6"/>
                  <a:gd name="T11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2">
                    <a:moveTo>
                      <a:pt x="0" y="2"/>
                    </a:moveTo>
                    <a:lnTo>
                      <a:pt x="0" y="2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63" name="Freeform 129">
                <a:extLst>
                  <a:ext uri="{FF2B5EF4-FFF2-40B4-BE49-F238E27FC236}">
                    <a16:creationId xmlns:a16="http://schemas.microsoft.com/office/drawing/2014/main" id="{EF73262A-4275-4498-BA8F-1411BC100C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90" y="1365"/>
                <a:ext cx="15" cy="5"/>
              </a:xfrm>
              <a:custGeom>
                <a:avLst/>
                <a:gdLst>
                  <a:gd name="T0" fmla="*/ 0 w 15"/>
                  <a:gd name="T1" fmla="*/ 3 h 5"/>
                  <a:gd name="T2" fmla="*/ 3 w 15"/>
                  <a:gd name="T3" fmla="*/ 4 h 5"/>
                  <a:gd name="T4" fmla="*/ 6 w 15"/>
                  <a:gd name="T5" fmla="*/ 5 h 5"/>
                  <a:gd name="T6" fmla="*/ 12 w 15"/>
                  <a:gd name="T7" fmla="*/ 5 h 5"/>
                  <a:gd name="T8" fmla="*/ 15 w 15"/>
                  <a:gd name="T9" fmla="*/ 3 h 5"/>
                  <a:gd name="T10" fmla="*/ 14 w 15"/>
                  <a:gd name="T11" fmla="*/ 3 h 5"/>
                  <a:gd name="T12" fmla="*/ 12 w 15"/>
                  <a:gd name="T13" fmla="*/ 0 h 5"/>
                  <a:gd name="T14" fmla="*/ 9 w 15"/>
                  <a:gd name="T15" fmla="*/ 0 h 5"/>
                  <a:gd name="T16" fmla="*/ 3 w 15"/>
                  <a:gd name="T17" fmla="*/ 1 h 5"/>
                  <a:gd name="T18" fmla="*/ 0 w 15"/>
                  <a:gd name="T19" fmla="*/ 3 h 5"/>
                  <a:gd name="T20" fmla="*/ 0 w 15"/>
                  <a:gd name="T21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" h="5">
                    <a:moveTo>
                      <a:pt x="0" y="3"/>
                    </a:moveTo>
                    <a:lnTo>
                      <a:pt x="3" y="4"/>
                    </a:lnTo>
                    <a:lnTo>
                      <a:pt x="6" y="5"/>
                    </a:lnTo>
                    <a:lnTo>
                      <a:pt x="12" y="5"/>
                    </a:lnTo>
                    <a:lnTo>
                      <a:pt x="15" y="3"/>
                    </a:lnTo>
                    <a:lnTo>
                      <a:pt x="14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3" y="1"/>
                    </a:lnTo>
                    <a:lnTo>
                      <a:pt x="0" y="3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64" name="Freeform 130">
                <a:extLst>
                  <a:ext uri="{FF2B5EF4-FFF2-40B4-BE49-F238E27FC236}">
                    <a16:creationId xmlns:a16="http://schemas.microsoft.com/office/drawing/2014/main" id="{C0F86A52-8FD0-41A6-B500-9820C5C2FA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97" y="1340"/>
                <a:ext cx="41" cy="16"/>
              </a:xfrm>
              <a:custGeom>
                <a:avLst/>
                <a:gdLst>
                  <a:gd name="T0" fmla="*/ 0 w 41"/>
                  <a:gd name="T1" fmla="*/ 11 h 16"/>
                  <a:gd name="T2" fmla="*/ 0 w 41"/>
                  <a:gd name="T3" fmla="*/ 12 h 16"/>
                  <a:gd name="T4" fmla="*/ 5 w 41"/>
                  <a:gd name="T5" fmla="*/ 15 h 16"/>
                  <a:gd name="T6" fmla="*/ 8 w 41"/>
                  <a:gd name="T7" fmla="*/ 15 h 16"/>
                  <a:gd name="T8" fmla="*/ 13 w 41"/>
                  <a:gd name="T9" fmla="*/ 13 h 16"/>
                  <a:gd name="T10" fmla="*/ 22 w 41"/>
                  <a:gd name="T11" fmla="*/ 16 h 16"/>
                  <a:gd name="T12" fmla="*/ 25 w 41"/>
                  <a:gd name="T13" fmla="*/ 15 h 16"/>
                  <a:gd name="T14" fmla="*/ 27 w 41"/>
                  <a:gd name="T15" fmla="*/ 12 h 16"/>
                  <a:gd name="T16" fmla="*/ 30 w 41"/>
                  <a:gd name="T17" fmla="*/ 12 h 16"/>
                  <a:gd name="T18" fmla="*/ 34 w 41"/>
                  <a:gd name="T19" fmla="*/ 10 h 16"/>
                  <a:gd name="T20" fmla="*/ 36 w 41"/>
                  <a:gd name="T21" fmla="*/ 9 h 16"/>
                  <a:gd name="T22" fmla="*/ 41 w 41"/>
                  <a:gd name="T23" fmla="*/ 4 h 16"/>
                  <a:gd name="T24" fmla="*/ 38 w 41"/>
                  <a:gd name="T25" fmla="*/ 1 h 16"/>
                  <a:gd name="T26" fmla="*/ 36 w 41"/>
                  <a:gd name="T27" fmla="*/ 1 h 16"/>
                  <a:gd name="T28" fmla="*/ 33 w 41"/>
                  <a:gd name="T29" fmla="*/ 0 h 16"/>
                  <a:gd name="T30" fmla="*/ 24 w 41"/>
                  <a:gd name="T31" fmla="*/ 2 h 16"/>
                  <a:gd name="T32" fmla="*/ 14 w 41"/>
                  <a:gd name="T33" fmla="*/ 3 h 16"/>
                  <a:gd name="T34" fmla="*/ 9 w 41"/>
                  <a:gd name="T35" fmla="*/ 2 h 16"/>
                  <a:gd name="T36" fmla="*/ 12 w 41"/>
                  <a:gd name="T37" fmla="*/ 1 h 16"/>
                  <a:gd name="T38" fmla="*/ 9 w 41"/>
                  <a:gd name="T39" fmla="*/ 1 h 16"/>
                  <a:gd name="T40" fmla="*/ 7 w 41"/>
                  <a:gd name="T41" fmla="*/ 2 h 16"/>
                  <a:gd name="T42" fmla="*/ 1 w 41"/>
                  <a:gd name="T43" fmla="*/ 5 h 16"/>
                  <a:gd name="T44" fmla="*/ 0 w 41"/>
                  <a:gd name="T45" fmla="*/ 9 h 16"/>
                  <a:gd name="T46" fmla="*/ 0 w 41"/>
                  <a:gd name="T47" fmla="*/ 11 h 16"/>
                  <a:gd name="T48" fmla="*/ 0 w 41"/>
                  <a:gd name="T49" fmla="*/ 11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1" h="16">
                    <a:moveTo>
                      <a:pt x="0" y="11"/>
                    </a:moveTo>
                    <a:lnTo>
                      <a:pt x="0" y="12"/>
                    </a:lnTo>
                    <a:lnTo>
                      <a:pt x="5" y="15"/>
                    </a:lnTo>
                    <a:lnTo>
                      <a:pt x="8" y="15"/>
                    </a:lnTo>
                    <a:lnTo>
                      <a:pt x="13" y="13"/>
                    </a:lnTo>
                    <a:lnTo>
                      <a:pt x="22" y="16"/>
                    </a:lnTo>
                    <a:lnTo>
                      <a:pt x="25" y="15"/>
                    </a:lnTo>
                    <a:lnTo>
                      <a:pt x="27" y="12"/>
                    </a:lnTo>
                    <a:lnTo>
                      <a:pt x="30" y="12"/>
                    </a:lnTo>
                    <a:lnTo>
                      <a:pt x="34" y="10"/>
                    </a:lnTo>
                    <a:lnTo>
                      <a:pt x="36" y="9"/>
                    </a:lnTo>
                    <a:lnTo>
                      <a:pt x="41" y="4"/>
                    </a:lnTo>
                    <a:lnTo>
                      <a:pt x="38" y="1"/>
                    </a:lnTo>
                    <a:lnTo>
                      <a:pt x="36" y="1"/>
                    </a:lnTo>
                    <a:lnTo>
                      <a:pt x="33" y="0"/>
                    </a:lnTo>
                    <a:lnTo>
                      <a:pt x="24" y="2"/>
                    </a:lnTo>
                    <a:lnTo>
                      <a:pt x="14" y="3"/>
                    </a:lnTo>
                    <a:lnTo>
                      <a:pt x="9" y="2"/>
                    </a:lnTo>
                    <a:lnTo>
                      <a:pt x="12" y="1"/>
                    </a:lnTo>
                    <a:lnTo>
                      <a:pt x="9" y="1"/>
                    </a:lnTo>
                    <a:lnTo>
                      <a:pt x="7" y="2"/>
                    </a:lnTo>
                    <a:lnTo>
                      <a:pt x="1" y="5"/>
                    </a:lnTo>
                    <a:lnTo>
                      <a:pt x="0" y="9"/>
                    </a:lnTo>
                    <a:lnTo>
                      <a:pt x="0" y="11"/>
                    </a:lnTo>
                    <a:lnTo>
                      <a:pt x="0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65" name="Freeform 131">
                <a:extLst>
                  <a:ext uri="{FF2B5EF4-FFF2-40B4-BE49-F238E27FC236}">
                    <a16:creationId xmlns:a16="http://schemas.microsoft.com/office/drawing/2014/main" id="{7C440F68-1C94-4A8F-A0F5-9B1081EE80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08" y="1333"/>
                <a:ext cx="20" cy="7"/>
              </a:xfrm>
              <a:custGeom>
                <a:avLst/>
                <a:gdLst>
                  <a:gd name="T0" fmla="*/ 0 w 20"/>
                  <a:gd name="T1" fmla="*/ 3 h 7"/>
                  <a:gd name="T2" fmla="*/ 0 w 20"/>
                  <a:gd name="T3" fmla="*/ 5 h 7"/>
                  <a:gd name="T4" fmla="*/ 3 w 20"/>
                  <a:gd name="T5" fmla="*/ 6 h 7"/>
                  <a:gd name="T6" fmla="*/ 11 w 20"/>
                  <a:gd name="T7" fmla="*/ 7 h 7"/>
                  <a:gd name="T8" fmla="*/ 15 w 20"/>
                  <a:gd name="T9" fmla="*/ 6 h 7"/>
                  <a:gd name="T10" fmla="*/ 20 w 20"/>
                  <a:gd name="T11" fmla="*/ 2 h 7"/>
                  <a:gd name="T12" fmla="*/ 20 w 20"/>
                  <a:gd name="T13" fmla="*/ 0 h 7"/>
                  <a:gd name="T14" fmla="*/ 14 w 20"/>
                  <a:gd name="T15" fmla="*/ 0 h 7"/>
                  <a:gd name="T16" fmla="*/ 8 w 20"/>
                  <a:gd name="T17" fmla="*/ 0 h 7"/>
                  <a:gd name="T18" fmla="*/ 2 w 20"/>
                  <a:gd name="T19" fmla="*/ 2 h 7"/>
                  <a:gd name="T20" fmla="*/ 0 w 20"/>
                  <a:gd name="T21" fmla="*/ 3 h 7"/>
                  <a:gd name="T22" fmla="*/ 0 w 20"/>
                  <a:gd name="T23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0" h="7">
                    <a:moveTo>
                      <a:pt x="0" y="3"/>
                    </a:moveTo>
                    <a:lnTo>
                      <a:pt x="0" y="5"/>
                    </a:lnTo>
                    <a:lnTo>
                      <a:pt x="3" y="6"/>
                    </a:lnTo>
                    <a:lnTo>
                      <a:pt x="11" y="7"/>
                    </a:lnTo>
                    <a:lnTo>
                      <a:pt x="15" y="6"/>
                    </a:lnTo>
                    <a:lnTo>
                      <a:pt x="20" y="2"/>
                    </a:lnTo>
                    <a:lnTo>
                      <a:pt x="20" y="0"/>
                    </a:lnTo>
                    <a:lnTo>
                      <a:pt x="14" y="0"/>
                    </a:lnTo>
                    <a:lnTo>
                      <a:pt x="8" y="0"/>
                    </a:lnTo>
                    <a:lnTo>
                      <a:pt x="2" y="2"/>
                    </a:lnTo>
                    <a:lnTo>
                      <a:pt x="0" y="3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66" name="Freeform 132">
                <a:extLst>
                  <a:ext uri="{FF2B5EF4-FFF2-40B4-BE49-F238E27FC236}">
                    <a16:creationId xmlns:a16="http://schemas.microsoft.com/office/drawing/2014/main" id="{7193F032-EC90-46B2-BE6F-008DC2AA78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31" y="1317"/>
                <a:ext cx="5" cy="2"/>
              </a:xfrm>
              <a:custGeom>
                <a:avLst/>
                <a:gdLst>
                  <a:gd name="T0" fmla="*/ 0 w 5"/>
                  <a:gd name="T1" fmla="*/ 0 h 2"/>
                  <a:gd name="T2" fmla="*/ 0 w 5"/>
                  <a:gd name="T3" fmla="*/ 1 h 2"/>
                  <a:gd name="T4" fmla="*/ 2 w 5"/>
                  <a:gd name="T5" fmla="*/ 2 h 2"/>
                  <a:gd name="T6" fmla="*/ 5 w 5"/>
                  <a:gd name="T7" fmla="*/ 1 h 2"/>
                  <a:gd name="T8" fmla="*/ 0 w 5"/>
                  <a:gd name="T9" fmla="*/ 0 h 2"/>
                  <a:gd name="T10" fmla="*/ 0 w 5"/>
                  <a:gd name="T1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2">
                    <a:moveTo>
                      <a:pt x="0" y="0"/>
                    </a:moveTo>
                    <a:lnTo>
                      <a:pt x="0" y="1"/>
                    </a:lnTo>
                    <a:lnTo>
                      <a:pt x="2" y="2"/>
                    </a:lnTo>
                    <a:lnTo>
                      <a:pt x="5" y="1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67" name="Freeform 133">
                <a:extLst>
                  <a:ext uri="{FF2B5EF4-FFF2-40B4-BE49-F238E27FC236}">
                    <a16:creationId xmlns:a16="http://schemas.microsoft.com/office/drawing/2014/main" id="{72030EA3-AA67-4786-BE26-BA5E33D443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36" y="1313"/>
                <a:ext cx="21" cy="4"/>
              </a:xfrm>
              <a:custGeom>
                <a:avLst/>
                <a:gdLst>
                  <a:gd name="T0" fmla="*/ 0 w 21"/>
                  <a:gd name="T1" fmla="*/ 2 h 4"/>
                  <a:gd name="T2" fmla="*/ 0 w 21"/>
                  <a:gd name="T3" fmla="*/ 2 h 4"/>
                  <a:gd name="T4" fmla="*/ 4 w 21"/>
                  <a:gd name="T5" fmla="*/ 2 h 4"/>
                  <a:gd name="T6" fmla="*/ 6 w 21"/>
                  <a:gd name="T7" fmla="*/ 3 h 4"/>
                  <a:gd name="T8" fmla="*/ 12 w 21"/>
                  <a:gd name="T9" fmla="*/ 4 h 4"/>
                  <a:gd name="T10" fmla="*/ 19 w 21"/>
                  <a:gd name="T11" fmla="*/ 4 h 4"/>
                  <a:gd name="T12" fmla="*/ 21 w 21"/>
                  <a:gd name="T13" fmla="*/ 4 h 4"/>
                  <a:gd name="T14" fmla="*/ 21 w 21"/>
                  <a:gd name="T15" fmla="*/ 1 h 4"/>
                  <a:gd name="T16" fmla="*/ 17 w 21"/>
                  <a:gd name="T17" fmla="*/ 1 h 4"/>
                  <a:gd name="T18" fmla="*/ 15 w 21"/>
                  <a:gd name="T19" fmla="*/ 0 h 4"/>
                  <a:gd name="T20" fmla="*/ 9 w 21"/>
                  <a:gd name="T21" fmla="*/ 1 h 4"/>
                  <a:gd name="T22" fmla="*/ 6 w 21"/>
                  <a:gd name="T23" fmla="*/ 1 h 4"/>
                  <a:gd name="T24" fmla="*/ 0 w 21"/>
                  <a:gd name="T25" fmla="*/ 2 h 4"/>
                  <a:gd name="T26" fmla="*/ 0 w 21"/>
                  <a:gd name="T27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1" h="4">
                    <a:moveTo>
                      <a:pt x="0" y="2"/>
                    </a:moveTo>
                    <a:lnTo>
                      <a:pt x="0" y="2"/>
                    </a:lnTo>
                    <a:lnTo>
                      <a:pt x="4" y="2"/>
                    </a:lnTo>
                    <a:lnTo>
                      <a:pt x="6" y="3"/>
                    </a:lnTo>
                    <a:lnTo>
                      <a:pt x="12" y="4"/>
                    </a:lnTo>
                    <a:lnTo>
                      <a:pt x="19" y="4"/>
                    </a:lnTo>
                    <a:lnTo>
                      <a:pt x="21" y="4"/>
                    </a:lnTo>
                    <a:lnTo>
                      <a:pt x="21" y="1"/>
                    </a:lnTo>
                    <a:lnTo>
                      <a:pt x="17" y="1"/>
                    </a:lnTo>
                    <a:lnTo>
                      <a:pt x="15" y="0"/>
                    </a:lnTo>
                    <a:lnTo>
                      <a:pt x="9" y="1"/>
                    </a:lnTo>
                    <a:lnTo>
                      <a:pt x="6" y="1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68" name="Freeform 134">
                <a:extLst>
                  <a:ext uri="{FF2B5EF4-FFF2-40B4-BE49-F238E27FC236}">
                    <a16:creationId xmlns:a16="http://schemas.microsoft.com/office/drawing/2014/main" id="{93D084AE-4A45-4D89-8689-E9BD68925B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41" y="1331"/>
                <a:ext cx="40" cy="16"/>
              </a:xfrm>
              <a:custGeom>
                <a:avLst/>
                <a:gdLst>
                  <a:gd name="T0" fmla="*/ 0 w 40"/>
                  <a:gd name="T1" fmla="*/ 10 h 16"/>
                  <a:gd name="T2" fmla="*/ 0 w 40"/>
                  <a:gd name="T3" fmla="*/ 12 h 16"/>
                  <a:gd name="T4" fmla="*/ 9 w 40"/>
                  <a:gd name="T5" fmla="*/ 16 h 16"/>
                  <a:gd name="T6" fmla="*/ 14 w 40"/>
                  <a:gd name="T7" fmla="*/ 14 h 16"/>
                  <a:gd name="T8" fmla="*/ 26 w 40"/>
                  <a:gd name="T9" fmla="*/ 14 h 16"/>
                  <a:gd name="T10" fmla="*/ 28 w 40"/>
                  <a:gd name="T11" fmla="*/ 13 h 16"/>
                  <a:gd name="T12" fmla="*/ 34 w 40"/>
                  <a:gd name="T13" fmla="*/ 11 h 16"/>
                  <a:gd name="T14" fmla="*/ 37 w 40"/>
                  <a:gd name="T15" fmla="*/ 10 h 16"/>
                  <a:gd name="T16" fmla="*/ 40 w 40"/>
                  <a:gd name="T17" fmla="*/ 7 h 16"/>
                  <a:gd name="T18" fmla="*/ 40 w 40"/>
                  <a:gd name="T19" fmla="*/ 4 h 16"/>
                  <a:gd name="T20" fmla="*/ 37 w 40"/>
                  <a:gd name="T21" fmla="*/ 2 h 16"/>
                  <a:gd name="T22" fmla="*/ 35 w 40"/>
                  <a:gd name="T23" fmla="*/ 1 h 16"/>
                  <a:gd name="T24" fmla="*/ 32 w 40"/>
                  <a:gd name="T25" fmla="*/ 0 h 16"/>
                  <a:gd name="T26" fmla="*/ 26 w 40"/>
                  <a:gd name="T27" fmla="*/ 0 h 16"/>
                  <a:gd name="T28" fmla="*/ 24 w 40"/>
                  <a:gd name="T29" fmla="*/ 1 h 16"/>
                  <a:gd name="T30" fmla="*/ 23 w 40"/>
                  <a:gd name="T31" fmla="*/ 3 h 16"/>
                  <a:gd name="T32" fmla="*/ 21 w 40"/>
                  <a:gd name="T33" fmla="*/ 5 h 16"/>
                  <a:gd name="T34" fmla="*/ 9 w 40"/>
                  <a:gd name="T35" fmla="*/ 7 h 16"/>
                  <a:gd name="T36" fmla="*/ 6 w 40"/>
                  <a:gd name="T37" fmla="*/ 9 h 16"/>
                  <a:gd name="T38" fmla="*/ 0 w 40"/>
                  <a:gd name="T39" fmla="*/ 10 h 16"/>
                  <a:gd name="T40" fmla="*/ 0 w 40"/>
                  <a:gd name="T41" fmla="*/ 1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0" h="16">
                    <a:moveTo>
                      <a:pt x="0" y="10"/>
                    </a:moveTo>
                    <a:lnTo>
                      <a:pt x="0" y="12"/>
                    </a:lnTo>
                    <a:lnTo>
                      <a:pt x="9" y="16"/>
                    </a:lnTo>
                    <a:lnTo>
                      <a:pt x="14" y="14"/>
                    </a:lnTo>
                    <a:lnTo>
                      <a:pt x="26" y="14"/>
                    </a:lnTo>
                    <a:lnTo>
                      <a:pt x="28" y="13"/>
                    </a:lnTo>
                    <a:lnTo>
                      <a:pt x="34" y="11"/>
                    </a:lnTo>
                    <a:lnTo>
                      <a:pt x="37" y="10"/>
                    </a:lnTo>
                    <a:lnTo>
                      <a:pt x="40" y="7"/>
                    </a:lnTo>
                    <a:lnTo>
                      <a:pt x="40" y="4"/>
                    </a:lnTo>
                    <a:lnTo>
                      <a:pt x="37" y="2"/>
                    </a:lnTo>
                    <a:lnTo>
                      <a:pt x="35" y="1"/>
                    </a:lnTo>
                    <a:lnTo>
                      <a:pt x="32" y="0"/>
                    </a:lnTo>
                    <a:lnTo>
                      <a:pt x="26" y="0"/>
                    </a:lnTo>
                    <a:lnTo>
                      <a:pt x="24" y="1"/>
                    </a:lnTo>
                    <a:lnTo>
                      <a:pt x="23" y="3"/>
                    </a:lnTo>
                    <a:lnTo>
                      <a:pt x="21" y="5"/>
                    </a:lnTo>
                    <a:lnTo>
                      <a:pt x="9" y="7"/>
                    </a:lnTo>
                    <a:lnTo>
                      <a:pt x="6" y="9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69" name="Freeform 135">
                <a:extLst>
                  <a:ext uri="{FF2B5EF4-FFF2-40B4-BE49-F238E27FC236}">
                    <a16:creationId xmlns:a16="http://schemas.microsoft.com/office/drawing/2014/main" id="{8C42EBB8-D488-47A6-9F08-1A82567F91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89" y="1557"/>
                <a:ext cx="84" cy="73"/>
              </a:xfrm>
              <a:custGeom>
                <a:avLst/>
                <a:gdLst>
                  <a:gd name="T0" fmla="*/ 28 w 84"/>
                  <a:gd name="T1" fmla="*/ 5 h 73"/>
                  <a:gd name="T2" fmla="*/ 38 w 84"/>
                  <a:gd name="T3" fmla="*/ 4 h 73"/>
                  <a:gd name="T4" fmla="*/ 43 w 84"/>
                  <a:gd name="T5" fmla="*/ 1 h 73"/>
                  <a:gd name="T6" fmla="*/ 51 w 84"/>
                  <a:gd name="T7" fmla="*/ 0 h 73"/>
                  <a:gd name="T8" fmla="*/ 59 w 84"/>
                  <a:gd name="T9" fmla="*/ 2 h 73"/>
                  <a:gd name="T10" fmla="*/ 67 w 84"/>
                  <a:gd name="T11" fmla="*/ 5 h 73"/>
                  <a:gd name="T12" fmla="*/ 67 w 84"/>
                  <a:gd name="T13" fmla="*/ 8 h 73"/>
                  <a:gd name="T14" fmla="*/ 67 w 84"/>
                  <a:gd name="T15" fmla="*/ 9 h 73"/>
                  <a:gd name="T16" fmla="*/ 59 w 84"/>
                  <a:gd name="T17" fmla="*/ 12 h 73"/>
                  <a:gd name="T18" fmla="*/ 65 w 84"/>
                  <a:gd name="T19" fmla="*/ 12 h 73"/>
                  <a:gd name="T20" fmla="*/ 62 w 84"/>
                  <a:gd name="T21" fmla="*/ 17 h 73"/>
                  <a:gd name="T22" fmla="*/ 55 w 84"/>
                  <a:gd name="T23" fmla="*/ 16 h 73"/>
                  <a:gd name="T24" fmla="*/ 58 w 84"/>
                  <a:gd name="T25" fmla="*/ 18 h 73"/>
                  <a:gd name="T26" fmla="*/ 55 w 84"/>
                  <a:gd name="T27" fmla="*/ 22 h 73"/>
                  <a:gd name="T28" fmla="*/ 51 w 84"/>
                  <a:gd name="T29" fmla="*/ 25 h 73"/>
                  <a:gd name="T30" fmla="*/ 55 w 84"/>
                  <a:gd name="T31" fmla="*/ 29 h 73"/>
                  <a:gd name="T32" fmla="*/ 55 w 84"/>
                  <a:gd name="T33" fmla="*/ 34 h 73"/>
                  <a:gd name="T34" fmla="*/ 56 w 84"/>
                  <a:gd name="T35" fmla="*/ 39 h 73"/>
                  <a:gd name="T36" fmla="*/ 59 w 84"/>
                  <a:gd name="T37" fmla="*/ 48 h 73"/>
                  <a:gd name="T38" fmla="*/ 65 w 84"/>
                  <a:gd name="T39" fmla="*/ 56 h 73"/>
                  <a:gd name="T40" fmla="*/ 84 w 84"/>
                  <a:gd name="T41" fmla="*/ 68 h 73"/>
                  <a:gd name="T42" fmla="*/ 81 w 84"/>
                  <a:gd name="T43" fmla="*/ 72 h 73"/>
                  <a:gd name="T44" fmla="*/ 74 w 84"/>
                  <a:gd name="T45" fmla="*/ 70 h 73"/>
                  <a:gd name="T46" fmla="*/ 74 w 84"/>
                  <a:gd name="T47" fmla="*/ 72 h 73"/>
                  <a:gd name="T48" fmla="*/ 69 w 84"/>
                  <a:gd name="T49" fmla="*/ 68 h 73"/>
                  <a:gd name="T50" fmla="*/ 72 w 84"/>
                  <a:gd name="T51" fmla="*/ 72 h 73"/>
                  <a:gd name="T52" fmla="*/ 66 w 84"/>
                  <a:gd name="T53" fmla="*/ 72 h 73"/>
                  <a:gd name="T54" fmla="*/ 64 w 84"/>
                  <a:gd name="T55" fmla="*/ 73 h 73"/>
                  <a:gd name="T56" fmla="*/ 56 w 84"/>
                  <a:gd name="T57" fmla="*/ 68 h 73"/>
                  <a:gd name="T58" fmla="*/ 52 w 84"/>
                  <a:gd name="T59" fmla="*/ 73 h 73"/>
                  <a:gd name="T60" fmla="*/ 43 w 84"/>
                  <a:gd name="T61" fmla="*/ 67 h 73"/>
                  <a:gd name="T62" fmla="*/ 43 w 84"/>
                  <a:gd name="T63" fmla="*/ 70 h 73"/>
                  <a:gd name="T64" fmla="*/ 38 w 84"/>
                  <a:gd name="T65" fmla="*/ 68 h 73"/>
                  <a:gd name="T66" fmla="*/ 32 w 84"/>
                  <a:gd name="T67" fmla="*/ 67 h 73"/>
                  <a:gd name="T68" fmla="*/ 26 w 84"/>
                  <a:gd name="T69" fmla="*/ 66 h 73"/>
                  <a:gd name="T70" fmla="*/ 32 w 84"/>
                  <a:gd name="T71" fmla="*/ 64 h 73"/>
                  <a:gd name="T72" fmla="*/ 34 w 84"/>
                  <a:gd name="T73" fmla="*/ 58 h 73"/>
                  <a:gd name="T74" fmla="*/ 36 w 84"/>
                  <a:gd name="T75" fmla="*/ 57 h 73"/>
                  <a:gd name="T76" fmla="*/ 27 w 84"/>
                  <a:gd name="T77" fmla="*/ 56 h 73"/>
                  <a:gd name="T78" fmla="*/ 33 w 84"/>
                  <a:gd name="T79" fmla="*/ 51 h 73"/>
                  <a:gd name="T80" fmla="*/ 28 w 84"/>
                  <a:gd name="T81" fmla="*/ 55 h 73"/>
                  <a:gd name="T82" fmla="*/ 26 w 84"/>
                  <a:gd name="T83" fmla="*/ 49 h 73"/>
                  <a:gd name="T84" fmla="*/ 18 w 84"/>
                  <a:gd name="T85" fmla="*/ 51 h 73"/>
                  <a:gd name="T86" fmla="*/ 10 w 84"/>
                  <a:gd name="T87" fmla="*/ 48 h 73"/>
                  <a:gd name="T88" fmla="*/ 5 w 84"/>
                  <a:gd name="T89" fmla="*/ 50 h 73"/>
                  <a:gd name="T90" fmla="*/ 0 w 84"/>
                  <a:gd name="T91" fmla="*/ 43 h 73"/>
                  <a:gd name="T92" fmla="*/ 0 w 84"/>
                  <a:gd name="T93" fmla="*/ 38 h 73"/>
                  <a:gd name="T94" fmla="*/ 5 w 84"/>
                  <a:gd name="T95" fmla="*/ 33 h 73"/>
                  <a:gd name="T96" fmla="*/ 10 w 84"/>
                  <a:gd name="T97" fmla="*/ 33 h 73"/>
                  <a:gd name="T98" fmla="*/ 14 w 84"/>
                  <a:gd name="T99" fmla="*/ 32 h 73"/>
                  <a:gd name="T100" fmla="*/ 16 w 84"/>
                  <a:gd name="T101" fmla="*/ 29 h 73"/>
                  <a:gd name="T102" fmla="*/ 17 w 84"/>
                  <a:gd name="T103" fmla="*/ 25 h 73"/>
                  <a:gd name="T104" fmla="*/ 19 w 84"/>
                  <a:gd name="T105" fmla="*/ 22 h 73"/>
                  <a:gd name="T106" fmla="*/ 19 w 84"/>
                  <a:gd name="T107" fmla="*/ 19 h 73"/>
                  <a:gd name="T108" fmla="*/ 14 w 84"/>
                  <a:gd name="T109" fmla="*/ 18 h 73"/>
                  <a:gd name="T110" fmla="*/ 17 w 84"/>
                  <a:gd name="T111" fmla="*/ 14 h 73"/>
                  <a:gd name="T112" fmla="*/ 26 w 84"/>
                  <a:gd name="T113" fmla="*/ 14 h 73"/>
                  <a:gd name="T114" fmla="*/ 26 w 84"/>
                  <a:gd name="T115" fmla="*/ 10 h 73"/>
                  <a:gd name="T116" fmla="*/ 25 w 84"/>
                  <a:gd name="T117" fmla="*/ 6 h 73"/>
                  <a:gd name="T118" fmla="*/ 26 w 84"/>
                  <a:gd name="T119" fmla="*/ 5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4" h="73">
                    <a:moveTo>
                      <a:pt x="26" y="5"/>
                    </a:moveTo>
                    <a:lnTo>
                      <a:pt x="28" y="5"/>
                    </a:lnTo>
                    <a:lnTo>
                      <a:pt x="32" y="2"/>
                    </a:lnTo>
                    <a:lnTo>
                      <a:pt x="38" y="4"/>
                    </a:lnTo>
                    <a:lnTo>
                      <a:pt x="40" y="2"/>
                    </a:lnTo>
                    <a:lnTo>
                      <a:pt x="43" y="1"/>
                    </a:lnTo>
                    <a:lnTo>
                      <a:pt x="48" y="0"/>
                    </a:lnTo>
                    <a:lnTo>
                      <a:pt x="51" y="0"/>
                    </a:lnTo>
                    <a:lnTo>
                      <a:pt x="53" y="2"/>
                    </a:lnTo>
                    <a:lnTo>
                      <a:pt x="59" y="2"/>
                    </a:lnTo>
                    <a:lnTo>
                      <a:pt x="62" y="4"/>
                    </a:lnTo>
                    <a:lnTo>
                      <a:pt x="67" y="5"/>
                    </a:lnTo>
                    <a:lnTo>
                      <a:pt x="70" y="7"/>
                    </a:lnTo>
                    <a:lnTo>
                      <a:pt x="67" y="8"/>
                    </a:lnTo>
                    <a:lnTo>
                      <a:pt x="61" y="9"/>
                    </a:lnTo>
                    <a:lnTo>
                      <a:pt x="67" y="9"/>
                    </a:lnTo>
                    <a:lnTo>
                      <a:pt x="65" y="10"/>
                    </a:lnTo>
                    <a:lnTo>
                      <a:pt x="59" y="12"/>
                    </a:lnTo>
                    <a:lnTo>
                      <a:pt x="62" y="13"/>
                    </a:lnTo>
                    <a:lnTo>
                      <a:pt x="65" y="12"/>
                    </a:lnTo>
                    <a:lnTo>
                      <a:pt x="66" y="15"/>
                    </a:lnTo>
                    <a:lnTo>
                      <a:pt x="62" y="17"/>
                    </a:lnTo>
                    <a:lnTo>
                      <a:pt x="60" y="16"/>
                    </a:lnTo>
                    <a:lnTo>
                      <a:pt x="55" y="16"/>
                    </a:lnTo>
                    <a:lnTo>
                      <a:pt x="60" y="17"/>
                    </a:lnTo>
                    <a:lnTo>
                      <a:pt x="58" y="18"/>
                    </a:lnTo>
                    <a:lnTo>
                      <a:pt x="58" y="22"/>
                    </a:lnTo>
                    <a:lnTo>
                      <a:pt x="55" y="22"/>
                    </a:lnTo>
                    <a:lnTo>
                      <a:pt x="57" y="24"/>
                    </a:lnTo>
                    <a:lnTo>
                      <a:pt x="51" y="25"/>
                    </a:lnTo>
                    <a:lnTo>
                      <a:pt x="53" y="25"/>
                    </a:lnTo>
                    <a:lnTo>
                      <a:pt x="55" y="29"/>
                    </a:lnTo>
                    <a:lnTo>
                      <a:pt x="57" y="31"/>
                    </a:lnTo>
                    <a:lnTo>
                      <a:pt x="55" y="34"/>
                    </a:lnTo>
                    <a:lnTo>
                      <a:pt x="55" y="36"/>
                    </a:lnTo>
                    <a:lnTo>
                      <a:pt x="56" y="39"/>
                    </a:lnTo>
                    <a:lnTo>
                      <a:pt x="56" y="42"/>
                    </a:lnTo>
                    <a:lnTo>
                      <a:pt x="59" y="48"/>
                    </a:lnTo>
                    <a:lnTo>
                      <a:pt x="62" y="53"/>
                    </a:lnTo>
                    <a:lnTo>
                      <a:pt x="65" y="56"/>
                    </a:lnTo>
                    <a:lnTo>
                      <a:pt x="75" y="65"/>
                    </a:lnTo>
                    <a:lnTo>
                      <a:pt x="84" y="68"/>
                    </a:lnTo>
                    <a:lnTo>
                      <a:pt x="83" y="70"/>
                    </a:lnTo>
                    <a:lnTo>
                      <a:pt x="81" y="72"/>
                    </a:lnTo>
                    <a:lnTo>
                      <a:pt x="77" y="70"/>
                    </a:lnTo>
                    <a:lnTo>
                      <a:pt x="74" y="70"/>
                    </a:lnTo>
                    <a:lnTo>
                      <a:pt x="79" y="73"/>
                    </a:lnTo>
                    <a:lnTo>
                      <a:pt x="74" y="72"/>
                    </a:lnTo>
                    <a:lnTo>
                      <a:pt x="72" y="70"/>
                    </a:lnTo>
                    <a:lnTo>
                      <a:pt x="69" y="68"/>
                    </a:lnTo>
                    <a:lnTo>
                      <a:pt x="66" y="68"/>
                    </a:lnTo>
                    <a:lnTo>
                      <a:pt x="72" y="72"/>
                    </a:lnTo>
                    <a:lnTo>
                      <a:pt x="69" y="73"/>
                    </a:lnTo>
                    <a:lnTo>
                      <a:pt x="66" y="72"/>
                    </a:lnTo>
                    <a:lnTo>
                      <a:pt x="60" y="69"/>
                    </a:lnTo>
                    <a:lnTo>
                      <a:pt x="64" y="73"/>
                    </a:lnTo>
                    <a:lnTo>
                      <a:pt x="58" y="72"/>
                    </a:lnTo>
                    <a:lnTo>
                      <a:pt x="56" y="68"/>
                    </a:lnTo>
                    <a:lnTo>
                      <a:pt x="52" y="70"/>
                    </a:lnTo>
                    <a:lnTo>
                      <a:pt x="52" y="73"/>
                    </a:lnTo>
                    <a:lnTo>
                      <a:pt x="47" y="70"/>
                    </a:lnTo>
                    <a:lnTo>
                      <a:pt x="43" y="67"/>
                    </a:lnTo>
                    <a:lnTo>
                      <a:pt x="45" y="70"/>
                    </a:lnTo>
                    <a:lnTo>
                      <a:pt x="43" y="70"/>
                    </a:lnTo>
                    <a:lnTo>
                      <a:pt x="40" y="68"/>
                    </a:lnTo>
                    <a:lnTo>
                      <a:pt x="38" y="68"/>
                    </a:lnTo>
                    <a:lnTo>
                      <a:pt x="34" y="67"/>
                    </a:lnTo>
                    <a:lnTo>
                      <a:pt x="32" y="67"/>
                    </a:lnTo>
                    <a:lnTo>
                      <a:pt x="28" y="66"/>
                    </a:lnTo>
                    <a:lnTo>
                      <a:pt x="26" y="66"/>
                    </a:lnTo>
                    <a:lnTo>
                      <a:pt x="28" y="65"/>
                    </a:lnTo>
                    <a:lnTo>
                      <a:pt x="32" y="64"/>
                    </a:lnTo>
                    <a:lnTo>
                      <a:pt x="28" y="61"/>
                    </a:lnTo>
                    <a:lnTo>
                      <a:pt x="34" y="58"/>
                    </a:lnTo>
                    <a:lnTo>
                      <a:pt x="38" y="59"/>
                    </a:lnTo>
                    <a:lnTo>
                      <a:pt x="36" y="57"/>
                    </a:lnTo>
                    <a:lnTo>
                      <a:pt x="31" y="57"/>
                    </a:lnTo>
                    <a:lnTo>
                      <a:pt x="27" y="56"/>
                    </a:lnTo>
                    <a:lnTo>
                      <a:pt x="31" y="53"/>
                    </a:lnTo>
                    <a:lnTo>
                      <a:pt x="33" y="51"/>
                    </a:lnTo>
                    <a:lnTo>
                      <a:pt x="31" y="52"/>
                    </a:lnTo>
                    <a:lnTo>
                      <a:pt x="28" y="55"/>
                    </a:lnTo>
                    <a:lnTo>
                      <a:pt x="26" y="52"/>
                    </a:lnTo>
                    <a:lnTo>
                      <a:pt x="26" y="49"/>
                    </a:lnTo>
                    <a:lnTo>
                      <a:pt x="21" y="51"/>
                    </a:lnTo>
                    <a:lnTo>
                      <a:pt x="18" y="51"/>
                    </a:lnTo>
                    <a:lnTo>
                      <a:pt x="17" y="48"/>
                    </a:lnTo>
                    <a:lnTo>
                      <a:pt x="10" y="48"/>
                    </a:lnTo>
                    <a:lnTo>
                      <a:pt x="8" y="50"/>
                    </a:lnTo>
                    <a:lnTo>
                      <a:pt x="5" y="50"/>
                    </a:lnTo>
                    <a:lnTo>
                      <a:pt x="2" y="49"/>
                    </a:lnTo>
                    <a:lnTo>
                      <a:pt x="0" y="43"/>
                    </a:lnTo>
                    <a:lnTo>
                      <a:pt x="0" y="40"/>
                    </a:lnTo>
                    <a:lnTo>
                      <a:pt x="0" y="38"/>
                    </a:lnTo>
                    <a:lnTo>
                      <a:pt x="2" y="35"/>
                    </a:lnTo>
                    <a:lnTo>
                      <a:pt x="5" y="33"/>
                    </a:lnTo>
                    <a:lnTo>
                      <a:pt x="7" y="34"/>
                    </a:lnTo>
                    <a:lnTo>
                      <a:pt x="10" y="33"/>
                    </a:lnTo>
                    <a:lnTo>
                      <a:pt x="13" y="35"/>
                    </a:lnTo>
                    <a:lnTo>
                      <a:pt x="14" y="32"/>
                    </a:lnTo>
                    <a:lnTo>
                      <a:pt x="14" y="30"/>
                    </a:lnTo>
                    <a:lnTo>
                      <a:pt x="16" y="29"/>
                    </a:lnTo>
                    <a:lnTo>
                      <a:pt x="19" y="27"/>
                    </a:lnTo>
                    <a:lnTo>
                      <a:pt x="17" y="25"/>
                    </a:lnTo>
                    <a:lnTo>
                      <a:pt x="23" y="22"/>
                    </a:lnTo>
                    <a:lnTo>
                      <a:pt x="19" y="22"/>
                    </a:lnTo>
                    <a:lnTo>
                      <a:pt x="23" y="19"/>
                    </a:lnTo>
                    <a:lnTo>
                      <a:pt x="19" y="19"/>
                    </a:lnTo>
                    <a:lnTo>
                      <a:pt x="17" y="19"/>
                    </a:lnTo>
                    <a:lnTo>
                      <a:pt x="14" y="18"/>
                    </a:lnTo>
                    <a:lnTo>
                      <a:pt x="15" y="16"/>
                    </a:lnTo>
                    <a:lnTo>
                      <a:pt x="17" y="14"/>
                    </a:lnTo>
                    <a:lnTo>
                      <a:pt x="21" y="13"/>
                    </a:lnTo>
                    <a:lnTo>
                      <a:pt x="26" y="14"/>
                    </a:lnTo>
                    <a:lnTo>
                      <a:pt x="24" y="12"/>
                    </a:lnTo>
                    <a:lnTo>
                      <a:pt x="26" y="10"/>
                    </a:lnTo>
                    <a:lnTo>
                      <a:pt x="24" y="9"/>
                    </a:lnTo>
                    <a:lnTo>
                      <a:pt x="25" y="6"/>
                    </a:lnTo>
                    <a:lnTo>
                      <a:pt x="26" y="5"/>
                    </a:lnTo>
                    <a:lnTo>
                      <a:pt x="26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70" name="Freeform 136">
                <a:extLst>
                  <a:ext uri="{FF2B5EF4-FFF2-40B4-BE49-F238E27FC236}">
                    <a16:creationId xmlns:a16="http://schemas.microsoft.com/office/drawing/2014/main" id="{230F2860-F0D4-4E9E-AE0E-EAFA78566C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20" y="1458"/>
                <a:ext cx="208" cy="103"/>
              </a:xfrm>
              <a:custGeom>
                <a:avLst/>
                <a:gdLst>
                  <a:gd name="T0" fmla="*/ 8 w 208"/>
                  <a:gd name="T1" fmla="*/ 98 h 103"/>
                  <a:gd name="T2" fmla="*/ 19 w 208"/>
                  <a:gd name="T3" fmla="*/ 91 h 103"/>
                  <a:gd name="T4" fmla="*/ 11 w 208"/>
                  <a:gd name="T5" fmla="*/ 91 h 103"/>
                  <a:gd name="T6" fmla="*/ 2 w 208"/>
                  <a:gd name="T7" fmla="*/ 92 h 103"/>
                  <a:gd name="T8" fmla="*/ 5 w 208"/>
                  <a:gd name="T9" fmla="*/ 88 h 103"/>
                  <a:gd name="T10" fmla="*/ 13 w 208"/>
                  <a:gd name="T11" fmla="*/ 84 h 103"/>
                  <a:gd name="T12" fmla="*/ 27 w 208"/>
                  <a:gd name="T13" fmla="*/ 80 h 103"/>
                  <a:gd name="T14" fmla="*/ 25 w 208"/>
                  <a:gd name="T15" fmla="*/ 75 h 103"/>
                  <a:gd name="T16" fmla="*/ 21 w 208"/>
                  <a:gd name="T17" fmla="*/ 74 h 103"/>
                  <a:gd name="T18" fmla="*/ 30 w 208"/>
                  <a:gd name="T19" fmla="*/ 69 h 103"/>
                  <a:gd name="T20" fmla="*/ 26 w 208"/>
                  <a:gd name="T21" fmla="*/ 65 h 103"/>
                  <a:gd name="T22" fmla="*/ 43 w 208"/>
                  <a:gd name="T23" fmla="*/ 65 h 103"/>
                  <a:gd name="T24" fmla="*/ 33 w 208"/>
                  <a:gd name="T25" fmla="*/ 62 h 103"/>
                  <a:gd name="T26" fmla="*/ 41 w 208"/>
                  <a:gd name="T27" fmla="*/ 57 h 103"/>
                  <a:gd name="T28" fmla="*/ 31 w 208"/>
                  <a:gd name="T29" fmla="*/ 56 h 103"/>
                  <a:gd name="T30" fmla="*/ 33 w 208"/>
                  <a:gd name="T31" fmla="*/ 51 h 103"/>
                  <a:gd name="T32" fmla="*/ 44 w 208"/>
                  <a:gd name="T33" fmla="*/ 51 h 103"/>
                  <a:gd name="T34" fmla="*/ 51 w 208"/>
                  <a:gd name="T35" fmla="*/ 46 h 103"/>
                  <a:gd name="T36" fmla="*/ 54 w 208"/>
                  <a:gd name="T37" fmla="*/ 41 h 103"/>
                  <a:gd name="T38" fmla="*/ 67 w 208"/>
                  <a:gd name="T39" fmla="*/ 36 h 103"/>
                  <a:gd name="T40" fmla="*/ 74 w 208"/>
                  <a:gd name="T41" fmla="*/ 32 h 103"/>
                  <a:gd name="T42" fmla="*/ 86 w 208"/>
                  <a:gd name="T43" fmla="*/ 29 h 103"/>
                  <a:gd name="T44" fmla="*/ 91 w 208"/>
                  <a:gd name="T45" fmla="*/ 26 h 103"/>
                  <a:gd name="T46" fmla="*/ 101 w 208"/>
                  <a:gd name="T47" fmla="*/ 27 h 103"/>
                  <a:gd name="T48" fmla="*/ 108 w 208"/>
                  <a:gd name="T49" fmla="*/ 20 h 103"/>
                  <a:gd name="T50" fmla="*/ 120 w 208"/>
                  <a:gd name="T51" fmla="*/ 23 h 103"/>
                  <a:gd name="T52" fmla="*/ 135 w 208"/>
                  <a:gd name="T53" fmla="*/ 20 h 103"/>
                  <a:gd name="T54" fmla="*/ 142 w 208"/>
                  <a:gd name="T55" fmla="*/ 20 h 103"/>
                  <a:gd name="T56" fmla="*/ 159 w 208"/>
                  <a:gd name="T57" fmla="*/ 14 h 103"/>
                  <a:gd name="T58" fmla="*/ 166 w 208"/>
                  <a:gd name="T59" fmla="*/ 9 h 103"/>
                  <a:gd name="T60" fmla="*/ 183 w 208"/>
                  <a:gd name="T61" fmla="*/ 2 h 103"/>
                  <a:gd name="T62" fmla="*/ 198 w 208"/>
                  <a:gd name="T63" fmla="*/ 1 h 103"/>
                  <a:gd name="T64" fmla="*/ 208 w 208"/>
                  <a:gd name="T65" fmla="*/ 6 h 103"/>
                  <a:gd name="T66" fmla="*/ 206 w 208"/>
                  <a:gd name="T67" fmla="*/ 14 h 103"/>
                  <a:gd name="T68" fmla="*/ 198 w 208"/>
                  <a:gd name="T69" fmla="*/ 21 h 103"/>
                  <a:gd name="T70" fmla="*/ 183 w 208"/>
                  <a:gd name="T71" fmla="*/ 26 h 103"/>
                  <a:gd name="T72" fmla="*/ 172 w 208"/>
                  <a:gd name="T73" fmla="*/ 29 h 103"/>
                  <a:gd name="T74" fmla="*/ 161 w 208"/>
                  <a:gd name="T75" fmla="*/ 31 h 103"/>
                  <a:gd name="T76" fmla="*/ 139 w 208"/>
                  <a:gd name="T77" fmla="*/ 38 h 103"/>
                  <a:gd name="T78" fmla="*/ 130 w 208"/>
                  <a:gd name="T79" fmla="*/ 40 h 103"/>
                  <a:gd name="T80" fmla="*/ 122 w 208"/>
                  <a:gd name="T81" fmla="*/ 43 h 103"/>
                  <a:gd name="T82" fmla="*/ 108 w 208"/>
                  <a:gd name="T83" fmla="*/ 48 h 103"/>
                  <a:gd name="T84" fmla="*/ 103 w 208"/>
                  <a:gd name="T85" fmla="*/ 51 h 103"/>
                  <a:gd name="T86" fmla="*/ 86 w 208"/>
                  <a:gd name="T87" fmla="*/ 56 h 103"/>
                  <a:gd name="T88" fmla="*/ 95 w 208"/>
                  <a:gd name="T89" fmla="*/ 57 h 103"/>
                  <a:gd name="T90" fmla="*/ 90 w 208"/>
                  <a:gd name="T91" fmla="*/ 63 h 103"/>
                  <a:gd name="T92" fmla="*/ 80 w 208"/>
                  <a:gd name="T93" fmla="*/ 62 h 103"/>
                  <a:gd name="T94" fmla="*/ 81 w 208"/>
                  <a:gd name="T95" fmla="*/ 68 h 103"/>
                  <a:gd name="T96" fmla="*/ 74 w 208"/>
                  <a:gd name="T97" fmla="*/ 70 h 103"/>
                  <a:gd name="T98" fmla="*/ 63 w 208"/>
                  <a:gd name="T99" fmla="*/ 69 h 103"/>
                  <a:gd name="T100" fmla="*/ 63 w 208"/>
                  <a:gd name="T101" fmla="*/ 79 h 103"/>
                  <a:gd name="T102" fmla="*/ 61 w 208"/>
                  <a:gd name="T103" fmla="*/ 81 h 103"/>
                  <a:gd name="T104" fmla="*/ 53 w 208"/>
                  <a:gd name="T105" fmla="*/ 79 h 103"/>
                  <a:gd name="T106" fmla="*/ 56 w 208"/>
                  <a:gd name="T107" fmla="*/ 84 h 103"/>
                  <a:gd name="T108" fmla="*/ 54 w 208"/>
                  <a:gd name="T109" fmla="*/ 90 h 103"/>
                  <a:gd name="T110" fmla="*/ 48 w 208"/>
                  <a:gd name="T111" fmla="*/ 88 h 103"/>
                  <a:gd name="T112" fmla="*/ 51 w 208"/>
                  <a:gd name="T113" fmla="*/ 95 h 103"/>
                  <a:gd name="T114" fmla="*/ 43 w 208"/>
                  <a:gd name="T115" fmla="*/ 92 h 103"/>
                  <a:gd name="T116" fmla="*/ 47 w 208"/>
                  <a:gd name="T117" fmla="*/ 99 h 103"/>
                  <a:gd name="T118" fmla="*/ 42 w 208"/>
                  <a:gd name="T119" fmla="*/ 103 h 103"/>
                  <a:gd name="T120" fmla="*/ 29 w 208"/>
                  <a:gd name="T121" fmla="*/ 101 h 103"/>
                  <a:gd name="T122" fmla="*/ 18 w 208"/>
                  <a:gd name="T123" fmla="*/ 98 h 103"/>
                  <a:gd name="T124" fmla="*/ 12 w 208"/>
                  <a:gd name="T125" fmla="*/ 10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08" h="103">
                    <a:moveTo>
                      <a:pt x="12" y="100"/>
                    </a:moveTo>
                    <a:lnTo>
                      <a:pt x="8" y="101"/>
                    </a:lnTo>
                    <a:lnTo>
                      <a:pt x="8" y="98"/>
                    </a:lnTo>
                    <a:lnTo>
                      <a:pt x="9" y="96"/>
                    </a:lnTo>
                    <a:lnTo>
                      <a:pt x="11" y="94"/>
                    </a:lnTo>
                    <a:lnTo>
                      <a:pt x="19" y="91"/>
                    </a:lnTo>
                    <a:lnTo>
                      <a:pt x="17" y="91"/>
                    </a:lnTo>
                    <a:lnTo>
                      <a:pt x="13" y="91"/>
                    </a:lnTo>
                    <a:lnTo>
                      <a:pt x="11" y="91"/>
                    </a:lnTo>
                    <a:lnTo>
                      <a:pt x="8" y="94"/>
                    </a:lnTo>
                    <a:lnTo>
                      <a:pt x="5" y="94"/>
                    </a:lnTo>
                    <a:lnTo>
                      <a:pt x="2" y="92"/>
                    </a:lnTo>
                    <a:lnTo>
                      <a:pt x="0" y="90"/>
                    </a:lnTo>
                    <a:lnTo>
                      <a:pt x="2" y="89"/>
                    </a:lnTo>
                    <a:lnTo>
                      <a:pt x="5" y="88"/>
                    </a:lnTo>
                    <a:lnTo>
                      <a:pt x="8" y="86"/>
                    </a:lnTo>
                    <a:lnTo>
                      <a:pt x="11" y="84"/>
                    </a:lnTo>
                    <a:lnTo>
                      <a:pt x="13" y="84"/>
                    </a:lnTo>
                    <a:lnTo>
                      <a:pt x="13" y="82"/>
                    </a:lnTo>
                    <a:lnTo>
                      <a:pt x="19" y="79"/>
                    </a:lnTo>
                    <a:lnTo>
                      <a:pt x="27" y="80"/>
                    </a:lnTo>
                    <a:lnTo>
                      <a:pt x="25" y="78"/>
                    </a:lnTo>
                    <a:lnTo>
                      <a:pt x="19" y="77"/>
                    </a:lnTo>
                    <a:lnTo>
                      <a:pt x="25" y="75"/>
                    </a:lnTo>
                    <a:lnTo>
                      <a:pt x="27" y="77"/>
                    </a:lnTo>
                    <a:lnTo>
                      <a:pt x="25" y="74"/>
                    </a:lnTo>
                    <a:lnTo>
                      <a:pt x="21" y="74"/>
                    </a:lnTo>
                    <a:lnTo>
                      <a:pt x="25" y="72"/>
                    </a:lnTo>
                    <a:lnTo>
                      <a:pt x="34" y="71"/>
                    </a:lnTo>
                    <a:lnTo>
                      <a:pt x="30" y="69"/>
                    </a:lnTo>
                    <a:lnTo>
                      <a:pt x="27" y="70"/>
                    </a:lnTo>
                    <a:lnTo>
                      <a:pt x="25" y="69"/>
                    </a:lnTo>
                    <a:lnTo>
                      <a:pt x="26" y="65"/>
                    </a:lnTo>
                    <a:lnTo>
                      <a:pt x="35" y="64"/>
                    </a:lnTo>
                    <a:lnTo>
                      <a:pt x="41" y="65"/>
                    </a:lnTo>
                    <a:lnTo>
                      <a:pt x="43" y="65"/>
                    </a:lnTo>
                    <a:lnTo>
                      <a:pt x="41" y="65"/>
                    </a:lnTo>
                    <a:lnTo>
                      <a:pt x="35" y="62"/>
                    </a:lnTo>
                    <a:lnTo>
                      <a:pt x="33" y="62"/>
                    </a:lnTo>
                    <a:lnTo>
                      <a:pt x="29" y="62"/>
                    </a:lnTo>
                    <a:lnTo>
                      <a:pt x="31" y="61"/>
                    </a:lnTo>
                    <a:lnTo>
                      <a:pt x="41" y="57"/>
                    </a:lnTo>
                    <a:lnTo>
                      <a:pt x="37" y="57"/>
                    </a:lnTo>
                    <a:lnTo>
                      <a:pt x="35" y="56"/>
                    </a:lnTo>
                    <a:lnTo>
                      <a:pt x="31" y="56"/>
                    </a:lnTo>
                    <a:lnTo>
                      <a:pt x="29" y="54"/>
                    </a:lnTo>
                    <a:lnTo>
                      <a:pt x="30" y="52"/>
                    </a:lnTo>
                    <a:lnTo>
                      <a:pt x="33" y="51"/>
                    </a:lnTo>
                    <a:lnTo>
                      <a:pt x="36" y="52"/>
                    </a:lnTo>
                    <a:lnTo>
                      <a:pt x="38" y="54"/>
                    </a:lnTo>
                    <a:lnTo>
                      <a:pt x="44" y="51"/>
                    </a:lnTo>
                    <a:lnTo>
                      <a:pt x="43" y="47"/>
                    </a:lnTo>
                    <a:lnTo>
                      <a:pt x="45" y="46"/>
                    </a:lnTo>
                    <a:lnTo>
                      <a:pt x="51" y="46"/>
                    </a:lnTo>
                    <a:lnTo>
                      <a:pt x="53" y="47"/>
                    </a:lnTo>
                    <a:lnTo>
                      <a:pt x="54" y="45"/>
                    </a:lnTo>
                    <a:lnTo>
                      <a:pt x="54" y="41"/>
                    </a:lnTo>
                    <a:lnTo>
                      <a:pt x="60" y="40"/>
                    </a:lnTo>
                    <a:lnTo>
                      <a:pt x="59" y="38"/>
                    </a:lnTo>
                    <a:lnTo>
                      <a:pt x="67" y="36"/>
                    </a:lnTo>
                    <a:lnTo>
                      <a:pt x="69" y="34"/>
                    </a:lnTo>
                    <a:lnTo>
                      <a:pt x="72" y="32"/>
                    </a:lnTo>
                    <a:lnTo>
                      <a:pt x="74" y="32"/>
                    </a:lnTo>
                    <a:lnTo>
                      <a:pt x="80" y="30"/>
                    </a:lnTo>
                    <a:lnTo>
                      <a:pt x="84" y="30"/>
                    </a:lnTo>
                    <a:lnTo>
                      <a:pt x="86" y="29"/>
                    </a:lnTo>
                    <a:lnTo>
                      <a:pt x="89" y="29"/>
                    </a:lnTo>
                    <a:lnTo>
                      <a:pt x="89" y="26"/>
                    </a:lnTo>
                    <a:lnTo>
                      <a:pt x="91" y="26"/>
                    </a:lnTo>
                    <a:lnTo>
                      <a:pt x="97" y="26"/>
                    </a:lnTo>
                    <a:lnTo>
                      <a:pt x="95" y="27"/>
                    </a:lnTo>
                    <a:lnTo>
                      <a:pt x="101" y="27"/>
                    </a:lnTo>
                    <a:lnTo>
                      <a:pt x="99" y="23"/>
                    </a:lnTo>
                    <a:lnTo>
                      <a:pt x="101" y="21"/>
                    </a:lnTo>
                    <a:lnTo>
                      <a:pt x="108" y="20"/>
                    </a:lnTo>
                    <a:lnTo>
                      <a:pt x="114" y="21"/>
                    </a:lnTo>
                    <a:lnTo>
                      <a:pt x="118" y="21"/>
                    </a:lnTo>
                    <a:lnTo>
                      <a:pt x="120" y="23"/>
                    </a:lnTo>
                    <a:lnTo>
                      <a:pt x="123" y="22"/>
                    </a:lnTo>
                    <a:lnTo>
                      <a:pt x="129" y="22"/>
                    </a:lnTo>
                    <a:lnTo>
                      <a:pt x="135" y="20"/>
                    </a:lnTo>
                    <a:lnTo>
                      <a:pt x="137" y="19"/>
                    </a:lnTo>
                    <a:lnTo>
                      <a:pt x="140" y="19"/>
                    </a:lnTo>
                    <a:lnTo>
                      <a:pt x="142" y="20"/>
                    </a:lnTo>
                    <a:lnTo>
                      <a:pt x="154" y="14"/>
                    </a:lnTo>
                    <a:lnTo>
                      <a:pt x="156" y="15"/>
                    </a:lnTo>
                    <a:lnTo>
                      <a:pt x="159" y="14"/>
                    </a:lnTo>
                    <a:lnTo>
                      <a:pt x="163" y="12"/>
                    </a:lnTo>
                    <a:lnTo>
                      <a:pt x="167" y="14"/>
                    </a:lnTo>
                    <a:lnTo>
                      <a:pt x="166" y="9"/>
                    </a:lnTo>
                    <a:lnTo>
                      <a:pt x="170" y="7"/>
                    </a:lnTo>
                    <a:lnTo>
                      <a:pt x="178" y="3"/>
                    </a:lnTo>
                    <a:lnTo>
                      <a:pt x="183" y="2"/>
                    </a:lnTo>
                    <a:lnTo>
                      <a:pt x="189" y="0"/>
                    </a:lnTo>
                    <a:lnTo>
                      <a:pt x="196" y="0"/>
                    </a:lnTo>
                    <a:lnTo>
                      <a:pt x="198" y="1"/>
                    </a:lnTo>
                    <a:lnTo>
                      <a:pt x="201" y="2"/>
                    </a:lnTo>
                    <a:lnTo>
                      <a:pt x="207" y="4"/>
                    </a:lnTo>
                    <a:lnTo>
                      <a:pt x="208" y="6"/>
                    </a:lnTo>
                    <a:lnTo>
                      <a:pt x="208" y="10"/>
                    </a:lnTo>
                    <a:lnTo>
                      <a:pt x="207" y="12"/>
                    </a:lnTo>
                    <a:lnTo>
                      <a:pt x="206" y="14"/>
                    </a:lnTo>
                    <a:lnTo>
                      <a:pt x="202" y="17"/>
                    </a:lnTo>
                    <a:lnTo>
                      <a:pt x="200" y="19"/>
                    </a:lnTo>
                    <a:lnTo>
                      <a:pt x="198" y="21"/>
                    </a:lnTo>
                    <a:lnTo>
                      <a:pt x="195" y="21"/>
                    </a:lnTo>
                    <a:lnTo>
                      <a:pt x="189" y="23"/>
                    </a:lnTo>
                    <a:lnTo>
                      <a:pt x="183" y="26"/>
                    </a:lnTo>
                    <a:lnTo>
                      <a:pt x="178" y="27"/>
                    </a:lnTo>
                    <a:lnTo>
                      <a:pt x="174" y="29"/>
                    </a:lnTo>
                    <a:lnTo>
                      <a:pt x="172" y="29"/>
                    </a:lnTo>
                    <a:lnTo>
                      <a:pt x="170" y="30"/>
                    </a:lnTo>
                    <a:lnTo>
                      <a:pt x="166" y="30"/>
                    </a:lnTo>
                    <a:lnTo>
                      <a:pt x="161" y="31"/>
                    </a:lnTo>
                    <a:lnTo>
                      <a:pt x="155" y="35"/>
                    </a:lnTo>
                    <a:lnTo>
                      <a:pt x="144" y="36"/>
                    </a:lnTo>
                    <a:lnTo>
                      <a:pt x="139" y="38"/>
                    </a:lnTo>
                    <a:lnTo>
                      <a:pt x="136" y="37"/>
                    </a:lnTo>
                    <a:lnTo>
                      <a:pt x="133" y="39"/>
                    </a:lnTo>
                    <a:lnTo>
                      <a:pt x="130" y="40"/>
                    </a:lnTo>
                    <a:lnTo>
                      <a:pt x="128" y="40"/>
                    </a:lnTo>
                    <a:lnTo>
                      <a:pt x="124" y="41"/>
                    </a:lnTo>
                    <a:lnTo>
                      <a:pt x="122" y="43"/>
                    </a:lnTo>
                    <a:lnTo>
                      <a:pt x="116" y="44"/>
                    </a:lnTo>
                    <a:lnTo>
                      <a:pt x="114" y="45"/>
                    </a:lnTo>
                    <a:lnTo>
                      <a:pt x="108" y="48"/>
                    </a:lnTo>
                    <a:lnTo>
                      <a:pt x="105" y="49"/>
                    </a:lnTo>
                    <a:lnTo>
                      <a:pt x="105" y="47"/>
                    </a:lnTo>
                    <a:lnTo>
                      <a:pt x="103" y="51"/>
                    </a:lnTo>
                    <a:lnTo>
                      <a:pt x="95" y="55"/>
                    </a:lnTo>
                    <a:lnTo>
                      <a:pt x="91" y="56"/>
                    </a:lnTo>
                    <a:lnTo>
                      <a:pt x="86" y="56"/>
                    </a:lnTo>
                    <a:lnTo>
                      <a:pt x="86" y="57"/>
                    </a:lnTo>
                    <a:lnTo>
                      <a:pt x="89" y="57"/>
                    </a:lnTo>
                    <a:lnTo>
                      <a:pt x="95" y="57"/>
                    </a:lnTo>
                    <a:lnTo>
                      <a:pt x="94" y="60"/>
                    </a:lnTo>
                    <a:lnTo>
                      <a:pt x="91" y="61"/>
                    </a:lnTo>
                    <a:lnTo>
                      <a:pt x="90" y="63"/>
                    </a:lnTo>
                    <a:lnTo>
                      <a:pt x="86" y="64"/>
                    </a:lnTo>
                    <a:lnTo>
                      <a:pt x="84" y="63"/>
                    </a:lnTo>
                    <a:lnTo>
                      <a:pt x="80" y="62"/>
                    </a:lnTo>
                    <a:lnTo>
                      <a:pt x="84" y="64"/>
                    </a:lnTo>
                    <a:lnTo>
                      <a:pt x="84" y="66"/>
                    </a:lnTo>
                    <a:lnTo>
                      <a:pt x="81" y="68"/>
                    </a:lnTo>
                    <a:lnTo>
                      <a:pt x="76" y="64"/>
                    </a:lnTo>
                    <a:lnTo>
                      <a:pt x="76" y="66"/>
                    </a:lnTo>
                    <a:lnTo>
                      <a:pt x="74" y="70"/>
                    </a:lnTo>
                    <a:lnTo>
                      <a:pt x="72" y="71"/>
                    </a:lnTo>
                    <a:lnTo>
                      <a:pt x="69" y="70"/>
                    </a:lnTo>
                    <a:lnTo>
                      <a:pt x="63" y="69"/>
                    </a:lnTo>
                    <a:lnTo>
                      <a:pt x="65" y="71"/>
                    </a:lnTo>
                    <a:lnTo>
                      <a:pt x="69" y="77"/>
                    </a:lnTo>
                    <a:lnTo>
                      <a:pt x="63" y="79"/>
                    </a:lnTo>
                    <a:lnTo>
                      <a:pt x="65" y="80"/>
                    </a:lnTo>
                    <a:lnTo>
                      <a:pt x="63" y="81"/>
                    </a:lnTo>
                    <a:lnTo>
                      <a:pt x="61" y="81"/>
                    </a:lnTo>
                    <a:lnTo>
                      <a:pt x="57" y="83"/>
                    </a:lnTo>
                    <a:lnTo>
                      <a:pt x="55" y="82"/>
                    </a:lnTo>
                    <a:lnTo>
                      <a:pt x="53" y="79"/>
                    </a:lnTo>
                    <a:lnTo>
                      <a:pt x="51" y="81"/>
                    </a:lnTo>
                    <a:lnTo>
                      <a:pt x="53" y="82"/>
                    </a:lnTo>
                    <a:lnTo>
                      <a:pt x="56" y="84"/>
                    </a:lnTo>
                    <a:lnTo>
                      <a:pt x="57" y="87"/>
                    </a:lnTo>
                    <a:lnTo>
                      <a:pt x="56" y="90"/>
                    </a:lnTo>
                    <a:lnTo>
                      <a:pt x="54" y="90"/>
                    </a:lnTo>
                    <a:lnTo>
                      <a:pt x="51" y="88"/>
                    </a:lnTo>
                    <a:lnTo>
                      <a:pt x="39" y="87"/>
                    </a:lnTo>
                    <a:lnTo>
                      <a:pt x="48" y="88"/>
                    </a:lnTo>
                    <a:lnTo>
                      <a:pt x="52" y="89"/>
                    </a:lnTo>
                    <a:lnTo>
                      <a:pt x="54" y="92"/>
                    </a:lnTo>
                    <a:lnTo>
                      <a:pt x="51" y="95"/>
                    </a:lnTo>
                    <a:lnTo>
                      <a:pt x="48" y="95"/>
                    </a:lnTo>
                    <a:lnTo>
                      <a:pt x="45" y="95"/>
                    </a:lnTo>
                    <a:lnTo>
                      <a:pt x="43" y="92"/>
                    </a:lnTo>
                    <a:lnTo>
                      <a:pt x="45" y="95"/>
                    </a:lnTo>
                    <a:lnTo>
                      <a:pt x="47" y="96"/>
                    </a:lnTo>
                    <a:lnTo>
                      <a:pt x="47" y="99"/>
                    </a:lnTo>
                    <a:lnTo>
                      <a:pt x="45" y="100"/>
                    </a:lnTo>
                    <a:lnTo>
                      <a:pt x="42" y="100"/>
                    </a:lnTo>
                    <a:lnTo>
                      <a:pt x="42" y="103"/>
                    </a:lnTo>
                    <a:lnTo>
                      <a:pt x="34" y="103"/>
                    </a:lnTo>
                    <a:lnTo>
                      <a:pt x="33" y="99"/>
                    </a:lnTo>
                    <a:lnTo>
                      <a:pt x="29" y="101"/>
                    </a:lnTo>
                    <a:lnTo>
                      <a:pt x="27" y="100"/>
                    </a:lnTo>
                    <a:lnTo>
                      <a:pt x="24" y="100"/>
                    </a:lnTo>
                    <a:lnTo>
                      <a:pt x="18" y="98"/>
                    </a:lnTo>
                    <a:lnTo>
                      <a:pt x="16" y="98"/>
                    </a:lnTo>
                    <a:lnTo>
                      <a:pt x="12" y="100"/>
                    </a:lnTo>
                    <a:lnTo>
                      <a:pt x="12" y="10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71" name="Freeform 137">
                <a:extLst>
                  <a:ext uri="{FF2B5EF4-FFF2-40B4-BE49-F238E27FC236}">
                    <a16:creationId xmlns:a16="http://schemas.microsoft.com/office/drawing/2014/main" id="{FB049A10-1E0B-4850-BB28-8F19DB298C9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40" y="1327"/>
                <a:ext cx="114" cy="78"/>
              </a:xfrm>
              <a:custGeom>
                <a:avLst/>
                <a:gdLst>
                  <a:gd name="T0" fmla="*/ 29 w 114"/>
                  <a:gd name="T1" fmla="*/ 41 h 78"/>
                  <a:gd name="T2" fmla="*/ 38 w 114"/>
                  <a:gd name="T3" fmla="*/ 38 h 78"/>
                  <a:gd name="T4" fmla="*/ 55 w 114"/>
                  <a:gd name="T5" fmla="*/ 35 h 78"/>
                  <a:gd name="T6" fmla="*/ 76 w 114"/>
                  <a:gd name="T7" fmla="*/ 33 h 78"/>
                  <a:gd name="T8" fmla="*/ 73 w 114"/>
                  <a:gd name="T9" fmla="*/ 23 h 78"/>
                  <a:gd name="T10" fmla="*/ 80 w 114"/>
                  <a:gd name="T11" fmla="*/ 20 h 78"/>
                  <a:gd name="T12" fmla="*/ 85 w 114"/>
                  <a:gd name="T13" fmla="*/ 16 h 78"/>
                  <a:gd name="T14" fmla="*/ 70 w 114"/>
                  <a:gd name="T15" fmla="*/ 12 h 78"/>
                  <a:gd name="T16" fmla="*/ 59 w 114"/>
                  <a:gd name="T17" fmla="*/ 1 h 78"/>
                  <a:gd name="T18" fmla="*/ 46 w 114"/>
                  <a:gd name="T19" fmla="*/ 1 h 78"/>
                  <a:gd name="T20" fmla="*/ 43 w 114"/>
                  <a:gd name="T21" fmla="*/ 6 h 78"/>
                  <a:gd name="T22" fmla="*/ 20 w 114"/>
                  <a:gd name="T23" fmla="*/ 9 h 78"/>
                  <a:gd name="T24" fmla="*/ 14 w 114"/>
                  <a:gd name="T25" fmla="*/ 15 h 78"/>
                  <a:gd name="T26" fmla="*/ 22 w 114"/>
                  <a:gd name="T27" fmla="*/ 16 h 78"/>
                  <a:gd name="T28" fmla="*/ 16 w 114"/>
                  <a:gd name="T29" fmla="*/ 23 h 78"/>
                  <a:gd name="T30" fmla="*/ 3 w 114"/>
                  <a:gd name="T31" fmla="*/ 28 h 78"/>
                  <a:gd name="T32" fmla="*/ 1 w 114"/>
                  <a:gd name="T33" fmla="*/ 30 h 78"/>
                  <a:gd name="T34" fmla="*/ 10 w 114"/>
                  <a:gd name="T35" fmla="*/ 32 h 78"/>
                  <a:gd name="T36" fmla="*/ 22 w 114"/>
                  <a:gd name="T37" fmla="*/ 33 h 78"/>
                  <a:gd name="T38" fmla="*/ 10 w 114"/>
                  <a:gd name="T39" fmla="*/ 34 h 78"/>
                  <a:gd name="T40" fmla="*/ 12 w 114"/>
                  <a:gd name="T41" fmla="*/ 35 h 78"/>
                  <a:gd name="T42" fmla="*/ 12 w 114"/>
                  <a:gd name="T43" fmla="*/ 37 h 78"/>
                  <a:gd name="T44" fmla="*/ 110 w 114"/>
                  <a:gd name="T45" fmla="*/ 63 h 78"/>
                  <a:gd name="T46" fmla="*/ 114 w 114"/>
                  <a:gd name="T47" fmla="*/ 49 h 78"/>
                  <a:gd name="T48" fmla="*/ 108 w 114"/>
                  <a:gd name="T49" fmla="*/ 43 h 78"/>
                  <a:gd name="T50" fmla="*/ 96 w 114"/>
                  <a:gd name="T51" fmla="*/ 40 h 78"/>
                  <a:gd name="T52" fmla="*/ 91 w 114"/>
                  <a:gd name="T53" fmla="*/ 46 h 78"/>
                  <a:gd name="T54" fmla="*/ 80 w 114"/>
                  <a:gd name="T55" fmla="*/ 49 h 78"/>
                  <a:gd name="T56" fmla="*/ 81 w 114"/>
                  <a:gd name="T57" fmla="*/ 46 h 78"/>
                  <a:gd name="T58" fmla="*/ 86 w 114"/>
                  <a:gd name="T59" fmla="*/ 39 h 78"/>
                  <a:gd name="T60" fmla="*/ 76 w 114"/>
                  <a:gd name="T61" fmla="*/ 35 h 78"/>
                  <a:gd name="T62" fmla="*/ 53 w 114"/>
                  <a:gd name="T63" fmla="*/ 38 h 78"/>
                  <a:gd name="T64" fmla="*/ 44 w 114"/>
                  <a:gd name="T65" fmla="*/ 40 h 78"/>
                  <a:gd name="T66" fmla="*/ 36 w 114"/>
                  <a:gd name="T67" fmla="*/ 44 h 78"/>
                  <a:gd name="T68" fmla="*/ 30 w 114"/>
                  <a:gd name="T69" fmla="*/ 50 h 78"/>
                  <a:gd name="T70" fmla="*/ 17 w 114"/>
                  <a:gd name="T71" fmla="*/ 55 h 78"/>
                  <a:gd name="T72" fmla="*/ 25 w 114"/>
                  <a:gd name="T73" fmla="*/ 56 h 78"/>
                  <a:gd name="T74" fmla="*/ 28 w 114"/>
                  <a:gd name="T75" fmla="*/ 58 h 78"/>
                  <a:gd name="T76" fmla="*/ 36 w 114"/>
                  <a:gd name="T77" fmla="*/ 59 h 78"/>
                  <a:gd name="T78" fmla="*/ 40 w 114"/>
                  <a:gd name="T79" fmla="*/ 66 h 78"/>
                  <a:gd name="T80" fmla="*/ 47 w 114"/>
                  <a:gd name="T81" fmla="*/ 71 h 78"/>
                  <a:gd name="T82" fmla="*/ 54 w 114"/>
                  <a:gd name="T83" fmla="*/ 72 h 78"/>
                  <a:gd name="T84" fmla="*/ 69 w 114"/>
                  <a:gd name="T85" fmla="*/ 72 h 78"/>
                  <a:gd name="T86" fmla="*/ 93 w 114"/>
                  <a:gd name="T87" fmla="*/ 78 h 78"/>
                  <a:gd name="T88" fmla="*/ 112 w 114"/>
                  <a:gd name="T89" fmla="*/ 74 h 78"/>
                  <a:gd name="T90" fmla="*/ 107 w 114"/>
                  <a:gd name="T91" fmla="*/ 66 h 78"/>
                  <a:gd name="T92" fmla="*/ 107 w 114"/>
                  <a:gd name="T93" fmla="*/ 64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14" h="78">
                    <a:moveTo>
                      <a:pt x="23" y="40"/>
                    </a:moveTo>
                    <a:lnTo>
                      <a:pt x="27" y="41"/>
                    </a:lnTo>
                    <a:lnTo>
                      <a:pt x="29" y="41"/>
                    </a:lnTo>
                    <a:lnTo>
                      <a:pt x="32" y="40"/>
                    </a:lnTo>
                    <a:lnTo>
                      <a:pt x="36" y="40"/>
                    </a:lnTo>
                    <a:lnTo>
                      <a:pt x="38" y="38"/>
                    </a:lnTo>
                    <a:lnTo>
                      <a:pt x="44" y="37"/>
                    </a:lnTo>
                    <a:lnTo>
                      <a:pt x="47" y="37"/>
                    </a:lnTo>
                    <a:lnTo>
                      <a:pt x="55" y="35"/>
                    </a:lnTo>
                    <a:lnTo>
                      <a:pt x="61" y="34"/>
                    </a:lnTo>
                    <a:lnTo>
                      <a:pt x="73" y="34"/>
                    </a:lnTo>
                    <a:lnTo>
                      <a:pt x="76" y="33"/>
                    </a:lnTo>
                    <a:lnTo>
                      <a:pt x="79" y="31"/>
                    </a:lnTo>
                    <a:lnTo>
                      <a:pt x="76" y="29"/>
                    </a:lnTo>
                    <a:lnTo>
                      <a:pt x="73" y="23"/>
                    </a:lnTo>
                    <a:lnTo>
                      <a:pt x="74" y="21"/>
                    </a:lnTo>
                    <a:lnTo>
                      <a:pt x="78" y="21"/>
                    </a:lnTo>
                    <a:lnTo>
                      <a:pt x="80" y="20"/>
                    </a:lnTo>
                    <a:lnTo>
                      <a:pt x="83" y="21"/>
                    </a:lnTo>
                    <a:lnTo>
                      <a:pt x="86" y="20"/>
                    </a:lnTo>
                    <a:lnTo>
                      <a:pt x="85" y="16"/>
                    </a:lnTo>
                    <a:lnTo>
                      <a:pt x="81" y="15"/>
                    </a:lnTo>
                    <a:lnTo>
                      <a:pt x="76" y="14"/>
                    </a:lnTo>
                    <a:lnTo>
                      <a:pt x="70" y="12"/>
                    </a:lnTo>
                    <a:lnTo>
                      <a:pt x="68" y="9"/>
                    </a:lnTo>
                    <a:lnTo>
                      <a:pt x="65" y="6"/>
                    </a:lnTo>
                    <a:lnTo>
                      <a:pt x="59" y="1"/>
                    </a:lnTo>
                    <a:lnTo>
                      <a:pt x="54" y="0"/>
                    </a:lnTo>
                    <a:lnTo>
                      <a:pt x="48" y="0"/>
                    </a:lnTo>
                    <a:lnTo>
                      <a:pt x="46" y="1"/>
                    </a:lnTo>
                    <a:lnTo>
                      <a:pt x="52" y="3"/>
                    </a:lnTo>
                    <a:lnTo>
                      <a:pt x="49" y="3"/>
                    </a:lnTo>
                    <a:lnTo>
                      <a:pt x="43" y="6"/>
                    </a:lnTo>
                    <a:lnTo>
                      <a:pt x="35" y="6"/>
                    </a:lnTo>
                    <a:lnTo>
                      <a:pt x="31" y="7"/>
                    </a:lnTo>
                    <a:lnTo>
                      <a:pt x="20" y="9"/>
                    </a:lnTo>
                    <a:lnTo>
                      <a:pt x="19" y="12"/>
                    </a:lnTo>
                    <a:lnTo>
                      <a:pt x="17" y="13"/>
                    </a:lnTo>
                    <a:lnTo>
                      <a:pt x="14" y="15"/>
                    </a:lnTo>
                    <a:lnTo>
                      <a:pt x="13" y="17"/>
                    </a:lnTo>
                    <a:lnTo>
                      <a:pt x="19" y="17"/>
                    </a:lnTo>
                    <a:lnTo>
                      <a:pt x="22" y="16"/>
                    </a:lnTo>
                    <a:lnTo>
                      <a:pt x="20" y="18"/>
                    </a:lnTo>
                    <a:lnTo>
                      <a:pt x="17" y="20"/>
                    </a:lnTo>
                    <a:lnTo>
                      <a:pt x="16" y="23"/>
                    </a:lnTo>
                    <a:lnTo>
                      <a:pt x="14" y="25"/>
                    </a:lnTo>
                    <a:lnTo>
                      <a:pt x="9" y="25"/>
                    </a:lnTo>
                    <a:lnTo>
                      <a:pt x="3" y="28"/>
                    </a:lnTo>
                    <a:lnTo>
                      <a:pt x="12" y="29"/>
                    </a:lnTo>
                    <a:lnTo>
                      <a:pt x="3" y="29"/>
                    </a:lnTo>
                    <a:lnTo>
                      <a:pt x="1" y="30"/>
                    </a:lnTo>
                    <a:lnTo>
                      <a:pt x="0" y="32"/>
                    </a:lnTo>
                    <a:lnTo>
                      <a:pt x="4" y="32"/>
                    </a:lnTo>
                    <a:lnTo>
                      <a:pt x="10" y="32"/>
                    </a:lnTo>
                    <a:lnTo>
                      <a:pt x="17" y="31"/>
                    </a:lnTo>
                    <a:lnTo>
                      <a:pt x="19" y="32"/>
                    </a:lnTo>
                    <a:lnTo>
                      <a:pt x="22" y="33"/>
                    </a:lnTo>
                    <a:lnTo>
                      <a:pt x="17" y="32"/>
                    </a:lnTo>
                    <a:lnTo>
                      <a:pt x="6" y="33"/>
                    </a:lnTo>
                    <a:lnTo>
                      <a:pt x="10" y="34"/>
                    </a:lnTo>
                    <a:lnTo>
                      <a:pt x="12" y="35"/>
                    </a:lnTo>
                    <a:lnTo>
                      <a:pt x="14" y="37"/>
                    </a:lnTo>
                    <a:lnTo>
                      <a:pt x="12" y="35"/>
                    </a:lnTo>
                    <a:lnTo>
                      <a:pt x="9" y="35"/>
                    </a:lnTo>
                    <a:lnTo>
                      <a:pt x="6" y="35"/>
                    </a:lnTo>
                    <a:lnTo>
                      <a:pt x="12" y="37"/>
                    </a:lnTo>
                    <a:lnTo>
                      <a:pt x="18" y="38"/>
                    </a:lnTo>
                    <a:lnTo>
                      <a:pt x="23" y="40"/>
                    </a:lnTo>
                    <a:close/>
                    <a:moveTo>
                      <a:pt x="110" y="63"/>
                    </a:moveTo>
                    <a:lnTo>
                      <a:pt x="111" y="55"/>
                    </a:lnTo>
                    <a:lnTo>
                      <a:pt x="112" y="51"/>
                    </a:lnTo>
                    <a:lnTo>
                      <a:pt x="114" y="49"/>
                    </a:lnTo>
                    <a:lnTo>
                      <a:pt x="114" y="47"/>
                    </a:lnTo>
                    <a:lnTo>
                      <a:pt x="112" y="44"/>
                    </a:lnTo>
                    <a:lnTo>
                      <a:pt x="108" y="43"/>
                    </a:lnTo>
                    <a:lnTo>
                      <a:pt x="106" y="41"/>
                    </a:lnTo>
                    <a:lnTo>
                      <a:pt x="102" y="40"/>
                    </a:lnTo>
                    <a:lnTo>
                      <a:pt x="96" y="40"/>
                    </a:lnTo>
                    <a:lnTo>
                      <a:pt x="93" y="41"/>
                    </a:lnTo>
                    <a:lnTo>
                      <a:pt x="94" y="42"/>
                    </a:lnTo>
                    <a:lnTo>
                      <a:pt x="91" y="46"/>
                    </a:lnTo>
                    <a:lnTo>
                      <a:pt x="86" y="44"/>
                    </a:lnTo>
                    <a:lnTo>
                      <a:pt x="83" y="47"/>
                    </a:lnTo>
                    <a:lnTo>
                      <a:pt x="80" y="49"/>
                    </a:lnTo>
                    <a:lnTo>
                      <a:pt x="78" y="49"/>
                    </a:lnTo>
                    <a:lnTo>
                      <a:pt x="81" y="49"/>
                    </a:lnTo>
                    <a:lnTo>
                      <a:pt x="81" y="46"/>
                    </a:lnTo>
                    <a:lnTo>
                      <a:pt x="85" y="44"/>
                    </a:lnTo>
                    <a:lnTo>
                      <a:pt x="86" y="41"/>
                    </a:lnTo>
                    <a:lnTo>
                      <a:pt x="86" y="39"/>
                    </a:lnTo>
                    <a:lnTo>
                      <a:pt x="83" y="37"/>
                    </a:lnTo>
                    <a:lnTo>
                      <a:pt x="80" y="35"/>
                    </a:lnTo>
                    <a:lnTo>
                      <a:pt x="76" y="35"/>
                    </a:lnTo>
                    <a:lnTo>
                      <a:pt x="72" y="37"/>
                    </a:lnTo>
                    <a:lnTo>
                      <a:pt x="66" y="38"/>
                    </a:lnTo>
                    <a:lnTo>
                      <a:pt x="53" y="38"/>
                    </a:lnTo>
                    <a:lnTo>
                      <a:pt x="49" y="40"/>
                    </a:lnTo>
                    <a:lnTo>
                      <a:pt x="47" y="39"/>
                    </a:lnTo>
                    <a:lnTo>
                      <a:pt x="44" y="40"/>
                    </a:lnTo>
                    <a:lnTo>
                      <a:pt x="42" y="41"/>
                    </a:lnTo>
                    <a:lnTo>
                      <a:pt x="38" y="42"/>
                    </a:lnTo>
                    <a:lnTo>
                      <a:pt x="36" y="44"/>
                    </a:lnTo>
                    <a:lnTo>
                      <a:pt x="42" y="47"/>
                    </a:lnTo>
                    <a:lnTo>
                      <a:pt x="32" y="49"/>
                    </a:lnTo>
                    <a:lnTo>
                      <a:pt x="30" y="50"/>
                    </a:lnTo>
                    <a:lnTo>
                      <a:pt x="28" y="52"/>
                    </a:lnTo>
                    <a:lnTo>
                      <a:pt x="22" y="56"/>
                    </a:lnTo>
                    <a:lnTo>
                      <a:pt x="17" y="55"/>
                    </a:lnTo>
                    <a:lnTo>
                      <a:pt x="19" y="56"/>
                    </a:lnTo>
                    <a:lnTo>
                      <a:pt x="22" y="58"/>
                    </a:lnTo>
                    <a:lnTo>
                      <a:pt x="25" y="56"/>
                    </a:lnTo>
                    <a:lnTo>
                      <a:pt x="28" y="56"/>
                    </a:lnTo>
                    <a:lnTo>
                      <a:pt x="30" y="58"/>
                    </a:lnTo>
                    <a:lnTo>
                      <a:pt x="28" y="58"/>
                    </a:lnTo>
                    <a:lnTo>
                      <a:pt x="31" y="59"/>
                    </a:lnTo>
                    <a:lnTo>
                      <a:pt x="34" y="58"/>
                    </a:lnTo>
                    <a:lnTo>
                      <a:pt x="36" y="59"/>
                    </a:lnTo>
                    <a:lnTo>
                      <a:pt x="37" y="63"/>
                    </a:lnTo>
                    <a:lnTo>
                      <a:pt x="38" y="65"/>
                    </a:lnTo>
                    <a:lnTo>
                      <a:pt x="40" y="66"/>
                    </a:lnTo>
                    <a:lnTo>
                      <a:pt x="42" y="69"/>
                    </a:lnTo>
                    <a:lnTo>
                      <a:pt x="45" y="71"/>
                    </a:lnTo>
                    <a:lnTo>
                      <a:pt x="47" y="71"/>
                    </a:lnTo>
                    <a:lnTo>
                      <a:pt x="51" y="69"/>
                    </a:lnTo>
                    <a:lnTo>
                      <a:pt x="54" y="69"/>
                    </a:lnTo>
                    <a:lnTo>
                      <a:pt x="54" y="72"/>
                    </a:lnTo>
                    <a:lnTo>
                      <a:pt x="61" y="72"/>
                    </a:lnTo>
                    <a:lnTo>
                      <a:pt x="66" y="73"/>
                    </a:lnTo>
                    <a:lnTo>
                      <a:pt x="69" y="72"/>
                    </a:lnTo>
                    <a:lnTo>
                      <a:pt x="76" y="76"/>
                    </a:lnTo>
                    <a:lnTo>
                      <a:pt x="80" y="77"/>
                    </a:lnTo>
                    <a:lnTo>
                      <a:pt x="93" y="78"/>
                    </a:lnTo>
                    <a:lnTo>
                      <a:pt x="95" y="77"/>
                    </a:lnTo>
                    <a:lnTo>
                      <a:pt x="107" y="77"/>
                    </a:lnTo>
                    <a:lnTo>
                      <a:pt x="112" y="74"/>
                    </a:lnTo>
                    <a:lnTo>
                      <a:pt x="112" y="72"/>
                    </a:lnTo>
                    <a:lnTo>
                      <a:pt x="111" y="68"/>
                    </a:lnTo>
                    <a:lnTo>
                      <a:pt x="107" y="66"/>
                    </a:lnTo>
                    <a:lnTo>
                      <a:pt x="104" y="65"/>
                    </a:lnTo>
                    <a:lnTo>
                      <a:pt x="102" y="63"/>
                    </a:lnTo>
                    <a:lnTo>
                      <a:pt x="107" y="64"/>
                    </a:lnTo>
                    <a:lnTo>
                      <a:pt x="110" y="6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72" name="Freeform 138">
                <a:extLst>
                  <a:ext uri="{FF2B5EF4-FFF2-40B4-BE49-F238E27FC236}">
                    <a16:creationId xmlns:a16="http://schemas.microsoft.com/office/drawing/2014/main" id="{1538E19E-14B2-4956-B748-8AFA5C2EFE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6" y="1386"/>
                <a:ext cx="84" cy="44"/>
              </a:xfrm>
              <a:custGeom>
                <a:avLst/>
                <a:gdLst>
                  <a:gd name="T0" fmla="*/ 35 w 84"/>
                  <a:gd name="T1" fmla="*/ 5 h 44"/>
                  <a:gd name="T2" fmla="*/ 35 w 84"/>
                  <a:gd name="T3" fmla="*/ 4 h 44"/>
                  <a:gd name="T4" fmla="*/ 32 w 84"/>
                  <a:gd name="T5" fmla="*/ 2 h 44"/>
                  <a:gd name="T6" fmla="*/ 30 w 84"/>
                  <a:gd name="T7" fmla="*/ 4 h 44"/>
                  <a:gd name="T8" fmla="*/ 28 w 84"/>
                  <a:gd name="T9" fmla="*/ 6 h 44"/>
                  <a:gd name="T10" fmla="*/ 25 w 84"/>
                  <a:gd name="T11" fmla="*/ 6 h 44"/>
                  <a:gd name="T12" fmla="*/ 23 w 84"/>
                  <a:gd name="T13" fmla="*/ 9 h 44"/>
                  <a:gd name="T14" fmla="*/ 23 w 84"/>
                  <a:gd name="T15" fmla="*/ 12 h 44"/>
                  <a:gd name="T16" fmla="*/ 28 w 84"/>
                  <a:gd name="T17" fmla="*/ 14 h 44"/>
                  <a:gd name="T18" fmla="*/ 23 w 84"/>
                  <a:gd name="T19" fmla="*/ 12 h 44"/>
                  <a:gd name="T20" fmla="*/ 21 w 84"/>
                  <a:gd name="T21" fmla="*/ 14 h 44"/>
                  <a:gd name="T22" fmla="*/ 18 w 84"/>
                  <a:gd name="T23" fmla="*/ 16 h 44"/>
                  <a:gd name="T24" fmla="*/ 22 w 84"/>
                  <a:gd name="T25" fmla="*/ 19 h 44"/>
                  <a:gd name="T26" fmla="*/ 24 w 84"/>
                  <a:gd name="T27" fmla="*/ 21 h 44"/>
                  <a:gd name="T28" fmla="*/ 16 w 84"/>
                  <a:gd name="T29" fmla="*/ 19 h 44"/>
                  <a:gd name="T30" fmla="*/ 13 w 84"/>
                  <a:gd name="T31" fmla="*/ 22 h 44"/>
                  <a:gd name="T32" fmla="*/ 10 w 84"/>
                  <a:gd name="T33" fmla="*/ 27 h 44"/>
                  <a:gd name="T34" fmla="*/ 8 w 84"/>
                  <a:gd name="T35" fmla="*/ 30 h 44"/>
                  <a:gd name="T36" fmla="*/ 8 w 84"/>
                  <a:gd name="T37" fmla="*/ 33 h 44"/>
                  <a:gd name="T38" fmla="*/ 2 w 84"/>
                  <a:gd name="T39" fmla="*/ 39 h 44"/>
                  <a:gd name="T40" fmla="*/ 0 w 84"/>
                  <a:gd name="T41" fmla="*/ 42 h 44"/>
                  <a:gd name="T42" fmla="*/ 2 w 84"/>
                  <a:gd name="T43" fmla="*/ 44 h 44"/>
                  <a:gd name="T44" fmla="*/ 5 w 84"/>
                  <a:gd name="T45" fmla="*/ 44 h 44"/>
                  <a:gd name="T46" fmla="*/ 8 w 84"/>
                  <a:gd name="T47" fmla="*/ 44 h 44"/>
                  <a:gd name="T48" fmla="*/ 22 w 84"/>
                  <a:gd name="T49" fmla="*/ 40 h 44"/>
                  <a:gd name="T50" fmla="*/ 24 w 84"/>
                  <a:gd name="T51" fmla="*/ 38 h 44"/>
                  <a:gd name="T52" fmla="*/ 41 w 84"/>
                  <a:gd name="T53" fmla="*/ 36 h 44"/>
                  <a:gd name="T54" fmla="*/ 44 w 84"/>
                  <a:gd name="T55" fmla="*/ 36 h 44"/>
                  <a:gd name="T56" fmla="*/ 47 w 84"/>
                  <a:gd name="T57" fmla="*/ 38 h 44"/>
                  <a:gd name="T58" fmla="*/ 49 w 84"/>
                  <a:gd name="T59" fmla="*/ 35 h 44"/>
                  <a:gd name="T60" fmla="*/ 52 w 84"/>
                  <a:gd name="T61" fmla="*/ 36 h 44"/>
                  <a:gd name="T62" fmla="*/ 61 w 84"/>
                  <a:gd name="T63" fmla="*/ 35 h 44"/>
                  <a:gd name="T64" fmla="*/ 69 w 84"/>
                  <a:gd name="T65" fmla="*/ 33 h 44"/>
                  <a:gd name="T66" fmla="*/ 73 w 84"/>
                  <a:gd name="T67" fmla="*/ 33 h 44"/>
                  <a:gd name="T68" fmla="*/ 75 w 84"/>
                  <a:gd name="T69" fmla="*/ 33 h 44"/>
                  <a:gd name="T70" fmla="*/ 83 w 84"/>
                  <a:gd name="T71" fmla="*/ 27 h 44"/>
                  <a:gd name="T72" fmla="*/ 84 w 84"/>
                  <a:gd name="T73" fmla="*/ 25 h 44"/>
                  <a:gd name="T74" fmla="*/ 82 w 84"/>
                  <a:gd name="T75" fmla="*/ 19 h 44"/>
                  <a:gd name="T76" fmla="*/ 78 w 84"/>
                  <a:gd name="T77" fmla="*/ 17 h 44"/>
                  <a:gd name="T78" fmla="*/ 76 w 84"/>
                  <a:gd name="T79" fmla="*/ 17 h 44"/>
                  <a:gd name="T80" fmla="*/ 74 w 84"/>
                  <a:gd name="T81" fmla="*/ 19 h 44"/>
                  <a:gd name="T82" fmla="*/ 70 w 84"/>
                  <a:gd name="T83" fmla="*/ 14 h 44"/>
                  <a:gd name="T84" fmla="*/ 65 w 84"/>
                  <a:gd name="T85" fmla="*/ 12 h 44"/>
                  <a:gd name="T86" fmla="*/ 62 w 84"/>
                  <a:gd name="T87" fmla="*/ 9 h 44"/>
                  <a:gd name="T88" fmla="*/ 60 w 84"/>
                  <a:gd name="T89" fmla="*/ 8 h 44"/>
                  <a:gd name="T90" fmla="*/ 54 w 84"/>
                  <a:gd name="T91" fmla="*/ 9 h 44"/>
                  <a:gd name="T92" fmla="*/ 52 w 84"/>
                  <a:gd name="T93" fmla="*/ 12 h 44"/>
                  <a:gd name="T94" fmla="*/ 49 w 84"/>
                  <a:gd name="T95" fmla="*/ 12 h 44"/>
                  <a:gd name="T96" fmla="*/ 44 w 84"/>
                  <a:gd name="T97" fmla="*/ 16 h 44"/>
                  <a:gd name="T98" fmla="*/ 42 w 84"/>
                  <a:gd name="T99" fmla="*/ 16 h 44"/>
                  <a:gd name="T100" fmla="*/ 44 w 84"/>
                  <a:gd name="T101" fmla="*/ 14 h 44"/>
                  <a:gd name="T102" fmla="*/ 48 w 84"/>
                  <a:gd name="T103" fmla="*/ 6 h 44"/>
                  <a:gd name="T104" fmla="*/ 50 w 84"/>
                  <a:gd name="T105" fmla="*/ 4 h 44"/>
                  <a:gd name="T106" fmla="*/ 48 w 84"/>
                  <a:gd name="T107" fmla="*/ 1 h 44"/>
                  <a:gd name="T108" fmla="*/ 42 w 84"/>
                  <a:gd name="T109" fmla="*/ 0 h 44"/>
                  <a:gd name="T110" fmla="*/ 39 w 84"/>
                  <a:gd name="T111" fmla="*/ 0 h 44"/>
                  <a:gd name="T112" fmla="*/ 38 w 84"/>
                  <a:gd name="T113" fmla="*/ 4 h 44"/>
                  <a:gd name="T114" fmla="*/ 39 w 84"/>
                  <a:gd name="T115" fmla="*/ 6 h 44"/>
                  <a:gd name="T116" fmla="*/ 35 w 84"/>
                  <a:gd name="T117" fmla="*/ 5 h 44"/>
                  <a:gd name="T118" fmla="*/ 35 w 84"/>
                  <a:gd name="T119" fmla="*/ 5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4" h="44">
                    <a:moveTo>
                      <a:pt x="35" y="5"/>
                    </a:moveTo>
                    <a:lnTo>
                      <a:pt x="35" y="4"/>
                    </a:lnTo>
                    <a:lnTo>
                      <a:pt x="32" y="2"/>
                    </a:lnTo>
                    <a:lnTo>
                      <a:pt x="30" y="4"/>
                    </a:lnTo>
                    <a:lnTo>
                      <a:pt x="28" y="6"/>
                    </a:lnTo>
                    <a:lnTo>
                      <a:pt x="25" y="6"/>
                    </a:lnTo>
                    <a:lnTo>
                      <a:pt x="23" y="9"/>
                    </a:lnTo>
                    <a:lnTo>
                      <a:pt x="23" y="12"/>
                    </a:lnTo>
                    <a:lnTo>
                      <a:pt x="28" y="14"/>
                    </a:lnTo>
                    <a:lnTo>
                      <a:pt x="23" y="12"/>
                    </a:lnTo>
                    <a:lnTo>
                      <a:pt x="21" y="14"/>
                    </a:lnTo>
                    <a:lnTo>
                      <a:pt x="18" y="16"/>
                    </a:lnTo>
                    <a:lnTo>
                      <a:pt x="22" y="19"/>
                    </a:lnTo>
                    <a:lnTo>
                      <a:pt x="24" y="21"/>
                    </a:lnTo>
                    <a:lnTo>
                      <a:pt x="16" y="19"/>
                    </a:lnTo>
                    <a:lnTo>
                      <a:pt x="13" y="22"/>
                    </a:lnTo>
                    <a:lnTo>
                      <a:pt x="10" y="27"/>
                    </a:lnTo>
                    <a:lnTo>
                      <a:pt x="8" y="30"/>
                    </a:lnTo>
                    <a:lnTo>
                      <a:pt x="8" y="33"/>
                    </a:lnTo>
                    <a:lnTo>
                      <a:pt x="2" y="39"/>
                    </a:lnTo>
                    <a:lnTo>
                      <a:pt x="0" y="42"/>
                    </a:lnTo>
                    <a:lnTo>
                      <a:pt x="2" y="44"/>
                    </a:lnTo>
                    <a:lnTo>
                      <a:pt x="5" y="44"/>
                    </a:lnTo>
                    <a:lnTo>
                      <a:pt x="8" y="44"/>
                    </a:lnTo>
                    <a:lnTo>
                      <a:pt x="22" y="40"/>
                    </a:lnTo>
                    <a:lnTo>
                      <a:pt x="24" y="38"/>
                    </a:lnTo>
                    <a:lnTo>
                      <a:pt x="41" y="36"/>
                    </a:lnTo>
                    <a:lnTo>
                      <a:pt x="44" y="36"/>
                    </a:lnTo>
                    <a:lnTo>
                      <a:pt x="47" y="38"/>
                    </a:lnTo>
                    <a:lnTo>
                      <a:pt x="49" y="35"/>
                    </a:lnTo>
                    <a:lnTo>
                      <a:pt x="52" y="36"/>
                    </a:lnTo>
                    <a:lnTo>
                      <a:pt x="61" y="35"/>
                    </a:lnTo>
                    <a:lnTo>
                      <a:pt x="69" y="33"/>
                    </a:lnTo>
                    <a:lnTo>
                      <a:pt x="73" y="33"/>
                    </a:lnTo>
                    <a:lnTo>
                      <a:pt x="75" y="33"/>
                    </a:lnTo>
                    <a:lnTo>
                      <a:pt x="83" y="27"/>
                    </a:lnTo>
                    <a:lnTo>
                      <a:pt x="84" y="25"/>
                    </a:lnTo>
                    <a:lnTo>
                      <a:pt x="82" y="19"/>
                    </a:lnTo>
                    <a:lnTo>
                      <a:pt x="78" y="17"/>
                    </a:lnTo>
                    <a:lnTo>
                      <a:pt x="76" y="17"/>
                    </a:lnTo>
                    <a:lnTo>
                      <a:pt x="74" y="19"/>
                    </a:lnTo>
                    <a:lnTo>
                      <a:pt x="70" y="14"/>
                    </a:lnTo>
                    <a:lnTo>
                      <a:pt x="65" y="12"/>
                    </a:lnTo>
                    <a:lnTo>
                      <a:pt x="62" y="9"/>
                    </a:lnTo>
                    <a:lnTo>
                      <a:pt x="60" y="8"/>
                    </a:lnTo>
                    <a:lnTo>
                      <a:pt x="54" y="9"/>
                    </a:lnTo>
                    <a:lnTo>
                      <a:pt x="52" y="12"/>
                    </a:lnTo>
                    <a:lnTo>
                      <a:pt x="49" y="12"/>
                    </a:lnTo>
                    <a:lnTo>
                      <a:pt x="44" y="16"/>
                    </a:lnTo>
                    <a:lnTo>
                      <a:pt x="42" y="16"/>
                    </a:lnTo>
                    <a:lnTo>
                      <a:pt x="44" y="14"/>
                    </a:lnTo>
                    <a:lnTo>
                      <a:pt x="48" y="6"/>
                    </a:lnTo>
                    <a:lnTo>
                      <a:pt x="50" y="4"/>
                    </a:lnTo>
                    <a:lnTo>
                      <a:pt x="48" y="1"/>
                    </a:lnTo>
                    <a:lnTo>
                      <a:pt x="42" y="0"/>
                    </a:lnTo>
                    <a:lnTo>
                      <a:pt x="39" y="0"/>
                    </a:lnTo>
                    <a:lnTo>
                      <a:pt x="38" y="4"/>
                    </a:lnTo>
                    <a:lnTo>
                      <a:pt x="39" y="6"/>
                    </a:lnTo>
                    <a:lnTo>
                      <a:pt x="35" y="5"/>
                    </a:lnTo>
                    <a:lnTo>
                      <a:pt x="35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73" name="Freeform 139">
                <a:extLst>
                  <a:ext uri="{FF2B5EF4-FFF2-40B4-BE49-F238E27FC236}">
                    <a16:creationId xmlns:a16="http://schemas.microsoft.com/office/drawing/2014/main" id="{A6E02C0F-1C34-4001-AFF8-70EFE98A10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3" y="2811"/>
                <a:ext cx="3" cy="2"/>
              </a:xfrm>
              <a:custGeom>
                <a:avLst/>
                <a:gdLst>
                  <a:gd name="T0" fmla="*/ 2 w 3"/>
                  <a:gd name="T1" fmla="*/ 0 h 2"/>
                  <a:gd name="T2" fmla="*/ 0 w 3"/>
                  <a:gd name="T3" fmla="*/ 0 h 2"/>
                  <a:gd name="T4" fmla="*/ 0 w 3"/>
                  <a:gd name="T5" fmla="*/ 2 h 2"/>
                  <a:gd name="T6" fmla="*/ 3 w 3"/>
                  <a:gd name="T7" fmla="*/ 2 h 2"/>
                  <a:gd name="T8" fmla="*/ 2 w 3"/>
                  <a:gd name="T9" fmla="*/ 0 h 2"/>
                  <a:gd name="T10" fmla="*/ 2 w 3"/>
                  <a:gd name="T1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2">
                    <a:moveTo>
                      <a:pt x="2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74" name="Freeform 140">
                <a:extLst>
                  <a:ext uri="{FF2B5EF4-FFF2-40B4-BE49-F238E27FC236}">
                    <a16:creationId xmlns:a16="http://schemas.microsoft.com/office/drawing/2014/main" id="{1BEA7AFA-77BC-40AA-A4C4-9486CB5B1A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5" y="2805"/>
                <a:ext cx="8" cy="5"/>
              </a:xfrm>
              <a:custGeom>
                <a:avLst/>
                <a:gdLst>
                  <a:gd name="T0" fmla="*/ 2 w 8"/>
                  <a:gd name="T1" fmla="*/ 0 h 5"/>
                  <a:gd name="T2" fmla="*/ 1 w 8"/>
                  <a:gd name="T3" fmla="*/ 0 h 5"/>
                  <a:gd name="T4" fmla="*/ 0 w 8"/>
                  <a:gd name="T5" fmla="*/ 4 h 5"/>
                  <a:gd name="T6" fmla="*/ 5 w 8"/>
                  <a:gd name="T7" fmla="*/ 5 h 5"/>
                  <a:gd name="T8" fmla="*/ 8 w 8"/>
                  <a:gd name="T9" fmla="*/ 5 h 5"/>
                  <a:gd name="T10" fmla="*/ 5 w 8"/>
                  <a:gd name="T11" fmla="*/ 4 h 5"/>
                  <a:gd name="T12" fmla="*/ 2 w 8"/>
                  <a:gd name="T13" fmla="*/ 0 h 5"/>
                  <a:gd name="T14" fmla="*/ 2 w 8"/>
                  <a:gd name="T1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5">
                    <a:moveTo>
                      <a:pt x="2" y="0"/>
                    </a:moveTo>
                    <a:lnTo>
                      <a:pt x="1" y="0"/>
                    </a:lnTo>
                    <a:lnTo>
                      <a:pt x="0" y="4"/>
                    </a:lnTo>
                    <a:lnTo>
                      <a:pt x="5" y="5"/>
                    </a:lnTo>
                    <a:lnTo>
                      <a:pt x="8" y="5"/>
                    </a:lnTo>
                    <a:lnTo>
                      <a:pt x="5" y="4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75" name="Freeform 141">
                <a:extLst>
                  <a:ext uri="{FF2B5EF4-FFF2-40B4-BE49-F238E27FC236}">
                    <a16:creationId xmlns:a16="http://schemas.microsoft.com/office/drawing/2014/main" id="{C528BFC6-02B1-4708-B289-A9DC700DA3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5" y="2827"/>
                <a:ext cx="21" cy="21"/>
              </a:xfrm>
              <a:custGeom>
                <a:avLst/>
                <a:gdLst>
                  <a:gd name="T0" fmla="*/ 3 w 21"/>
                  <a:gd name="T1" fmla="*/ 2 h 21"/>
                  <a:gd name="T2" fmla="*/ 0 w 21"/>
                  <a:gd name="T3" fmla="*/ 5 h 21"/>
                  <a:gd name="T4" fmla="*/ 2 w 21"/>
                  <a:gd name="T5" fmla="*/ 8 h 21"/>
                  <a:gd name="T6" fmla="*/ 7 w 21"/>
                  <a:gd name="T7" fmla="*/ 8 h 21"/>
                  <a:gd name="T8" fmla="*/ 11 w 21"/>
                  <a:gd name="T9" fmla="*/ 13 h 21"/>
                  <a:gd name="T10" fmla="*/ 11 w 21"/>
                  <a:gd name="T11" fmla="*/ 16 h 21"/>
                  <a:gd name="T12" fmla="*/ 13 w 21"/>
                  <a:gd name="T13" fmla="*/ 18 h 21"/>
                  <a:gd name="T14" fmla="*/ 19 w 21"/>
                  <a:gd name="T15" fmla="*/ 20 h 21"/>
                  <a:gd name="T16" fmla="*/ 21 w 21"/>
                  <a:gd name="T17" fmla="*/ 21 h 21"/>
                  <a:gd name="T18" fmla="*/ 20 w 21"/>
                  <a:gd name="T19" fmla="*/ 18 h 21"/>
                  <a:gd name="T20" fmla="*/ 21 w 21"/>
                  <a:gd name="T21" fmla="*/ 16 h 21"/>
                  <a:gd name="T22" fmla="*/ 19 w 21"/>
                  <a:gd name="T23" fmla="*/ 13 h 21"/>
                  <a:gd name="T24" fmla="*/ 15 w 21"/>
                  <a:gd name="T25" fmla="*/ 12 h 21"/>
                  <a:gd name="T26" fmla="*/ 14 w 21"/>
                  <a:gd name="T27" fmla="*/ 9 h 21"/>
                  <a:gd name="T28" fmla="*/ 13 w 21"/>
                  <a:gd name="T29" fmla="*/ 4 h 21"/>
                  <a:gd name="T30" fmla="*/ 12 w 21"/>
                  <a:gd name="T31" fmla="*/ 1 h 21"/>
                  <a:gd name="T32" fmla="*/ 8 w 21"/>
                  <a:gd name="T33" fmla="*/ 0 h 21"/>
                  <a:gd name="T34" fmla="*/ 8 w 21"/>
                  <a:gd name="T35" fmla="*/ 2 h 21"/>
                  <a:gd name="T36" fmla="*/ 5 w 21"/>
                  <a:gd name="T37" fmla="*/ 0 h 21"/>
                  <a:gd name="T38" fmla="*/ 3 w 21"/>
                  <a:gd name="T39" fmla="*/ 1 h 21"/>
                  <a:gd name="T40" fmla="*/ 3 w 21"/>
                  <a:gd name="T41" fmla="*/ 2 h 21"/>
                  <a:gd name="T42" fmla="*/ 3 w 21"/>
                  <a:gd name="T43" fmla="*/ 2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1" h="21">
                    <a:moveTo>
                      <a:pt x="3" y="2"/>
                    </a:moveTo>
                    <a:lnTo>
                      <a:pt x="0" y="5"/>
                    </a:lnTo>
                    <a:lnTo>
                      <a:pt x="2" y="8"/>
                    </a:lnTo>
                    <a:lnTo>
                      <a:pt x="7" y="8"/>
                    </a:lnTo>
                    <a:lnTo>
                      <a:pt x="11" y="13"/>
                    </a:lnTo>
                    <a:lnTo>
                      <a:pt x="11" y="16"/>
                    </a:lnTo>
                    <a:lnTo>
                      <a:pt x="13" y="18"/>
                    </a:lnTo>
                    <a:lnTo>
                      <a:pt x="19" y="20"/>
                    </a:lnTo>
                    <a:lnTo>
                      <a:pt x="21" y="21"/>
                    </a:lnTo>
                    <a:lnTo>
                      <a:pt x="20" y="18"/>
                    </a:lnTo>
                    <a:lnTo>
                      <a:pt x="21" y="16"/>
                    </a:lnTo>
                    <a:lnTo>
                      <a:pt x="19" y="13"/>
                    </a:lnTo>
                    <a:lnTo>
                      <a:pt x="15" y="12"/>
                    </a:lnTo>
                    <a:lnTo>
                      <a:pt x="14" y="9"/>
                    </a:lnTo>
                    <a:lnTo>
                      <a:pt x="13" y="4"/>
                    </a:lnTo>
                    <a:lnTo>
                      <a:pt x="12" y="1"/>
                    </a:lnTo>
                    <a:lnTo>
                      <a:pt x="8" y="0"/>
                    </a:lnTo>
                    <a:lnTo>
                      <a:pt x="8" y="2"/>
                    </a:lnTo>
                    <a:lnTo>
                      <a:pt x="5" y="0"/>
                    </a:lnTo>
                    <a:lnTo>
                      <a:pt x="3" y="1"/>
                    </a:lnTo>
                    <a:lnTo>
                      <a:pt x="3" y="2"/>
                    </a:lnTo>
                    <a:lnTo>
                      <a:pt x="3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76" name="Freeform 142">
                <a:extLst>
                  <a:ext uri="{FF2B5EF4-FFF2-40B4-BE49-F238E27FC236}">
                    <a16:creationId xmlns:a16="http://schemas.microsoft.com/office/drawing/2014/main" id="{BB365291-F54E-447B-8C38-2FA1ABAA07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8" y="2887"/>
                <a:ext cx="125" cy="39"/>
              </a:xfrm>
              <a:custGeom>
                <a:avLst/>
                <a:gdLst>
                  <a:gd name="T0" fmla="*/ 47 w 125"/>
                  <a:gd name="T1" fmla="*/ 25 h 39"/>
                  <a:gd name="T2" fmla="*/ 47 w 125"/>
                  <a:gd name="T3" fmla="*/ 25 h 39"/>
                  <a:gd name="T4" fmla="*/ 52 w 125"/>
                  <a:gd name="T5" fmla="*/ 25 h 39"/>
                  <a:gd name="T6" fmla="*/ 69 w 125"/>
                  <a:gd name="T7" fmla="*/ 30 h 39"/>
                  <a:gd name="T8" fmla="*/ 81 w 125"/>
                  <a:gd name="T9" fmla="*/ 33 h 39"/>
                  <a:gd name="T10" fmla="*/ 87 w 125"/>
                  <a:gd name="T11" fmla="*/ 33 h 39"/>
                  <a:gd name="T12" fmla="*/ 100 w 125"/>
                  <a:gd name="T13" fmla="*/ 35 h 39"/>
                  <a:gd name="T14" fmla="*/ 105 w 125"/>
                  <a:gd name="T15" fmla="*/ 33 h 39"/>
                  <a:gd name="T16" fmla="*/ 111 w 125"/>
                  <a:gd name="T17" fmla="*/ 35 h 39"/>
                  <a:gd name="T18" fmla="*/ 119 w 125"/>
                  <a:gd name="T19" fmla="*/ 37 h 39"/>
                  <a:gd name="T20" fmla="*/ 123 w 125"/>
                  <a:gd name="T21" fmla="*/ 39 h 39"/>
                  <a:gd name="T22" fmla="*/ 123 w 125"/>
                  <a:gd name="T23" fmla="*/ 36 h 39"/>
                  <a:gd name="T24" fmla="*/ 124 w 125"/>
                  <a:gd name="T25" fmla="*/ 26 h 39"/>
                  <a:gd name="T26" fmla="*/ 113 w 125"/>
                  <a:gd name="T27" fmla="*/ 25 h 39"/>
                  <a:gd name="T28" fmla="*/ 108 w 125"/>
                  <a:gd name="T29" fmla="*/ 26 h 39"/>
                  <a:gd name="T30" fmla="*/ 102 w 125"/>
                  <a:gd name="T31" fmla="*/ 19 h 39"/>
                  <a:gd name="T32" fmla="*/ 99 w 125"/>
                  <a:gd name="T33" fmla="*/ 16 h 39"/>
                  <a:gd name="T34" fmla="*/ 94 w 125"/>
                  <a:gd name="T35" fmla="*/ 13 h 39"/>
                  <a:gd name="T36" fmla="*/ 84 w 125"/>
                  <a:gd name="T37" fmla="*/ 10 h 39"/>
                  <a:gd name="T38" fmla="*/ 79 w 125"/>
                  <a:gd name="T39" fmla="*/ 10 h 39"/>
                  <a:gd name="T40" fmla="*/ 74 w 125"/>
                  <a:gd name="T41" fmla="*/ 6 h 39"/>
                  <a:gd name="T42" fmla="*/ 71 w 125"/>
                  <a:gd name="T43" fmla="*/ 12 h 39"/>
                  <a:gd name="T44" fmla="*/ 65 w 125"/>
                  <a:gd name="T45" fmla="*/ 13 h 39"/>
                  <a:gd name="T46" fmla="*/ 57 w 125"/>
                  <a:gd name="T47" fmla="*/ 12 h 39"/>
                  <a:gd name="T48" fmla="*/ 50 w 125"/>
                  <a:gd name="T49" fmla="*/ 12 h 39"/>
                  <a:gd name="T50" fmla="*/ 45 w 125"/>
                  <a:gd name="T51" fmla="*/ 12 h 39"/>
                  <a:gd name="T52" fmla="*/ 39 w 125"/>
                  <a:gd name="T53" fmla="*/ 4 h 39"/>
                  <a:gd name="T54" fmla="*/ 34 w 125"/>
                  <a:gd name="T55" fmla="*/ 4 h 39"/>
                  <a:gd name="T56" fmla="*/ 28 w 125"/>
                  <a:gd name="T57" fmla="*/ 3 h 39"/>
                  <a:gd name="T58" fmla="*/ 22 w 125"/>
                  <a:gd name="T59" fmla="*/ 0 h 39"/>
                  <a:gd name="T60" fmla="*/ 19 w 125"/>
                  <a:gd name="T61" fmla="*/ 2 h 39"/>
                  <a:gd name="T62" fmla="*/ 8 w 125"/>
                  <a:gd name="T63" fmla="*/ 1 h 39"/>
                  <a:gd name="T64" fmla="*/ 5 w 125"/>
                  <a:gd name="T65" fmla="*/ 6 h 39"/>
                  <a:gd name="T66" fmla="*/ 2 w 125"/>
                  <a:gd name="T67" fmla="*/ 10 h 39"/>
                  <a:gd name="T68" fmla="*/ 2 w 125"/>
                  <a:gd name="T69" fmla="*/ 13 h 39"/>
                  <a:gd name="T70" fmla="*/ 10 w 125"/>
                  <a:gd name="T71" fmla="*/ 13 h 39"/>
                  <a:gd name="T72" fmla="*/ 16 w 125"/>
                  <a:gd name="T73" fmla="*/ 14 h 39"/>
                  <a:gd name="T74" fmla="*/ 27 w 125"/>
                  <a:gd name="T75" fmla="*/ 21 h 39"/>
                  <a:gd name="T76" fmla="*/ 34 w 125"/>
                  <a:gd name="T77" fmla="*/ 25 h 39"/>
                  <a:gd name="T78" fmla="*/ 43 w 125"/>
                  <a:gd name="T79" fmla="*/ 26 h 39"/>
                  <a:gd name="T80" fmla="*/ 47 w 125"/>
                  <a:gd name="T81" fmla="*/ 25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25" h="39">
                    <a:moveTo>
                      <a:pt x="47" y="25"/>
                    </a:moveTo>
                    <a:lnTo>
                      <a:pt x="47" y="25"/>
                    </a:lnTo>
                    <a:lnTo>
                      <a:pt x="50" y="26"/>
                    </a:lnTo>
                    <a:lnTo>
                      <a:pt x="47" y="25"/>
                    </a:lnTo>
                    <a:lnTo>
                      <a:pt x="50" y="25"/>
                    </a:lnTo>
                    <a:lnTo>
                      <a:pt x="52" y="25"/>
                    </a:lnTo>
                    <a:lnTo>
                      <a:pt x="63" y="27"/>
                    </a:lnTo>
                    <a:lnTo>
                      <a:pt x="69" y="30"/>
                    </a:lnTo>
                    <a:lnTo>
                      <a:pt x="74" y="31"/>
                    </a:lnTo>
                    <a:lnTo>
                      <a:pt x="81" y="33"/>
                    </a:lnTo>
                    <a:lnTo>
                      <a:pt x="84" y="33"/>
                    </a:lnTo>
                    <a:lnTo>
                      <a:pt x="87" y="33"/>
                    </a:lnTo>
                    <a:lnTo>
                      <a:pt x="93" y="33"/>
                    </a:lnTo>
                    <a:lnTo>
                      <a:pt x="100" y="35"/>
                    </a:lnTo>
                    <a:lnTo>
                      <a:pt x="103" y="34"/>
                    </a:lnTo>
                    <a:lnTo>
                      <a:pt x="105" y="33"/>
                    </a:lnTo>
                    <a:lnTo>
                      <a:pt x="108" y="33"/>
                    </a:lnTo>
                    <a:lnTo>
                      <a:pt x="111" y="35"/>
                    </a:lnTo>
                    <a:lnTo>
                      <a:pt x="116" y="36"/>
                    </a:lnTo>
                    <a:lnTo>
                      <a:pt x="119" y="37"/>
                    </a:lnTo>
                    <a:lnTo>
                      <a:pt x="122" y="37"/>
                    </a:lnTo>
                    <a:lnTo>
                      <a:pt x="123" y="39"/>
                    </a:lnTo>
                    <a:lnTo>
                      <a:pt x="125" y="39"/>
                    </a:lnTo>
                    <a:lnTo>
                      <a:pt x="123" y="36"/>
                    </a:lnTo>
                    <a:lnTo>
                      <a:pt x="123" y="34"/>
                    </a:lnTo>
                    <a:lnTo>
                      <a:pt x="124" y="26"/>
                    </a:lnTo>
                    <a:lnTo>
                      <a:pt x="119" y="23"/>
                    </a:lnTo>
                    <a:lnTo>
                      <a:pt x="113" y="25"/>
                    </a:lnTo>
                    <a:lnTo>
                      <a:pt x="111" y="25"/>
                    </a:lnTo>
                    <a:lnTo>
                      <a:pt x="108" y="26"/>
                    </a:lnTo>
                    <a:lnTo>
                      <a:pt x="100" y="22"/>
                    </a:lnTo>
                    <a:lnTo>
                      <a:pt x="102" y="19"/>
                    </a:lnTo>
                    <a:lnTo>
                      <a:pt x="99" y="18"/>
                    </a:lnTo>
                    <a:lnTo>
                      <a:pt x="99" y="16"/>
                    </a:lnTo>
                    <a:lnTo>
                      <a:pt x="96" y="13"/>
                    </a:lnTo>
                    <a:lnTo>
                      <a:pt x="94" y="13"/>
                    </a:lnTo>
                    <a:lnTo>
                      <a:pt x="88" y="12"/>
                    </a:lnTo>
                    <a:lnTo>
                      <a:pt x="84" y="10"/>
                    </a:lnTo>
                    <a:lnTo>
                      <a:pt x="80" y="11"/>
                    </a:lnTo>
                    <a:lnTo>
                      <a:pt x="79" y="10"/>
                    </a:lnTo>
                    <a:lnTo>
                      <a:pt x="78" y="8"/>
                    </a:lnTo>
                    <a:lnTo>
                      <a:pt x="74" y="6"/>
                    </a:lnTo>
                    <a:lnTo>
                      <a:pt x="72" y="8"/>
                    </a:lnTo>
                    <a:lnTo>
                      <a:pt x="71" y="12"/>
                    </a:lnTo>
                    <a:lnTo>
                      <a:pt x="69" y="14"/>
                    </a:lnTo>
                    <a:lnTo>
                      <a:pt x="65" y="13"/>
                    </a:lnTo>
                    <a:lnTo>
                      <a:pt x="63" y="13"/>
                    </a:lnTo>
                    <a:lnTo>
                      <a:pt x="57" y="12"/>
                    </a:lnTo>
                    <a:lnTo>
                      <a:pt x="52" y="13"/>
                    </a:lnTo>
                    <a:lnTo>
                      <a:pt x="50" y="12"/>
                    </a:lnTo>
                    <a:lnTo>
                      <a:pt x="48" y="12"/>
                    </a:lnTo>
                    <a:lnTo>
                      <a:pt x="45" y="12"/>
                    </a:lnTo>
                    <a:lnTo>
                      <a:pt x="42" y="6"/>
                    </a:lnTo>
                    <a:lnTo>
                      <a:pt x="39" y="4"/>
                    </a:lnTo>
                    <a:lnTo>
                      <a:pt x="36" y="5"/>
                    </a:lnTo>
                    <a:lnTo>
                      <a:pt x="34" y="4"/>
                    </a:lnTo>
                    <a:lnTo>
                      <a:pt x="31" y="4"/>
                    </a:lnTo>
                    <a:lnTo>
                      <a:pt x="28" y="3"/>
                    </a:lnTo>
                    <a:lnTo>
                      <a:pt x="26" y="0"/>
                    </a:lnTo>
                    <a:lnTo>
                      <a:pt x="22" y="0"/>
                    </a:lnTo>
                    <a:lnTo>
                      <a:pt x="22" y="2"/>
                    </a:lnTo>
                    <a:lnTo>
                      <a:pt x="19" y="2"/>
                    </a:lnTo>
                    <a:lnTo>
                      <a:pt x="13" y="1"/>
                    </a:lnTo>
                    <a:lnTo>
                      <a:pt x="8" y="1"/>
                    </a:lnTo>
                    <a:lnTo>
                      <a:pt x="5" y="4"/>
                    </a:lnTo>
                    <a:lnTo>
                      <a:pt x="5" y="6"/>
                    </a:lnTo>
                    <a:lnTo>
                      <a:pt x="3" y="8"/>
                    </a:lnTo>
                    <a:lnTo>
                      <a:pt x="2" y="10"/>
                    </a:lnTo>
                    <a:lnTo>
                      <a:pt x="0" y="10"/>
                    </a:lnTo>
                    <a:lnTo>
                      <a:pt x="2" y="13"/>
                    </a:lnTo>
                    <a:lnTo>
                      <a:pt x="8" y="12"/>
                    </a:lnTo>
                    <a:lnTo>
                      <a:pt x="10" y="13"/>
                    </a:lnTo>
                    <a:lnTo>
                      <a:pt x="13" y="14"/>
                    </a:lnTo>
                    <a:lnTo>
                      <a:pt x="16" y="14"/>
                    </a:lnTo>
                    <a:lnTo>
                      <a:pt x="14" y="20"/>
                    </a:lnTo>
                    <a:lnTo>
                      <a:pt x="27" y="21"/>
                    </a:lnTo>
                    <a:lnTo>
                      <a:pt x="30" y="22"/>
                    </a:lnTo>
                    <a:lnTo>
                      <a:pt x="34" y="25"/>
                    </a:lnTo>
                    <a:lnTo>
                      <a:pt x="37" y="26"/>
                    </a:lnTo>
                    <a:lnTo>
                      <a:pt x="43" y="26"/>
                    </a:lnTo>
                    <a:lnTo>
                      <a:pt x="45" y="23"/>
                    </a:lnTo>
                    <a:lnTo>
                      <a:pt x="47" y="25"/>
                    </a:lnTo>
                    <a:lnTo>
                      <a:pt x="47" y="2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77" name="Freeform 143">
                <a:extLst>
                  <a:ext uri="{FF2B5EF4-FFF2-40B4-BE49-F238E27FC236}">
                    <a16:creationId xmlns:a16="http://schemas.microsoft.com/office/drawing/2014/main" id="{A638923E-6B0A-40C1-9D35-A05BB33EB7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8" y="2840"/>
                <a:ext cx="9" cy="10"/>
              </a:xfrm>
              <a:custGeom>
                <a:avLst/>
                <a:gdLst>
                  <a:gd name="T0" fmla="*/ 1 w 9"/>
                  <a:gd name="T1" fmla="*/ 0 h 10"/>
                  <a:gd name="T2" fmla="*/ 0 w 9"/>
                  <a:gd name="T3" fmla="*/ 4 h 10"/>
                  <a:gd name="T4" fmla="*/ 0 w 9"/>
                  <a:gd name="T5" fmla="*/ 8 h 10"/>
                  <a:gd name="T6" fmla="*/ 4 w 9"/>
                  <a:gd name="T7" fmla="*/ 9 h 10"/>
                  <a:gd name="T8" fmla="*/ 6 w 9"/>
                  <a:gd name="T9" fmla="*/ 10 h 10"/>
                  <a:gd name="T10" fmla="*/ 8 w 9"/>
                  <a:gd name="T11" fmla="*/ 7 h 10"/>
                  <a:gd name="T12" fmla="*/ 9 w 9"/>
                  <a:gd name="T13" fmla="*/ 5 h 10"/>
                  <a:gd name="T14" fmla="*/ 7 w 9"/>
                  <a:gd name="T15" fmla="*/ 1 h 10"/>
                  <a:gd name="T16" fmla="*/ 3 w 9"/>
                  <a:gd name="T17" fmla="*/ 0 h 10"/>
                  <a:gd name="T18" fmla="*/ 1 w 9"/>
                  <a:gd name="T19" fmla="*/ 0 h 10"/>
                  <a:gd name="T20" fmla="*/ 1 w 9"/>
                  <a:gd name="T21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9" h="10">
                    <a:moveTo>
                      <a:pt x="1" y="0"/>
                    </a:moveTo>
                    <a:lnTo>
                      <a:pt x="0" y="4"/>
                    </a:lnTo>
                    <a:lnTo>
                      <a:pt x="0" y="8"/>
                    </a:lnTo>
                    <a:lnTo>
                      <a:pt x="4" y="9"/>
                    </a:lnTo>
                    <a:lnTo>
                      <a:pt x="6" y="10"/>
                    </a:lnTo>
                    <a:lnTo>
                      <a:pt x="8" y="7"/>
                    </a:lnTo>
                    <a:lnTo>
                      <a:pt x="9" y="5"/>
                    </a:lnTo>
                    <a:lnTo>
                      <a:pt x="7" y="1"/>
                    </a:lnTo>
                    <a:lnTo>
                      <a:pt x="3" y="0"/>
                    </a:lnTo>
                    <a:lnTo>
                      <a:pt x="1" y="0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78" name="Freeform 144">
                <a:extLst>
                  <a:ext uri="{FF2B5EF4-FFF2-40B4-BE49-F238E27FC236}">
                    <a16:creationId xmlns:a16="http://schemas.microsoft.com/office/drawing/2014/main" id="{090B5FD0-6E8B-4E3F-9C67-334CD9E3FD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2" y="2528"/>
                <a:ext cx="33" cy="26"/>
              </a:xfrm>
              <a:custGeom>
                <a:avLst/>
                <a:gdLst>
                  <a:gd name="T0" fmla="*/ 21 w 33"/>
                  <a:gd name="T1" fmla="*/ 0 h 26"/>
                  <a:gd name="T2" fmla="*/ 21 w 33"/>
                  <a:gd name="T3" fmla="*/ 1 h 26"/>
                  <a:gd name="T4" fmla="*/ 19 w 33"/>
                  <a:gd name="T5" fmla="*/ 2 h 26"/>
                  <a:gd name="T6" fmla="*/ 18 w 33"/>
                  <a:gd name="T7" fmla="*/ 1 h 26"/>
                  <a:gd name="T8" fmla="*/ 15 w 33"/>
                  <a:gd name="T9" fmla="*/ 0 h 26"/>
                  <a:gd name="T10" fmla="*/ 12 w 33"/>
                  <a:gd name="T11" fmla="*/ 2 h 26"/>
                  <a:gd name="T12" fmla="*/ 9 w 33"/>
                  <a:gd name="T13" fmla="*/ 2 h 26"/>
                  <a:gd name="T14" fmla="*/ 9 w 33"/>
                  <a:gd name="T15" fmla="*/ 4 h 26"/>
                  <a:gd name="T16" fmla="*/ 6 w 33"/>
                  <a:gd name="T17" fmla="*/ 5 h 26"/>
                  <a:gd name="T18" fmla="*/ 0 w 33"/>
                  <a:gd name="T19" fmla="*/ 11 h 26"/>
                  <a:gd name="T20" fmla="*/ 0 w 33"/>
                  <a:gd name="T21" fmla="*/ 16 h 26"/>
                  <a:gd name="T22" fmla="*/ 1 w 33"/>
                  <a:gd name="T23" fmla="*/ 19 h 26"/>
                  <a:gd name="T24" fmla="*/ 1 w 33"/>
                  <a:gd name="T25" fmla="*/ 21 h 26"/>
                  <a:gd name="T26" fmla="*/ 2 w 33"/>
                  <a:gd name="T27" fmla="*/ 21 h 26"/>
                  <a:gd name="T28" fmla="*/ 6 w 33"/>
                  <a:gd name="T29" fmla="*/ 23 h 26"/>
                  <a:gd name="T30" fmla="*/ 7 w 33"/>
                  <a:gd name="T31" fmla="*/ 23 h 26"/>
                  <a:gd name="T32" fmla="*/ 12 w 33"/>
                  <a:gd name="T33" fmla="*/ 25 h 26"/>
                  <a:gd name="T34" fmla="*/ 12 w 33"/>
                  <a:gd name="T35" fmla="*/ 26 h 26"/>
                  <a:gd name="T36" fmla="*/ 15 w 33"/>
                  <a:gd name="T37" fmla="*/ 26 h 26"/>
                  <a:gd name="T38" fmla="*/ 16 w 33"/>
                  <a:gd name="T39" fmla="*/ 23 h 26"/>
                  <a:gd name="T40" fmla="*/ 19 w 33"/>
                  <a:gd name="T41" fmla="*/ 22 h 26"/>
                  <a:gd name="T42" fmla="*/ 19 w 33"/>
                  <a:gd name="T43" fmla="*/ 23 h 26"/>
                  <a:gd name="T44" fmla="*/ 21 w 33"/>
                  <a:gd name="T45" fmla="*/ 20 h 26"/>
                  <a:gd name="T46" fmla="*/ 26 w 33"/>
                  <a:gd name="T47" fmla="*/ 18 h 26"/>
                  <a:gd name="T48" fmla="*/ 26 w 33"/>
                  <a:gd name="T49" fmla="*/ 12 h 26"/>
                  <a:gd name="T50" fmla="*/ 27 w 33"/>
                  <a:gd name="T51" fmla="*/ 12 h 26"/>
                  <a:gd name="T52" fmla="*/ 28 w 33"/>
                  <a:gd name="T53" fmla="*/ 9 h 26"/>
                  <a:gd name="T54" fmla="*/ 30 w 33"/>
                  <a:gd name="T55" fmla="*/ 6 h 26"/>
                  <a:gd name="T56" fmla="*/ 33 w 33"/>
                  <a:gd name="T57" fmla="*/ 5 h 26"/>
                  <a:gd name="T58" fmla="*/ 33 w 33"/>
                  <a:gd name="T59" fmla="*/ 3 h 26"/>
                  <a:gd name="T60" fmla="*/ 32 w 33"/>
                  <a:gd name="T61" fmla="*/ 0 h 26"/>
                  <a:gd name="T62" fmla="*/ 25 w 33"/>
                  <a:gd name="T63" fmla="*/ 0 h 26"/>
                  <a:gd name="T64" fmla="*/ 25 w 33"/>
                  <a:gd name="T65" fmla="*/ 2 h 26"/>
                  <a:gd name="T66" fmla="*/ 24 w 33"/>
                  <a:gd name="T67" fmla="*/ 0 h 26"/>
                  <a:gd name="T68" fmla="*/ 23 w 33"/>
                  <a:gd name="T69" fmla="*/ 0 h 26"/>
                  <a:gd name="T70" fmla="*/ 21 w 33"/>
                  <a:gd name="T71" fmla="*/ 0 h 26"/>
                  <a:gd name="T72" fmla="*/ 21 w 33"/>
                  <a:gd name="T73" fmla="*/ 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33" h="26">
                    <a:moveTo>
                      <a:pt x="21" y="0"/>
                    </a:moveTo>
                    <a:lnTo>
                      <a:pt x="21" y="1"/>
                    </a:lnTo>
                    <a:lnTo>
                      <a:pt x="19" y="2"/>
                    </a:lnTo>
                    <a:lnTo>
                      <a:pt x="18" y="1"/>
                    </a:lnTo>
                    <a:lnTo>
                      <a:pt x="15" y="0"/>
                    </a:lnTo>
                    <a:lnTo>
                      <a:pt x="12" y="2"/>
                    </a:lnTo>
                    <a:lnTo>
                      <a:pt x="9" y="2"/>
                    </a:lnTo>
                    <a:lnTo>
                      <a:pt x="9" y="4"/>
                    </a:lnTo>
                    <a:lnTo>
                      <a:pt x="6" y="5"/>
                    </a:lnTo>
                    <a:lnTo>
                      <a:pt x="0" y="11"/>
                    </a:lnTo>
                    <a:lnTo>
                      <a:pt x="0" y="16"/>
                    </a:lnTo>
                    <a:lnTo>
                      <a:pt x="1" y="19"/>
                    </a:lnTo>
                    <a:lnTo>
                      <a:pt x="1" y="21"/>
                    </a:lnTo>
                    <a:lnTo>
                      <a:pt x="2" y="21"/>
                    </a:lnTo>
                    <a:lnTo>
                      <a:pt x="6" y="23"/>
                    </a:lnTo>
                    <a:lnTo>
                      <a:pt x="7" y="23"/>
                    </a:lnTo>
                    <a:lnTo>
                      <a:pt x="12" y="25"/>
                    </a:lnTo>
                    <a:lnTo>
                      <a:pt x="12" y="26"/>
                    </a:lnTo>
                    <a:lnTo>
                      <a:pt x="15" y="26"/>
                    </a:lnTo>
                    <a:lnTo>
                      <a:pt x="16" y="23"/>
                    </a:lnTo>
                    <a:lnTo>
                      <a:pt x="19" y="22"/>
                    </a:lnTo>
                    <a:lnTo>
                      <a:pt x="19" y="23"/>
                    </a:lnTo>
                    <a:lnTo>
                      <a:pt x="21" y="20"/>
                    </a:lnTo>
                    <a:lnTo>
                      <a:pt x="26" y="18"/>
                    </a:lnTo>
                    <a:lnTo>
                      <a:pt x="26" y="12"/>
                    </a:lnTo>
                    <a:lnTo>
                      <a:pt x="27" y="12"/>
                    </a:lnTo>
                    <a:lnTo>
                      <a:pt x="28" y="9"/>
                    </a:lnTo>
                    <a:lnTo>
                      <a:pt x="30" y="6"/>
                    </a:lnTo>
                    <a:lnTo>
                      <a:pt x="33" y="5"/>
                    </a:lnTo>
                    <a:lnTo>
                      <a:pt x="33" y="3"/>
                    </a:lnTo>
                    <a:lnTo>
                      <a:pt x="32" y="0"/>
                    </a:lnTo>
                    <a:lnTo>
                      <a:pt x="25" y="0"/>
                    </a:lnTo>
                    <a:lnTo>
                      <a:pt x="25" y="2"/>
                    </a:lnTo>
                    <a:lnTo>
                      <a:pt x="24" y="0"/>
                    </a:lnTo>
                    <a:lnTo>
                      <a:pt x="23" y="0"/>
                    </a:lnTo>
                    <a:lnTo>
                      <a:pt x="21" y="0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79" name="Freeform 145">
                <a:extLst>
                  <a:ext uri="{FF2B5EF4-FFF2-40B4-BE49-F238E27FC236}">
                    <a16:creationId xmlns:a16="http://schemas.microsoft.com/office/drawing/2014/main" id="{DD8B2CA6-5104-430C-AB4C-BF5D80B81E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31" y="3164"/>
                <a:ext cx="4" cy="8"/>
              </a:xfrm>
              <a:custGeom>
                <a:avLst/>
                <a:gdLst>
                  <a:gd name="T0" fmla="*/ 4 w 4"/>
                  <a:gd name="T1" fmla="*/ 8 h 8"/>
                  <a:gd name="T2" fmla="*/ 2 w 4"/>
                  <a:gd name="T3" fmla="*/ 2 h 8"/>
                  <a:gd name="T4" fmla="*/ 0 w 4"/>
                  <a:gd name="T5" fmla="*/ 0 h 8"/>
                  <a:gd name="T6" fmla="*/ 1 w 4"/>
                  <a:gd name="T7" fmla="*/ 2 h 8"/>
                  <a:gd name="T8" fmla="*/ 4 w 4"/>
                  <a:gd name="T9" fmla="*/ 8 h 8"/>
                  <a:gd name="T10" fmla="*/ 4 w 4"/>
                  <a:gd name="T11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8">
                    <a:moveTo>
                      <a:pt x="4" y="8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1" y="2"/>
                    </a:lnTo>
                    <a:lnTo>
                      <a:pt x="4" y="8"/>
                    </a:lnTo>
                    <a:lnTo>
                      <a:pt x="4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80" name="Freeform 146">
                <a:extLst>
                  <a:ext uri="{FF2B5EF4-FFF2-40B4-BE49-F238E27FC236}">
                    <a16:creationId xmlns:a16="http://schemas.microsoft.com/office/drawing/2014/main" id="{AF530607-F41F-43FE-AA33-0D68E0815B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52" y="2916"/>
                <a:ext cx="17" cy="11"/>
              </a:xfrm>
              <a:custGeom>
                <a:avLst/>
                <a:gdLst>
                  <a:gd name="T0" fmla="*/ 0 w 17"/>
                  <a:gd name="T1" fmla="*/ 1 h 11"/>
                  <a:gd name="T2" fmla="*/ 0 w 17"/>
                  <a:gd name="T3" fmla="*/ 4 h 11"/>
                  <a:gd name="T4" fmla="*/ 6 w 17"/>
                  <a:gd name="T5" fmla="*/ 6 h 11"/>
                  <a:gd name="T6" fmla="*/ 8 w 17"/>
                  <a:gd name="T7" fmla="*/ 8 h 11"/>
                  <a:gd name="T8" fmla="*/ 9 w 17"/>
                  <a:gd name="T9" fmla="*/ 11 h 11"/>
                  <a:gd name="T10" fmla="*/ 10 w 17"/>
                  <a:gd name="T11" fmla="*/ 11 h 11"/>
                  <a:gd name="T12" fmla="*/ 12 w 17"/>
                  <a:gd name="T13" fmla="*/ 8 h 11"/>
                  <a:gd name="T14" fmla="*/ 17 w 17"/>
                  <a:gd name="T15" fmla="*/ 6 h 11"/>
                  <a:gd name="T16" fmla="*/ 15 w 17"/>
                  <a:gd name="T17" fmla="*/ 2 h 11"/>
                  <a:gd name="T18" fmla="*/ 13 w 17"/>
                  <a:gd name="T19" fmla="*/ 1 h 11"/>
                  <a:gd name="T20" fmla="*/ 10 w 17"/>
                  <a:gd name="T21" fmla="*/ 0 h 11"/>
                  <a:gd name="T22" fmla="*/ 7 w 17"/>
                  <a:gd name="T23" fmla="*/ 2 h 11"/>
                  <a:gd name="T24" fmla="*/ 0 w 17"/>
                  <a:gd name="T25" fmla="*/ 1 h 11"/>
                  <a:gd name="T26" fmla="*/ 0 w 17"/>
                  <a:gd name="T27" fmla="*/ 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7" h="11">
                    <a:moveTo>
                      <a:pt x="0" y="1"/>
                    </a:moveTo>
                    <a:lnTo>
                      <a:pt x="0" y="4"/>
                    </a:lnTo>
                    <a:lnTo>
                      <a:pt x="6" y="6"/>
                    </a:lnTo>
                    <a:lnTo>
                      <a:pt x="8" y="8"/>
                    </a:lnTo>
                    <a:lnTo>
                      <a:pt x="9" y="11"/>
                    </a:lnTo>
                    <a:lnTo>
                      <a:pt x="10" y="11"/>
                    </a:lnTo>
                    <a:lnTo>
                      <a:pt x="12" y="8"/>
                    </a:lnTo>
                    <a:lnTo>
                      <a:pt x="17" y="6"/>
                    </a:lnTo>
                    <a:lnTo>
                      <a:pt x="15" y="2"/>
                    </a:lnTo>
                    <a:lnTo>
                      <a:pt x="13" y="1"/>
                    </a:lnTo>
                    <a:lnTo>
                      <a:pt x="10" y="0"/>
                    </a:lnTo>
                    <a:lnTo>
                      <a:pt x="7" y="2"/>
                    </a:lnTo>
                    <a:lnTo>
                      <a:pt x="0" y="1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81" name="Freeform 147">
                <a:extLst>
                  <a:ext uri="{FF2B5EF4-FFF2-40B4-BE49-F238E27FC236}">
                    <a16:creationId xmlns:a16="http://schemas.microsoft.com/office/drawing/2014/main" id="{568E6465-FE16-457D-A86A-2CC5FE74F6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2" y="2918"/>
                <a:ext cx="11" cy="9"/>
              </a:xfrm>
              <a:custGeom>
                <a:avLst/>
                <a:gdLst>
                  <a:gd name="T0" fmla="*/ 5 w 11"/>
                  <a:gd name="T1" fmla="*/ 0 h 9"/>
                  <a:gd name="T2" fmla="*/ 3 w 11"/>
                  <a:gd name="T3" fmla="*/ 3 h 9"/>
                  <a:gd name="T4" fmla="*/ 2 w 11"/>
                  <a:gd name="T5" fmla="*/ 5 h 9"/>
                  <a:gd name="T6" fmla="*/ 2 w 11"/>
                  <a:gd name="T7" fmla="*/ 8 h 9"/>
                  <a:gd name="T8" fmla="*/ 0 w 11"/>
                  <a:gd name="T9" fmla="*/ 7 h 9"/>
                  <a:gd name="T10" fmla="*/ 2 w 11"/>
                  <a:gd name="T11" fmla="*/ 9 h 9"/>
                  <a:gd name="T12" fmla="*/ 5 w 11"/>
                  <a:gd name="T13" fmla="*/ 9 h 9"/>
                  <a:gd name="T14" fmla="*/ 7 w 11"/>
                  <a:gd name="T15" fmla="*/ 8 h 9"/>
                  <a:gd name="T16" fmla="*/ 10 w 11"/>
                  <a:gd name="T17" fmla="*/ 6 h 9"/>
                  <a:gd name="T18" fmla="*/ 11 w 11"/>
                  <a:gd name="T19" fmla="*/ 4 h 9"/>
                  <a:gd name="T20" fmla="*/ 9 w 11"/>
                  <a:gd name="T21" fmla="*/ 0 h 9"/>
                  <a:gd name="T22" fmla="*/ 5 w 11"/>
                  <a:gd name="T23" fmla="*/ 0 h 9"/>
                  <a:gd name="T24" fmla="*/ 5 w 11"/>
                  <a:gd name="T25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" h="9">
                    <a:moveTo>
                      <a:pt x="5" y="0"/>
                    </a:moveTo>
                    <a:lnTo>
                      <a:pt x="3" y="3"/>
                    </a:lnTo>
                    <a:lnTo>
                      <a:pt x="2" y="5"/>
                    </a:lnTo>
                    <a:lnTo>
                      <a:pt x="2" y="8"/>
                    </a:lnTo>
                    <a:lnTo>
                      <a:pt x="0" y="7"/>
                    </a:lnTo>
                    <a:lnTo>
                      <a:pt x="2" y="9"/>
                    </a:lnTo>
                    <a:lnTo>
                      <a:pt x="5" y="9"/>
                    </a:lnTo>
                    <a:lnTo>
                      <a:pt x="7" y="8"/>
                    </a:lnTo>
                    <a:lnTo>
                      <a:pt x="10" y="6"/>
                    </a:lnTo>
                    <a:lnTo>
                      <a:pt x="11" y="4"/>
                    </a:lnTo>
                    <a:lnTo>
                      <a:pt x="9" y="0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82" name="Freeform 148">
                <a:extLst>
                  <a:ext uri="{FF2B5EF4-FFF2-40B4-BE49-F238E27FC236}">
                    <a16:creationId xmlns:a16="http://schemas.microsoft.com/office/drawing/2014/main" id="{6E6DC5FE-FE8E-42AF-A128-4E436798DC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84" y="2917"/>
                <a:ext cx="32" cy="14"/>
              </a:xfrm>
              <a:custGeom>
                <a:avLst/>
                <a:gdLst>
                  <a:gd name="T0" fmla="*/ 15 w 32"/>
                  <a:gd name="T1" fmla="*/ 12 h 14"/>
                  <a:gd name="T2" fmla="*/ 20 w 32"/>
                  <a:gd name="T3" fmla="*/ 8 h 14"/>
                  <a:gd name="T4" fmla="*/ 24 w 32"/>
                  <a:gd name="T5" fmla="*/ 10 h 14"/>
                  <a:gd name="T6" fmla="*/ 26 w 32"/>
                  <a:gd name="T7" fmla="*/ 9 h 14"/>
                  <a:gd name="T8" fmla="*/ 28 w 32"/>
                  <a:gd name="T9" fmla="*/ 10 h 14"/>
                  <a:gd name="T10" fmla="*/ 32 w 32"/>
                  <a:gd name="T11" fmla="*/ 9 h 14"/>
                  <a:gd name="T12" fmla="*/ 31 w 32"/>
                  <a:gd name="T13" fmla="*/ 4 h 14"/>
                  <a:gd name="T14" fmla="*/ 27 w 32"/>
                  <a:gd name="T15" fmla="*/ 3 h 14"/>
                  <a:gd name="T16" fmla="*/ 26 w 32"/>
                  <a:gd name="T17" fmla="*/ 5 h 14"/>
                  <a:gd name="T18" fmla="*/ 26 w 32"/>
                  <a:gd name="T19" fmla="*/ 3 h 14"/>
                  <a:gd name="T20" fmla="*/ 23 w 32"/>
                  <a:gd name="T21" fmla="*/ 1 h 14"/>
                  <a:gd name="T22" fmla="*/ 20 w 32"/>
                  <a:gd name="T23" fmla="*/ 4 h 14"/>
                  <a:gd name="T24" fmla="*/ 19 w 32"/>
                  <a:gd name="T25" fmla="*/ 0 h 14"/>
                  <a:gd name="T26" fmla="*/ 16 w 32"/>
                  <a:gd name="T27" fmla="*/ 0 h 14"/>
                  <a:gd name="T28" fmla="*/ 14 w 32"/>
                  <a:gd name="T29" fmla="*/ 0 h 14"/>
                  <a:gd name="T30" fmla="*/ 14 w 32"/>
                  <a:gd name="T31" fmla="*/ 4 h 14"/>
                  <a:gd name="T32" fmla="*/ 19 w 32"/>
                  <a:gd name="T33" fmla="*/ 6 h 14"/>
                  <a:gd name="T34" fmla="*/ 17 w 32"/>
                  <a:gd name="T35" fmla="*/ 8 h 14"/>
                  <a:gd name="T36" fmla="*/ 14 w 32"/>
                  <a:gd name="T37" fmla="*/ 8 h 14"/>
                  <a:gd name="T38" fmla="*/ 11 w 32"/>
                  <a:gd name="T39" fmla="*/ 6 h 14"/>
                  <a:gd name="T40" fmla="*/ 6 w 32"/>
                  <a:gd name="T41" fmla="*/ 4 h 14"/>
                  <a:gd name="T42" fmla="*/ 1 w 32"/>
                  <a:gd name="T43" fmla="*/ 6 h 14"/>
                  <a:gd name="T44" fmla="*/ 0 w 32"/>
                  <a:gd name="T45" fmla="*/ 10 h 14"/>
                  <a:gd name="T46" fmla="*/ 2 w 32"/>
                  <a:gd name="T47" fmla="*/ 13 h 14"/>
                  <a:gd name="T48" fmla="*/ 5 w 32"/>
                  <a:gd name="T49" fmla="*/ 14 h 14"/>
                  <a:gd name="T50" fmla="*/ 10 w 32"/>
                  <a:gd name="T51" fmla="*/ 13 h 14"/>
                  <a:gd name="T52" fmla="*/ 12 w 32"/>
                  <a:gd name="T53" fmla="*/ 12 h 14"/>
                  <a:gd name="T54" fmla="*/ 15 w 32"/>
                  <a:gd name="T55" fmla="*/ 12 h 14"/>
                  <a:gd name="T56" fmla="*/ 15 w 32"/>
                  <a:gd name="T57" fmla="*/ 12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2" h="14">
                    <a:moveTo>
                      <a:pt x="15" y="12"/>
                    </a:moveTo>
                    <a:lnTo>
                      <a:pt x="20" y="8"/>
                    </a:lnTo>
                    <a:lnTo>
                      <a:pt x="24" y="10"/>
                    </a:lnTo>
                    <a:lnTo>
                      <a:pt x="26" y="9"/>
                    </a:lnTo>
                    <a:lnTo>
                      <a:pt x="28" y="10"/>
                    </a:lnTo>
                    <a:lnTo>
                      <a:pt x="32" y="9"/>
                    </a:lnTo>
                    <a:lnTo>
                      <a:pt x="31" y="4"/>
                    </a:lnTo>
                    <a:lnTo>
                      <a:pt x="27" y="3"/>
                    </a:lnTo>
                    <a:lnTo>
                      <a:pt x="26" y="5"/>
                    </a:lnTo>
                    <a:lnTo>
                      <a:pt x="26" y="3"/>
                    </a:lnTo>
                    <a:lnTo>
                      <a:pt x="23" y="1"/>
                    </a:lnTo>
                    <a:lnTo>
                      <a:pt x="20" y="4"/>
                    </a:lnTo>
                    <a:lnTo>
                      <a:pt x="19" y="0"/>
                    </a:lnTo>
                    <a:lnTo>
                      <a:pt x="16" y="0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9" y="6"/>
                    </a:lnTo>
                    <a:lnTo>
                      <a:pt x="17" y="8"/>
                    </a:lnTo>
                    <a:lnTo>
                      <a:pt x="14" y="8"/>
                    </a:lnTo>
                    <a:lnTo>
                      <a:pt x="11" y="6"/>
                    </a:lnTo>
                    <a:lnTo>
                      <a:pt x="6" y="4"/>
                    </a:lnTo>
                    <a:lnTo>
                      <a:pt x="1" y="6"/>
                    </a:lnTo>
                    <a:lnTo>
                      <a:pt x="0" y="10"/>
                    </a:lnTo>
                    <a:lnTo>
                      <a:pt x="2" y="13"/>
                    </a:lnTo>
                    <a:lnTo>
                      <a:pt x="5" y="14"/>
                    </a:lnTo>
                    <a:lnTo>
                      <a:pt x="10" y="13"/>
                    </a:lnTo>
                    <a:lnTo>
                      <a:pt x="12" y="12"/>
                    </a:lnTo>
                    <a:lnTo>
                      <a:pt x="15" y="12"/>
                    </a:lnTo>
                    <a:lnTo>
                      <a:pt x="15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83" name="Freeform 149">
                <a:extLst>
                  <a:ext uri="{FF2B5EF4-FFF2-40B4-BE49-F238E27FC236}">
                    <a16:creationId xmlns:a16="http://schemas.microsoft.com/office/drawing/2014/main" id="{93FE7876-F7CB-42E4-AF9E-224107ED4C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0" y="2650"/>
                <a:ext cx="34" cy="41"/>
              </a:xfrm>
              <a:custGeom>
                <a:avLst/>
                <a:gdLst>
                  <a:gd name="T0" fmla="*/ 21 w 34"/>
                  <a:gd name="T1" fmla="*/ 23 h 41"/>
                  <a:gd name="T2" fmla="*/ 21 w 34"/>
                  <a:gd name="T3" fmla="*/ 19 h 41"/>
                  <a:gd name="T4" fmla="*/ 22 w 34"/>
                  <a:gd name="T5" fmla="*/ 18 h 41"/>
                  <a:gd name="T6" fmla="*/ 26 w 34"/>
                  <a:gd name="T7" fmla="*/ 18 h 41"/>
                  <a:gd name="T8" fmla="*/ 28 w 34"/>
                  <a:gd name="T9" fmla="*/ 15 h 41"/>
                  <a:gd name="T10" fmla="*/ 30 w 34"/>
                  <a:gd name="T11" fmla="*/ 14 h 41"/>
                  <a:gd name="T12" fmla="*/ 31 w 34"/>
                  <a:gd name="T13" fmla="*/ 14 h 41"/>
                  <a:gd name="T14" fmla="*/ 34 w 34"/>
                  <a:gd name="T15" fmla="*/ 10 h 41"/>
                  <a:gd name="T16" fmla="*/ 31 w 34"/>
                  <a:gd name="T17" fmla="*/ 6 h 41"/>
                  <a:gd name="T18" fmla="*/ 31 w 34"/>
                  <a:gd name="T19" fmla="*/ 0 h 41"/>
                  <a:gd name="T20" fmla="*/ 29 w 34"/>
                  <a:gd name="T21" fmla="*/ 6 h 41"/>
                  <a:gd name="T22" fmla="*/ 30 w 34"/>
                  <a:gd name="T23" fmla="*/ 8 h 41"/>
                  <a:gd name="T24" fmla="*/ 28 w 34"/>
                  <a:gd name="T25" fmla="*/ 6 h 41"/>
                  <a:gd name="T26" fmla="*/ 29 w 34"/>
                  <a:gd name="T27" fmla="*/ 8 h 41"/>
                  <a:gd name="T28" fmla="*/ 28 w 34"/>
                  <a:gd name="T29" fmla="*/ 10 h 41"/>
                  <a:gd name="T30" fmla="*/ 26 w 34"/>
                  <a:gd name="T31" fmla="*/ 11 h 41"/>
                  <a:gd name="T32" fmla="*/ 23 w 34"/>
                  <a:gd name="T33" fmla="*/ 15 h 41"/>
                  <a:gd name="T34" fmla="*/ 21 w 34"/>
                  <a:gd name="T35" fmla="*/ 16 h 41"/>
                  <a:gd name="T36" fmla="*/ 19 w 34"/>
                  <a:gd name="T37" fmla="*/ 18 h 41"/>
                  <a:gd name="T38" fmla="*/ 18 w 34"/>
                  <a:gd name="T39" fmla="*/ 20 h 41"/>
                  <a:gd name="T40" fmla="*/ 16 w 34"/>
                  <a:gd name="T41" fmla="*/ 23 h 41"/>
                  <a:gd name="T42" fmla="*/ 11 w 34"/>
                  <a:gd name="T43" fmla="*/ 28 h 41"/>
                  <a:gd name="T44" fmla="*/ 9 w 34"/>
                  <a:gd name="T45" fmla="*/ 29 h 41"/>
                  <a:gd name="T46" fmla="*/ 5 w 34"/>
                  <a:gd name="T47" fmla="*/ 31 h 41"/>
                  <a:gd name="T48" fmla="*/ 1 w 34"/>
                  <a:gd name="T49" fmla="*/ 37 h 41"/>
                  <a:gd name="T50" fmla="*/ 0 w 34"/>
                  <a:gd name="T51" fmla="*/ 41 h 41"/>
                  <a:gd name="T52" fmla="*/ 2 w 34"/>
                  <a:gd name="T53" fmla="*/ 40 h 41"/>
                  <a:gd name="T54" fmla="*/ 5 w 34"/>
                  <a:gd name="T55" fmla="*/ 36 h 41"/>
                  <a:gd name="T56" fmla="*/ 8 w 34"/>
                  <a:gd name="T57" fmla="*/ 36 h 41"/>
                  <a:gd name="T58" fmla="*/ 10 w 34"/>
                  <a:gd name="T59" fmla="*/ 34 h 41"/>
                  <a:gd name="T60" fmla="*/ 12 w 34"/>
                  <a:gd name="T61" fmla="*/ 32 h 41"/>
                  <a:gd name="T62" fmla="*/ 18 w 34"/>
                  <a:gd name="T63" fmla="*/ 28 h 41"/>
                  <a:gd name="T64" fmla="*/ 21 w 34"/>
                  <a:gd name="T65" fmla="*/ 23 h 41"/>
                  <a:gd name="T66" fmla="*/ 21 w 34"/>
                  <a:gd name="T67" fmla="*/ 23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34" h="41">
                    <a:moveTo>
                      <a:pt x="21" y="23"/>
                    </a:moveTo>
                    <a:lnTo>
                      <a:pt x="21" y="19"/>
                    </a:lnTo>
                    <a:lnTo>
                      <a:pt x="22" y="18"/>
                    </a:lnTo>
                    <a:lnTo>
                      <a:pt x="26" y="18"/>
                    </a:lnTo>
                    <a:lnTo>
                      <a:pt x="28" y="15"/>
                    </a:lnTo>
                    <a:lnTo>
                      <a:pt x="30" y="14"/>
                    </a:lnTo>
                    <a:lnTo>
                      <a:pt x="31" y="14"/>
                    </a:lnTo>
                    <a:lnTo>
                      <a:pt x="34" y="10"/>
                    </a:lnTo>
                    <a:lnTo>
                      <a:pt x="31" y="6"/>
                    </a:lnTo>
                    <a:lnTo>
                      <a:pt x="31" y="0"/>
                    </a:lnTo>
                    <a:lnTo>
                      <a:pt x="29" y="6"/>
                    </a:lnTo>
                    <a:lnTo>
                      <a:pt x="30" y="8"/>
                    </a:lnTo>
                    <a:lnTo>
                      <a:pt x="28" y="6"/>
                    </a:lnTo>
                    <a:lnTo>
                      <a:pt x="29" y="8"/>
                    </a:lnTo>
                    <a:lnTo>
                      <a:pt x="28" y="10"/>
                    </a:lnTo>
                    <a:lnTo>
                      <a:pt x="26" y="11"/>
                    </a:lnTo>
                    <a:lnTo>
                      <a:pt x="23" y="15"/>
                    </a:lnTo>
                    <a:lnTo>
                      <a:pt x="21" y="16"/>
                    </a:lnTo>
                    <a:lnTo>
                      <a:pt x="19" y="18"/>
                    </a:lnTo>
                    <a:lnTo>
                      <a:pt x="18" y="20"/>
                    </a:lnTo>
                    <a:lnTo>
                      <a:pt x="16" y="23"/>
                    </a:lnTo>
                    <a:lnTo>
                      <a:pt x="11" y="28"/>
                    </a:lnTo>
                    <a:lnTo>
                      <a:pt x="9" y="29"/>
                    </a:lnTo>
                    <a:lnTo>
                      <a:pt x="5" y="31"/>
                    </a:lnTo>
                    <a:lnTo>
                      <a:pt x="1" y="37"/>
                    </a:lnTo>
                    <a:lnTo>
                      <a:pt x="0" y="41"/>
                    </a:lnTo>
                    <a:lnTo>
                      <a:pt x="2" y="40"/>
                    </a:lnTo>
                    <a:lnTo>
                      <a:pt x="5" y="36"/>
                    </a:lnTo>
                    <a:lnTo>
                      <a:pt x="8" y="36"/>
                    </a:lnTo>
                    <a:lnTo>
                      <a:pt x="10" y="34"/>
                    </a:lnTo>
                    <a:lnTo>
                      <a:pt x="12" y="32"/>
                    </a:lnTo>
                    <a:lnTo>
                      <a:pt x="18" y="28"/>
                    </a:lnTo>
                    <a:lnTo>
                      <a:pt x="21" y="23"/>
                    </a:lnTo>
                    <a:lnTo>
                      <a:pt x="21" y="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84" name="Freeform 150">
                <a:extLst>
                  <a:ext uri="{FF2B5EF4-FFF2-40B4-BE49-F238E27FC236}">
                    <a16:creationId xmlns:a16="http://schemas.microsoft.com/office/drawing/2014/main" id="{10950628-92F2-4600-A116-47C5752746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3" y="2917"/>
                <a:ext cx="3" cy="4"/>
              </a:xfrm>
              <a:custGeom>
                <a:avLst/>
                <a:gdLst>
                  <a:gd name="T0" fmla="*/ 1 w 3"/>
                  <a:gd name="T1" fmla="*/ 4 h 4"/>
                  <a:gd name="T2" fmla="*/ 3 w 3"/>
                  <a:gd name="T3" fmla="*/ 0 h 4"/>
                  <a:gd name="T4" fmla="*/ 0 w 3"/>
                  <a:gd name="T5" fmla="*/ 1 h 4"/>
                  <a:gd name="T6" fmla="*/ 1 w 3"/>
                  <a:gd name="T7" fmla="*/ 4 h 4"/>
                  <a:gd name="T8" fmla="*/ 1 w 3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4">
                    <a:moveTo>
                      <a:pt x="1" y="4"/>
                    </a:moveTo>
                    <a:lnTo>
                      <a:pt x="3" y="0"/>
                    </a:lnTo>
                    <a:lnTo>
                      <a:pt x="0" y="1"/>
                    </a:lnTo>
                    <a:lnTo>
                      <a:pt x="1" y="4"/>
                    </a:lnTo>
                    <a:lnTo>
                      <a:pt x="1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85" name="Freeform 151">
                <a:extLst>
                  <a:ext uri="{FF2B5EF4-FFF2-40B4-BE49-F238E27FC236}">
                    <a16:creationId xmlns:a16="http://schemas.microsoft.com/office/drawing/2014/main" id="{04127390-DD53-4660-A02A-077FF38455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1" y="2782"/>
                <a:ext cx="89" cy="101"/>
              </a:xfrm>
              <a:custGeom>
                <a:avLst/>
                <a:gdLst>
                  <a:gd name="T0" fmla="*/ 29 w 89"/>
                  <a:gd name="T1" fmla="*/ 61 h 101"/>
                  <a:gd name="T2" fmla="*/ 31 w 89"/>
                  <a:gd name="T3" fmla="*/ 68 h 101"/>
                  <a:gd name="T4" fmla="*/ 36 w 89"/>
                  <a:gd name="T5" fmla="*/ 79 h 101"/>
                  <a:gd name="T6" fmla="*/ 38 w 89"/>
                  <a:gd name="T7" fmla="*/ 87 h 101"/>
                  <a:gd name="T8" fmla="*/ 44 w 89"/>
                  <a:gd name="T9" fmla="*/ 88 h 101"/>
                  <a:gd name="T10" fmla="*/ 55 w 89"/>
                  <a:gd name="T11" fmla="*/ 84 h 101"/>
                  <a:gd name="T12" fmla="*/ 56 w 89"/>
                  <a:gd name="T13" fmla="*/ 80 h 101"/>
                  <a:gd name="T14" fmla="*/ 49 w 89"/>
                  <a:gd name="T15" fmla="*/ 74 h 101"/>
                  <a:gd name="T16" fmla="*/ 50 w 89"/>
                  <a:gd name="T17" fmla="*/ 71 h 101"/>
                  <a:gd name="T18" fmla="*/ 49 w 89"/>
                  <a:gd name="T19" fmla="*/ 65 h 101"/>
                  <a:gd name="T20" fmla="*/ 35 w 89"/>
                  <a:gd name="T21" fmla="*/ 51 h 101"/>
                  <a:gd name="T22" fmla="*/ 41 w 89"/>
                  <a:gd name="T23" fmla="*/ 49 h 101"/>
                  <a:gd name="T24" fmla="*/ 51 w 89"/>
                  <a:gd name="T25" fmla="*/ 42 h 101"/>
                  <a:gd name="T26" fmla="*/ 62 w 89"/>
                  <a:gd name="T27" fmla="*/ 38 h 101"/>
                  <a:gd name="T28" fmla="*/ 60 w 89"/>
                  <a:gd name="T29" fmla="*/ 31 h 101"/>
                  <a:gd name="T30" fmla="*/ 47 w 89"/>
                  <a:gd name="T31" fmla="*/ 34 h 101"/>
                  <a:gd name="T32" fmla="*/ 39 w 89"/>
                  <a:gd name="T33" fmla="*/ 34 h 101"/>
                  <a:gd name="T34" fmla="*/ 32 w 89"/>
                  <a:gd name="T35" fmla="*/ 44 h 101"/>
                  <a:gd name="T36" fmla="*/ 25 w 89"/>
                  <a:gd name="T37" fmla="*/ 39 h 101"/>
                  <a:gd name="T38" fmla="*/ 18 w 89"/>
                  <a:gd name="T39" fmla="*/ 32 h 101"/>
                  <a:gd name="T40" fmla="*/ 22 w 89"/>
                  <a:gd name="T41" fmla="*/ 17 h 101"/>
                  <a:gd name="T42" fmla="*/ 30 w 89"/>
                  <a:gd name="T43" fmla="*/ 17 h 101"/>
                  <a:gd name="T44" fmla="*/ 35 w 89"/>
                  <a:gd name="T45" fmla="*/ 17 h 101"/>
                  <a:gd name="T46" fmla="*/ 43 w 89"/>
                  <a:gd name="T47" fmla="*/ 17 h 101"/>
                  <a:gd name="T48" fmla="*/ 61 w 89"/>
                  <a:gd name="T49" fmla="*/ 20 h 101"/>
                  <a:gd name="T50" fmla="*/ 78 w 89"/>
                  <a:gd name="T51" fmla="*/ 16 h 101"/>
                  <a:gd name="T52" fmla="*/ 86 w 89"/>
                  <a:gd name="T53" fmla="*/ 6 h 101"/>
                  <a:gd name="T54" fmla="*/ 84 w 89"/>
                  <a:gd name="T55" fmla="*/ 0 h 101"/>
                  <a:gd name="T56" fmla="*/ 79 w 89"/>
                  <a:gd name="T57" fmla="*/ 7 h 101"/>
                  <a:gd name="T58" fmla="*/ 68 w 89"/>
                  <a:gd name="T59" fmla="*/ 12 h 101"/>
                  <a:gd name="T60" fmla="*/ 58 w 89"/>
                  <a:gd name="T61" fmla="*/ 11 h 101"/>
                  <a:gd name="T62" fmla="*/ 43 w 89"/>
                  <a:gd name="T63" fmla="*/ 8 h 101"/>
                  <a:gd name="T64" fmla="*/ 34 w 89"/>
                  <a:gd name="T65" fmla="*/ 6 h 101"/>
                  <a:gd name="T66" fmla="*/ 27 w 89"/>
                  <a:gd name="T67" fmla="*/ 10 h 101"/>
                  <a:gd name="T68" fmla="*/ 17 w 89"/>
                  <a:gd name="T69" fmla="*/ 14 h 101"/>
                  <a:gd name="T70" fmla="*/ 14 w 89"/>
                  <a:gd name="T71" fmla="*/ 21 h 101"/>
                  <a:gd name="T72" fmla="*/ 14 w 89"/>
                  <a:gd name="T73" fmla="*/ 28 h 101"/>
                  <a:gd name="T74" fmla="*/ 15 w 89"/>
                  <a:gd name="T75" fmla="*/ 36 h 101"/>
                  <a:gd name="T76" fmla="*/ 7 w 89"/>
                  <a:gd name="T77" fmla="*/ 44 h 101"/>
                  <a:gd name="T78" fmla="*/ 5 w 89"/>
                  <a:gd name="T79" fmla="*/ 54 h 101"/>
                  <a:gd name="T80" fmla="*/ 0 w 89"/>
                  <a:gd name="T81" fmla="*/ 62 h 101"/>
                  <a:gd name="T82" fmla="*/ 1 w 89"/>
                  <a:gd name="T83" fmla="*/ 72 h 101"/>
                  <a:gd name="T84" fmla="*/ 10 w 89"/>
                  <a:gd name="T85" fmla="*/ 72 h 101"/>
                  <a:gd name="T86" fmla="*/ 12 w 89"/>
                  <a:gd name="T87" fmla="*/ 84 h 101"/>
                  <a:gd name="T88" fmla="*/ 8 w 89"/>
                  <a:gd name="T89" fmla="*/ 94 h 101"/>
                  <a:gd name="T90" fmla="*/ 12 w 89"/>
                  <a:gd name="T91" fmla="*/ 100 h 101"/>
                  <a:gd name="T92" fmla="*/ 23 w 89"/>
                  <a:gd name="T93" fmla="*/ 99 h 101"/>
                  <a:gd name="T94" fmla="*/ 22 w 89"/>
                  <a:gd name="T95" fmla="*/ 91 h 101"/>
                  <a:gd name="T96" fmla="*/ 23 w 89"/>
                  <a:gd name="T97" fmla="*/ 74 h 101"/>
                  <a:gd name="T98" fmla="*/ 21 w 89"/>
                  <a:gd name="T99" fmla="*/ 64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89" h="101">
                    <a:moveTo>
                      <a:pt x="21" y="64"/>
                    </a:moveTo>
                    <a:lnTo>
                      <a:pt x="26" y="61"/>
                    </a:lnTo>
                    <a:lnTo>
                      <a:pt x="29" y="61"/>
                    </a:lnTo>
                    <a:lnTo>
                      <a:pt x="31" y="61"/>
                    </a:lnTo>
                    <a:lnTo>
                      <a:pt x="32" y="64"/>
                    </a:lnTo>
                    <a:lnTo>
                      <a:pt x="31" y="68"/>
                    </a:lnTo>
                    <a:lnTo>
                      <a:pt x="29" y="71"/>
                    </a:lnTo>
                    <a:lnTo>
                      <a:pt x="31" y="74"/>
                    </a:lnTo>
                    <a:lnTo>
                      <a:pt x="36" y="79"/>
                    </a:lnTo>
                    <a:lnTo>
                      <a:pt x="39" y="79"/>
                    </a:lnTo>
                    <a:lnTo>
                      <a:pt x="39" y="81"/>
                    </a:lnTo>
                    <a:lnTo>
                      <a:pt x="38" y="87"/>
                    </a:lnTo>
                    <a:lnTo>
                      <a:pt x="40" y="89"/>
                    </a:lnTo>
                    <a:lnTo>
                      <a:pt x="42" y="90"/>
                    </a:lnTo>
                    <a:lnTo>
                      <a:pt x="44" y="88"/>
                    </a:lnTo>
                    <a:lnTo>
                      <a:pt x="47" y="85"/>
                    </a:lnTo>
                    <a:lnTo>
                      <a:pt x="52" y="84"/>
                    </a:lnTo>
                    <a:lnTo>
                      <a:pt x="55" y="84"/>
                    </a:lnTo>
                    <a:lnTo>
                      <a:pt x="53" y="83"/>
                    </a:lnTo>
                    <a:lnTo>
                      <a:pt x="57" y="82"/>
                    </a:lnTo>
                    <a:lnTo>
                      <a:pt x="56" y="80"/>
                    </a:lnTo>
                    <a:lnTo>
                      <a:pt x="53" y="79"/>
                    </a:lnTo>
                    <a:lnTo>
                      <a:pt x="51" y="76"/>
                    </a:lnTo>
                    <a:lnTo>
                      <a:pt x="49" y="74"/>
                    </a:lnTo>
                    <a:lnTo>
                      <a:pt x="48" y="72"/>
                    </a:lnTo>
                    <a:lnTo>
                      <a:pt x="49" y="71"/>
                    </a:lnTo>
                    <a:lnTo>
                      <a:pt x="50" y="71"/>
                    </a:lnTo>
                    <a:lnTo>
                      <a:pt x="49" y="68"/>
                    </a:lnTo>
                    <a:lnTo>
                      <a:pt x="51" y="67"/>
                    </a:lnTo>
                    <a:lnTo>
                      <a:pt x="49" y="65"/>
                    </a:lnTo>
                    <a:lnTo>
                      <a:pt x="41" y="54"/>
                    </a:lnTo>
                    <a:lnTo>
                      <a:pt x="38" y="51"/>
                    </a:lnTo>
                    <a:lnTo>
                      <a:pt x="35" y="51"/>
                    </a:lnTo>
                    <a:lnTo>
                      <a:pt x="35" y="48"/>
                    </a:lnTo>
                    <a:lnTo>
                      <a:pt x="38" y="50"/>
                    </a:lnTo>
                    <a:lnTo>
                      <a:pt x="41" y="49"/>
                    </a:lnTo>
                    <a:lnTo>
                      <a:pt x="43" y="47"/>
                    </a:lnTo>
                    <a:lnTo>
                      <a:pt x="48" y="45"/>
                    </a:lnTo>
                    <a:lnTo>
                      <a:pt x="51" y="42"/>
                    </a:lnTo>
                    <a:lnTo>
                      <a:pt x="55" y="38"/>
                    </a:lnTo>
                    <a:lnTo>
                      <a:pt x="58" y="36"/>
                    </a:lnTo>
                    <a:lnTo>
                      <a:pt x="62" y="38"/>
                    </a:lnTo>
                    <a:lnTo>
                      <a:pt x="65" y="36"/>
                    </a:lnTo>
                    <a:lnTo>
                      <a:pt x="64" y="32"/>
                    </a:lnTo>
                    <a:lnTo>
                      <a:pt x="60" y="31"/>
                    </a:lnTo>
                    <a:lnTo>
                      <a:pt x="58" y="32"/>
                    </a:lnTo>
                    <a:lnTo>
                      <a:pt x="56" y="34"/>
                    </a:lnTo>
                    <a:lnTo>
                      <a:pt x="47" y="34"/>
                    </a:lnTo>
                    <a:lnTo>
                      <a:pt x="44" y="37"/>
                    </a:lnTo>
                    <a:lnTo>
                      <a:pt x="41" y="37"/>
                    </a:lnTo>
                    <a:lnTo>
                      <a:pt x="39" y="34"/>
                    </a:lnTo>
                    <a:lnTo>
                      <a:pt x="36" y="37"/>
                    </a:lnTo>
                    <a:lnTo>
                      <a:pt x="33" y="40"/>
                    </a:lnTo>
                    <a:lnTo>
                      <a:pt x="32" y="44"/>
                    </a:lnTo>
                    <a:lnTo>
                      <a:pt x="27" y="42"/>
                    </a:lnTo>
                    <a:lnTo>
                      <a:pt x="25" y="41"/>
                    </a:lnTo>
                    <a:lnTo>
                      <a:pt x="25" y="39"/>
                    </a:lnTo>
                    <a:lnTo>
                      <a:pt x="23" y="36"/>
                    </a:lnTo>
                    <a:lnTo>
                      <a:pt x="19" y="36"/>
                    </a:lnTo>
                    <a:lnTo>
                      <a:pt x="18" y="32"/>
                    </a:lnTo>
                    <a:lnTo>
                      <a:pt x="17" y="27"/>
                    </a:lnTo>
                    <a:lnTo>
                      <a:pt x="19" y="21"/>
                    </a:lnTo>
                    <a:lnTo>
                      <a:pt x="22" y="17"/>
                    </a:lnTo>
                    <a:lnTo>
                      <a:pt x="24" y="16"/>
                    </a:lnTo>
                    <a:lnTo>
                      <a:pt x="26" y="16"/>
                    </a:lnTo>
                    <a:lnTo>
                      <a:pt x="30" y="17"/>
                    </a:lnTo>
                    <a:lnTo>
                      <a:pt x="32" y="17"/>
                    </a:lnTo>
                    <a:lnTo>
                      <a:pt x="34" y="17"/>
                    </a:lnTo>
                    <a:lnTo>
                      <a:pt x="35" y="17"/>
                    </a:lnTo>
                    <a:lnTo>
                      <a:pt x="38" y="16"/>
                    </a:lnTo>
                    <a:lnTo>
                      <a:pt x="40" y="16"/>
                    </a:lnTo>
                    <a:lnTo>
                      <a:pt x="43" y="17"/>
                    </a:lnTo>
                    <a:lnTo>
                      <a:pt x="45" y="17"/>
                    </a:lnTo>
                    <a:lnTo>
                      <a:pt x="59" y="16"/>
                    </a:lnTo>
                    <a:lnTo>
                      <a:pt x="61" y="20"/>
                    </a:lnTo>
                    <a:lnTo>
                      <a:pt x="67" y="20"/>
                    </a:lnTo>
                    <a:lnTo>
                      <a:pt x="76" y="19"/>
                    </a:lnTo>
                    <a:lnTo>
                      <a:pt x="78" y="16"/>
                    </a:lnTo>
                    <a:lnTo>
                      <a:pt x="79" y="14"/>
                    </a:lnTo>
                    <a:lnTo>
                      <a:pt x="85" y="8"/>
                    </a:lnTo>
                    <a:lnTo>
                      <a:pt x="86" y="6"/>
                    </a:lnTo>
                    <a:lnTo>
                      <a:pt x="89" y="4"/>
                    </a:lnTo>
                    <a:lnTo>
                      <a:pt x="87" y="0"/>
                    </a:lnTo>
                    <a:lnTo>
                      <a:pt x="84" y="0"/>
                    </a:lnTo>
                    <a:lnTo>
                      <a:pt x="83" y="4"/>
                    </a:lnTo>
                    <a:lnTo>
                      <a:pt x="79" y="5"/>
                    </a:lnTo>
                    <a:lnTo>
                      <a:pt x="79" y="7"/>
                    </a:lnTo>
                    <a:lnTo>
                      <a:pt x="76" y="8"/>
                    </a:lnTo>
                    <a:lnTo>
                      <a:pt x="74" y="11"/>
                    </a:lnTo>
                    <a:lnTo>
                      <a:pt x="68" y="12"/>
                    </a:lnTo>
                    <a:lnTo>
                      <a:pt x="64" y="11"/>
                    </a:lnTo>
                    <a:lnTo>
                      <a:pt x="60" y="11"/>
                    </a:lnTo>
                    <a:lnTo>
                      <a:pt x="58" y="11"/>
                    </a:lnTo>
                    <a:lnTo>
                      <a:pt x="56" y="12"/>
                    </a:lnTo>
                    <a:lnTo>
                      <a:pt x="50" y="10"/>
                    </a:lnTo>
                    <a:lnTo>
                      <a:pt x="43" y="8"/>
                    </a:lnTo>
                    <a:lnTo>
                      <a:pt x="38" y="10"/>
                    </a:lnTo>
                    <a:lnTo>
                      <a:pt x="36" y="6"/>
                    </a:lnTo>
                    <a:lnTo>
                      <a:pt x="34" y="6"/>
                    </a:lnTo>
                    <a:lnTo>
                      <a:pt x="31" y="5"/>
                    </a:lnTo>
                    <a:lnTo>
                      <a:pt x="29" y="7"/>
                    </a:lnTo>
                    <a:lnTo>
                      <a:pt x="27" y="10"/>
                    </a:lnTo>
                    <a:lnTo>
                      <a:pt x="25" y="12"/>
                    </a:lnTo>
                    <a:lnTo>
                      <a:pt x="19" y="13"/>
                    </a:lnTo>
                    <a:lnTo>
                      <a:pt x="17" y="14"/>
                    </a:lnTo>
                    <a:lnTo>
                      <a:pt x="17" y="16"/>
                    </a:lnTo>
                    <a:lnTo>
                      <a:pt x="15" y="19"/>
                    </a:lnTo>
                    <a:lnTo>
                      <a:pt x="14" y="21"/>
                    </a:lnTo>
                    <a:lnTo>
                      <a:pt x="15" y="23"/>
                    </a:lnTo>
                    <a:lnTo>
                      <a:pt x="12" y="23"/>
                    </a:lnTo>
                    <a:lnTo>
                      <a:pt x="14" y="28"/>
                    </a:lnTo>
                    <a:lnTo>
                      <a:pt x="14" y="30"/>
                    </a:lnTo>
                    <a:lnTo>
                      <a:pt x="15" y="33"/>
                    </a:lnTo>
                    <a:lnTo>
                      <a:pt x="15" y="36"/>
                    </a:lnTo>
                    <a:lnTo>
                      <a:pt x="14" y="32"/>
                    </a:lnTo>
                    <a:lnTo>
                      <a:pt x="8" y="40"/>
                    </a:lnTo>
                    <a:lnTo>
                      <a:pt x="7" y="44"/>
                    </a:lnTo>
                    <a:lnTo>
                      <a:pt x="8" y="48"/>
                    </a:lnTo>
                    <a:lnTo>
                      <a:pt x="6" y="51"/>
                    </a:lnTo>
                    <a:lnTo>
                      <a:pt x="5" y="54"/>
                    </a:lnTo>
                    <a:lnTo>
                      <a:pt x="5" y="57"/>
                    </a:lnTo>
                    <a:lnTo>
                      <a:pt x="2" y="59"/>
                    </a:lnTo>
                    <a:lnTo>
                      <a:pt x="0" y="62"/>
                    </a:lnTo>
                    <a:lnTo>
                      <a:pt x="1" y="64"/>
                    </a:lnTo>
                    <a:lnTo>
                      <a:pt x="0" y="66"/>
                    </a:lnTo>
                    <a:lnTo>
                      <a:pt x="1" y="72"/>
                    </a:lnTo>
                    <a:lnTo>
                      <a:pt x="5" y="72"/>
                    </a:lnTo>
                    <a:lnTo>
                      <a:pt x="7" y="71"/>
                    </a:lnTo>
                    <a:lnTo>
                      <a:pt x="10" y="72"/>
                    </a:lnTo>
                    <a:lnTo>
                      <a:pt x="9" y="74"/>
                    </a:lnTo>
                    <a:lnTo>
                      <a:pt x="12" y="79"/>
                    </a:lnTo>
                    <a:lnTo>
                      <a:pt x="12" y="84"/>
                    </a:lnTo>
                    <a:lnTo>
                      <a:pt x="10" y="90"/>
                    </a:lnTo>
                    <a:lnTo>
                      <a:pt x="9" y="92"/>
                    </a:lnTo>
                    <a:lnTo>
                      <a:pt x="8" y="94"/>
                    </a:lnTo>
                    <a:lnTo>
                      <a:pt x="8" y="96"/>
                    </a:lnTo>
                    <a:lnTo>
                      <a:pt x="9" y="99"/>
                    </a:lnTo>
                    <a:lnTo>
                      <a:pt x="12" y="100"/>
                    </a:lnTo>
                    <a:lnTo>
                      <a:pt x="14" y="101"/>
                    </a:lnTo>
                    <a:lnTo>
                      <a:pt x="17" y="100"/>
                    </a:lnTo>
                    <a:lnTo>
                      <a:pt x="23" y="99"/>
                    </a:lnTo>
                    <a:lnTo>
                      <a:pt x="22" y="97"/>
                    </a:lnTo>
                    <a:lnTo>
                      <a:pt x="21" y="93"/>
                    </a:lnTo>
                    <a:lnTo>
                      <a:pt x="22" y="91"/>
                    </a:lnTo>
                    <a:lnTo>
                      <a:pt x="23" y="89"/>
                    </a:lnTo>
                    <a:lnTo>
                      <a:pt x="22" y="77"/>
                    </a:lnTo>
                    <a:lnTo>
                      <a:pt x="23" y="74"/>
                    </a:lnTo>
                    <a:lnTo>
                      <a:pt x="23" y="70"/>
                    </a:lnTo>
                    <a:lnTo>
                      <a:pt x="21" y="66"/>
                    </a:lnTo>
                    <a:lnTo>
                      <a:pt x="21" y="64"/>
                    </a:lnTo>
                    <a:lnTo>
                      <a:pt x="21" y="6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86" name="Freeform 152">
                <a:extLst>
                  <a:ext uri="{FF2B5EF4-FFF2-40B4-BE49-F238E27FC236}">
                    <a16:creationId xmlns:a16="http://schemas.microsoft.com/office/drawing/2014/main" id="{D3B96E12-B18E-40BC-9E66-E2C045C901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3" y="2934"/>
                <a:ext cx="27" cy="13"/>
              </a:xfrm>
              <a:custGeom>
                <a:avLst/>
                <a:gdLst>
                  <a:gd name="T0" fmla="*/ 27 w 27"/>
                  <a:gd name="T1" fmla="*/ 9 h 13"/>
                  <a:gd name="T2" fmla="*/ 23 w 27"/>
                  <a:gd name="T3" fmla="*/ 7 h 13"/>
                  <a:gd name="T4" fmla="*/ 21 w 27"/>
                  <a:gd name="T5" fmla="*/ 4 h 13"/>
                  <a:gd name="T6" fmla="*/ 19 w 27"/>
                  <a:gd name="T7" fmla="*/ 5 h 13"/>
                  <a:gd name="T8" fmla="*/ 15 w 27"/>
                  <a:gd name="T9" fmla="*/ 0 h 13"/>
                  <a:gd name="T10" fmla="*/ 12 w 27"/>
                  <a:gd name="T11" fmla="*/ 0 h 13"/>
                  <a:gd name="T12" fmla="*/ 10 w 27"/>
                  <a:gd name="T13" fmla="*/ 0 h 13"/>
                  <a:gd name="T14" fmla="*/ 4 w 27"/>
                  <a:gd name="T15" fmla="*/ 0 h 13"/>
                  <a:gd name="T16" fmla="*/ 2 w 27"/>
                  <a:gd name="T17" fmla="*/ 1 h 13"/>
                  <a:gd name="T18" fmla="*/ 0 w 27"/>
                  <a:gd name="T19" fmla="*/ 3 h 13"/>
                  <a:gd name="T20" fmla="*/ 2 w 27"/>
                  <a:gd name="T21" fmla="*/ 5 h 13"/>
                  <a:gd name="T22" fmla="*/ 3 w 27"/>
                  <a:gd name="T23" fmla="*/ 5 h 13"/>
                  <a:gd name="T24" fmla="*/ 8 w 27"/>
                  <a:gd name="T25" fmla="*/ 6 h 13"/>
                  <a:gd name="T26" fmla="*/ 15 w 27"/>
                  <a:gd name="T27" fmla="*/ 9 h 13"/>
                  <a:gd name="T28" fmla="*/ 17 w 27"/>
                  <a:gd name="T29" fmla="*/ 12 h 13"/>
                  <a:gd name="T30" fmla="*/ 20 w 27"/>
                  <a:gd name="T31" fmla="*/ 13 h 13"/>
                  <a:gd name="T32" fmla="*/ 25 w 27"/>
                  <a:gd name="T33" fmla="*/ 12 h 13"/>
                  <a:gd name="T34" fmla="*/ 27 w 27"/>
                  <a:gd name="T35" fmla="*/ 9 h 13"/>
                  <a:gd name="T36" fmla="*/ 27 w 27"/>
                  <a:gd name="T37" fmla="*/ 9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7" h="13">
                    <a:moveTo>
                      <a:pt x="27" y="9"/>
                    </a:moveTo>
                    <a:lnTo>
                      <a:pt x="23" y="7"/>
                    </a:lnTo>
                    <a:lnTo>
                      <a:pt x="21" y="4"/>
                    </a:lnTo>
                    <a:lnTo>
                      <a:pt x="19" y="5"/>
                    </a:lnTo>
                    <a:lnTo>
                      <a:pt x="15" y="0"/>
                    </a:lnTo>
                    <a:lnTo>
                      <a:pt x="12" y="0"/>
                    </a:lnTo>
                    <a:lnTo>
                      <a:pt x="10" y="0"/>
                    </a:lnTo>
                    <a:lnTo>
                      <a:pt x="4" y="0"/>
                    </a:lnTo>
                    <a:lnTo>
                      <a:pt x="2" y="1"/>
                    </a:lnTo>
                    <a:lnTo>
                      <a:pt x="0" y="3"/>
                    </a:lnTo>
                    <a:lnTo>
                      <a:pt x="2" y="5"/>
                    </a:lnTo>
                    <a:lnTo>
                      <a:pt x="3" y="5"/>
                    </a:lnTo>
                    <a:lnTo>
                      <a:pt x="8" y="6"/>
                    </a:lnTo>
                    <a:lnTo>
                      <a:pt x="15" y="9"/>
                    </a:lnTo>
                    <a:lnTo>
                      <a:pt x="17" y="12"/>
                    </a:lnTo>
                    <a:lnTo>
                      <a:pt x="20" y="13"/>
                    </a:lnTo>
                    <a:lnTo>
                      <a:pt x="25" y="12"/>
                    </a:lnTo>
                    <a:lnTo>
                      <a:pt x="27" y="9"/>
                    </a:lnTo>
                    <a:lnTo>
                      <a:pt x="27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87" name="Freeform 153">
                <a:extLst>
                  <a:ext uri="{FF2B5EF4-FFF2-40B4-BE49-F238E27FC236}">
                    <a16:creationId xmlns:a16="http://schemas.microsoft.com/office/drawing/2014/main" id="{E0C7B16F-A1B7-4C2A-97E3-F26F935F56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25" y="2548"/>
                <a:ext cx="60" cy="84"/>
              </a:xfrm>
              <a:custGeom>
                <a:avLst/>
                <a:gdLst>
                  <a:gd name="T0" fmla="*/ 9 w 60"/>
                  <a:gd name="T1" fmla="*/ 22 h 84"/>
                  <a:gd name="T2" fmla="*/ 8 w 60"/>
                  <a:gd name="T3" fmla="*/ 31 h 84"/>
                  <a:gd name="T4" fmla="*/ 8 w 60"/>
                  <a:gd name="T5" fmla="*/ 35 h 84"/>
                  <a:gd name="T6" fmla="*/ 2 w 60"/>
                  <a:gd name="T7" fmla="*/ 33 h 84"/>
                  <a:gd name="T8" fmla="*/ 0 w 60"/>
                  <a:gd name="T9" fmla="*/ 35 h 84"/>
                  <a:gd name="T10" fmla="*/ 1 w 60"/>
                  <a:gd name="T11" fmla="*/ 40 h 84"/>
                  <a:gd name="T12" fmla="*/ 2 w 60"/>
                  <a:gd name="T13" fmla="*/ 41 h 84"/>
                  <a:gd name="T14" fmla="*/ 3 w 60"/>
                  <a:gd name="T15" fmla="*/ 48 h 84"/>
                  <a:gd name="T16" fmla="*/ 7 w 60"/>
                  <a:gd name="T17" fmla="*/ 53 h 84"/>
                  <a:gd name="T18" fmla="*/ 8 w 60"/>
                  <a:gd name="T19" fmla="*/ 58 h 84"/>
                  <a:gd name="T20" fmla="*/ 11 w 60"/>
                  <a:gd name="T21" fmla="*/ 56 h 84"/>
                  <a:gd name="T22" fmla="*/ 12 w 60"/>
                  <a:gd name="T23" fmla="*/ 54 h 84"/>
                  <a:gd name="T24" fmla="*/ 16 w 60"/>
                  <a:gd name="T25" fmla="*/ 56 h 84"/>
                  <a:gd name="T26" fmla="*/ 16 w 60"/>
                  <a:gd name="T27" fmla="*/ 58 h 84"/>
                  <a:gd name="T28" fmla="*/ 11 w 60"/>
                  <a:gd name="T29" fmla="*/ 63 h 84"/>
                  <a:gd name="T30" fmla="*/ 16 w 60"/>
                  <a:gd name="T31" fmla="*/ 66 h 84"/>
                  <a:gd name="T32" fmla="*/ 18 w 60"/>
                  <a:gd name="T33" fmla="*/ 70 h 84"/>
                  <a:gd name="T34" fmla="*/ 22 w 60"/>
                  <a:gd name="T35" fmla="*/ 67 h 84"/>
                  <a:gd name="T36" fmla="*/ 26 w 60"/>
                  <a:gd name="T37" fmla="*/ 66 h 84"/>
                  <a:gd name="T38" fmla="*/ 31 w 60"/>
                  <a:gd name="T39" fmla="*/ 68 h 84"/>
                  <a:gd name="T40" fmla="*/ 37 w 60"/>
                  <a:gd name="T41" fmla="*/ 73 h 84"/>
                  <a:gd name="T42" fmla="*/ 39 w 60"/>
                  <a:gd name="T43" fmla="*/ 76 h 84"/>
                  <a:gd name="T44" fmla="*/ 37 w 60"/>
                  <a:gd name="T45" fmla="*/ 70 h 84"/>
                  <a:gd name="T46" fmla="*/ 36 w 60"/>
                  <a:gd name="T47" fmla="*/ 66 h 84"/>
                  <a:gd name="T48" fmla="*/ 41 w 60"/>
                  <a:gd name="T49" fmla="*/ 68 h 84"/>
                  <a:gd name="T50" fmla="*/ 46 w 60"/>
                  <a:gd name="T51" fmla="*/ 73 h 84"/>
                  <a:gd name="T52" fmla="*/ 48 w 60"/>
                  <a:gd name="T53" fmla="*/ 78 h 84"/>
                  <a:gd name="T54" fmla="*/ 58 w 60"/>
                  <a:gd name="T55" fmla="*/ 80 h 84"/>
                  <a:gd name="T56" fmla="*/ 56 w 60"/>
                  <a:gd name="T57" fmla="*/ 84 h 84"/>
                  <a:gd name="T58" fmla="*/ 60 w 60"/>
                  <a:gd name="T59" fmla="*/ 78 h 84"/>
                  <a:gd name="T60" fmla="*/ 54 w 60"/>
                  <a:gd name="T61" fmla="*/ 74 h 84"/>
                  <a:gd name="T62" fmla="*/ 52 w 60"/>
                  <a:gd name="T63" fmla="*/ 71 h 84"/>
                  <a:gd name="T64" fmla="*/ 56 w 60"/>
                  <a:gd name="T65" fmla="*/ 68 h 84"/>
                  <a:gd name="T66" fmla="*/ 51 w 60"/>
                  <a:gd name="T67" fmla="*/ 66 h 84"/>
                  <a:gd name="T68" fmla="*/ 48 w 60"/>
                  <a:gd name="T69" fmla="*/ 67 h 84"/>
                  <a:gd name="T70" fmla="*/ 46 w 60"/>
                  <a:gd name="T71" fmla="*/ 69 h 84"/>
                  <a:gd name="T72" fmla="*/ 45 w 60"/>
                  <a:gd name="T73" fmla="*/ 65 h 84"/>
                  <a:gd name="T74" fmla="*/ 42 w 60"/>
                  <a:gd name="T75" fmla="*/ 61 h 84"/>
                  <a:gd name="T76" fmla="*/ 35 w 60"/>
                  <a:gd name="T77" fmla="*/ 63 h 84"/>
                  <a:gd name="T78" fmla="*/ 35 w 60"/>
                  <a:gd name="T79" fmla="*/ 65 h 84"/>
                  <a:gd name="T80" fmla="*/ 29 w 60"/>
                  <a:gd name="T81" fmla="*/ 65 h 84"/>
                  <a:gd name="T82" fmla="*/ 26 w 60"/>
                  <a:gd name="T83" fmla="*/ 60 h 84"/>
                  <a:gd name="T84" fmla="*/ 25 w 60"/>
                  <a:gd name="T85" fmla="*/ 57 h 84"/>
                  <a:gd name="T86" fmla="*/ 25 w 60"/>
                  <a:gd name="T87" fmla="*/ 53 h 84"/>
                  <a:gd name="T88" fmla="*/ 22 w 60"/>
                  <a:gd name="T89" fmla="*/ 48 h 84"/>
                  <a:gd name="T90" fmla="*/ 25 w 60"/>
                  <a:gd name="T91" fmla="*/ 42 h 84"/>
                  <a:gd name="T92" fmla="*/ 26 w 60"/>
                  <a:gd name="T93" fmla="*/ 36 h 84"/>
                  <a:gd name="T94" fmla="*/ 31 w 60"/>
                  <a:gd name="T95" fmla="*/ 35 h 84"/>
                  <a:gd name="T96" fmla="*/ 34 w 60"/>
                  <a:gd name="T97" fmla="*/ 33 h 84"/>
                  <a:gd name="T98" fmla="*/ 34 w 60"/>
                  <a:gd name="T99" fmla="*/ 30 h 84"/>
                  <a:gd name="T100" fmla="*/ 36 w 60"/>
                  <a:gd name="T101" fmla="*/ 25 h 84"/>
                  <a:gd name="T102" fmla="*/ 37 w 60"/>
                  <a:gd name="T103" fmla="*/ 20 h 84"/>
                  <a:gd name="T104" fmla="*/ 34 w 60"/>
                  <a:gd name="T105" fmla="*/ 17 h 84"/>
                  <a:gd name="T106" fmla="*/ 33 w 60"/>
                  <a:gd name="T107" fmla="*/ 7 h 84"/>
                  <a:gd name="T108" fmla="*/ 35 w 60"/>
                  <a:gd name="T109" fmla="*/ 3 h 84"/>
                  <a:gd name="T110" fmla="*/ 31 w 60"/>
                  <a:gd name="T111" fmla="*/ 3 h 84"/>
                  <a:gd name="T112" fmla="*/ 26 w 60"/>
                  <a:gd name="T113" fmla="*/ 5 h 84"/>
                  <a:gd name="T114" fmla="*/ 26 w 60"/>
                  <a:gd name="T115" fmla="*/ 6 h 84"/>
                  <a:gd name="T116" fmla="*/ 19 w 60"/>
                  <a:gd name="T117" fmla="*/ 0 h 84"/>
                  <a:gd name="T118" fmla="*/ 11 w 60"/>
                  <a:gd name="T119" fmla="*/ 5 h 84"/>
                  <a:gd name="T120" fmla="*/ 9 w 60"/>
                  <a:gd name="T121" fmla="*/ 16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0" h="84">
                    <a:moveTo>
                      <a:pt x="9" y="16"/>
                    </a:moveTo>
                    <a:lnTo>
                      <a:pt x="9" y="22"/>
                    </a:lnTo>
                    <a:lnTo>
                      <a:pt x="8" y="30"/>
                    </a:lnTo>
                    <a:lnTo>
                      <a:pt x="8" y="31"/>
                    </a:lnTo>
                    <a:lnTo>
                      <a:pt x="9" y="34"/>
                    </a:lnTo>
                    <a:lnTo>
                      <a:pt x="8" y="35"/>
                    </a:lnTo>
                    <a:lnTo>
                      <a:pt x="5" y="36"/>
                    </a:lnTo>
                    <a:lnTo>
                      <a:pt x="2" y="33"/>
                    </a:lnTo>
                    <a:lnTo>
                      <a:pt x="0" y="32"/>
                    </a:lnTo>
                    <a:lnTo>
                      <a:pt x="0" y="35"/>
                    </a:lnTo>
                    <a:lnTo>
                      <a:pt x="0" y="37"/>
                    </a:lnTo>
                    <a:lnTo>
                      <a:pt x="1" y="40"/>
                    </a:lnTo>
                    <a:lnTo>
                      <a:pt x="1" y="41"/>
                    </a:lnTo>
                    <a:lnTo>
                      <a:pt x="2" y="41"/>
                    </a:lnTo>
                    <a:lnTo>
                      <a:pt x="2" y="44"/>
                    </a:lnTo>
                    <a:lnTo>
                      <a:pt x="3" y="48"/>
                    </a:lnTo>
                    <a:lnTo>
                      <a:pt x="4" y="53"/>
                    </a:lnTo>
                    <a:lnTo>
                      <a:pt x="7" y="53"/>
                    </a:lnTo>
                    <a:lnTo>
                      <a:pt x="7" y="56"/>
                    </a:lnTo>
                    <a:lnTo>
                      <a:pt x="8" y="58"/>
                    </a:lnTo>
                    <a:lnTo>
                      <a:pt x="11" y="59"/>
                    </a:lnTo>
                    <a:lnTo>
                      <a:pt x="11" y="56"/>
                    </a:lnTo>
                    <a:lnTo>
                      <a:pt x="10" y="53"/>
                    </a:lnTo>
                    <a:lnTo>
                      <a:pt x="12" y="54"/>
                    </a:lnTo>
                    <a:lnTo>
                      <a:pt x="13" y="54"/>
                    </a:lnTo>
                    <a:lnTo>
                      <a:pt x="16" y="56"/>
                    </a:lnTo>
                    <a:lnTo>
                      <a:pt x="17" y="58"/>
                    </a:lnTo>
                    <a:lnTo>
                      <a:pt x="16" y="58"/>
                    </a:lnTo>
                    <a:lnTo>
                      <a:pt x="11" y="61"/>
                    </a:lnTo>
                    <a:lnTo>
                      <a:pt x="11" y="63"/>
                    </a:lnTo>
                    <a:lnTo>
                      <a:pt x="12" y="66"/>
                    </a:lnTo>
                    <a:lnTo>
                      <a:pt x="16" y="66"/>
                    </a:lnTo>
                    <a:lnTo>
                      <a:pt x="16" y="69"/>
                    </a:lnTo>
                    <a:lnTo>
                      <a:pt x="18" y="70"/>
                    </a:lnTo>
                    <a:lnTo>
                      <a:pt x="21" y="70"/>
                    </a:lnTo>
                    <a:lnTo>
                      <a:pt x="22" y="67"/>
                    </a:lnTo>
                    <a:lnTo>
                      <a:pt x="25" y="67"/>
                    </a:lnTo>
                    <a:lnTo>
                      <a:pt x="26" y="66"/>
                    </a:lnTo>
                    <a:lnTo>
                      <a:pt x="28" y="66"/>
                    </a:lnTo>
                    <a:lnTo>
                      <a:pt x="31" y="68"/>
                    </a:lnTo>
                    <a:lnTo>
                      <a:pt x="35" y="70"/>
                    </a:lnTo>
                    <a:lnTo>
                      <a:pt x="37" y="73"/>
                    </a:lnTo>
                    <a:lnTo>
                      <a:pt x="37" y="76"/>
                    </a:lnTo>
                    <a:lnTo>
                      <a:pt x="39" y="76"/>
                    </a:lnTo>
                    <a:lnTo>
                      <a:pt x="39" y="74"/>
                    </a:lnTo>
                    <a:lnTo>
                      <a:pt x="37" y="70"/>
                    </a:lnTo>
                    <a:lnTo>
                      <a:pt x="37" y="68"/>
                    </a:lnTo>
                    <a:lnTo>
                      <a:pt x="36" y="66"/>
                    </a:lnTo>
                    <a:lnTo>
                      <a:pt x="38" y="66"/>
                    </a:lnTo>
                    <a:lnTo>
                      <a:pt x="41" y="68"/>
                    </a:lnTo>
                    <a:lnTo>
                      <a:pt x="42" y="70"/>
                    </a:lnTo>
                    <a:lnTo>
                      <a:pt x="46" y="73"/>
                    </a:lnTo>
                    <a:lnTo>
                      <a:pt x="48" y="75"/>
                    </a:lnTo>
                    <a:lnTo>
                      <a:pt x="48" y="78"/>
                    </a:lnTo>
                    <a:lnTo>
                      <a:pt x="55" y="80"/>
                    </a:lnTo>
                    <a:lnTo>
                      <a:pt x="58" y="80"/>
                    </a:lnTo>
                    <a:lnTo>
                      <a:pt x="55" y="82"/>
                    </a:lnTo>
                    <a:lnTo>
                      <a:pt x="56" y="84"/>
                    </a:lnTo>
                    <a:lnTo>
                      <a:pt x="60" y="83"/>
                    </a:lnTo>
                    <a:lnTo>
                      <a:pt x="60" y="78"/>
                    </a:lnTo>
                    <a:lnTo>
                      <a:pt x="54" y="77"/>
                    </a:lnTo>
                    <a:lnTo>
                      <a:pt x="54" y="74"/>
                    </a:lnTo>
                    <a:lnTo>
                      <a:pt x="52" y="71"/>
                    </a:lnTo>
                    <a:lnTo>
                      <a:pt x="52" y="71"/>
                    </a:lnTo>
                    <a:lnTo>
                      <a:pt x="53" y="69"/>
                    </a:lnTo>
                    <a:lnTo>
                      <a:pt x="56" y="68"/>
                    </a:lnTo>
                    <a:lnTo>
                      <a:pt x="55" y="67"/>
                    </a:lnTo>
                    <a:lnTo>
                      <a:pt x="51" y="66"/>
                    </a:lnTo>
                    <a:lnTo>
                      <a:pt x="48" y="63"/>
                    </a:lnTo>
                    <a:lnTo>
                      <a:pt x="48" y="67"/>
                    </a:lnTo>
                    <a:lnTo>
                      <a:pt x="47" y="69"/>
                    </a:lnTo>
                    <a:lnTo>
                      <a:pt x="46" y="69"/>
                    </a:lnTo>
                    <a:lnTo>
                      <a:pt x="45" y="67"/>
                    </a:lnTo>
                    <a:lnTo>
                      <a:pt x="45" y="65"/>
                    </a:lnTo>
                    <a:lnTo>
                      <a:pt x="44" y="63"/>
                    </a:lnTo>
                    <a:lnTo>
                      <a:pt x="42" y="61"/>
                    </a:lnTo>
                    <a:lnTo>
                      <a:pt x="36" y="60"/>
                    </a:lnTo>
                    <a:lnTo>
                      <a:pt x="35" y="63"/>
                    </a:lnTo>
                    <a:lnTo>
                      <a:pt x="33" y="62"/>
                    </a:lnTo>
                    <a:lnTo>
                      <a:pt x="35" y="65"/>
                    </a:lnTo>
                    <a:lnTo>
                      <a:pt x="33" y="66"/>
                    </a:lnTo>
                    <a:lnTo>
                      <a:pt x="29" y="65"/>
                    </a:lnTo>
                    <a:lnTo>
                      <a:pt x="27" y="62"/>
                    </a:lnTo>
                    <a:lnTo>
                      <a:pt x="26" y="60"/>
                    </a:lnTo>
                    <a:lnTo>
                      <a:pt x="26" y="59"/>
                    </a:lnTo>
                    <a:lnTo>
                      <a:pt x="25" y="57"/>
                    </a:lnTo>
                    <a:lnTo>
                      <a:pt x="26" y="54"/>
                    </a:lnTo>
                    <a:lnTo>
                      <a:pt x="25" y="53"/>
                    </a:lnTo>
                    <a:lnTo>
                      <a:pt x="25" y="51"/>
                    </a:lnTo>
                    <a:lnTo>
                      <a:pt x="22" y="48"/>
                    </a:lnTo>
                    <a:lnTo>
                      <a:pt x="24" y="45"/>
                    </a:lnTo>
                    <a:lnTo>
                      <a:pt x="25" y="42"/>
                    </a:lnTo>
                    <a:lnTo>
                      <a:pt x="25" y="40"/>
                    </a:lnTo>
                    <a:lnTo>
                      <a:pt x="26" y="36"/>
                    </a:lnTo>
                    <a:lnTo>
                      <a:pt x="28" y="35"/>
                    </a:lnTo>
                    <a:lnTo>
                      <a:pt x="31" y="35"/>
                    </a:lnTo>
                    <a:lnTo>
                      <a:pt x="31" y="35"/>
                    </a:lnTo>
                    <a:lnTo>
                      <a:pt x="34" y="33"/>
                    </a:lnTo>
                    <a:lnTo>
                      <a:pt x="33" y="32"/>
                    </a:lnTo>
                    <a:lnTo>
                      <a:pt x="34" y="30"/>
                    </a:lnTo>
                    <a:lnTo>
                      <a:pt x="35" y="28"/>
                    </a:lnTo>
                    <a:lnTo>
                      <a:pt x="36" y="25"/>
                    </a:lnTo>
                    <a:lnTo>
                      <a:pt x="37" y="22"/>
                    </a:lnTo>
                    <a:lnTo>
                      <a:pt x="37" y="20"/>
                    </a:lnTo>
                    <a:lnTo>
                      <a:pt x="37" y="20"/>
                    </a:lnTo>
                    <a:lnTo>
                      <a:pt x="34" y="17"/>
                    </a:lnTo>
                    <a:lnTo>
                      <a:pt x="33" y="13"/>
                    </a:lnTo>
                    <a:lnTo>
                      <a:pt x="33" y="7"/>
                    </a:lnTo>
                    <a:lnTo>
                      <a:pt x="35" y="5"/>
                    </a:lnTo>
                    <a:lnTo>
                      <a:pt x="35" y="3"/>
                    </a:lnTo>
                    <a:lnTo>
                      <a:pt x="33" y="2"/>
                    </a:lnTo>
                    <a:lnTo>
                      <a:pt x="31" y="3"/>
                    </a:lnTo>
                    <a:lnTo>
                      <a:pt x="28" y="5"/>
                    </a:lnTo>
                    <a:lnTo>
                      <a:pt x="26" y="5"/>
                    </a:lnTo>
                    <a:lnTo>
                      <a:pt x="26" y="7"/>
                    </a:lnTo>
                    <a:lnTo>
                      <a:pt x="26" y="6"/>
                    </a:lnTo>
                    <a:lnTo>
                      <a:pt x="25" y="3"/>
                    </a:lnTo>
                    <a:lnTo>
                      <a:pt x="19" y="0"/>
                    </a:lnTo>
                    <a:lnTo>
                      <a:pt x="11" y="1"/>
                    </a:lnTo>
                    <a:lnTo>
                      <a:pt x="11" y="5"/>
                    </a:lnTo>
                    <a:lnTo>
                      <a:pt x="9" y="10"/>
                    </a:lnTo>
                    <a:lnTo>
                      <a:pt x="9" y="16"/>
                    </a:lnTo>
                    <a:lnTo>
                      <a:pt x="9" y="1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88" name="Freeform 154">
                <a:extLst>
                  <a:ext uri="{FF2B5EF4-FFF2-40B4-BE49-F238E27FC236}">
                    <a16:creationId xmlns:a16="http://schemas.microsoft.com/office/drawing/2014/main" id="{BF488BBB-E79E-4F7D-AE63-2B29FA11B9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25" y="2917"/>
                <a:ext cx="44" cy="12"/>
              </a:xfrm>
              <a:custGeom>
                <a:avLst/>
                <a:gdLst>
                  <a:gd name="T0" fmla="*/ 3 w 44"/>
                  <a:gd name="T1" fmla="*/ 9 h 12"/>
                  <a:gd name="T2" fmla="*/ 4 w 44"/>
                  <a:gd name="T3" fmla="*/ 9 h 12"/>
                  <a:gd name="T4" fmla="*/ 8 w 44"/>
                  <a:gd name="T5" fmla="*/ 9 h 12"/>
                  <a:gd name="T6" fmla="*/ 10 w 44"/>
                  <a:gd name="T7" fmla="*/ 9 h 12"/>
                  <a:gd name="T8" fmla="*/ 16 w 44"/>
                  <a:gd name="T9" fmla="*/ 12 h 12"/>
                  <a:gd name="T10" fmla="*/ 21 w 44"/>
                  <a:gd name="T11" fmla="*/ 12 h 12"/>
                  <a:gd name="T12" fmla="*/ 24 w 44"/>
                  <a:gd name="T13" fmla="*/ 9 h 12"/>
                  <a:gd name="T14" fmla="*/ 26 w 44"/>
                  <a:gd name="T15" fmla="*/ 10 h 12"/>
                  <a:gd name="T16" fmla="*/ 29 w 44"/>
                  <a:gd name="T17" fmla="*/ 9 h 12"/>
                  <a:gd name="T18" fmla="*/ 31 w 44"/>
                  <a:gd name="T19" fmla="*/ 8 h 12"/>
                  <a:gd name="T20" fmla="*/ 37 w 44"/>
                  <a:gd name="T21" fmla="*/ 8 h 12"/>
                  <a:gd name="T22" fmla="*/ 41 w 44"/>
                  <a:gd name="T23" fmla="*/ 7 h 12"/>
                  <a:gd name="T24" fmla="*/ 42 w 44"/>
                  <a:gd name="T25" fmla="*/ 5 h 12"/>
                  <a:gd name="T26" fmla="*/ 44 w 44"/>
                  <a:gd name="T27" fmla="*/ 3 h 12"/>
                  <a:gd name="T28" fmla="*/ 44 w 44"/>
                  <a:gd name="T29" fmla="*/ 0 h 12"/>
                  <a:gd name="T30" fmla="*/ 41 w 44"/>
                  <a:gd name="T31" fmla="*/ 0 h 12"/>
                  <a:gd name="T32" fmla="*/ 41 w 44"/>
                  <a:gd name="T33" fmla="*/ 4 h 12"/>
                  <a:gd name="T34" fmla="*/ 38 w 44"/>
                  <a:gd name="T35" fmla="*/ 4 h 12"/>
                  <a:gd name="T36" fmla="*/ 37 w 44"/>
                  <a:gd name="T37" fmla="*/ 7 h 12"/>
                  <a:gd name="T38" fmla="*/ 34 w 44"/>
                  <a:gd name="T39" fmla="*/ 7 h 12"/>
                  <a:gd name="T40" fmla="*/ 30 w 44"/>
                  <a:gd name="T41" fmla="*/ 5 h 12"/>
                  <a:gd name="T42" fmla="*/ 27 w 44"/>
                  <a:gd name="T43" fmla="*/ 5 h 12"/>
                  <a:gd name="T44" fmla="*/ 25 w 44"/>
                  <a:gd name="T45" fmla="*/ 6 h 12"/>
                  <a:gd name="T46" fmla="*/ 21 w 44"/>
                  <a:gd name="T47" fmla="*/ 6 h 12"/>
                  <a:gd name="T48" fmla="*/ 17 w 44"/>
                  <a:gd name="T49" fmla="*/ 4 h 12"/>
                  <a:gd name="T50" fmla="*/ 8 w 44"/>
                  <a:gd name="T51" fmla="*/ 3 h 12"/>
                  <a:gd name="T52" fmla="*/ 5 w 44"/>
                  <a:gd name="T53" fmla="*/ 3 h 12"/>
                  <a:gd name="T54" fmla="*/ 0 w 44"/>
                  <a:gd name="T55" fmla="*/ 6 h 12"/>
                  <a:gd name="T56" fmla="*/ 0 w 44"/>
                  <a:gd name="T57" fmla="*/ 9 h 12"/>
                  <a:gd name="T58" fmla="*/ 3 w 44"/>
                  <a:gd name="T59" fmla="*/ 9 h 12"/>
                  <a:gd name="T60" fmla="*/ 3 w 44"/>
                  <a:gd name="T61" fmla="*/ 9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44" h="12">
                    <a:moveTo>
                      <a:pt x="3" y="9"/>
                    </a:moveTo>
                    <a:lnTo>
                      <a:pt x="4" y="9"/>
                    </a:lnTo>
                    <a:lnTo>
                      <a:pt x="8" y="9"/>
                    </a:lnTo>
                    <a:lnTo>
                      <a:pt x="10" y="9"/>
                    </a:lnTo>
                    <a:lnTo>
                      <a:pt x="16" y="12"/>
                    </a:lnTo>
                    <a:lnTo>
                      <a:pt x="21" y="12"/>
                    </a:lnTo>
                    <a:lnTo>
                      <a:pt x="24" y="9"/>
                    </a:lnTo>
                    <a:lnTo>
                      <a:pt x="26" y="10"/>
                    </a:lnTo>
                    <a:lnTo>
                      <a:pt x="29" y="9"/>
                    </a:lnTo>
                    <a:lnTo>
                      <a:pt x="31" y="8"/>
                    </a:lnTo>
                    <a:lnTo>
                      <a:pt x="37" y="8"/>
                    </a:lnTo>
                    <a:lnTo>
                      <a:pt x="41" y="7"/>
                    </a:lnTo>
                    <a:lnTo>
                      <a:pt x="42" y="5"/>
                    </a:lnTo>
                    <a:lnTo>
                      <a:pt x="44" y="3"/>
                    </a:lnTo>
                    <a:lnTo>
                      <a:pt x="44" y="0"/>
                    </a:lnTo>
                    <a:lnTo>
                      <a:pt x="41" y="0"/>
                    </a:lnTo>
                    <a:lnTo>
                      <a:pt x="41" y="4"/>
                    </a:lnTo>
                    <a:lnTo>
                      <a:pt x="38" y="4"/>
                    </a:lnTo>
                    <a:lnTo>
                      <a:pt x="37" y="7"/>
                    </a:lnTo>
                    <a:lnTo>
                      <a:pt x="34" y="7"/>
                    </a:lnTo>
                    <a:lnTo>
                      <a:pt x="30" y="5"/>
                    </a:lnTo>
                    <a:lnTo>
                      <a:pt x="27" y="5"/>
                    </a:lnTo>
                    <a:lnTo>
                      <a:pt x="25" y="6"/>
                    </a:lnTo>
                    <a:lnTo>
                      <a:pt x="21" y="6"/>
                    </a:lnTo>
                    <a:lnTo>
                      <a:pt x="17" y="4"/>
                    </a:lnTo>
                    <a:lnTo>
                      <a:pt x="8" y="3"/>
                    </a:lnTo>
                    <a:lnTo>
                      <a:pt x="5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3" y="9"/>
                    </a:lnTo>
                    <a:lnTo>
                      <a:pt x="3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89" name="Freeform 155">
                <a:extLst>
                  <a:ext uri="{FF2B5EF4-FFF2-40B4-BE49-F238E27FC236}">
                    <a16:creationId xmlns:a16="http://schemas.microsoft.com/office/drawing/2014/main" id="{A1F96B53-B461-4A02-9E64-190C76F095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29" y="2452"/>
                <a:ext cx="25" cy="49"/>
              </a:xfrm>
              <a:custGeom>
                <a:avLst/>
                <a:gdLst>
                  <a:gd name="T0" fmla="*/ 23 w 25"/>
                  <a:gd name="T1" fmla="*/ 15 h 49"/>
                  <a:gd name="T2" fmla="*/ 24 w 25"/>
                  <a:gd name="T3" fmla="*/ 12 h 49"/>
                  <a:gd name="T4" fmla="*/ 24 w 25"/>
                  <a:gd name="T5" fmla="*/ 5 h 49"/>
                  <a:gd name="T6" fmla="*/ 25 w 25"/>
                  <a:gd name="T7" fmla="*/ 4 h 49"/>
                  <a:gd name="T8" fmla="*/ 23 w 25"/>
                  <a:gd name="T9" fmla="*/ 2 h 49"/>
                  <a:gd name="T10" fmla="*/ 20 w 25"/>
                  <a:gd name="T11" fmla="*/ 0 h 49"/>
                  <a:gd name="T12" fmla="*/ 16 w 25"/>
                  <a:gd name="T13" fmla="*/ 2 h 49"/>
                  <a:gd name="T14" fmla="*/ 14 w 25"/>
                  <a:gd name="T15" fmla="*/ 3 h 49"/>
                  <a:gd name="T16" fmla="*/ 13 w 25"/>
                  <a:gd name="T17" fmla="*/ 5 h 49"/>
                  <a:gd name="T18" fmla="*/ 11 w 25"/>
                  <a:gd name="T19" fmla="*/ 9 h 49"/>
                  <a:gd name="T20" fmla="*/ 7 w 25"/>
                  <a:gd name="T21" fmla="*/ 12 h 49"/>
                  <a:gd name="T22" fmla="*/ 0 w 25"/>
                  <a:gd name="T23" fmla="*/ 24 h 49"/>
                  <a:gd name="T24" fmla="*/ 0 w 25"/>
                  <a:gd name="T25" fmla="*/ 29 h 49"/>
                  <a:gd name="T26" fmla="*/ 0 w 25"/>
                  <a:gd name="T27" fmla="*/ 32 h 49"/>
                  <a:gd name="T28" fmla="*/ 4 w 25"/>
                  <a:gd name="T29" fmla="*/ 41 h 49"/>
                  <a:gd name="T30" fmla="*/ 7 w 25"/>
                  <a:gd name="T31" fmla="*/ 43 h 49"/>
                  <a:gd name="T32" fmla="*/ 8 w 25"/>
                  <a:gd name="T33" fmla="*/ 49 h 49"/>
                  <a:gd name="T34" fmla="*/ 11 w 25"/>
                  <a:gd name="T35" fmla="*/ 46 h 49"/>
                  <a:gd name="T36" fmla="*/ 12 w 25"/>
                  <a:gd name="T37" fmla="*/ 42 h 49"/>
                  <a:gd name="T38" fmla="*/ 13 w 25"/>
                  <a:gd name="T39" fmla="*/ 38 h 49"/>
                  <a:gd name="T40" fmla="*/ 17 w 25"/>
                  <a:gd name="T41" fmla="*/ 34 h 49"/>
                  <a:gd name="T42" fmla="*/ 18 w 25"/>
                  <a:gd name="T43" fmla="*/ 32 h 49"/>
                  <a:gd name="T44" fmla="*/ 22 w 25"/>
                  <a:gd name="T45" fmla="*/ 17 h 49"/>
                  <a:gd name="T46" fmla="*/ 23 w 25"/>
                  <a:gd name="T47" fmla="*/ 15 h 49"/>
                  <a:gd name="T48" fmla="*/ 23 w 25"/>
                  <a:gd name="T49" fmla="*/ 15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5" h="49">
                    <a:moveTo>
                      <a:pt x="23" y="15"/>
                    </a:moveTo>
                    <a:lnTo>
                      <a:pt x="24" y="12"/>
                    </a:lnTo>
                    <a:lnTo>
                      <a:pt x="24" y="5"/>
                    </a:lnTo>
                    <a:lnTo>
                      <a:pt x="25" y="4"/>
                    </a:lnTo>
                    <a:lnTo>
                      <a:pt x="23" y="2"/>
                    </a:lnTo>
                    <a:lnTo>
                      <a:pt x="20" y="0"/>
                    </a:lnTo>
                    <a:lnTo>
                      <a:pt x="16" y="2"/>
                    </a:lnTo>
                    <a:lnTo>
                      <a:pt x="14" y="3"/>
                    </a:lnTo>
                    <a:lnTo>
                      <a:pt x="13" y="5"/>
                    </a:lnTo>
                    <a:lnTo>
                      <a:pt x="11" y="9"/>
                    </a:lnTo>
                    <a:lnTo>
                      <a:pt x="7" y="12"/>
                    </a:lnTo>
                    <a:lnTo>
                      <a:pt x="0" y="24"/>
                    </a:lnTo>
                    <a:lnTo>
                      <a:pt x="0" y="29"/>
                    </a:lnTo>
                    <a:lnTo>
                      <a:pt x="0" y="32"/>
                    </a:lnTo>
                    <a:lnTo>
                      <a:pt x="4" y="41"/>
                    </a:lnTo>
                    <a:lnTo>
                      <a:pt x="7" y="43"/>
                    </a:lnTo>
                    <a:lnTo>
                      <a:pt x="8" y="49"/>
                    </a:lnTo>
                    <a:lnTo>
                      <a:pt x="11" y="46"/>
                    </a:lnTo>
                    <a:lnTo>
                      <a:pt x="12" y="42"/>
                    </a:lnTo>
                    <a:lnTo>
                      <a:pt x="13" y="38"/>
                    </a:lnTo>
                    <a:lnTo>
                      <a:pt x="17" y="34"/>
                    </a:lnTo>
                    <a:lnTo>
                      <a:pt x="18" y="32"/>
                    </a:lnTo>
                    <a:lnTo>
                      <a:pt x="22" y="17"/>
                    </a:lnTo>
                    <a:lnTo>
                      <a:pt x="23" y="15"/>
                    </a:lnTo>
                    <a:lnTo>
                      <a:pt x="23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90" name="Freeform 156">
                <a:extLst>
                  <a:ext uri="{FF2B5EF4-FFF2-40B4-BE49-F238E27FC236}">
                    <a16:creationId xmlns:a16="http://schemas.microsoft.com/office/drawing/2014/main" id="{DA4ABA88-EB9F-4068-BFC1-11A83FA248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33" y="2619"/>
                <a:ext cx="17" cy="19"/>
              </a:xfrm>
              <a:custGeom>
                <a:avLst/>
                <a:gdLst>
                  <a:gd name="T0" fmla="*/ 14 w 17"/>
                  <a:gd name="T1" fmla="*/ 15 h 19"/>
                  <a:gd name="T2" fmla="*/ 17 w 17"/>
                  <a:gd name="T3" fmla="*/ 12 h 19"/>
                  <a:gd name="T4" fmla="*/ 16 w 17"/>
                  <a:gd name="T5" fmla="*/ 11 h 19"/>
                  <a:gd name="T6" fmla="*/ 16 w 17"/>
                  <a:gd name="T7" fmla="*/ 6 h 19"/>
                  <a:gd name="T8" fmla="*/ 13 w 17"/>
                  <a:gd name="T9" fmla="*/ 4 h 19"/>
                  <a:gd name="T10" fmla="*/ 8 w 17"/>
                  <a:gd name="T11" fmla="*/ 0 h 19"/>
                  <a:gd name="T12" fmla="*/ 4 w 17"/>
                  <a:gd name="T13" fmla="*/ 2 h 19"/>
                  <a:gd name="T14" fmla="*/ 2 w 17"/>
                  <a:gd name="T15" fmla="*/ 0 h 19"/>
                  <a:gd name="T16" fmla="*/ 0 w 17"/>
                  <a:gd name="T17" fmla="*/ 2 h 19"/>
                  <a:gd name="T18" fmla="*/ 1 w 17"/>
                  <a:gd name="T19" fmla="*/ 2 h 19"/>
                  <a:gd name="T20" fmla="*/ 3 w 17"/>
                  <a:gd name="T21" fmla="*/ 5 h 19"/>
                  <a:gd name="T22" fmla="*/ 4 w 17"/>
                  <a:gd name="T23" fmla="*/ 6 h 19"/>
                  <a:gd name="T24" fmla="*/ 5 w 17"/>
                  <a:gd name="T25" fmla="*/ 8 h 19"/>
                  <a:gd name="T26" fmla="*/ 5 w 17"/>
                  <a:gd name="T27" fmla="*/ 12 h 19"/>
                  <a:gd name="T28" fmla="*/ 7 w 17"/>
                  <a:gd name="T29" fmla="*/ 12 h 19"/>
                  <a:gd name="T30" fmla="*/ 8 w 17"/>
                  <a:gd name="T31" fmla="*/ 15 h 19"/>
                  <a:gd name="T32" fmla="*/ 10 w 17"/>
                  <a:gd name="T33" fmla="*/ 17 h 19"/>
                  <a:gd name="T34" fmla="*/ 12 w 17"/>
                  <a:gd name="T35" fmla="*/ 19 h 19"/>
                  <a:gd name="T36" fmla="*/ 13 w 17"/>
                  <a:gd name="T37" fmla="*/ 17 h 19"/>
                  <a:gd name="T38" fmla="*/ 14 w 17"/>
                  <a:gd name="T39" fmla="*/ 17 h 19"/>
                  <a:gd name="T40" fmla="*/ 14 w 17"/>
                  <a:gd name="T41" fmla="*/ 15 h 19"/>
                  <a:gd name="T42" fmla="*/ 14 w 17"/>
                  <a:gd name="T43" fmla="*/ 15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" h="19">
                    <a:moveTo>
                      <a:pt x="14" y="15"/>
                    </a:moveTo>
                    <a:lnTo>
                      <a:pt x="17" y="12"/>
                    </a:lnTo>
                    <a:lnTo>
                      <a:pt x="16" y="11"/>
                    </a:lnTo>
                    <a:lnTo>
                      <a:pt x="16" y="6"/>
                    </a:lnTo>
                    <a:lnTo>
                      <a:pt x="13" y="4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1" y="2"/>
                    </a:lnTo>
                    <a:lnTo>
                      <a:pt x="3" y="5"/>
                    </a:lnTo>
                    <a:lnTo>
                      <a:pt x="4" y="6"/>
                    </a:lnTo>
                    <a:lnTo>
                      <a:pt x="5" y="8"/>
                    </a:lnTo>
                    <a:lnTo>
                      <a:pt x="5" y="12"/>
                    </a:lnTo>
                    <a:lnTo>
                      <a:pt x="7" y="12"/>
                    </a:lnTo>
                    <a:lnTo>
                      <a:pt x="8" y="15"/>
                    </a:lnTo>
                    <a:lnTo>
                      <a:pt x="10" y="17"/>
                    </a:lnTo>
                    <a:lnTo>
                      <a:pt x="12" y="19"/>
                    </a:lnTo>
                    <a:lnTo>
                      <a:pt x="13" y="17"/>
                    </a:lnTo>
                    <a:lnTo>
                      <a:pt x="14" y="17"/>
                    </a:lnTo>
                    <a:lnTo>
                      <a:pt x="14" y="15"/>
                    </a:lnTo>
                    <a:lnTo>
                      <a:pt x="14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91" name="Freeform 157">
                <a:extLst>
                  <a:ext uri="{FF2B5EF4-FFF2-40B4-BE49-F238E27FC236}">
                    <a16:creationId xmlns:a16="http://schemas.microsoft.com/office/drawing/2014/main" id="{ACD0735C-0437-40CB-A0D9-A7CB33EDBD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53" y="2641"/>
                <a:ext cx="18" cy="21"/>
              </a:xfrm>
              <a:custGeom>
                <a:avLst/>
                <a:gdLst>
                  <a:gd name="T0" fmla="*/ 10 w 18"/>
                  <a:gd name="T1" fmla="*/ 6 h 21"/>
                  <a:gd name="T2" fmla="*/ 7 w 18"/>
                  <a:gd name="T3" fmla="*/ 3 h 21"/>
                  <a:gd name="T4" fmla="*/ 2 w 18"/>
                  <a:gd name="T5" fmla="*/ 0 h 21"/>
                  <a:gd name="T6" fmla="*/ 0 w 18"/>
                  <a:gd name="T7" fmla="*/ 2 h 21"/>
                  <a:gd name="T8" fmla="*/ 3 w 18"/>
                  <a:gd name="T9" fmla="*/ 3 h 21"/>
                  <a:gd name="T10" fmla="*/ 3 w 18"/>
                  <a:gd name="T11" fmla="*/ 6 h 21"/>
                  <a:gd name="T12" fmla="*/ 2 w 18"/>
                  <a:gd name="T13" fmla="*/ 14 h 21"/>
                  <a:gd name="T14" fmla="*/ 1 w 18"/>
                  <a:gd name="T15" fmla="*/ 16 h 21"/>
                  <a:gd name="T16" fmla="*/ 2 w 18"/>
                  <a:gd name="T17" fmla="*/ 21 h 21"/>
                  <a:gd name="T18" fmla="*/ 6 w 18"/>
                  <a:gd name="T19" fmla="*/ 18 h 21"/>
                  <a:gd name="T20" fmla="*/ 10 w 18"/>
                  <a:gd name="T21" fmla="*/ 18 h 21"/>
                  <a:gd name="T22" fmla="*/ 14 w 18"/>
                  <a:gd name="T23" fmla="*/ 14 h 21"/>
                  <a:gd name="T24" fmla="*/ 15 w 18"/>
                  <a:gd name="T25" fmla="*/ 14 h 21"/>
                  <a:gd name="T26" fmla="*/ 17 w 18"/>
                  <a:gd name="T27" fmla="*/ 10 h 21"/>
                  <a:gd name="T28" fmla="*/ 18 w 18"/>
                  <a:gd name="T29" fmla="*/ 7 h 21"/>
                  <a:gd name="T30" fmla="*/ 17 w 18"/>
                  <a:gd name="T31" fmla="*/ 6 h 21"/>
                  <a:gd name="T32" fmla="*/ 15 w 18"/>
                  <a:gd name="T33" fmla="*/ 8 h 21"/>
                  <a:gd name="T34" fmla="*/ 15 w 18"/>
                  <a:gd name="T35" fmla="*/ 6 h 21"/>
                  <a:gd name="T36" fmla="*/ 10 w 18"/>
                  <a:gd name="T37" fmla="*/ 6 h 21"/>
                  <a:gd name="T38" fmla="*/ 10 w 18"/>
                  <a:gd name="T39" fmla="*/ 6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8" h="21">
                    <a:moveTo>
                      <a:pt x="10" y="6"/>
                    </a:moveTo>
                    <a:lnTo>
                      <a:pt x="7" y="3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3" y="3"/>
                    </a:lnTo>
                    <a:lnTo>
                      <a:pt x="3" y="6"/>
                    </a:lnTo>
                    <a:lnTo>
                      <a:pt x="2" y="14"/>
                    </a:lnTo>
                    <a:lnTo>
                      <a:pt x="1" y="16"/>
                    </a:lnTo>
                    <a:lnTo>
                      <a:pt x="2" y="21"/>
                    </a:lnTo>
                    <a:lnTo>
                      <a:pt x="6" y="18"/>
                    </a:lnTo>
                    <a:lnTo>
                      <a:pt x="10" y="18"/>
                    </a:lnTo>
                    <a:lnTo>
                      <a:pt x="14" y="14"/>
                    </a:lnTo>
                    <a:lnTo>
                      <a:pt x="15" y="14"/>
                    </a:lnTo>
                    <a:lnTo>
                      <a:pt x="17" y="10"/>
                    </a:lnTo>
                    <a:lnTo>
                      <a:pt x="18" y="7"/>
                    </a:lnTo>
                    <a:lnTo>
                      <a:pt x="17" y="6"/>
                    </a:lnTo>
                    <a:lnTo>
                      <a:pt x="15" y="8"/>
                    </a:lnTo>
                    <a:lnTo>
                      <a:pt x="15" y="6"/>
                    </a:lnTo>
                    <a:lnTo>
                      <a:pt x="10" y="6"/>
                    </a:lnTo>
                    <a:lnTo>
                      <a:pt x="10" y="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92" name="Freeform 158">
                <a:extLst>
                  <a:ext uri="{FF2B5EF4-FFF2-40B4-BE49-F238E27FC236}">
                    <a16:creationId xmlns:a16="http://schemas.microsoft.com/office/drawing/2014/main" id="{B037896F-9468-4897-9E9B-16B57D6F9D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54" y="2673"/>
                <a:ext cx="64" cy="56"/>
              </a:xfrm>
              <a:custGeom>
                <a:avLst/>
                <a:gdLst>
                  <a:gd name="T0" fmla="*/ 2 w 64"/>
                  <a:gd name="T1" fmla="*/ 27 h 56"/>
                  <a:gd name="T2" fmla="*/ 0 w 64"/>
                  <a:gd name="T3" fmla="*/ 35 h 56"/>
                  <a:gd name="T4" fmla="*/ 4 w 64"/>
                  <a:gd name="T5" fmla="*/ 37 h 56"/>
                  <a:gd name="T6" fmla="*/ 7 w 64"/>
                  <a:gd name="T7" fmla="*/ 31 h 56"/>
                  <a:gd name="T8" fmla="*/ 9 w 64"/>
                  <a:gd name="T9" fmla="*/ 26 h 56"/>
                  <a:gd name="T10" fmla="*/ 13 w 64"/>
                  <a:gd name="T11" fmla="*/ 28 h 56"/>
                  <a:gd name="T12" fmla="*/ 15 w 64"/>
                  <a:gd name="T13" fmla="*/ 29 h 56"/>
                  <a:gd name="T14" fmla="*/ 18 w 64"/>
                  <a:gd name="T15" fmla="*/ 29 h 56"/>
                  <a:gd name="T16" fmla="*/ 22 w 64"/>
                  <a:gd name="T17" fmla="*/ 28 h 56"/>
                  <a:gd name="T18" fmla="*/ 24 w 64"/>
                  <a:gd name="T19" fmla="*/ 26 h 56"/>
                  <a:gd name="T20" fmla="*/ 31 w 64"/>
                  <a:gd name="T21" fmla="*/ 31 h 56"/>
                  <a:gd name="T22" fmla="*/ 31 w 64"/>
                  <a:gd name="T23" fmla="*/ 34 h 56"/>
                  <a:gd name="T24" fmla="*/ 29 w 64"/>
                  <a:gd name="T25" fmla="*/ 37 h 56"/>
                  <a:gd name="T26" fmla="*/ 30 w 64"/>
                  <a:gd name="T27" fmla="*/ 44 h 56"/>
                  <a:gd name="T28" fmla="*/ 35 w 64"/>
                  <a:gd name="T29" fmla="*/ 49 h 56"/>
                  <a:gd name="T30" fmla="*/ 43 w 64"/>
                  <a:gd name="T31" fmla="*/ 52 h 56"/>
                  <a:gd name="T32" fmla="*/ 47 w 64"/>
                  <a:gd name="T33" fmla="*/ 49 h 56"/>
                  <a:gd name="T34" fmla="*/ 46 w 64"/>
                  <a:gd name="T35" fmla="*/ 54 h 56"/>
                  <a:gd name="T36" fmla="*/ 48 w 64"/>
                  <a:gd name="T37" fmla="*/ 56 h 56"/>
                  <a:gd name="T38" fmla="*/ 52 w 64"/>
                  <a:gd name="T39" fmla="*/ 48 h 56"/>
                  <a:gd name="T40" fmla="*/ 48 w 64"/>
                  <a:gd name="T41" fmla="*/ 40 h 56"/>
                  <a:gd name="T42" fmla="*/ 51 w 64"/>
                  <a:gd name="T43" fmla="*/ 36 h 56"/>
                  <a:gd name="T44" fmla="*/ 53 w 64"/>
                  <a:gd name="T45" fmla="*/ 34 h 56"/>
                  <a:gd name="T46" fmla="*/ 58 w 64"/>
                  <a:gd name="T47" fmla="*/ 44 h 56"/>
                  <a:gd name="T48" fmla="*/ 59 w 64"/>
                  <a:gd name="T49" fmla="*/ 46 h 56"/>
                  <a:gd name="T50" fmla="*/ 60 w 64"/>
                  <a:gd name="T51" fmla="*/ 37 h 56"/>
                  <a:gd name="T52" fmla="*/ 64 w 64"/>
                  <a:gd name="T53" fmla="*/ 32 h 56"/>
                  <a:gd name="T54" fmla="*/ 64 w 64"/>
                  <a:gd name="T55" fmla="*/ 28 h 56"/>
                  <a:gd name="T56" fmla="*/ 61 w 64"/>
                  <a:gd name="T57" fmla="*/ 25 h 56"/>
                  <a:gd name="T58" fmla="*/ 63 w 64"/>
                  <a:gd name="T59" fmla="*/ 20 h 56"/>
                  <a:gd name="T60" fmla="*/ 60 w 64"/>
                  <a:gd name="T61" fmla="*/ 18 h 56"/>
                  <a:gd name="T62" fmla="*/ 57 w 64"/>
                  <a:gd name="T63" fmla="*/ 14 h 56"/>
                  <a:gd name="T64" fmla="*/ 58 w 64"/>
                  <a:gd name="T65" fmla="*/ 8 h 56"/>
                  <a:gd name="T66" fmla="*/ 57 w 64"/>
                  <a:gd name="T67" fmla="*/ 5 h 56"/>
                  <a:gd name="T68" fmla="*/ 55 w 64"/>
                  <a:gd name="T69" fmla="*/ 2 h 56"/>
                  <a:gd name="T70" fmla="*/ 48 w 64"/>
                  <a:gd name="T71" fmla="*/ 1 h 56"/>
                  <a:gd name="T72" fmla="*/ 50 w 64"/>
                  <a:gd name="T73" fmla="*/ 9 h 56"/>
                  <a:gd name="T74" fmla="*/ 46 w 64"/>
                  <a:gd name="T75" fmla="*/ 8 h 56"/>
                  <a:gd name="T76" fmla="*/ 42 w 64"/>
                  <a:gd name="T77" fmla="*/ 10 h 56"/>
                  <a:gd name="T78" fmla="*/ 39 w 64"/>
                  <a:gd name="T79" fmla="*/ 16 h 56"/>
                  <a:gd name="T80" fmla="*/ 35 w 64"/>
                  <a:gd name="T81" fmla="*/ 14 h 56"/>
                  <a:gd name="T82" fmla="*/ 32 w 64"/>
                  <a:gd name="T83" fmla="*/ 19 h 56"/>
                  <a:gd name="T84" fmla="*/ 29 w 64"/>
                  <a:gd name="T85" fmla="*/ 20 h 56"/>
                  <a:gd name="T86" fmla="*/ 24 w 64"/>
                  <a:gd name="T87" fmla="*/ 23 h 56"/>
                  <a:gd name="T88" fmla="*/ 25 w 64"/>
                  <a:gd name="T89" fmla="*/ 22 h 56"/>
                  <a:gd name="T90" fmla="*/ 26 w 64"/>
                  <a:gd name="T91" fmla="*/ 17 h 56"/>
                  <a:gd name="T92" fmla="*/ 21 w 64"/>
                  <a:gd name="T93" fmla="*/ 14 h 56"/>
                  <a:gd name="T94" fmla="*/ 15 w 64"/>
                  <a:gd name="T95" fmla="*/ 18 h 56"/>
                  <a:gd name="T96" fmla="*/ 13 w 64"/>
                  <a:gd name="T97" fmla="*/ 21 h 56"/>
                  <a:gd name="T98" fmla="*/ 5 w 64"/>
                  <a:gd name="T99" fmla="*/ 22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64" h="56">
                    <a:moveTo>
                      <a:pt x="5" y="22"/>
                    </a:moveTo>
                    <a:lnTo>
                      <a:pt x="2" y="27"/>
                    </a:lnTo>
                    <a:lnTo>
                      <a:pt x="2" y="29"/>
                    </a:lnTo>
                    <a:lnTo>
                      <a:pt x="0" y="35"/>
                    </a:lnTo>
                    <a:lnTo>
                      <a:pt x="1" y="37"/>
                    </a:lnTo>
                    <a:lnTo>
                      <a:pt x="4" y="37"/>
                    </a:lnTo>
                    <a:lnTo>
                      <a:pt x="5" y="34"/>
                    </a:lnTo>
                    <a:lnTo>
                      <a:pt x="7" y="31"/>
                    </a:lnTo>
                    <a:lnTo>
                      <a:pt x="7" y="29"/>
                    </a:lnTo>
                    <a:lnTo>
                      <a:pt x="9" y="26"/>
                    </a:lnTo>
                    <a:lnTo>
                      <a:pt x="13" y="27"/>
                    </a:lnTo>
                    <a:lnTo>
                      <a:pt x="13" y="28"/>
                    </a:lnTo>
                    <a:lnTo>
                      <a:pt x="13" y="30"/>
                    </a:lnTo>
                    <a:lnTo>
                      <a:pt x="15" y="29"/>
                    </a:lnTo>
                    <a:lnTo>
                      <a:pt x="17" y="27"/>
                    </a:lnTo>
                    <a:lnTo>
                      <a:pt x="18" y="29"/>
                    </a:lnTo>
                    <a:lnTo>
                      <a:pt x="22" y="30"/>
                    </a:lnTo>
                    <a:lnTo>
                      <a:pt x="22" y="28"/>
                    </a:lnTo>
                    <a:lnTo>
                      <a:pt x="22" y="26"/>
                    </a:lnTo>
                    <a:lnTo>
                      <a:pt x="24" y="26"/>
                    </a:lnTo>
                    <a:lnTo>
                      <a:pt x="30" y="28"/>
                    </a:lnTo>
                    <a:lnTo>
                      <a:pt x="31" y="31"/>
                    </a:lnTo>
                    <a:lnTo>
                      <a:pt x="32" y="34"/>
                    </a:lnTo>
                    <a:lnTo>
                      <a:pt x="31" y="34"/>
                    </a:lnTo>
                    <a:lnTo>
                      <a:pt x="30" y="35"/>
                    </a:lnTo>
                    <a:lnTo>
                      <a:pt x="29" y="37"/>
                    </a:lnTo>
                    <a:lnTo>
                      <a:pt x="30" y="39"/>
                    </a:lnTo>
                    <a:lnTo>
                      <a:pt x="30" y="44"/>
                    </a:lnTo>
                    <a:lnTo>
                      <a:pt x="31" y="47"/>
                    </a:lnTo>
                    <a:lnTo>
                      <a:pt x="35" y="49"/>
                    </a:lnTo>
                    <a:lnTo>
                      <a:pt x="41" y="52"/>
                    </a:lnTo>
                    <a:lnTo>
                      <a:pt x="43" y="52"/>
                    </a:lnTo>
                    <a:lnTo>
                      <a:pt x="46" y="49"/>
                    </a:lnTo>
                    <a:lnTo>
                      <a:pt x="47" y="49"/>
                    </a:lnTo>
                    <a:lnTo>
                      <a:pt x="46" y="53"/>
                    </a:lnTo>
                    <a:lnTo>
                      <a:pt x="46" y="54"/>
                    </a:lnTo>
                    <a:lnTo>
                      <a:pt x="47" y="56"/>
                    </a:lnTo>
                    <a:lnTo>
                      <a:pt x="48" y="56"/>
                    </a:lnTo>
                    <a:lnTo>
                      <a:pt x="52" y="51"/>
                    </a:lnTo>
                    <a:lnTo>
                      <a:pt x="52" y="48"/>
                    </a:lnTo>
                    <a:lnTo>
                      <a:pt x="50" y="44"/>
                    </a:lnTo>
                    <a:lnTo>
                      <a:pt x="48" y="40"/>
                    </a:lnTo>
                    <a:lnTo>
                      <a:pt x="49" y="39"/>
                    </a:lnTo>
                    <a:lnTo>
                      <a:pt x="51" y="36"/>
                    </a:lnTo>
                    <a:lnTo>
                      <a:pt x="52" y="32"/>
                    </a:lnTo>
                    <a:lnTo>
                      <a:pt x="53" y="34"/>
                    </a:lnTo>
                    <a:lnTo>
                      <a:pt x="57" y="38"/>
                    </a:lnTo>
                    <a:lnTo>
                      <a:pt x="58" y="44"/>
                    </a:lnTo>
                    <a:lnTo>
                      <a:pt x="59" y="46"/>
                    </a:lnTo>
                    <a:lnTo>
                      <a:pt x="59" y="46"/>
                    </a:lnTo>
                    <a:lnTo>
                      <a:pt x="59" y="39"/>
                    </a:lnTo>
                    <a:lnTo>
                      <a:pt x="60" y="37"/>
                    </a:lnTo>
                    <a:lnTo>
                      <a:pt x="63" y="35"/>
                    </a:lnTo>
                    <a:lnTo>
                      <a:pt x="64" y="32"/>
                    </a:lnTo>
                    <a:lnTo>
                      <a:pt x="64" y="31"/>
                    </a:lnTo>
                    <a:lnTo>
                      <a:pt x="64" y="28"/>
                    </a:lnTo>
                    <a:lnTo>
                      <a:pt x="63" y="26"/>
                    </a:lnTo>
                    <a:lnTo>
                      <a:pt x="61" y="25"/>
                    </a:lnTo>
                    <a:lnTo>
                      <a:pt x="61" y="22"/>
                    </a:lnTo>
                    <a:lnTo>
                      <a:pt x="63" y="20"/>
                    </a:lnTo>
                    <a:lnTo>
                      <a:pt x="60" y="20"/>
                    </a:lnTo>
                    <a:lnTo>
                      <a:pt x="60" y="18"/>
                    </a:lnTo>
                    <a:lnTo>
                      <a:pt x="60" y="16"/>
                    </a:lnTo>
                    <a:lnTo>
                      <a:pt x="57" y="14"/>
                    </a:lnTo>
                    <a:lnTo>
                      <a:pt x="60" y="12"/>
                    </a:lnTo>
                    <a:lnTo>
                      <a:pt x="58" y="8"/>
                    </a:lnTo>
                    <a:lnTo>
                      <a:pt x="59" y="5"/>
                    </a:lnTo>
                    <a:lnTo>
                      <a:pt x="57" y="5"/>
                    </a:lnTo>
                    <a:lnTo>
                      <a:pt x="56" y="5"/>
                    </a:lnTo>
                    <a:lnTo>
                      <a:pt x="55" y="2"/>
                    </a:lnTo>
                    <a:lnTo>
                      <a:pt x="50" y="0"/>
                    </a:lnTo>
                    <a:lnTo>
                      <a:pt x="48" y="1"/>
                    </a:lnTo>
                    <a:lnTo>
                      <a:pt x="50" y="6"/>
                    </a:lnTo>
                    <a:lnTo>
                      <a:pt x="50" y="9"/>
                    </a:lnTo>
                    <a:lnTo>
                      <a:pt x="48" y="9"/>
                    </a:lnTo>
                    <a:lnTo>
                      <a:pt x="46" y="8"/>
                    </a:lnTo>
                    <a:lnTo>
                      <a:pt x="44" y="11"/>
                    </a:lnTo>
                    <a:lnTo>
                      <a:pt x="42" y="10"/>
                    </a:lnTo>
                    <a:lnTo>
                      <a:pt x="40" y="10"/>
                    </a:lnTo>
                    <a:lnTo>
                      <a:pt x="39" y="16"/>
                    </a:lnTo>
                    <a:lnTo>
                      <a:pt x="38" y="16"/>
                    </a:lnTo>
                    <a:lnTo>
                      <a:pt x="35" y="14"/>
                    </a:lnTo>
                    <a:lnTo>
                      <a:pt x="33" y="16"/>
                    </a:lnTo>
                    <a:lnTo>
                      <a:pt x="32" y="19"/>
                    </a:lnTo>
                    <a:lnTo>
                      <a:pt x="31" y="20"/>
                    </a:lnTo>
                    <a:lnTo>
                      <a:pt x="29" y="20"/>
                    </a:lnTo>
                    <a:lnTo>
                      <a:pt x="26" y="22"/>
                    </a:lnTo>
                    <a:lnTo>
                      <a:pt x="24" y="23"/>
                    </a:lnTo>
                    <a:lnTo>
                      <a:pt x="24" y="23"/>
                    </a:lnTo>
                    <a:lnTo>
                      <a:pt x="25" y="22"/>
                    </a:lnTo>
                    <a:lnTo>
                      <a:pt x="27" y="19"/>
                    </a:lnTo>
                    <a:lnTo>
                      <a:pt x="26" y="17"/>
                    </a:lnTo>
                    <a:lnTo>
                      <a:pt x="24" y="14"/>
                    </a:lnTo>
                    <a:lnTo>
                      <a:pt x="21" y="14"/>
                    </a:lnTo>
                    <a:lnTo>
                      <a:pt x="17" y="16"/>
                    </a:lnTo>
                    <a:lnTo>
                      <a:pt x="15" y="18"/>
                    </a:lnTo>
                    <a:lnTo>
                      <a:pt x="15" y="20"/>
                    </a:lnTo>
                    <a:lnTo>
                      <a:pt x="13" y="21"/>
                    </a:lnTo>
                    <a:lnTo>
                      <a:pt x="8" y="22"/>
                    </a:lnTo>
                    <a:lnTo>
                      <a:pt x="5" y="22"/>
                    </a:lnTo>
                    <a:lnTo>
                      <a:pt x="5" y="2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93" name="Freeform 159">
                <a:extLst>
                  <a:ext uri="{FF2B5EF4-FFF2-40B4-BE49-F238E27FC236}">
                    <a16:creationId xmlns:a16="http://schemas.microsoft.com/office/drawing/2014/main" id="{ACECB43B-6319-4A2D-BEC2-D49D32E4DA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55" y="2611"/>
                <a:ext cx="3" cy="2"/>
              </a:xfrm>
              <a:custGeom>
                <a:avLst/>
                <a:gdLst>
                  <a:gd name="T0" fmla="*/ 3 w 3"/>
                  <a:gd name="T1" fmla="*/ 2 h 2"/>
                  <a:gd name="T2" fmla="*/ 3 w 3"/>
                  <a:gd name="T3" fmla="*/ 2 h 2"/>
                  <a:gd name="T4" fmla="*/ 0 w 3"/>
                  <a:gd name="T5" fmla="*/ 0 h 2"/>
                  <a:gd name="T6" fmla="*/ 3 w 3"/>
                  <a:gd name="T7" fmla="*/ 2 h 2"/>
                  <a:gd name="T8" fmla="*/ 3 w 3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">
                    <a:moveTo>
                      <a:pt x="3" y="2"/>
                    </a:moveTo>
                    <a:lnTo>
                      <a:pt x="3" y="2"/>
                    </a:lnTo>
                    <a:lnTo>
                      <a:pt x="0" y="0"/>
                    </a:lnTo>
                    <a:lnTo>
                      <a:pt x="3" y="2"/>
                    </a:lnTo>
                    <a:lnTo>
                      <a:pt x="3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94" name="Freeform 160">
                <a:extLst>
                  <a:ext uri="{FF2B5EF4-FFF2-40B4-BE49-F238E27FC236}">
                    <a16:creationId xmlns:a16="http://schemas.microsoft.com/office/drawing/2014/main" id="{B8ECAD7E-B556-46F6-BC28-0D344304A2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59" y="2869"/>
                <a:ext cx="7" cy="11"/>
              </a:xfrm>
              <a:custGeom>
                <a:avLst/>
                <a:gdLst>
                  <a:gd name="T0" fmla="*/ 7 w 7"/>
                  <a:gd name="T1" fmla="*/ 0 h 11"/>
                  <a:gd name="T2" fmla="*/ 3 w 7"/>
                  <a:gd name="T3" fmla="*/ 2 h 11"/>
                  <a:gd name="T4" fmla="*/ 1 w 7"/>
                  <a:gd name="T5" fmla="*/ 4 h 11"/>
                  <a:gd name="T6" fmla="*/ 0 w 7"/>
                  <a:gd name="T7" fmla="*/ 10 h 11"/>
                  <a:gd name="T8" fmla="*/ 4 w 7"/>
                  <a:gd name="T9" fmla="*/ 11 h 11"/>
                  <a:gd name="T10" fmla="*/ 7 w 7"/>
                  <a:gd name="T11" fmla="*/ 3 h 11"/>
                  <a:gd name="T12" fmla="*/ 7 w 7"/>
                  <a:gd name="T13" fmla="*/ 0 h 11"/>
                  <a:gd name="T14" fmla="*/ 7 w 7"/>
                  <a:gd name="T1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" h="11">
                    <a:moveTo>
                      <a:pt x="7" y="0"/>
                    </a:moveTo>
                    <a:lnTo>
                      <a:pt x="3" y="2"/>
                    </a:lnTo>
                    <a:lnTo>
                      <a:pt x="1" y="4"/>
                    </a:lnTo>
                    <a:lnTo>
                      <a:pt x="0" y="10"/>
                    </a:lnTo>
                    <a:lnTo>
                      <a:pt x="4" y="11"/>
                    </a:lnTo>
                    <a:lnTo>
                      <a:pt x="7" y="3"/>
                    </a:lnTo>
                    <a:lnTo>
                      <a:pt x="7" y="0"/>
                    </a:lnTo>
                    <a:lnTo>
                      <a:pt x="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95" name="Freeform 161">
                <a:extLst>
                  <a:ext uri="{FF2B5EF4-FFF2-40B4-BE49-F238E27FC236}">
                    <a16:creationId xmlns:a16="http://schemas.microsoft.com/office/drawing/2014/main" id="{EE3DDDAC-6263-4439-A1D9-416D4905C5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61" y="2655"/>
                <a:ext cx="16" cy="27"/>
              </a:xfrm>
              <a:custGeom>
                <a:avLst/>
                <a:gdLst>
                  <a:gd name="T0" fmla="*/ 2 w 16"/>
                  <a:gd name="T1" fmla="*/ 21 h 27"/>
                  <a:gd name="T2" fmla="*/ 7 w 16"/>
                  <a:gd name="T3" fmla="*/ 23 h 27"/>
                  <a:gd name="T4" fmla="*/ 8 w 16"/>
                  <a:gd name="T5" fmla="*/ 27 h 27"/>
                  <a:gd name="T6" fmla="*/ 9 w 16"/>
                  <a:gd name="T7" fmla="*/ 27 h 27"/>
                  <a:gd name="T8" fmla="*/ 12 w 16"/>
                  <a:gd name="T9" fmla="*/ 24 h 27"/>
                  <a:gd name="T10" fmla="*/ 11 w 16"/>
                  <a:gd name="T11" fmla="*/ 21 h 27"/>
                  <a:gd name="T12" fmla="*/ 10 w 16"/>
                  <a:gd name="T13" fmla="*/ 19 h 27"/>
                  <a:gd name="T14" fmla="*/ 10 w 16"/>
                  <a:gd name="T15" fmla="*/ 17 h 27"/>
                  <a:gd name="T16" fmla="*/ 12 w 16"/>
                  <a:gd name="T17" fmla="*/ 11 h 27"/>
                  <a:gd name="T18" fmla="*/ 12 w 16"/>
                  <a:gd name="T19" fmla="*/ 7 h 27"/>
                  <a:gd name="T20" fmla="*/ 15 w 16"/>
                  <a:gd name="T21" fmla="*/ 5 h 27"/>
                  <a:gd name="T22" fmla="*/ 16 w 16"/>
                  <a:gd name="T23" fmla="*/ 3 h 27"/>
                  <a:gd name="T24" fmla="*/ 14 w 16"/>
                  <a:gd name="T25" fmla="*/ 1 h 27"/>
                  <a:gd name="T26" fmla="*/ 11 w 16"/>
                  <a:gd name="T27" fmla="*/ 0 h 27"/>
                  <a:gd name="T28" fmla="*/ 8 w 16"/>
                  <a:gd name="T29" fmla="*/ 1 h 27"/>
                  <a:gd name="T30" fmla="*/ 7 w 16"/>
                  <a:gd name="T31" fmla="*/ 2 h 27"/>
                  <a:gd name="T32" fmla="*/ 8 w 16"/>
                  <a:gd name="T33" fmla="*/ 3 h 27"/>
                  <a:gd name="T34" fmla="*/ 6 w 16"/>
                  <a:gd name="T35" fmla="*/ 5 h 27"/>
                  <a:gd name="T36" fmla="*/ 6 w 16"/>
                  <a:gd name="T37" fmla="*/ 10 h 27"/>
                  <a:gd name="T38" fmla="*/ 5 w 16"/>
                  <a:gd name="T39" fmla="*/ 13 h 27"/>
                  <a:gd name="T40" fmla="*/ 2 w 16"/>
                  <a:gd name="T41" fmla="*/ 14 h 27"/>
                  <a:gd name="T42" fmla="*/ 0 w 16"/>
                  <a:gd name="T43" fmla="*/ 15 h 27"/>
                  <a:gd name="T44" fmla="*/ 0 w 16"/>
                  <a:gd name="T45" fmla="*/ 19 h 27"/>
                  <a:gd name="T46" fmla="*/ 2 w 16"/>
                  <a:gd name="T47" fmla="*/ 21 h 27"/>
                  <a:gd name="T48" fmla="*/ 2 w 16"/>
                  <a:gd name="T49" fmla="*/ 21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6" h="27">
                    <a:moveTo>
                      <a:pt x="2" y="21"/>
                    </a:moveTo>
                    <a:lnTo>
                      <a:pt x="7" y="23"/>
                    </a:lnTo>
                    <a:lnTo>
                      <a:pt x="8" y="27"/>
                    </a:lnTo>
                    <a:lnTo>
                      <a:pt x="9" y="27"/>
                    </a:lnTo>
                    <a:lnTo>
                      <a:pt x="12" y="24"/>
                    </a:lnTo>
                    <a:lnTo>
                      <a:pt x="11" y="21"/>
                    </a:lnTo>
                    <a:lnTo>
                      <a:pt x="10" y="19"/>
                    </a:lnTo>
                    <a:lnTo>
                      <a:pt x="10" y="17"/>
                    </a:lnTo>
                    <a:lnTo>
                      <a:pt x="12" y="11"/>
                    </a:lnTo>
                    <a:lnTo>
                      <a:pt x="12" y="7"/>
                    </a:lnTo>
                    <a:lnTo>
                      <a:pt x="15" y="5"/>
                    </a:lnTo>
                    <a:lnTo>
                      <a:pt x="16" y="3"/>
                    </a:lnTo>
                    <a:lnTo>
                      <a:pt x="14" y="1"/>
                    </a:lnTo>
                    <a:lnTo>
                      <a:pt x="11" y="0"/>
                    </a:lnTo>
                    <a:lnTo>
                      <a:pt x="8" y="1"/>
                    </a:lnTo>
                    <a:lnTo>
                      <a:pt x="7" y="2"/>
                    </a:lnTo>
                    <a:lnTo>
                      <a:pt x="8" y="3"/>
                    </a:lnTo>
                    <a:lnTo>
                      <a:pt x="6" y="5"/>
                    </a:lnTo>
                    <a:lnTo>
                      <a:pt x="6" y="10"/>
                    </a:lnTo>
                    <a:lnTo>
                      <a:pt x="5" y="13"/>
                    </a:lnTo>
                    <a:lnTo>
                      <a:pt x="2" y="14"/>
                    </a:lnTo>
                    <a:lnTo>
                      <a:pt x="0" y="15"/>
                    </a:lnTo>
                    <a:lnTo>
                      <a:pt x="0" y="19"/>
                    </a:lnTo>
                    <a:lnTo>
                      <a:pt x="2" y="21"/>
                    </a:lnTo>
                    <a:lnTo>
                      <a:pt x="2" y="2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96" name="Freeform 162">
                <a:extLst>
                  <a:ext uri="{FF2B5EF4-FFF2-40B4-BE49-F238E27FC236}">
                    <a16:creationId xmlns:a16="http://schemas.microsoft.com/office/drawing/2014/main" id="{8D229F34-B3AD-4A14-833B-8C597E98A8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63" y="2866"/>
                <a:ext cx="9" cy="17"/>
              </a:xfrm>
              <a:custGeom>
                <a:avLst/>
                <a:gdLst>
                  <a:gd name="T0" fmla="*/ 7 w 9"/>
                  <a:gd name="T1" fmla="*/ 0 h 17"/>
                  <a:gd name="T2" fmla="*/ 5 w 9"/>
                  <a:gd name="T3" fmla="*/ 1 h 17"/>
                  <a:gd name="T4" fmla="*/ 4 w 9"/>
                  <a:gd name="T5" fmla="*/ 7 h 17"/>
                  <a:gd name="T6" fmla="*/ 3 w 9"/>
                  <a:gd name="T7" fmla="*/ 10 h 17"/>
                  <a:gd name="T8" fmla="*/ 0 w 9"/>
                  <a:gd name="T9" fmla="*/ 15 h 17"/>
                  <a:gd name="T10" fmla="*/ 3 w 9"/>
                  <a:gd name="T11" fmla="*/ 17 h 17"/>
                  <a:gd name="T12" fmla="*/ 5 w 9"/>
                  <a:gd name="T13" fmla="*/ 14 h 17"/>
                  <a:gd name="T14" fmla="*/ 7 w 9"/>
                  <a:gd name="T15" fmla="*/ 14 h 17"/>
                  <a:gd name="T16" fmla="*/ 7 w 9"/>
                  <a:gd name="T17" fmla="*/ 12 h 17"/>
                  <a:gd name="T18" fmla="*/ 6 w 9"/>
                  <a:gd name="T19" fmla="*/ 8 h 17"/>
                  <a:gd name="T20" fmla="*/ 6 w 9"/>
                  <a:gd name="T21" fmla="*/ 6 h 17"/>
                  <a:gd name="T22" fmla="*/ 9 w 9"/>
                  <a:gd name="T23" fmla="*/ 3 h 17"/>
                  <a:gd name="T24" fmla="*/ 7 w 9"/>
                  <a:gd name="T25" fmla="*/ 0 h 17"/>
                  <a:gd name="T26" fmla="*/ 7 w 9"/>
                  <a:gd name="T27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" h="17">
                    <a:moveTo>
                      <a:pt x="7" y="0"/>
                    </a:moveTo>
                    <a:lnTo>
                      <a:pt x="5" y="1"/>
                    </a:lnTo>
                    <a:lnTo>
                      <a:pt x="4" y="7"/>
                    </a:lnTo>
                    <a:lnTo>
                      <a:pt x="3" y="10"/>
                    </a:lnTo>
                    <a:lnTo>
                      <a:pt x="0" y="15"/>
                    </a:lnTo>
                    <a:lnTo>
                      <a:pt x="3" y="17"/>
                    </a:lnTo>
                    <a:lnTo>
                      <a:pt x="5" y="14"/>
                    </a:lnTo>
                    <a:lnTo>
                      <a:pt x="7" y="14"/>
                    </a:lnTo>
                    <a:lnTo>
                      <a:pt x="7" y="12"/>
                    </a:lnTo>
                    <a:lnTo>
                      <a:pt x="6" y="8"/>
                    </a:lnTo>
                    <a:lnTo>
                      <a:pt x="6" y="6"/>
                    </a:lnTo>
                    <a:lnTo>
                      <a:pt x="9" y="3"/>
                    </a:lnTo>
                    <a:lnTo>
                      <a:pt x="7" y="0"/>
                    </a:lnTo>
                    <a:lnTo>
                      <a:pt x="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97" name="Freeform 163">
                <a:extLst>
                  <a:ext uri="{FF2B5EF4-FFF2-40B4-BE49-F238E27FC236}">
                    <a16:creationId xmlns:a16="http://schemas.microsoft.com/office/drawing/2014/main" id="{1731276F-3CEA-427A-83C6-BB0250A87F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68" y="2922"/>
                <a:ext cx="2" cy="2"/>
              </a:xfrm>
              <a:custGeom>
                <a:avLst/>
                <a:gdLst>
                  <a:gd name="T0" fmla="*/ 0 w 2"/>
                  <a:gd name="T1" fmla="*/ 1 h 2"/>
                  <a:gd name="T2" fmla="*/ 0 w 2"/>
                  <a:gd name="T3" fmla="*/ 2 h 2"/>
                  <a:gd name="T4" fmla="*/ 2 w 2"/>
                  <a:gd name="T5" fmla="*/ 0 h 2"/>
                  <a:gd name="T6" fmla="*/ 0 w 2"/>
                  <a:gd name="T7" fmla="*/ 1 h 2"/>
                  <a:gd name="T8" fmla="*/ 0 w 2"/>
                  <a:gd name="T9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1"/>
                    </a:moveTo>
                    <a:lnTo>
                      <a:pt x="0" y="2"/>
                    </a:lnTo>
                    <a:lnTo>
                      <a:pt x="2" y="0"/>
                    </a:lnTo>
                    <a:lnTo>
                      <a:pt x="0" y="1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98" name="Freeform 164">
                <a:extLst>
                  <a:ext uri="{FF2B5EF4-FFF2-40B4-BE49-F238E27FC236}">
                    <a16:creationId xmlns:a16="http://schemas.microsoft.com/office/drawing/2014/main" id="{7DBC0955-09A2-491A-A6AD-B593749FDE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69" y="2861"/>
                <a:ext cx="3" cy="3"/>
              </a:xfrm>
              <a:custGeom>
                <a:avLst/>
                <a:gdLst>
                  <a:gd name="T0" fmla="*/ 1 w 3"/>
                  <a:gd name="T1" fmla="*/ 0 h 3"/>
                  <a:gd name="T2" fmla="*/ 0 w 3"/>
                  <a:gd name="T3" fmla="*/ 1 h 3"/>
                  <a:gd name="T4" fmla="*/ 2 w 3"/>
                  <a:gd name="T5" fmla="*/ 3 h 3"/>
                  <a:gd name="T6" fmla="*/ 3 w 3"/>
                  <a:gd name="T7" fmla="*/ 0 h 3"/>
                  <a:gd name="T8" fmla="*/ 1 w 3"/>
                  <a:gd name="T9" fmla="*/ 0 h 3"/>
                  <a:gd name="T10" fmla="*/ 1 w 3"/>
                  <a:gd name="T1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3">
                    <a:moveTo>
                      <a:pt x="1" y="0"/>
                    </a:moveTo>
                    <a:lnTo>
                      <a:pt x="0" y="1"/>
                    </a:lnTo>
                    <a:lnTo>
                      <a:pt x="2" y="3"/>
                    </a:lnTo>
                    <a:lnTo>
                      <a:pt x="3" y="0"/>
                    </a:lnTo>
                    <a:lnTo>
                      <a:pt x="1" y="0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99" name="Freeform 165">
                <a:extLst>
                  <a:ext uri="{FF2B5EF4-FFF2-40B4-BE49-F238E27FC236}">
                    <a16:creationId xmlns:a16="http://schemas.microsoft.com/office/drawing/2014/main" id="{5F8CBBA5-B25C-4A57-96CB-D7A849F1EB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0" y="2918"/>
                <a:ext cx="2" cy="3"/>
              </a:xfrm>
              <a:custGeom>
                <a:avLst/>
                <a:gdLst>
                  <a:gd name="T0" fmla="*/ 0 w 2"/>
                  <a:gd name="T1" fmla="*/ 2 h 3"/>
                  <a:gd name="T2" fmla="*/ 0 w 2"/>
                  <a:gd name="T3" fmla="*/ 3 h 3"/>
                  <a:gd name="T4" fmla="*/ 2 w 2"/>
                  <a:gd name="T5" fmla="*/ 0 h 3"/>
                  <a:gd name="T6" fmla="*/ 0 w 2"/>
                  <a:gd name="T7" fmla="*/ 2 h 3"/>
                  <a:gd name="T8" fmla="*/ 0 w 2"/>
                  <a:gd name="T9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3">
                    <a:moveTo>
                      <a:pt x="0" y="2"/>
                    </a:moveTo>
                    <a:lnTo>
                      <a:pt x="0" y="3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00" name="Freeform 166">
                <a:extLst>
                  <a:ext uri="{FF2B5EF4-FFF2-40B4-BE49-F238E27FC236}">
                    <a16:creationId xmlns:a16="http://schemas.microsoft.com/office/drawing/2014/main" id="{78AF41D2-70D5-4AB8-B658-4133EAC0DC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1" y="2634"/>
                <a:ext cx="13" cy="9"/>
              </a:xfrm>
              <a:custGeom>
                <a:avLst/>
                <a:gdLst>
                  <a:gd name="T0" fmla="*/ 2 w 13"/>
                  <a:gd name="T1" fmla="*/ 0 h 9"/>
                  <a:gd name="T2" fmla="*/ 1 w 13"/>
                  <a:gd name="T3" fmla="*/ 0 h 9"/>
                  <a:gd name="T4" fmla="*/ 1 w 13"/>
                  <a:gd name="T5" fmla="*/ 4 h 9"/>
                  <a:gd name="T6" fmla="*/ 0 w 13"/>
                  <a:gd name="T7" fmla="*/ 7 h 9"/>
                  <a:gd name="T8" fmla="*/ 1 w 13"/>
                  <a:gd name="T9" fmla="*/ 7 h 9"/>
                  <a:gd name="T10" fmla="*/ 4 w 13"/>
                  <a:gd name="T11" fmla="*/ 4 h 9"/>
                  <a:gd name="T12" fmla="*/ 6 w 13"/>
                  <a:gd name="T13" fmla="*/ 4 h 9"/>
                  <a:gd name="T14" fmla="*/ 8 w 13"/>
                  <a:gd name="T15" fmla="*/ 8 h 9"/>
                  <a:gd name="T16" fmla="*/ 12 w 13"/>
                  <a:gd name="T17" fmla="*/ 9 h 9"/>
                  <a:gd name="T18" fmla="*/ 12 w 13"/>
                  <a:gd name="T19" fmla="*/ 7 h 9"/>
                  <a:gd name="T20" fmla="*/ 13 w 13"/>
                  <a:gd name="T21" fmla="*/ 7 h 9"/>
                  <a:gd name="T22" fmla="*/ 12 w 13"/>
                  <a:gd name="T23" fmla="*/ 6 h 9"/>
                  <a:gd name="T24" fmla="*/ 9 w 13"/>
                  <a:gd name="T25" fmla="*/ 4 h 9"/>
                  <a:gd name="T26" fmla="*/ 7 w 13"/>
                  <a:gd name="T27" fmla="*/ 1 h 9"/>
                  <a:gd name="T28" fmla="*/ 5 w 13"/>
                  <a:gd name="T29" fmla="*/ 0 h 9"/>
                  <a:gd name="T30" fmla="*/ 2 w 13"/>
                  <a:gd name="T31" fmla="*/ 0 h 9"/>
                  <a:gd name="T32" fmla="*/ 2 w 13"/>
                  <a:gd name="T33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3" h="9">
                    <a:moveTo>
                      <a:pt x="2" y="0"/>
                    </a:moveTo>
                    <a:lnTo>
                      <a:pt x="1" y="0"/>
                    </a:lnTo>
                    <a:lnTo>
                      <a:pt x="1" y="4"/>
                    </a:lnTo>
                    <a:lnTo>
                      <a:pt x="0" y="7"/>
                    </a:lnTo>
                    <a:lnTo>
                      <a:pt x="1" y="7"/>
                    </a:lnTo>
                    <a:lnTo>
                      <a:pt x="4" y="4"/>
                    </a:lnTo>
                    <a:lnTo>
                      <a:pt x="6" y="4"/>
                    </a:lnTo>
                    <a:lnTo>
                      <a:pt x="8" y="8"/>
                    </a:lnTo>
                    <a:lnTo>
                      <a:pt x="12" y="9"/>
                    </a:lnTo>
                    <a:lnTo>
                      <a:pt x="12" y="7"/>
                    </a:lnTo>
                    <a:lnTo>
                      <a:pt x="13" y="7"/>
                    </a:lnTo>
                    <a:lnTo>
                      <a:pt x="12" y="6"/>
                    </a:lnTo>
                    <a:lnTo>
                      <a:pt x="9" y="4"/>
                    </a:lnTo>
                    <a:lnTo>
                      <a:pt x="7" y="1"/>
                    </a:lnTo>
                    <a:lnTo>
                      <a:pt x="5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01" name="Freeform 167">
                <a:extLst>
                  <a:ext uri="{FF2B5EF4-FFF2-40B4-BE49-F238E27FC236}">
                    <a16:creationId xmlns:a16="http://schemas.microsoft.com/office/drawing/2014/main" id="{B6F116B2-87C8-40AC-881B-A014420E5B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3" y="2918"/>
                <a:ext cx="8" cy="5"/>
              </a:xfrm>
              <a:custGeom>
                <a:avLst/>
                <a:gdLst>
                  <a:gd name="T0" fmla="*/ 2 w 8"/>
                  <a:gd name="T1" fmla="*/ 2 h 5"/>
                  <a:gd name="T2" fmla="*/ 0 w 8"/>
                  <a:gd name="T3" fmla="*/ 4 h 5"/>
                  <a:gd name="T4" fmla="*/ 3 w 8"/>
                  <a:gd name="T5" fmla="*/ 5 h 5"/>
                  <a:gd name="T6" fmla="*/ 5 w 8"/>
                  <a:gd name="T7" fmla="*/ 4 h 5"/>
                  <a:gd name="T8" fmla="*/ 8 w 8"/>
                  <a:gd name="T9" fmla="*/ 2 h 5"/>
                  <a:gd name="T10" fmla="*/ 5 w 8"/>
                  <a:gd name="T11" fmla="*/ 0 h 5"/>
                  <a:gd name="T12" fmla="*/ 2 w 8"/>
                  <a:gd name="T13" fmla="*/ 2 h 5"/>
                  <a:gd name="T14" fmla="*/ 2 w 8"/>
                  <a:gd name="T15" fmla="*/ 2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5">
                    <a:moveTo>
                      <a:pt x="2" y="2"/>
                    </a:moveTo>
                    <a:lnTo>
                      <a:pt x="0" y="4"/>
                    </a:lnTo>
                    <a:lnTo>
                      <a:pt x="3" y="5"/>
                    </a:lnTo>
                    <a:lnTo>
                      <a:pt x="5" y="4"/>
                    </a:lnTo>
                    <a:lnTo>
                      <a:pt x="8" y="2"/>
                    </a:lnTo>
                    <a:lnTo>
                      <a:pt x="5" y="0"/>
                    </a:lnTo>
                    <a:lnTo>
                      <a:pt x="2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02" name="Freeform 168">
                <a:extLst>
                  <a:ext uri="{FF2B5EF4-FFF2-40B4-BE49-F238E27FC236}">
                    <a16:creationId xmlns:a16="http://schemas.microsoft.com/office/drawing/2014/main" id="{3E6BC460-B88F-4F27-A2F1-D735C86C22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3" y="2651"/>
                <a:ext cx="11" cy="25"/>
              </a:xfrm>
              <a:custGeom>
                <a:avLst/>
                <a:gdLst>
                  <a:gd name="T0" fmla="*/ 5 w 11"/>
                  <a:gd name="T1" fmla="*/ 17 h 25"/>
                  <a:gd name="T2" fmla="*/ 5 w 11"/>
                  <a:gd name="T3" fmla="*/ 16 h 25"/>
                  <a:gd name="T4" fmla="*/ 8 w 11"/>
                  <a:gd name="T5" fmla="*/ 14 h 25"/>
                  <a:gd name="T6" fmla="*/ 10 w 11"/>
                  <a:gd name="T7" fmla="*/ 11 h 25"/>
                  <a:gd name="T8" fmla="*/ 11 w 11"/>
                  <a:gd name="T9" fmla="*/ 2 h 25"/>
                  <a:gd name="T10" fmla="*/ 11 w 11"/>
                  <a:gd name="T11" fmla="*/ 0 h 25"/>
                  <a:gd name="T12" fmla="*/ 8 w 11"/>
                  <a:gd name="T13" fmla="*/ 2 h 25"/>
                  <a:gd name="T14" fmla="*/ 8 w 11"/>
                  <a:gd name="T15" fmla="*/ 6 h 25"/>
                  <a:gd name="T16" fmla="*/ 4 w 11"/>
                  <a:gd name="T17" fmla="*/ 13 h 25"/>
                  <a:gd name="T18" fmla="*/ 3 w 11"/>
                  <a:gd name="T19" fmla="*/ 16 h 25"/>
                  <a:gd name="T20" fmla="*/ 2 w 11"/>
                  <a:gd name="T21" fmla="*/ 16 h 25"/>
                  <a:gd name="T22" fmla="*/ 0 w 11"/>
                  <a:gd name="T23" fmla="*/ 19 h 25"/>
                  <a:gd name="T24" fmla="*/ 0 w 11"/>
                  <a:gd name="T25" fmla="*/ 25 h 25"/>
                  <a:gd name="T26" fmla="*/ 3 w 11"/>
                  <a:gd name="T27" fmla="*/ 23 h 25"/>
                  <a:gd name="T28" fmla="*/ 5 w 11"/>
                  <a:gd name="T29" fmla="*/ 17 h 25"/>
                  <a:gd name="T30" fmla="*/ 5 w 11"/>
                  <a:gd name="T31" fmla="*/ 17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1" h="25">
                    <a:moveTo>
                      <a:pt x="5" y="17"/>
                    </a:moveTo>
                    <a:lnTo>
                      <a:pt x="5" y="16"/>
                    </a:lnTo>
                    <a:lnTo>
                      <a:pt x="8" y="14"/>
                    </a:lnTo>
                    <a:lnTo>
                      <a:pt x="10" y="11"/>
                    </a:lnTo>
                    <a:lnTo>
                      <a:pt x="11" y="2"/>
                    </a:lnTo>
                    <a:lnTo>
                      <a:pt x="11" y="0"/>
                    </a:lnTo>
                    <a:lnTo>
                      <a:pt x="8" y="2"/>
                    </a:lnTo>
                    <a:lnTo>
                      <a:pt x="8" y="6"/>
                    </a:lnTo>
                    <a:lnTo>
                      <a:pt x="4" y="13"/>
                    </a:lnTo>
                    <a:lnTo>
                      <a:pt x="3" y="16"/>
                    </a:lnTo>
                    <a:lnTo>
                      <a:pt x="2" y="16"/>
                    </a:lnTo>
                    <a:lnTo>
                      <a:pt x="0" y="19"/>
                    </a:lnTo>
                    <a:lnTo>
                      <a:pt x="0" y="25"/>
                    </a:lnTo>
                    <a:lnTo>
                      <a:pt x="3" y="23"/>
                    </a:lnTo>
                    <a:lnTo>
                      <a:pt x="5" y="17"/>
                    </a:lnTo>
                    <a:lnTo>
                      <a:pt x="5" y="1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03" name="Freeform 169">
                <a:extLst>
                  <a:ext uri="{FF2B5EF4-FFF2-40B4-BE49-F238E27FC236}">
                    <a16:creationId xmlns:a16="http://schemas.microsoft.com/office/drawing/2014/main" id="{5BAE1E77-716B-48D3-958F-5FEAB3A342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7" y="2921"/>
                <a:ext cx="51" cy="27"/>
              </a:xfrm>
              <a:custGeom>
                <a:avLst/>
                <a:gdLst>
                  <a:gd name="T0" fmla="*/ 0 w 51"/>
                  <a:gd name="T1" fmla="*/ 22 h 27"/>
                  <a:gd name="T2" fmla="*/ 0 w 51"/>
                  <a:gd name="T3" fmla="*/ 27 h 27"/>
                  <a:gd name="T4" fmla="*/ 3 w 51"/>
                  <a:gd name="T5" fmla="*/ 27 h 27"/>
                  <a:gd name="T6" fmla="*/ 8 w 51"/>
                  <a:gd name="T7" fmla="*/ 25 h 27"/>
                  <a:gd name="T8" fmla="*/ 11 w 51"/>
                  <a:gd name="T9" fmla="*/ 25 h 27"/>
                  <a:gd name="T10" fmla="*/ 19 w 51"/>
                  <a:gd name="T11" fmla="*/ 18 h 27"/>
                  <a:gd name="T12" fmla="*/ 20 w 51"/>
                  <a:gd name="T13" fmla="*/ 14 h 27"/>
                  <a:gd name="T14" fmla="*/ 25 w 51"/>
                  <a:gd name="T15" fmla="*/ 12 h 27"/>
                  <a:gd name="T16" fmla="*/ 33 w 51"/>
                  <a:gd name="T17" fmla="*/ 10 h 27"/>
                  <a:gd name="T18" fmla="*/ 35 w 51"/>
                  <a:gd name="T19" fmla="*/ 9 h 27"/>
                  <a:gd name="T20" fmla="*/ 37 w 51"/>
                  <a:gd name="T21" fmla="*/ 8 h 27"/>
                  <a:gd name="T22" fmla="*/ 43 w 51"/>
                  <a:gd name="T23" fmla="*/ 5 h 27"/>
                  <a:gd name="T24" fmla="*/ 45 w 51"/>
                  <a:gd name="T25" fmla="*/ 4 h 27"/>
                  <a:gd name="T26" fmla="*/ 49 w 51"/>
                  <a:gd name="T27" fmla="*/ 2 h 27"/>
                  <a:gd name="T28" fmla="*/ 51 w 51"/>
                  <a:gd name="T29" fmla="*/ 0 h 27"/>
                  <a:gd name="T30" fmla="*/ 45 w 51"/>
                  <a:gd name="T31" fmla="*/ 0 h 27"/>
                  <a:gd name="T32" fmla="*/ 43 w 51"/>
                  <a:gd name="T33" fmla="*/ 1 h 27"/>
                  <a:gd name="T34" fmla="*/ 37 w 51"/>
                  <a:gd name="T35" fmla="*/ 1 h 27"/>
                  <a:gd name="T36" fmla="*/ 34 w 51"/>
                  <a:gd name="T37" fmla="*/ 2 h 27"/>
                  <a:gd name="T38" fmla="*/ 32 w 51"/>
                  <a:gd name="T39" fmla="*/ 1 h 27"/>
                  <a:gd name="T40" fmla="*/ 21 w 51"/>
                  <a:gd name="T41" fmla="*/ 3 h 27"/>
                  <a:gd name="T42" fmla="*/ 19 w 51"/>
                  <a:gd name="T43" fmla="*/ 8 h 27"/>
                  <a:gd name="T44" fmla="*/ 15 w 51"/>
                  <a:gd name="T45" fmla="*/ 10 h 27"/>
                  <a:gd name="T46" fmla="*/ 9 w 51"/>
                  <a:gd name="T47" fmla="*/ 11 h 27"/>
                  <a:gd name="T48" fmla="*/ 4 w 51"/>
                  <a:gd name="T49" fmla="*/ 14 h 27"/>
                  <a:gd name="T50" fmla="*/ 1 w 51"/>
                  <a:gd name="T51" fmla="*/ 17 h 27"/>
                  <a:gd name="T52" fmla="*/ 0 w 51"/>
                  <a:gd name="T53" fmla="*/ 22 h 27"/>
                  <a:gd name="T54" fmla="*/ 0 w 51"/>
                  <a:gd name="T55" fmla="*/ 22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51" h="27">
                    <a:moveTo>
                      <a:pt x="0" y="22"/>
                    </a:moveTo>
                    <a:lnTo>
                      <a:pt x="0" y="27"/>
                    </a:lnTo>
                    <a:lnTo>
                      <a:pt x="3" y="27"/>
                    </a:lnTo>
                    <a:lnTo>
                      <a:pt x="8" y="25"/>
                    </a:lnTo>
                    <a:lnTo>
                      <a:pt x="11" y="25"/>
                    </a:lnTo>
                    <a:lnTo>
                      <a:pt x="19" y="18"/>
                    </a:lnTo>
                    <a:lnTo>
                      <a:pt x="20" y="14"/>
                    </a:lnTo>
                    <a:lnTo>
                      <a:pt x="25" y="12"/>
                    </a:lnTo>
                    <a:lnTo>
                      <a:pt x="33" y="10"/>
                    </a:lnTo>
                    <a:lnTo>
                      <a:pt x="35" y="9"/>
                    </a:lnTo>
                    <a:lnTo>
                      <a:pt x="37" y="8"/>
                    </a:lnTo>
                    <a:lnTo>
                      <a:pt x="43" y="5"/>
                    </a:lnTo>
                    <a:lnTo>
                      <a:pt x="45" y="4"/>
                    </a:lnTo>
                    <a:lnTo>
                      <a:pt x="49" y="2"/>
                    </a:lnTo>
                    <a:lnTo>
                      <a:pt x="51" y="0"/>
                    </a:lnTo>
                    <a:lnTo>
                      <a:pt x="45" y="0"/>
                    </a:lnTo>
                    <a:lnTo>
                      <a:pt x="43" y="1"/>
                    </a:lnTo>
                    <a:lnTo>
                      <a:pt x="37" y="1"/>
                    </a:lnTo>
                    <a:lnTo>
                      <a:pt x="34" y="2"/>
                    </a:lnTo>
                    <a:lnTo>
                      <a:pt x="32" y="1"/>
                    </a:lnTo>
                    <a:lnTo>
                      <a:pt x="21" y="3"/>
                    </a:lnTo>
                    <a:lnTo>
                      <a:pt x="19" y="8"/>
                    </a:lnTo>
                    <a:lnTo>
                      <a:pt x="15" y="10"/>
                    </a:lnTo>
                    <a:lnTo>
                      <a:pt x="9" y="11"/>
                    </a:lnTo>
                    <a:lnTo>
                      <a:pt x="4" y="14"/>
                    </a:lnTo>
                    <a:lnTo>
                      <a:pt x="1" y="17"/>
                    </a:lnTo>
                    <a:lnTo>
                      <a:pt x="0" y="22"/>
                    </a:lnTo>
                    <a:lnTo>
                      <a:pt x="0" y="2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04" name="Freeform 170">
                <a:extLst>
                  <a:ext uri="{FF2B5EF4-FFF2-40B4-BE49-F238E27FC236}">
                    <a16:creationId xmlns:a16="http://schemas.microsoft.com/office/drawing/2014/main" id="{09273525-CC6D-4ED5-8872-361B1F6006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80" y="2666"/>
                <a:ext cx="10" cy="8"/>
              </a:xfrm>
              <a:custGeom>
                <a:avLst/>
                <a:gdLst>
                  <a:gd name="T0" fmla="*/ 1 w 10"/>
                  <a:gd name="T1" fmla="*/ 8 h 8"/>
                  <a:gd name="T2" fmla="*/ 6 w 10"/>
                  <a:gd name="T3" fmla="*/ 8 h 8"/>
                  <a:gd name="T4" fmla="*/ 8 w 10"/>
                  <a:gd name="T5" fmla="*/ 8 h 8"/>
                  <a:gd name="T6" fmla="*/ 10 w 10"/>
                  <a:gd name="T7" fmla="*/ 6 h 8"/>
                  <a:gd name="T8" fmla="*/ 10 w 10"/>
                  <a:gd name="T9" fmla="*/ 2 h 8"/>
                  <a:gd name="T10" fmla="*/ 8 w 10"/>
                  <a:gd name="T11" fmla="*/ 0 h 8"/>
                  <a:gd name="T12" fmla="*/ 5 w 10"/>
                  <a:gd name="T13" fmla="*/ 0 h 8"/>
                  <a:gd name="T14" fmla="*/ 4 w 10"/>
                  <a:gd name="T15" fmla="*/ 1 h 8"/>
                  <a:gd name="T16" fmla="*/ 4 w 10"/>
                  <a:gd name="T17" fmla="*/ 2 h 8"/>
                  <a:gd name="T18" fmla="*/ 0 w 10"/>
                  <a:gd name="T19" fmla="*/ 3 h 8"/>
                  <a:gd name="T20" fmla="*/ 1 w 10"/>
                  <a:gd name="T21" fmla="*/ 8 h 8"/>
                  <a:gd name="T22" fmla="*/ 1 w 10"/>
                  <a:gd name="T23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" h="8">
                    <a:moveTo>
                      <a:pt x="1" y="8"/>
                    </a:moveTo>
                    <a:lnTo>
                      <a:pt x="6" y="8"/>
                    </a:lnTo>
                    <a:lnTo>
                      <a:pt x="8" y="8"/>
                    </a:lnTo>
                    <a:lnTo>
                      <a:pt x="10" y="6"/>
                    </a:lnTo>
                    <a:lnTo>
                      <a:pt x="10" y="2"/>
                    </a:lnTo>
                    <a:lnTo>
                      <a:pt x="8" y="0"/>
                    </a:lnTo>
                    <a:lnTo>
                      <a:pt x="5" y="0"/>
                    </a:lnTo>
                    <a:lnTo>
                      <a:pt x="4" y="1"/>
                    </a:lnTo>
                    <a:lnTo>
                      <a:pt x="4" y="2"/>
                    </a:lnTo>
                    <a:lnTo>
                      <a:pt x="0" y="3"/>
                    </a:lnTo>
                    <a:lnTo>
                      <a:pt x="1" y="8"/>
                    </a:lnTo>
                    <a:lnTo>
                      <a:pt x="1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05" name="Freeform 171">
                <a:extLst>
                  <a:ext uri="{FF2B5EF4-FFF2-40B4-BE49-F238E27FC236}">
                    <a16:creationId xmlns:a16="http://schemas.microsoft.com/office/drawing/2014/main" id="{C601ECF7-75EC-4215-B3E4-A6D1DBC0B3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83" y="2920"/>
                <a:ext cx="2" cy="2"/>
              </a:xfrm>
              <a:custGeom>
                <a:avLst/>
                <a:gdLst>
                  <a:gd name="T0" fmla="*/ 0 w 2"/>
                  <a:gd name="T1" fmla="*/ 1 h 2"/>
                  <a:gd name="T2" fmla="*/ 0 w 2"/>
                  <a:gd name="T3" fmla="*/ 2 h 2"/>
                  <a:gd name="T4" fmla="*/ 2 w 2"/>
                  <a:gd name="T5" fmla="*/ 2 h 2"/>
                  <a:gd name="T6" fmla="*/ 2 w 2"/>
                  <a:gd name="T7" fmla="*/ 0 h 2"/>
                  <a:gd name="T8" fmla="*/ 0 w 2"/>
                  <a:gd name="T9" fmla="*/ 1 h 2"/>
                  <a:gd name="T10" fmla="*/ 0 w 2"/>
                  <a:gd name="T11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2">
                    <a:moveTo>
                      <a:pt x="0" y="1"/>
                    </a:moveTo>
                    <a:lnTo>
                      <a:pt x="0" y="2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0" y="1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06" name="Freeform 172">
                <a:extLst>
                  <a:ext uri="{FF2B5EF4-FFF2-40B4-BE49-F238E27FC236}">
                    <a16:creationId xmlns:a16="http://schemas.microsoft.com/office/drawing/2014/main" id="{D2AF7025-DC42-4E94-A63F-EA886F1367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84" y="2613"/>
                <a:ext cx="4" cy="6"/>
              </a:xfrm>
              <a:custGeom>
                <a:avLst/>
                <a:gdLst>
                  <a:gd name="T0" fmla="*/ 2 w 4"/>
                  <a:gd name="T1" fmla="*/ 6 h 6"/>
                  <a:gd name="T2" fmla="*/ 4 w 4"/>
                  <a:gd name="T3" fmla="*/ 4 h 6"/>
                  <a:gd name="T4" fmla="*/ 4 w 4"/>
                  <a:gd name="T5" fmla="*/ 2 h 6"/>
                  <a:gd name="T6" fmla="*/ 2 w 4"/>
                  <a:gd name="T7" fmla="*/ 0 h 6"/>
                  <a:gd name="T8" fmla="*/ 0 w 4"/>
                  <a:gd name="T9" fmla="*/ 4 h 6"/>
                  <a:gd name="T10" fmla="*/ 2 w 4"/>
                  <a:gd name="T11" fmla="*/ 6 h 6"/>
                  <a:gd name="T12" fmla="*/ 2 w 4"/>
                  <a:gd name="T13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6">
                    <a:moveTo>
                      <a:pt x="2" y="6"/>
                    </a:moveTo>
                    <a:lnTo>
                      <a:pt x="4" y="4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07" name="Freeform 173">
                <a:extLst>
                  <a:ext uri="{FF2B5EF4-FFF2-40B4-BE49-F238E27FC236}">
                    <a16:creationId xmlns:a16="http://schemas.microsoft.com/office/drawing/2014/main" id="{857CCC24-C66C-461C-9A32-3D9F143390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86" y="2633"/>
                <a:ext cx="20" cy="20"/>
              </a:xfrm>
              <a:custGeom>
                <a:avLst/>
                <a:gdLst>
                  <a:gd name="T0" fmla="*/ 14 w 20"/>
                  <a:gd name="T1" fmla="*/ 1 h 20"/>
                  <a:gd name="T2" fmla="*/ 11 w 20"/>
                  <a:gd name="T3" fmla="*/ 0 h 20"/>
                  <a:gd name="T4" fmla="*/ 9 w 20"/>
                  <a:gd name="T5" fmla="*/ 0 h 20"/>
                  <a:gd name="T6" fmla="*/ 9 w 20"/>
                  <a:gd name="T7" fmla="*/ 0 h 20"/>
                  <a:gd name="T8" fmla="*/ 6 w 20"/>
                  <a:gd name="T9" fmla="*/ 1 h 20"/>
                  <a:gd name="T10" fmla="*/ 3 w 20"/>
                  <a:gd name="T11" fmla="*/ 0 h 20"/>
                  <a:gd name="T12" fmla="*/ 0 w 20"/>
                  <a:gd name="T13" fmla="*/ 1 h 20"/>
                  <a:gd name="T14" fmla="*/ 1 w 20"/>
                  <a:gd name="T15" fmla="*/ 3 h 20"/>
                  <a:gd name="T16" fmla="*/ 3 w 20"/>
                  <a:gd name="T17" fmla="*/ 6 h 20"/>
                  <a:gd name="T18" fmla="*/ 6 w 20"/>
                  <a:gd name="T19" fmla="*/ 7 h 20"/>
                  <a:gd name="T20" fmla="*/ 7 w 20"/>
                  <a:gd name="T21" fmla="*/ 8 h 20"/>
                  <a:gd name="T22" fmla="*/ 9 w 20"/>
                  <a:gd name="T23" fmla="*/ 11 h 20"/>
                  <a:gd name="T24" fmla="*/ 9 w 20"/>
                  <a:gd name="T25" fmla="*/ 14 h 20"/>
                  <a:gd name="T26" fmla="*/ 10 w 20"/>
                  <a:gd name="T27" fmla="*/ 16 h 20"/>
                  <a:gd name="T28" fmla="*/ 12 w 20"/>
                  <a:gd name="T29" fmla="*/ 18 h 20"/>
                  <a:gd name="T30" fmla="*/ 14 w 20"/>
                  <a:gd name="T31" fmla="*/ 20 h 20"/>
                  <a:gd name="T32" fmla="*/ 20 w 20"/>
                  <a:gd name="T33" fmla="*/ 19 h 20"/>
                  <a:gd name="T34" fmla="*/ 19 w 20"/>
                  <a:gd name="T35" fmla="*/ 16 h 20"/>
                  <a:gd name="T36" fmla="*/ 18 w 20"/>
                  <a:gd name="T37" fmla="*/ 16 h 20"/>
                  <a:gd name="T38" fmla="*/ 17 w 20"/>
                  <a:gd name="T39" fmla="*/ 14 h 20"/>
                  <a:gd name="T40" fmla="*/ 17 w 20"/>
                  <a:gd name="T41" fmla="*/ 9 h 20"/>
                  <a:gd name="T42" fmla="*/ 17 w 20"/>
                  <a:gd name="T43" fmla="*/ 7 h 20"/>
                  <a:gd name="T44" fmla="*/ 17 w 20"/>
                  <a:gd name="T45" fmla="*/ 6 h 20"/>
                  <a:gd name="T46" fmla="*/ 17 w 20"/>
                  <a:gd name="T47" fmla="*/ 6 h 20"/>
                  <a:gd name="T48" fmla="*/ 17 w 20"/>
                  <a:gd name="T49" fmla="*/ 5 h 20"/>
                  <a:gd name="T50" fmla="*/ 15 w 20"/>
                  <a:gd name="T51" fmla="*/ 3 h 20"/>
                  <a:gd name="T52" fmla="*/ 14 w 20"/>
                  <a:gd name="T53" fmla="*/ 1 h 20"/>
                  <a:gd name="T54" fmla="*/ 14 w 20"/>
                  <a:gd name="T55" fmla="*/ 1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0" h="20">
                    <a:moveTo>
                      <a:pt x="14" y="1"/>
                    </a:moveTo>
                    <a:lnTo>
                      <a:pt x="11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0"/>
                    </a:lnTo>
                    <a:lnTo>
                      <a:pt x="0" y="1"/>
                    </a:lnTo>
                    <a:lnTo>
                      <a:pt x="1" y="3"/>
                    </a:lnTo>
                    <a:lnTo>
                      <a:pt x="3" y="6"/>
                    </a:lnTo>
                    <a:lnTo>
                      <a:pt x="6" y="7"/>
                    </a:lnTo>
                    <a:lnTo>
                      <a:pt x="7" y="8"/>
                    </a:lnTo>
                    <a:lnTo>
                      <a:pt x="9" y="11"/>
                    </a:lnTo>
                    <a:lnTo>
                      <a:pt x="9" y="14"/>
                    </a:lnTo>
                    <a:lnTo>
                      <a:pt x="10" y="16"/>
                    </a:lnTo>
                    <a:lnTo>
                      <a:pt x="12" y="18"/>
                    </a:lnTo>
                    <a:lnTo>
                      <a:pt x="14" y="20"/>
                    </a:lnTo>
                    <a:lnTo>
                      <a:pt x="20" y="19"/>
                    </a:lnTo>
                    <a:lnTo>
                      <a:pt x="19" y="16"/>
                    </a:lnTo>
                    <a:lnTo>
                      <a:pt x="18" y="16"/>
                    </a:lnTo>
                    <a:lnTo>
                      <a:pt x="17" y="14"/>
                    </a:lnTo>
                    <a:lnTo>
                      <a:pt x="17" y="9"/>
                    </a:lnTo>
                    <a:lnTo>
                      <a:pt x="17" y="7"/>
                    </a:lnTo>
                    <a:lnTo>
                      <a:pt x="17" y="6"/>
                    </a:lnTo>
                    <a:lnTo>
                      <a:pt x="17" y="6"/>
                    </a:lnTo>
                    <a:lnTo>
                      <a:pt x="17" y="5"/>
                    </a:lnTo>
                    <a:lnTo>
                      <a:pt x="15" y="3"/>
                    </a:lnTo>
                    <a:lnTo>
                      <a:pt x="14" y="1"/>
                    </a:lnTo>
                    <a:lnTo>
                      <a:pt x="14" y="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08" name="Freeform 174">
                <a:extLst>
                  <a:ext uri="{FF2B5EF4-FFF2-40B4-BE49-F238E27FC236}">
                    <a16:creationId xmlns:a16="http://schemas.microsoft.com/office/drawing/2014/main" id="{BB86C015-A37B-4E32-8238-71CEBE9F97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87" y="2645"/>
                <a:ext cx="3" cy="3"/>
              </a:xfrm>
              <a:custGeom>
                <a:avLst/>
                <a:gdLst>
                  <a:gd name="T0" fmla="*/ 2 w 3"/>
                  <a:gd name="T1" fmla="*/ 3 h 3"/>
                  <a:gd name="T2" fmla="*/ 3 w 3"/>
                  <a:gd name="T3" fmla="*/ 0 h 3"/>
                  <a:gd name="T4" fmla="*/ 0 w 3"/>
                  <a:gd name="T5" fmla="*/ 0 h 3"/>
                  <a:gd name="T6" fmla="*/ 2 w 3"/>
                  <a:gd name="T7" fmla="*/ 3 h 3"/>
                  <a:gd name="T8" fmla="*/ 2 w 3"/>
                  <a:gd name="T9" fmla="*/ 3 h 3"/>
                  <a:gd name="T10" fmla="*/ 2 w 3"/>
                  <a:gd name="T11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3">
                    <a:moveTo>
                      <a:pt x="2" y="3"/>
                    </a:moveTo>
                    <a:lnTo>
                      <a:pt x="3" y="0"/>
                    </a:lnTo>
                    <a:lnTo>
                      <a:pt x="0" y="0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09" name="Freeform 175">
                <a:extLst>
                  <a:ext uri="{FF2B5EF4-FFF2-40B4-BE49-F238E27FC236}">
                    <a16:creationId xmlns:a16="http://schemas.microsoft.com/office/drawing/2014/main" id="{9292B6D8-45F9-405D-8757-0BC9EB726B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87" y="2917"/>
                <a:ext cx="11" cy="5"/>
              </a:xfrm>
              <a:custGeom>
                <a:avLst/>
                <a:gdLst>
                  <a:gd name="T0" fmla="*/ 2 w 11"/>
                  <a:gd name="T1" fmla="*/ 0 h 5"/>
                  <a:gd name="T2" fmla="*/ 2 w 11"/>
                  <a:gd name="T3" fmla="*/ 1 h 5"/>
                  <a:gd name="T4" fmla="*/ 0 w 11"/>
                  <a:gd name="T5" fmla="*/ 5 h 5"/>
                  <a:gd name="T6" fmla="*/ 3 w 11"/>
                  <a:gd name="T7" fmla="*/ 5 h 5"/>
                  <a:gd name="T8" fmla="*/ 11 w 11"/>
                  <a:gd name="T9" fmla="*/ 4 h 5"/>
                  <a:gd name="T10" fmla="*/ 10 w 11"/>
                  <a:gd name="T11" fmla="*/ 0 h 5"/>
                  <a:gd name="T12" fmla="*/ 5 w 11"/>
                  <a:gd name="T13" fmla="*/ 0 h 5"/>
                  <a:gd name="T14" fmla="*/ 2 w 11"/>
                  <a:gd name="T15" fmla="*/ 0 h 5"/>
                  <a:gd name="T16" fmla="*/ 2 w 11"/>
                  <a:gd name="T17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" h="5">
                    <a:moveTo>
                      <a:pt x="2" y="0"/>
                    </a:moveTo>
                    <a:lnTo>
                      <a:pt x="2" y="1"/>
                    </a:lnTo>
                    <a:lnTo>
                      <a:pt x="0" y="5"/>
                    </a:lnTo>
                    <a:lnTo>
                      <a:pt x="3" y="5"/>
                    </a:lnTo>
                    <a:lnTo>
                      <a:pt x="11" y="4"/>
                    </a:lnTo>
                    <a:lnTo>
                      <a:pt x="10" y="0"/>
                    </a:lnTo>
                    <a:lnTo>
                      <a:pt x="5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10" name="Freeform 176">
                <a:extLst>
                  <a:ext uri="{FF2B5EF4-FFF2-40B4-BE49-F238E27FC236}">
                    <a16:creationId xmlns:a16="http://schemas.microsoft.com/office/drawing/2014/main" id="{952D5C25-E05A-4A7C-965F-09F157CC1C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88" y="2648"/>
                <a:ext cx="10" cy="20"/>
              </a:xfrm>
              <a:custGeom>
                <a:avLst/>
                <a:gdLst>
                  <a:gd name="T0" fmla="*/ 5 w 10"/>
                  <a:gd name="T1" fmla="*/ 18 h 20"/>
                  <a:gd name="T2" fmla="*/ 8 w 10"/>
                  <a:gd name="T3" fmla="*/ 20 h 20"/>
                  <a:gd name="T4" fmla="*/ 8 w 10"/>
                  <a:gd name="T5" fmla="*/ 17 h 20"/>
                  <a:gd name="T6" fmla="*/ 10 w 10"/>
                  <a:gd name="T7" fmla="*/ 17 h 20"/>
                  <a:gd name="T8" fmla="*/ 10 w 10"/>
                  <a:gd name="T9" fmla="*/ 12 h 20"/>
                  <a:gd name="T10" fmla="*/ 9 w 10"/>
                  <a:gd name="T11" fmla="*/ 10 h 20"/>
                  <a:gd name="T12" fmla="*/ 9 w 10"/>
                  <a:gd name="T13" fmla="*/ 4 h 20"/>
                  <a:gd name="T14" fmla="*/ 8 w 10"/>
                  <a:gd name="T15" fmla="*/ 2 h 20"/>
                  <a:gd name="T16" fmla="*/ 6 w 10"/>
                  <a:gd name="T17" fmla="*/ 1 h 20"/>
                  <a:gd name="T18" fmla="*/ 2 w 10"/>
                  <a:gd name="T19" fmla="*/ 2 h 20"/>
                  <a:gd name="T20" fmla="*/ 0 w 10"/>
                  <a:gd name="T21" fmla="*/ 0 h 20"/>
                  <a:gd name="T22" fmla="*/ 0 w 10"/>
                  <a:gd name="T23" fmla="*/ 5 h 20"/>
                  <a:gd name="T24" fmla="*/ 0 w 10"/>
                  <a:gd name="T25" fmla="*/ 8 h 20"/>
                  <a:gd name="T26" fmla="*/ 4 w 10"/>
                  <a:gd name="T27" fmla="*/ 7 h 20"/>
                  <a:gd name="T28" fmla="*/ 6 w 10"/>
                  <a:gd name="T29" fmla="*/ 10 h 20"/>
                  <a:gd name="T30" fmla="*/ 6 w 10"/>
                  <a:gd name="T31" fmla="*/ 11 h 20"/>
                  <a:gd name="T32" fmla="*/ 5 w 10"/>
                  <a:gd name="T33" fmla="*/ 13 h 20"/>
                  <a:gd name="T34" fmla="*/ 6 w 10"/>
                  <a:gd name="T35" fmla="*/ 16 h 20"/>
                  <a:gd name="T36" fmla="*/ 5 w 10"/>
                  <a:gd name="T37" fmla="*/ 18 h 20"/>
                  <a:gd name="T38" fmla="*/ 5 w 10"/>
                  <a:gd name="T39" fmla="*/ 18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0" h="20">
                    <a:moveTo>
                      <a:pt x="5" y="18"/>
                    </a:moveTo>
                    <a:lnTo>
                      <a:pt x="8" y="20"/>
                    </a:lnTo>
                    <a:lnTo>
                      <a:pt x="8" y="17"/>
                    </a:lnTo>
                    <a:lnTo>
                      <a:pt x="10" y="17"/>
                    </a:lnTo>
                    <a:lnTo>
                      <a:pt x="10" y="12"/>
                    </a:lnTo>
                    <a:lnTo>
                      <a:pt x="9" y="10"/>
                    </a:lnTo>
                    <a:lnTo>
                      <a:pt x="9" y="4"/>
                    </a:lnTo>
                    <a:lnTo>
                      <a:pt x="8" y="2"/>
                    </a:lnTo>
                    <a:lnTo>
                      <a:pt x="6" y="1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0" y="5"/>
                    </a:lnTo>
                    <a:lnTo>
                      <a:pt x="0" y="8"/>
                    </a:lnTo>
                    <a:lnTo>
                      <a:pt x="4" y="7"/>
                    </a:lnTo>
                    <a:lnTo>
                      <a:pt x="6" y="10"/>
                    </a:lnTo>
                    <a:lnTo>
                      <a:pt x="6" y="11"/>
                    </a:lnTo>
                    <a:lnTo>
                      <a:pt x="5" y="13"/>
                    </a:lnTo>
                    <a:lnTo>
                      <a:pt x="6" y="16"/>
                    </a:lnTo>
                    <a:lnTo>
                      <a:pt x="5" y="18"/>
                    </a:lnTo>
                    <a:lnTo>
                      <a:pt x="5" y="1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11" name="Freeform 177">
                <a:extLst>
                  <a:ext uri="{FF2B5EF4-FFF2-40B4-BE49-F238E27FC236}">
                    <a16:creationId xmlns:a16="http://schemas.microsoft.com/office/drawing/2014/main" id="{4EAE8AE9-D0FF-4802-BC90-C72D08F77C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07" y="2909"/>
                <a:ext cx="14" cy="7"/>
              </a:xfrm>
              <a:custGeom>
                <a:avLst/>
                <a:gdLst>
                  <a:gd name="T0" fmla="*/ 3 w 14"/>
                  <a:gd name="T1" fmla="*/ 1 h 7"/>
                  <a:gd name="T2" fmla="*/ 0 w 14"/>
                  <a:gd name="T3" fmla="*/ 4 h 7"/>
                  <a:gd name="T4" fmla="*/ 0 w 14"/>
                  <a:gd name="T5" fmla="*/ 7 h 7"/>
                  <a:gd name="T6" fmla="*/ 3 w 14"/>
                  <a:gd name="T7" fmla="*/ 5 h 7"/>
                  <a:gd name="T8" fmla="*/ 8 w 14"/>
                  <a:gd name="T9" fmla="*/ 6 h 7"/>
                  <a:gd name="T10" fmla="*/ 11 w 14"/>
                  <a:gd name="T11" fmla="*/ 4 h 7"/>
                  <a:gd name="T12" fmla="*/ 14 w 14"/>
                  <a:gd name="T13" fmla="*/ 3 h 7"/>
                  <a:gd name="T14" fmla="*/ 11 w 14"/>
                  <a:gd name="T15" fmla="*/ 0 h 7"/>
                  <a:gd name="T16" fmla="*/ 8 w 14"/>
                  <a:gd name="T17" fmla="*/ 1 h 7"/>
                  <a:gd name="T18" fmla="*/ 5 w 14"/>
                  <a:gd name="T19" fmla="*/ 3 h 7"/>
                  <a:gd name="T20" fmla="*/ 3 w 14"/>
                  <a:gd name="T21" fmla="*/ 1 h 7"/>
                  <a:gd name="T22" fmla="*/ 3 w 14"/>
                  <a:gd name="T23" fmla="*/ 1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4" h="7">
                    <a:moveTo>
                      <a:pt x="3" y="1"/>
                    </a:moveTo>
                    <a:lnTo>
                      <a:pt x="0" y="4"/>
                    </a:lnTo>
                    <a:lnTo>
                      <a:pt x="0" y="7"/>
                    </a:lnTo>
                    <a:lnTo>
                      <a:pt x="3" y="5"/>
                    </a:lnTo>
                    <a:lnTo>
                      <a:pt x="8" y="6"/>
                    </a:lnTo>
                    <a:lnTo>
                      <a:pt x="11" y="4"/>
                    </a:lnTo>
                    <a:lnTo>
                      <a:pt x="14" y="3"/>
                    </a:lnTo>
                    <a:lnTo>
                      <a:pt x="11" y="0"/>
                    </a:lnTo>
                    <a:lnTo>
                      <a:pt x="8" y="1"/>
                    </a:lnTo>
                    <a:lnTo>
                      <a:pt x="5" y="3"/>
                    </a:lnTo>
                    <a:lnTo>
                      <a:pt x="3" y="1"/>
                    </a:lnTo>
                    <a:lnTo>
                      <a:pt x="3" y="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12" name="Freeform 178">
                <a:extLst>
                  <a:ext uri="{FF2B5EF4-FFF2-40B4-BE49-F238E27FC236}">
                    <a16:creationId xmlns:a16="http://schemas.microsoft.com/office/drawing/2014/main" id="{FBE0DE5A-9CB4-4A20-A4E9-B0742E56FC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11" y="2848"/>
                <a:ext cx="16" cy="10"/>
              </a:xfrm>
              <a:custGeom>
                <a:avLst/>
                <a:gdLst>
                  <a:gd name="T0" fmla="*/ 9 w 16"/>
                  <a:gd name="T1" fmla="*/ 10 h 10"/>
                  <a:gd name="T2" fmla="*/ 11 w 16"/>
                  <a:gd name="T3" fmla="*/ 9 h 10"/>
                  <a:gd name="T4" fmla="*/ 13 w 16"/>
                  <a:gd name="T5" fmla="*/ 8 h 10"/>
                  <a:gd name="T6" fmla="*/ 16 w 16"/>
                  <a:gd name="T7" fmla="*/ 5 h 10"/>
                  <a:gd name="T8" fmla="*/ 11 w 16"/>
                  <a:gd name="T9" fmla="*/ 0 h 10"/>
                  <a:gd name="T10" fmla="*/ 9 w 16"/>
                  <a:gd name="T11" fmla="*/ 0 h 10"/>
                  <a:gd name="T12" fmla="*/ 0 w 16"/>
                  <a:gd name="T13" fmla="*/ 0 h 10"/>
                  <a:gd name="T14" fmla="*/ 0 w 16"/>
                  <a:gd name="T15" fmla="*/ 2 h 10"/>
                  <a:gd name="T16" fmla="*/ 1 w 16"/>
                  <a:gd name="T17" fmla="*/ 6 h 10"/>
                  <a:gd name="T18" fmla="*/ 3 w 16"/>
                  <a:gd name="T19" fmla="*/ 8 h 10"/>
                  <a:gd name="T20" fmla="*/ 9 w 16"/>
                  <a:gd name="T21" fmla="*/ 10 h 10"/>
                  <a:gd name="T22" fmla="*/ 9 w 16"/>
                  <a:gd name="T23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6" h="10">
                    <a:moveTo>
                      <a:pt x="9" y="10"/>
                    </a:moveTo>
                    <a:lnTo>
                      <a:pt x="11" y="9"/>
                    </a:lnTo>
                    <a:lnTo>
                      <a:pt x="13" y="8"/>
                    </a:lnTo>
                    <a:lnTo>
                      <a:pt x="16" y="5"/>
                    </a:lnTo>
                    <a:lnTo>
                      <a:pt x="11" y="0"/>
                    </a:lnTo>
                    <a:lnTo>
                      <a:pt x="9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1" y="6"/>
                    </a:lnTo>
                    <a:lnTo>
                      <a:pt x="3" y="8"/>
                    </a:lnTo>
                    <a:lnTo>
                      <a:pt x="9" y="10"/>
                    </a:lnTo>
                    <a:lnTo>
                      <a:pt x="9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13" name="Freeform 179">
                <a:extLst>
                  <a:ext uri="{FF2B5EF4-FFF2-40B4-BE49-F238E27FC236}">
                    <a16:creationId xmlns:a16="http://schemas.microsoft.com/office/drawing/2014/main" id="{08767724-8A02-420B-BEF5-CD6BD69206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9" y="2776"/>
                <a:ext cx="20" cy="40"/>
              </a:xfrm>
              <a:custGeom>
                <a:avLst/>
                <a:gdLst>
                  <a:gd name="T0" fmla="*/ 5 w 20"/>
                  <a:gd name="T1" fmla="*/ 29 h 40"/>
                  <a:gd name="T2" fmla="*/ 5 w 20"/>
                  <a:gd name="T3" fmla="*/ 31 h 40"/>
                  <a:gd name="T4" fmla="*/ 10 w 20"/>
                  <a:gd name="T5" fmla="*/ 39 h 40"/>
                  <a:gd name="T6" fmla="*/ 12 w 20"/>
                  <a:gd name="T7" fmla="*/ 40 h 40"/>
                  <a:gd name="T8" fmla="*/ 9 w 20"/>
                  <a:gd name="T9" fmla="*/ 35 h 40"/>
                  <a:gd name="T10" fmla="*/ 7 w 20"/>
                  <a:gd name="T11" fmla="*/ 29 h 40"/>
                  <a:gd name="T12" fmla="*/ 8 w 20"/>
                  <a:gd name="T13" fmla="*/ 28 h 40"/>
                  <a:gd name="T14" fmla="*/ 7 w 20"/>
                  <a:gd name="T15" fmla="*/ 25 h 40"/>
                  <a:gd name="T16" fmla="*/ 10 w 20"/>
                  <a:gd name="T17" fmla="*/ 23 h 40"/>
                  <a:gd name="T18" fmla="*/ 20 w 20"/>
                  <a:gd name="T19" fmla="*/ 26 h 40"/>
                  <a:gd name="T20" fmla="*/ 18 w 20"/>
                  <a:gd name="T21" fmla="*/ 25 h 40"/>
                  <a:gd name="T22" fmla="*/ 18 w 20"/>
                  <a:gd name="T23" fmla="*/ 22 h 40"/>
                  <a:gd name="T24" fmla="*/ 15 w 20"/>
                  <a:gd name="T25" fmla="*/ 21 h 40"/>
                  <a:gd name="T26" fmla="*/ 12 w 20"/>
                  <a:gd name="T27" fmla="*/ 20 h 40"/>
                  <a:gd name="T28" fmla="*/ 14 w 20"/>
                  <a:gd name="T29" fmla="*/ 17 h 40"/>
                  <a:gd name="T30" fmla="*/ 16 w 20"/>
                  <a:gd name="T31" fmla="*/ 16 h 40"/>
                  <a:gd name="T32" fmla="*/ 18 w 20"/>
                  <a:gd name="T33" fmla="*/ 13 h 40"/>
                  <a:gd name="T34" fmla="*/ 18 w 20"/>
                  <a:gd name="T35" fmla="*/ 11 h 40"/>
                  <a:gd name="T36" fmla="*/ 16 w 20"/>
                  <a:gd name="T37" fmla="*/ 8 h 40"/>
                  <a:gd name="T38" fmla="*/ 14 w 20"/>
                  <a:gd name="T39" fmla="*/ 10 h 40"/>
                  <a:gd name="T40" fmla="*/ 10 w 20"/>
                  <a:gd name="T41" fmla="*/ 11 h 40"/>
                  <a:gd name="T42" fmla="*/ 10 w 20"/>
                  <a:gd name="T43" fmla="*/ 14 h 40"/>
                  <a:gd name="T44" fmla="*/ 8 w 20"/>
                  <a:gd name="T45" fmla="*/ 16 h 40"/>
                  <a:gd name="T46" fmla="*/ 7 w 20"/>
                  <a:gd name="T47" fmla="*/ 18 h 40"/>
                  <a:gd name="T48" fmla="*/ 5 w 20"/>
                  <a:gd name="T49" fmla="*/ 18 h 40"/>
                  <a:gd name="T50" fmla="*/ 5 w 20"/>
                  <a:gd name="T51" fmla="*/ 16 h 40"/>
                  <a:gd name="T52" fmla="*/ 7 w 20"/>
                  <a:gd name="T53" fmla="*/ 13 h 40"/>
                  <a:gd name="T54" fmla="*/ 9 w 20"/>
                  <a:gd name="T55" fmla="*/ 11 h 40"/>
                  <a:gd name="T56" fmla="*/ 9 w 20"/>
                  <a:gd name="T57" fmla="*/ 8 h 40"/>
                  <a:gd name="T58" fmla="*/ 7 w 20"/>
                  <a:gd name="T59" fmla="*/ 0 h 40"/>
                  <a:gd name="T60" fmla="*/ 3 w 20"/>
                  <a:gd name="T61" fmla="*/ 5 h 40"/>
                  <a:gd name="T62" fmla="*/ 1 w 20"/>
                  <a:gd name="T63" fmla="*/ 11 h 40"/>
                  <a:gd name="T64" fmla="*/ 0 w 20"/>
                  <a:gd name="T65" fmla="*/ 13 h 40"/>
                  <a:gd name="T66" fmla="*/ 2 w 20"/>
                  <a:gd name="T67" fmla="*/ 16 h 40"/>
                  <a:gd name="T68" fmla="*/ 3 w 20"/>
                  <a:gd name="T69" fmla="*/ 19 h 40"/>
                  <a:gd name="T70" fmla="*/ 2 w 20"/>
                  <a:gd name="T71" fmla="*/ 21 h 40"/>
                  <a:gd name="T72" fmla="*/ 5 w 20"/>
                  <a:gd name="T73" fmla="*/ 27 h 40"/>
                  <a:gd name="T74" fmla="*/ 5 w 20"/>
                  <a:gd name="T75" fmla="*/ 29 h 40"/>
                  <a:gd name="T76" fmla="*/ 5 w 20"/>
                  <a:gd name="T77" fmla="*/ 29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0" h="40">
                    <a:moveTo>
                      <a:pt x="5" y="29"/>
                    </a:moveTo>
                    <a:lnTo>
                      <a:pt x="5" y="31"/>
                    </a:lnTo>
                    <a:lnTo>
                      <a:pt x="10" y="39"/>
                    </a:lnTo>
                    <a:lnTo>
                      <a:pt x="12" y="40"/>
                    </a:lnTo>
                    <a:lnTo>
                      <a:pt x="9" y="35"/>
                    </a:lnTo>
                    <a:lnTo>
                      <a:pt x="7" y="29"/>
                    </a:lnTo>
                    <a:lnTo>
                      <a:pt x="8" y="28"/>
                    </a:lnTo>
                    <a:lnTo>
                      <a:pt x="7" y="25"/>
                    </a:lnTo>
                    <a:lnTo>
                      <a:pt x="10" y="23"/>
                    </a:lnTo>
                    <a:lnTo>
                      <a:pt x="20" y="26"/>
                    </a:lnTo>
                    <a:lnTo>
                      <a:pt x="18" y="25"/>
                    </a:lnTo>
                    <a:lnTo>
                      <a:pt x="18" y="22"/>
                    </a:lnTo>
                    <a:lnTo>
                      <a:pt x="15" y="21"/>
                    </a:lnTo>
                    <a:lnTo>
                      <a:pt x="12" y="20"/>
                    </a:lnTo>
                    <a:lnTo>
                      <a:pt x="14" y="17"/>
                    </a:lnTo>
                    <a:lnTo>
                      <a:pt x="16" y="16"/>
                    </a:lnTo>
                    <a:lnTo>
                      <a:pt x="18" y="13"/>
                    </a:lnTo>
                    <a:lnTo>
                      <a:pt x="18" y="11"/>
                    </a:lnTo>
                    <a:lnTo>
                      <a:pt x="16" y="8"/>
                    </a:lnTo>
                    <a:lnTo>
                      <a:pt x="14" y="10"/>
                    </a:lnTo>
                    <a:lnTo>
                      <a:pt x="10" y="11"/>
                    </a:lnTo>
                    <a:lnTo>
                      <a:pt x="10" y="14"/>
                    </a:lnTo>
                    <a:lnTo>
                      <a:pt x="8" y="16"/>
                    </a:lnTo>
                    <a:lnTo>
                      <a:pt x="7" y="18"/>
                    </a:lnTo>
                    <a:lnTo>
                      <a:pt x="5" y="18"/>
                    </a:lnTo>
                    <a:lnTo>
                      <a:pt x="5" y="16"/>
                    </a:lnTo>
                    <a:lnTo>
                      <a:pt x="7" y="13"/>
                    </a:lnTo>
                    <a:lnTo>
                      <a:pt x="9" y="11"/>
                    </a:lnTo>
                    <a:lnTo>
                      <a:pt x="9" y="8"/>
                    </a:lnTo>
                    <a:lnTo>
                      <a:pt x="7" y="0"/>
                    </a:lnTo>
                    <a:lnTo>
                      <a:pt x="3" y="5"/>
                    </a:lnTo>
                    <a:lnTo>
                      <a:pt x="1" y="11"/>
                    </a:lnTo>
                    <a:lnTo>
                      <a:pt x="0" y="13"/>
                    </a:lnTo>
                    <a:lnTo>
                      <a:pt x="2" y="16"/>
                    </a:lnTo>
                    <a:lnTo>
                      <a:pt x="3" y="19"/>
                    </a:lnTo>
                    <a:lnTo>
                      <a:pt x="2" y="21"/>
                    </a:lnTo>
                    <a:lnTo>
                      <a:pt x="5" y="27"/>
                    </a:lnTo>
                    <a:lnTo>
                      <a:pt x="5" y="29"/>
                    </a:lnTo>
                    <a:lnTo>
                      <a:pt x="5" y="2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14" name="Freeform 180">
                <a:extLst>
                  <a:ext uri="{FF2B5EF4-FFF2-40B4-BE49-F238E27FC236}">
                    <a16:creationId xmlns:a16="http://schemas.microsoft.com/office/drawing/2014/main" id="{B28A85E3-190F-400B-AA32-1733AB45CF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7" y="2844"/>
                <a:ext cx="40" cy="14"/>
              </a:xfrm>
              <a:custGeom>
                <a:avLst/>
                <a:gdLst>
                  <a:gd name="T0" fmla="*/ 28 w 40"/>
                  <a:gd name="T1" fmla="*/ 9 h 14"/>
                  <a:gd name="T2" fmla="*/ 34 w 40"/>
                  <a:gd name="T3" fmla="*/ 12 h 14"/>
                  <a:gd name="T4" fmla="*/ 36 w 40"/>
                  <a:gd name="T5" fmla="*/ 13 h 14"/>
                  <a:gd name="T6" fmla="*/ 40 w 40"/>
                  <a:gd name="T7" fmla="*/ 14 h 14"/>
                  <a:gd name="T8" fmla="*/ 40 w 40"/>
                  <a:gd name="T9" fmla="*/ 9 h 14"/>
                  <a:gd name="T10" fmla="*/ 36 w 40"/>
                  <a:gd name="T11" fmla="*/ 8 h 14"/>
                  <a:gd name="T12" fmla="*/ 36 w 40"/>
                  <a:gd name="T13" fmla="*/ 4 h 14"/>
                  <a:gd name="T14" fmla="*/ 33 w 40"/>
                  <a:gd name="T15" fmla="*/ 3 h 14"/>
                  <a:gd name="T16" fmla="*/ 28 w 40"/>
                  <a:gd name="T17" fmla="*/ 3 h 14"/>
                  <a:gd name="T18" fmla="*/ 26 w 40"/>
                  <a:gd name="T19" fmla="*/ 2 h 14"/>
                  <a:gd name="T20" fmla="*/ 21 w 40"/>
                  <a:gd name="T21" fmla="*/ 0 h 14"/>
                  <a:gd name="T22" fmla="*/ 16 w 40"/>
                  <a:gd name="T23" fmla="*/ 2 h 14"/>
                  <a:gd name="T24" fmla="*/ 14 w 40"/>
                  <a:gd name="T25" fmla="*/ 1 h 14"/>
                  <a:gd name="T26" fmla="*/ 8 w 40"/>
                  <a:gd name="T27" fmla="*/ 1 h 14"/>
                  <a:gd name="T28" fmla="*/ 4 w 40"/>
                  <a:gd name="T29" fmla="*/ 1 h 14"/>
                  <a:gd name="T30" fmla="*/ 2 w 40"/>
                  <a:gd name="T31" fmla="*/ 2 h 14"/>
                  <a:gd name="T32" fmla="*/ 0 w 40"/>
                  <a:gd name="T33" fmla="*/ 4 h 14"/>
                  <a:gd name="T34" fmla="*/ 0 w 40"/>
                  <a:gd name="T35" fmla="*/ 10 h 14"/>
                  <a:gd name="T36" fmla="*/ 1 w 40"/>
                  <a:gd name="T37" fmla="*/ 8 h 14"/>
                  <a:gd name="T38" fmla="*/ 2 w 40"/>
                  <a:gd name="T39" fmla="*/ 4 h 14"/>
                  <a:gd name="T40" fmla="*/ 4 w 40"/>
                  <a:gd name="T41" fmla="*/ 6 h 14"/>
                  <a:gd name="T42" fmla="*/ 7 w 40"/>
                  <a:gd name="T43" fmla="*/ 9 h 14"/>
                  <a:gd name="T44" fmla="*/ 9 w 40"/>
                  <a:gd name="T45" fmla="*/ 9 h 14"/>
                  <a:gd name="T46" fmla="*/ 11 w 40"/>
                  <a:gd name="T47" fmla="*/ 6 h 14"/>
                  <a:gd name="T48" fmla="*/ 15 w 40"/>
                  <a:gd name="T49" fmla="*/ 8 h 14"/>
                  <a:gd name="T50" fmla="*/ 20 w 40"/>
                  <a:gd name="T51" fmla="*/ 9 h 14"/>
                  <a:gd name="T52" fmla="*/ 23 w 40"/>
                  <a:gd name="T53" fmla="*/ 8 h 14"/>
                  <a:gd name="T54" fmla="*/ 25 w 40"/>
                  <a:gd name="T55" fmla="*/ 8 h 14"/>
                  <a:gd name="T56" fmla="*/ 28 w 40"/>
                  <a:gd name="T57" fmla="*/ 9 h 14"/>
                  <a:gd name="T58" fmla="*/ 28 w 40"/>
                  <a:gd name="T59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40" h="14">
                    <a:moveTo>
                      <a:pt x="28" y="9"/>
                    </a:moveTo>
                    <a:lnTo>
                      <a:pt x="34" y="12"/>
                    </a:lnTo>
                    <a:lnTo>
                      <a:pt x="36" y="13"/>
                    </a:lnTo>
                    <a:lnTo>
                      <a:pt x="40" y="14"/>
                    </a:lnTo>
                    <a:lnTo>
                      <a:pt x="40" y="9"/>
                    </a:lnTo>
                    <a:lnTo>
                      <a:pt x="36" y="8"/>
                    </a:lnTo>
                    <a:lnTo>
                      <a:pt x="36" y="4"/>
                    </a:lnTo>
                    <a:lnTo>
                      <a:pt x="33" y="3"/>
                    </a:lnTo>
                    <a:lnTo>
                      <a:pt x="28" y="3"/>
                    </a:lnTo>
                    <a:lnTo>
                      <a:pt x="26" y="2"/>
                    </a:lnTo>
                    <a:lnTo>
                      <a:pt x="21" y="0"/>
                    </a:lnTo>
                    <a:lnTo>
                      <a:pt x="16" y="2"/>
                    </a:lnTo>
                    <a:lnTo>
                      <a:pt x="14" y="1"/>
                    </a:lnTo>
                    <a:lnTo>
                      <a:pt x="8" y="1"/>
                    </a:lnTo>
                    <a:lnTo>
                      <a:pt x="4" y="1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10"/>
                    </a:lnTo>
                    <a:lnTo>
                      <a:pt x="1" y="8"/>
                    </a:lnTo>
                    <a:lnTo>
                      <a:pt x="2" y="4"/>
                    </a:lnTo>
                    <a:lnTo>
                      <a:pt x="4" y="6"/>
                    </a:lnTo>
                    <a:lnTo>
                      <a:pt x="7" y="9"/>
                    </a:lnTo>
                    <a:lnTo>
                      <a:pt x="9" y="9"/>
                    </a:lnTo>
                    <a:lnTo>
                      <a:pt x="11" y="6"/>
                    </a:lnTo>
                    <a:lnTo>
                      <a:pt x="15" y="8"/>
                    </a:lnTo>
                    <a:lnTo>
                      <a:pt x="20" y="9"/>
                    </a:lnTo>
                    <a:lnTo>
                      <a:pt x="23" y="8"/>
                    </a:lnTo>
                    <a:lnTo>
                      <a:pt x="25" y="8"/>
                    </a:lnTo>
                    <a:lnTo>
                      <a:pt x="28" y="9"/>
                    </a:lnTo>
                    <a:lnTo>
                      <a:pt x="28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15" name="Freeform 181">
                <a:extLst>
                  <a:ext uri="{FF2B5EF4-FFF2-40B4-BE49-F238E27FC236}">
                    <a16:creationId xmlns:a16="http://schemas.microsoft.com/office/drawing/2014/main" id="{346AF474-B811-4E91-879C-0C51E8713D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0" y="2770"/>
                <a:ext cx="7" cy="8"/>
              </a:xfrm>
              <a:custGeom>
                <a:avLst/>
                <a:gdLst>
                  <a:gd name="T0" fmla="*/ 1 w 7"/>
                  <a:gd name="T1" fmla="*/ 8 h 8"/>
                  <a:gd name="T2" fmla="*/ 3 w 7"/>
                  <a:gd name="T3" fmla="*/ 8 h 8"/>
                  <a:gd name="T4" fmla="*/ 6 w 7"/>
                  <a:gd name="T5" fmla="*/ 6 h 8"/>
                  <a:gd name="T6" fmla="*/ 7 w 7"/>
                  <a:gd name="T7" fmla="*/ 3 h 8"/>
                  <a:gd name="T8" fmla="*/ 7 w 7"/>
                  <a:gd name="T9" fmla="*/ 1 h 8"/>
                  <a:gd name="T10" fmla="*/ 5 w 7"/>
                  <a:gd name="T11" fmla="*/ 0 h 8"/>
                  <a:gd name="T12" fmla="*/ 1 w 7"/>
                  <a:gd name="T13" fmla="*/ 2 h 8"/>
                  <a:gd name="T14" fmla="*/ 0 w 7"/>
                  <a:gd name="T15" fmla="*/ 6 h 8"/>
                  <a:gd name="T16" fmla="*/ 1 w 7"/>
                  <a:gd name="T17" fmla="*/ 8 h 8"/>
                  <a:gd name="T18" fmla="*/ 1 w 7"/>
                  <a:gd name="T1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" h="8">
                    <a:moveTo>
                      <a:pt x="1" y="8"/>
                    </a:moveTo>
                    <a:lnTo>
                      <a:pt x="3" y="8"/>
                    </a:lnTo>
                    <a:lnTo>
                      <a:pt x="6" y="6"/>
                    </a:lnTo>
                    <a:lnTo>
                      <a:pt x="7" y="3"/>
                    </a:lnTo>
                    <a:lnTo>
                      <a:pt x="7" y="1"/>
                    </a:lnTo>
                    <a:lnTo>
                      <a:pt x="5" y="0"/>
                    </a:lnTo>
                    <a:lnTo>
                      <a:pt x="1" y="2"/>
                    </a:lnTo>
                    <a:lnTo>
                      <a:pt x="0" y="6"/>
                    </a:lnTo>
                    <a:lnTo>
                      <a:pt x="1" y="8"/>
                    </a:lnTo>
                    <a:lnTo>
                      <a:pt x="1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16" name="Freeform 182">
                <a:extLst>
                  <a:ext uri="{FF2B5EF4-FFF2-40B4-BE49-F238E27FC236}">
                    <a16:creationId xmlns:a16="http://schemas.microsoft.com/office/drawing/2014/main" id="{29C787C5-7510-4A3A-9261-1E425D59D8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0" y="2203"/>
                <a:ext cx="169" cy="164"/>
              </a:xfrm>
              <a:custGeom>
                <a:avLst/>
                <a:gdLst>
                  <a:gd name="T0" fmla="*/ 23 w 169"/>
                  <a:gd name="T1" fmla="*/ 119 h 164"/>
                  <a:gd name="T2" fmla="*/ 35 w 169"/>
                  <a:gd name="T3" fmla="*/ 119 h 164"/>
                  <a:gd name="T4" fmla="*/ 41 w 169"/>
                  <a:gd name="T5" fmla="*/ 115 h 164"/>
                  <a:gd name="T6" fmla="*/ 48 w 169"/>
                  <a:gd name="T7" fmla="*/ 114 h 164"/>
                  <a:gd name="T8" fmla="*/ 60 w 169"/>
                  <a:gd name="T9" fmla="*/ 111 h 164"/>
                  <a:gd name="T10" fmla="*/ 77 w 169"/>
                  <a:gd name="T11" fmla="*/ 108 h 164"/>
                  <a:gd name="T12" fmla="*/ 74 w 169"/>
                  <a:gd name="T13" fmla="*/ 114 h 164"/>
                  <a:gd name="T14" fmla="*/ 79 w 169"/>
                  <a:gd name="T15" fmla="*/ 123 h 164"/>
                  <a:gd name="T16" fmla="*/ 88 w 169"/>
                  <a:gd name="T17" fmla="*/ 121 h 164"/>
                  <a:gd name="T18" fmla="*/ 99 w 169"/>
                  <a:gd name="T19" fmla="*/ 113 h 164"/>
                  <a:gd name="T20" fmla="*/ 97 w 169"/>
                  <a:gd name="T21" fmla="*/ 103 h 164"/>
                  <a:gd name="T22" fmla="*/ 100 w 169"/>
                  <a:gd name="T23" fmla="*/ 105 h 164"/>
                  <a:gd name="T24" fmla="*/ 116 w 169"/>
                  <a:gd name="T25" fmla="*/ 110 h 164"/>
                  <a:gd name="T26" fmla="*/ 125 w 169"/>
                  <a:gd name="T27" fmla="*/ 104 h 164"/>
                  <a:gd name="T28" fmla="*/ 130 w 169"/>
                  <a:gd name="T29" fmla="*/ 102 h 164"/>
                  <a:gd name="T30" fmla="*/ 137 w 169"/>
                  <a:gd name="T31" fmla="*/ 98 h 164"/>
                  <a:gd name="T32" fmla="*/ 140 w 169"/>
                  <a:gd name="T33" fmla="*/ 99 h 164"/>
                  <a:gd name="T34" fmla="*/ 151 w 169"/>
                  <a:gd name="T35" fmla="*/ 93 h 164"/>
                  <a:gd name="T36" fmla="*/ 150 w 169"/>
                  <a:gd name="T37" fmla="*/ 85 h 164"/>
                  <a:gd name="T38" fmla="*/ 156 w 169"/>
                  <a:gd name="T39" fmla="*/ 65 h 164"/>
                  <a:gd name="T40" fmla="*/ 157 w 169"/>
                  <a:gd name="T41" fmla="*/ 51 h 164"/>
                  <a:gd name="T42" fmla="*/ 164 w 169"/>
                  <a:gd name="T43" fmla="*/ 40 h 164"/>
                  <a:gd name="T44" fmla="*/ 169 w 169"/>
                  <a:gd name="T45" fmla="*/ 33 h 164"/>
                  <a:gd name="T46" fmla="*/ 162 w 169"/>
                  <a:gd name="T47" fmla="*/ 14 h 164"/>
                  <a:gd name="T48" fmla="*/ 157 w 169"/>
                  <a:gd name="T49" fmla="*/ 0 h 164"/>
                  <a:gd name="T50" fmla="*/ 159 w 169"/>
                  <a:gd name="T51" fmla="*/ 4 h 164"/>
                  <a:gd name="T52" fmla="*/ 152 w 169"/>
                  <a:gd name="T53" fmla="*/ 11 h 164"/>
                  <a:gd name="T54" fmla="*/ 146 w 169"/>
                  <a:gd name="T55" fmla="*/ 6 h 164"/>
                  <a:gd name="T56" fmla="*/ 140 w 169"/>
                  <a:gd name="T57" fmla="*/ 14 h 164"/>
                  <a:gd name="T58" fmla="*/ 139 w 169"/>
                  <a:gd name="T59" fmla="*/ 27 h 164"/>
                  <a:gd name="T60" fmla="*/ 142 w 169"/>
                  <a:gd name="T61" fmla="*/ 35 h 164"/>
                  <a:gd name="T62" fmla="*/ 134 w 169"/>
                  <a:gd name="T63" fmla="*/ 51 h 164"/>
                  <a:gd name="T64" fmla="*/ 126 w 169"/>
                  <a:gd name="T65" fmla="*/ 59 h 164"/>
                  <a:gd name="T66" fmla="*/ 117 w 169"/>
                  <a:gd name="T67" fmla="*/ 70 h 164"/>
                  <a:gd name="T68" fmla="*/ 102 w 169"/>
                  <a:gd name="T69" fmla="*/ 72 h 164"/>
                  <a:gd name="T70" fmla="*/ 105 w 169"/>
                  <a:gd name="T71" fmla="*/ 64 h 164"/>
                  <a:gd name="T72" fmla="*/ 97 w 169"/>
                  <a:gd name="T73" fmla="*/ 76 h 164"/>
                  <a:gd name="T74" fmla="*/ 88 w 169"/>
                  <a:gd name="T75" fmla="*/ 90 h 164"/>
                  <a:gd name="T76" fmla="*/ 79 w 169"/>
                  <a:gd name="T77" fmla="*/ 96 h 164"/>
                  <a:gd name="T78" fmla="*/ 64 w 169"/>
                  <a:gd name="T79" fmla="*/ 94 h 164"/>
                  <a:gd name="T80" fmla="*/ 48 w 169"/>
                  <a:gd name="T81" fmla="*/ 95 h 164"/>
                  <a:gd name="T82" fmla="*/ 30 w 169"/>
                  <a:gd name="T83" fmla="*/ 107 h 164"/>
                  <a:gd name="T84" fmla="*/ 20 w 169"/>
                  <a:gd name="T85" fmla="*/ 112 h 164"/>
                  <a:gd name="T86" fmla="*/ 12 w 169"/>
                  <a:gd name="T87" fmla="*/ 121 h 164"/>
                  <a:gd name="T88" fmla="*/ 5 w 169"/>
                  <a:gd name="T89" fmla="*/ 128 h 164"/>
                  <a:gd name="T90" fmla="*/ 0 w 169"/>
                  <a:gd name="T91" fmla="*/ 130 h 164"/>
                  <a:gd name="T92" fmla="*/ 2 w 169"/>
                  <a:gd name="T93" fmla="*/ 136 h 164"/>
                  <a:gd name="T94" fmla="*/ 5 w 169"/>
                  <a:gd name="T95" fmla="*/ 138 h 164"/>
                  <a:gd name="T96" fmla="*/ 10 w 169"/>
                  <a:gd name="T97" fmla="*/ 132 h 164"/>
                  <a:gd name="T98" fmla="*/ 13 w 169"/>
                  <a:gd name="T99" fmla="*/ 139 h 164"/>
                  <a:gd name="T100" fmla="*/ 10 w 169"/>
                  <a:gd name="T101" fmla="*/ 155 h 164"/>
                  <a:gd name="T102" fmla="*/ 12 w 169"/>
                  <a:gd name="T103" fmla="*/ 156 h 164"/>
                  <a:gd name="T104" fmla="*/ 15 w 169"/>
                  <a:gd name="T105" fmla="*/ 158 h 164"/>
                  <a:gd name="T106" fmla="*/ 20 w 169"/>
                  <a:gd name="T107" fmla="*/ 160 h 164"/>
                  <a:gd name="T108" fmla="*/ 23 w 169"/>
                  <a:gd name="T109" fmla="*/ 156 h 164"/>
                  <a:gd name="T110" fmla="*/ 28 w 169"/>
                  <a:gd name="T111" fmla="*/ 141 h 164"/>
                  <a:gd name="T112" fmla="*/ 32 w 169"/>
                  <a:gd name="T113" fmla="*/ 132 h 164"/>
                  <a:gd name="T114" fmla="*/ 28 w 169"/>
                  <a:gd name="T115" fmla="*/ 124 h 164"/>
                  <a:gd name="T116" fmla="*/ 19 w 169"/>
                  <a:gd name="T117" fmla="*/ 122 h 164"/>
                  <a:gd name="T118" fmla="*/ 18 w 169"/>
                  <a:gd name="T119" fmla="*/ 12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69" h="164">
                    <a:moveTo>
                      <a:pt x="18" y="120"/>
                    </a:moveTo>
                    <a:lnTo>
                      <a:pt x="19" y="119"/>
                    </a:lnTo>
                    <a:lnTo>
                      <a:pt x="21" y="120"/>
                    </a:lnTo>
                    <a:lnTo>
                      <a:pt x="23" y="119"/>
                    </a:lnTo>
                    <a:lnTo>
                      <a:pt x="27" y="119"/>
                    </a:lnTo>
                    <a:lnTo>
                      <a:pt x="29" y="117"/>
                    </a:lnTo>
                    <a:lnTo>
                      <a:pt x="35" y="121"/>
                    </a:lnTo>
                    <a:lnTo>
                      <a:pt x="35" y="119"/>
                    </a:lnTo>
                    <a:lnTo>
                      <a:pt x="36" y="115"/>
                    </a:lnTo>
                    <a:lnTo>
                      <a:pt x="37" y="113"/>
                    </a:lnTo>
                    <a:lnTo>
                      <a:pt x="39" y="115"/>
                    </a:lnTo>
                    <a:lnTo>
                      <a:pt x="41" y="115"/>
                    </a:lnTo>
                    <a:lnTo>
                      <a:pt x="47" y="113"/>
                    </a:lnTo>
                    <a:lnTo>
                      <a:pt x="48" y="113"/>
                    </a:lnTo>
                    <a:lnTo>
                      <a:pt x="47" y="114"/>
                    </a:lnTo>
                    <a:lnTo>
                      <a:pt x="48" y="114"/>
                    </a:lnTo>
                    <a:lnTo>
                      <a:pt x="49" y="112"/>
                    </a:lnTo>
                    <a:lnTo>
                      <a:pt x="52" y="112"/>
                    </a:lnTo>
                    <a:lnTo>
                      <a:pt x="54" y="112"/>
                    </a:lnTo>
                    <a:lnTo>
                      <a:pt x="60" y="111"/>
                    </a:lnTo>
                    <a:lnTo>
                      <a:pt x="64" y="107"/>
                    </a:lnTo>
                    <a:lnTo>
                      <a:pt x="69" y="106"/>
                    </a:lnTo>
                    <a:lnTo>
                      <a:pt x="74" y="110"/>
                    </a:lnTo>
                    <a:lnTo>
                      <a:pt x="77" y="108"/>
                    </a:lnTo>
                    <a:lnTo>
                      <a:pt x="79" y="108"/>
                    </a:lnTo>
                    <a:lnTo>
                      <a:pt x="80" y="110"/>
                    </a:lnTo>
                    <a:lnTo>
                      <a:pt x="78" y="113"/>
                    </a:lnTo>
                    <a:lnTo>
                      <a:pt x="74" y="114"/>
                    </a:lnTo>
                    <a:lnTo>
                      <a:pt x="75" y="116"/>
                    </a:lnTo>
                    <a:lnTo>
                      <a:pt x="74" y="119"/>
                    </a:lnTo>
                    <a:lnTo>
                      <a:pt x="75" y="122"/>
                    </a:lnTo>
                    <a:lnTo>
                      <a:pt x="79" y="123"/>
                    </a:lnTo>
                    <a:lnTo>
                      <a:pt x="80" y="125"/>
                    </a:lnTo>
                    <a:lnTo>
                      <a:pt x="82" y="127"/>
                    </a:lnTo>
                    <a:lnTo>
                      <a:pt x="86" y="127"/>
                    </a:lnTo>
                    <a:lnTo>
                      <a:pt x="88" y="121"/>
                    </a:lnTo>
                    <a:lnTo>
                      <a:pt x="91" y="119"/>
                    </a:lnTo>
                    <a:lnTo>
                      <a:pt x="91" y="116"/>
                    </a:lnTo>
                    <a:lnTo>
                      <a:pt x="94" y="115"/>
                    </a:lnTo>
                    <a:lnTo>
                      <a:pt x="99" y="113"/>
                    </a:lnTo>
                    <a:lnTo>
                      <a:pt x="97" y="111"/>
                    </a:lnTo>
                    <a:lnTo>
                      <a:pt x="95" y="110"/>
                    </a:lnTo>
                    <a:lnTo>
                      <a:pt x="95" y="108"/>
                    </a:lnTo>
                    <a:lnTo>
                      <a:pt x="97" y="103"/>
                    </a:lnTo>
                    <a:lnTo>
                      <a:pt x="99" y="102"/>
                    </a:lnTo>
                    <a:lnTo>
                      <a:pt x="98" y="105"/>
                    </a:lnTo>
                    <a:lnTo>
                      <a:pt x="100" y="107"/>
                    </a:lnTo>
                    <a:lnTo>
                      <a:pt x="100" y="105"/>
                    </a:lnTo>
                    <a:lnTo>
                      <a:pt x="104" y="108"/>
                    </a:lnTo>
                    <a:lnTo>
                      <a:pt x="102" y="110"/>
                    </a:lnTo>
                    <a:lnTo>
                      <a:pt x="108" y="108"/>
                    </a:lnTo>
                    <a:lnTo>
                      <a:pt x="116" y="110"/>
                    </a:lnTo>
                    <a:lnTo>
                      <a:pt x="119" y="107"/>
                    </a:lnTo>
                    <a:lnTo>
                      <a:pt x="120" y="104"/>
                    </a:lnTo>
                    <a:lnTo>
                      <a:pt x="122" y="102"/>
                    </a:lnTo>
                    <a:lnTo>
                      <a:pt x="125" y="104"/>
                    </a:lnTo>
                    <a:lnTo>
                      <a:pt x="125" y="106"/>
                    </a:lnTo>
                    <a:lnTo>
                      <a:pt x="126" y="110"/>
                    </a:lnTo>
                    <a:lnTo>
                      <a:pt x="129" y="106"/>
                    </a:lnTo>
                    <a:lnTo>
                      <a:pt x="130" y="102"/>
                    </a:lnTo>
                    <a:lnTo>
                      <a:pt x="132" y="99"/>
                    </a:lnTo>
                    <a:lnTo>
                      <a:pt x="134" y="98"/>
                    </a:lnTo>
                    <a:lnTo>
                      <a:pt x="138" y="100"/>
                    </a:lnTo>
                    <a:lnTo>
                      <a:pt x="137" y="98"/>
                    </a:lnTo>
                    <a:lnTo>
                      <a:pt x="140" y="94"/>
                    </a:lnTo>
                    <a:lnTo>
                      <a:pt x="142" y="94"/>
                    </a:lnTo>
                    <a:lnTo>
                      <a:pt x="142" y="96"/>
                    </a:lnTo>
                    <a:lnTo>
                      <a:pt x="140" y="99"/>
                    </a:lnTo>
                    <a:lnTo>
                      <a:pt x="139" y="104"/>
                    </a:lnTo>
                    <a:lnTo>
                      <a:pt x="147" y="100"/>
                    </a:lnTo>
                    <a:lnTo>
                      <a:pt x="148" y="95"/>
                    </a:lnTo>
                    <a:lnTo>
                      <a:pt x="151" y="93"/>
                    </a:lnTo>
                    <a:lnTo>
                      <a:pt x="154" y="91"/>
                    </a:lnTo>
                    <a:lnTo>
                      <a:pt x="152" y="90"/>
                    </a:lnTo>
                    <a:lnTo>
                      <a:pt x="151" y="88"/>
                    </a:lnTo>
                    <a:lnTo>
                      <a:pt x="150" y="85"/>
                    </a:lnTo>
                    <a:lnTo>
                      <a:pt x="150" y="80"/>
                    </a:lnTo>
                    <a:lnTo>
                      <a:pt x="152" y="74"/>
                    </a:lnTo>
                    <a:lnTo>
                      <a:pt x="155" y="71"/>
                    </a:lnTo>
                    <a:lnTo>
                      <a:pt x="156" y="65"/>
                    </a:lnTo>
                    <a:lnTo>
                      <a:pt x="156" y="61"/>
                    </a:lnTo>
                    <a:lnTo>
                      <a:pt x="155" y="57"/>
                    </a:lnTo>
                    <a:lnTo>
                      <a:pt x="155" y="53"/>
                    </a:lnTo>
                    <a:lnTo>
                      <a:pt x="157" y="51"/>
                    </a:lnTo>
                    <a:lnTo>
                      <a:pt x="160" y="50"/>
                    </a:lnTo>
                    <a:lnTo>
                      <a:pt x="163" y="52"/>
                    </a:lnTo>
                    <a:lnTo>
                      <a:pt x="163" y="48"/>
                    </a:lnTo>
                    <a:lnTo>
                      <a:pt x="164" y="40"/>
                    </a:lnTo>
                    <a:lnTo>
                      <a:pt x="166" y="40"/>
                    </a:lnTo>
                    <a:lnTo>
                      <a:pt x="168" y="37"/>
                    </a:lnTo>
                    <a:lnTo>
                      <a:pt x="168" y="35"/>
                    </a:lnTo>
                    <a:lnTo>
                      <a:pt x="169" y="33"/>
                    </a:lnTo>
                    <a:lnTo>
                      <a:pt x="168" y="25"/>
                    </a:lnTo>
                    <a:lnTo>
                      <a:pt x="166" y="19"/>
                    </a:lnTo>
                    <a:lnTo>
                      <a:pt x="165" y="17"/>
                    </a:lnTo>
                    <a:lnTo>
                      <a:pt x="162" y="14"/>
                    </a:lnTo>
                    <a:lnTo>
                      <a:pt x="162" y="12"/>
                    </a:lnTo>
                    <a:lnTo>
                      <a:pt x="160" y="5"/>
                    </a:lnTo>
                    <a:lnTo>
                      <a:pt x="159" y="2"/>
                    </a:lnTo>
                    <a:lnTo>
                      <a:pt x="157" y="0"/>
                    </a:lnTo>
                    <a:lnTo>
                      <a:pt x="154" y="0"/>
                    </a:lnTo>
                    <a:lnTo>
                      <a:pt x="152" y="3"/>
                    </a:lnTo>
                    <a:lnTo>
                      <a:pt x="154" y="5"/>
                    </a:lnTo>
                    <a:lnTo>
                      <a:pt x="159" y="4"/>
                    </a:lnTo>
                    <a:lnTo>
                      <a:pt x="159" y="6"/>
                    </a:lnTo>
                    <a:lnTo>
                      <a:pt x="156" y="10"/>
                    </a:lnTo>
                    <a:lnTo>
                      <a:pt x="154" y="8"/>
                    </a:lnTo>
                    <a:lnTo>
                      <a:pt x="152" y="11"/>
                    </a:lnTo>
                    <a:lnTo>
                      <a:pt x="151" y="10"/>
                    </a:lnTo>
                    <a:lnTo>
                      <a:pt x="149" y="4"/>
                    </a:lnTo>
                    <a:lnTo>
                      <a:pt x="147" y="4"/>
                    </a:lnTo>
                    <a:lnTo>
                      <a:pt x="146" y="6"/>
                    </a:lnTo>
                    <a:lnTo>
                      <a:pt x="146" y="9"/>
                    </a:lnTo>
                    <a:lnTo>
                      <a:pt x="145" y="12"/>
                    </a:lnTo>
                    <a:lnTo>
                      <a:pt x="142" y="12"/>
                    </a:lnTo>
                    <a:lnTo>
                      <a:pt x="140" y="14"/>
                    </a:lnTo>
                    <a:lnTo>
                      <a:pt x="141" y="18"/>
                    </a:lnTo>
                    <a:lnTo>
                      <a:pt x="142" y="18"/>
                    </a:lnTo>
                    <a:lnTo>
                      <a:pt x="142" y="21"/>
                    </a:lnTo>
                    <a:lnTo>
                      <a:pt x="139" y="27"/>
                    </a:lnTo>
                    <a:lnTo>
                      <a:pt x="142" y="27"/>
                    </a:lnTo>
                    <a:lnTo>
                      <a:pt x="142" y="28"/>
                    </a:lnTo>
                    <a:lnTo>
                      <a:pt x="143" y="31"/>
                    </a:lnTo>
                    <a:lnTo>
                      <a:pt x="142" y="35"/>
                    </a:lnTo>
                    <a:lnTo>
                      <a:pt x="141" y="36"/>
                    </a:lnTo>
                    <a:lnTo>
                      <a:pt x="139" y="42"/>
                    </a:lnTo>
                    <a:lnTo>
                      <a:pt x="136" y="47"/>
                    </a:lnTo>
                    <a:lnTo>
                      <a:pt x="134" y="51"/>
                    </a:lnTo>
                    <a:lnTo>
                      <a:pt x="134" y="53"/>
                    </a:lnTo>
                    <a:lnTo>
                      <a:pt x="132" y="56"/>
                    </a:lnTo>
                    <a:lnTo>
                      <a:pt x="129" y="57"/>
                    </a:lnTo>
                    <a:lnTo>
                      <a:pt x="126" y="59"/>
                    </a:lnTo>
                    <a:lnTo>
                      <a:pt x="125" y="62"/>
                    </a:lnTo>
                    <a:lnTo>
                      <a:pt x="123" y="65"/>
                    </a:lnTo>
                    <a:lnTo>
                      <a:pt x="120" y="68"/>
                    </a:lnTo>
                    <a:lnTo>
                      <a:pt x="117" y="70"/>
                    </a:lnTo>
                    <a:lnTo>
                      <a:pt x="107" y="73"/>
                    </a:lnTo>
                    <a:lnTo>
                      <a:pt x="104" y="76"/>
                    </a:lnTo>
                    <a:lnTo>
                      <a:pt x="102" y="76"/>
                    </a:lnTo>
                    <a:lnTo>
                      <a:pt x="102" y="72"/>
                    </a:lnTo>
                    <a:lnTo>
                      <a:pt x="99" y="70"/>
                    </a:lnTo>
                    <a:lnTo>
                      <a:pt x="102" y="69"/>
                    </a:lnTo>
                    <a:lnTo>
                      <a:pt x="104" y="67"/>
                    </a:lnTo>
                    <a:lnTo>
                      <a:pt x="105" y="64"/>
                    </a:lnTo>
                    <a:lnTo>
                      <a:pt x="103" y="64"/>
                    </a:lnTo>
                    <a:lnTo>
                      <a:pt x="97" y="68"/>
                    </a:lnTo>
                    <a:lnTo>
                      <a:pt x="97" y="73"/>
                    </a:lnTo>
                    <a:lnTo>
                      <a:pt x="97" y="76"/>
                    </a:lnTo>
                    <a:lnTo>
                      <a:pt x="94" y="81"/>
                    </a:lnTo>
                    <a:lnTo>
                      <a:pt x="89" y="85"/>
                    </a:lnTo>
                    <a:lnTo>
                      <a:pt x="87" y="88"/>
                    </a:lnTo>
                    <a:lnTo>
                      <a:pt x="88" y="90"/>
                    </a:lnTo>
                    <a:lnTo>
                      <a:pt x="88" y="93"/>
                    </a:lnTo>
                    <a:lnTo>
                      <a:pt x="82" y="95"/>
                    </a:lnTo>
                    <a:lnTo>
                      <a:pt x="80" y="95"/>
                    </a:lnTo>
                    <a:lnTo>
                      <a:pt x="79" y="96"/>
                    </a:lnTo>
                    <a:lnTo>
                      <a:pt x="77" y="95"/>
                    </a:lnTo>
                    <a:lnTo>
                      <a:pt x="77" y="91"/>
                    </a:lnTo>
                    <a:lnTo>
                      <a:pt x="72" y="93"/>
                    </a:lnTo>
                    <a:lnTo>
                      <a:pt x="64" y="94"/>
                    </a:lnTo>
                    <a:lnTo>
                      <a:pt x="63" y="95"/>
                    </a:lnTo>
                    <a:lnTo>
                      <a:pt x="57" y="96"/>
                    </a:lnTo>
                    <a:lnTo>
                      <a:pt x="52" y="96"/>
                    </a:lnTo>
                    <a:lnTo>
                      <a:pt x="48" y="95"/>
                    </a:lnTo>
                    <a:lnTo>
                      <a:pt x="43" y="96"/>
                    </a:lnTo>
                    <a:lnTo>
                      <a:pt x="40" y="99"/>
                    </a:lnTo>
                    <a:lnTo>
                      <a:pt x="38" y="100"/>
                    </a:lnTo>
                    <a:lnTo>
                      <a:pt x="30" y="107"/>
                    </a:lnTo>
                    <a:lnTo>
                      <a:pt x="28" y="108"/>
                    </a:lnTo>
                    <a:lnTo>
                      <a:pt x="24" y="111"/>
                    </a:lnTo>
                    <a:lnTo>
                      <a:pt x="22" y="112"/>
                    </a:lnTo>
                    <a:lnTo>
                      <a:pt x="20" y="112"/>
                    </a:lnTo>
                    <a:lnTo>
                      <a:pt x="17" y="114"/>
                    </a:lnTo>
                    <a:lnTo>
                      <a:pt x="17" y="117"/>
                    </a:lnTo>
                    <a:lnTo>
                      <a:pt x="18" y="120"/>
                    </a:lnTo>
                    <a:lnTo>
                      <a:pt x="12" y="121"/>
                    </a:lnTo>
                    <a:lnTo>
                      <a:pt x="11" y="123"/>
                    </a:lnTo>
                    <a:lnTo>
                      <a:pt x="9" y="124"/>
                    </a:lnTo>
                    <a:lnTo>
                      <a:pt x="5" y="127"/>
                    </a:lnTo>
                    <a:lnTo>
                      <a:pt x="5" y="128"/>
                    </a:lnTo>
                    <a:lnTo>
                      <a:pt x="3" y="127"/>
                    </a:lnTo>
                    <a:lnTo>
                      <a:pt x="2" y="129"/>
                    </a:lnTo>
                    <a:lnTo>
                      <a:pt x="2" y="129"/>
                    </a:lnTo>
                    <a:lnTo>
                      <a:pt x="0" y="130"/>
                    </a:lnTo>
                    <a:lnTo>
                      <a:pt x="1" y="132"/>
                    </a:lnTo>
                    <a:lnTo>
                      <a:pt x="4" y="133"/>
                    </a:lnTo>
                    <a:lnTo>
                      <a:pt x="5" y="137"/>
                    </a:lnTo>
                    <a:lnTo>
                      <a:pt x="2" y="136"/>
                    </a:lnTo>
                    <a:lnTo>
                      <a:pt x="2" y="133"/>
                    </a:lnTo>
                    <a:lnTo>
                      <a:pt x="1" y="136"/>
                    </a:lnTo>
                    <a:lnTo>
                      <a:pt x="3" y="139"/>
                    </a:lnTo>
                    <a:lnTo>
                      <a:pt x="5" y="138"/>
                    </a:lnTo>
                    <a:lnTo>
                      <a:pt x="8" y="138"/>
                    </a:lnTo>
                    <a:lnTo>
                      <a:pt x="8" y="134"/>
                    </a:lnTo>
                    <a:lnTo>
                      <a:pt x="6" y="132"/>
                    </a:lnTo>
                    <a:lnTo>
                      <a:pt x="10" y="132"/>
                    </a:lnTo>
                    <a:lnTo>
                      <a:pt x="11" y="134"/>
                    </a:lnTo>
                    <a:lnTo>
                      <a:pt x="13" y="137"/>
                    </a:lnTo>
                    <a:lnTo>
                      <a:pt x="11" y="139"/>
                    </a:lnTo>
                    <a:lnTo>
                      <a:pt x="13" y="139"/>
                    </a:lnTo>
                    <a:lnTo>
                      <a:pt x="13" y="141"/>
                    </a:lnTo>
                    <a:lnTo>
                      <a:pt x="10" y="147"/>
                    </a:lnTo>
                    <a:lnTo>
                      <a:pt x="8" y="149"/>
                    </a:lnTo>
                    <a:lnTo>
                      <a:pt x="10" y="155"/>
                    </a:lnTo>
                    <a:lnTo>
                      <a:pt x="9" y="157"/>
                    </a:lnTo>
                    <a:lnTo>
                      <a:pt x="8" y="160"/>
                    </a:lnTo>
                    <a:lnTo>
                      <a:pt x="13" y="162"/>
                    </a:lnTo>
                    <a:lnTo>
                      <a:pt x="12" y="156"/>
                    </a:lnTo>
                    <a:lnTo>
                      <a:pt x="13" y="154"/>
                    </a:lnTo>
                    <a:lnTo>
                      <a:pt x="15" y="154"/>
                    </a:lnTo>
                    <a:lnTo>
                      <a:pt x="13" y="156"/>
                    </a:lnTo>
                    <a:lnTo>
                      <a:pt x="15" y="158"/>
                    </a:lnTo>
                    <a:lnTo>
                      <a:pt x="15" y="160"/>
                    </a:lnTo>
                    <a:lnTo>
                      <a:pt x="14" y="164"/>
                    </a:lnTo>
                    <a:lnTo>
                      <a:pt x="17" y="163"/>
                    </a:lnTo>
                    <a:lnTo>
                      <a:pt x="20" y="160"/>
                    </a:lnTo>
                    <a:lnTo>
                      <a:pt x="19" y="158"/>
                    </a:lnTo>
                    <a:lnTo>
                      <a:pt x="21" y="157"/>
                    </a:lnTo>
                    <a:lnTo>
                      <a:pt x="23" y="158"/>
                    </a:lnTo>
                    <a:lnTo>
                      <a:pt x="23" y="156"/>
                    </a:lnTo>
                    <a:lnTo>
                      <a:pt x="24" y="154"/>
                    </a:lnTo>
                    <a:lnTo>
                      <a:pt x="24" y="150"/>
                    </a:lnTo>
                    <a:lnTo>
                      <a:pt x="26" y="147"/>
                    </a:lnTo>
                    <a:lnTo>
                      <a:pt x="28" y="141"/>
                    </a:lnTo>
                    <a:lnTo>
                      <a:pt x="28" y="140"/>
                    </a:lnTo>
                    <a:lnTo>
                      <a:pt x="30" y="138"/>
                    </a:lnTo>
                    <a:lnTo>
                      <a:pt x="32" y="136"/>
                    </a:lnTo>
                    <a:lnTo>
                      <a:pt x="32" y="132"/>
                    </a:lnTo>
                    <a:lnTo>
                      <a:pt x="31" y="130"/>
                    </a:lnTo>
                    <a:lnTo>
                      <a:pt x="26" y="130"/>
                    </a:lnTo>
                    <a:lnTo>
                      <a:pt x="28" y="128"/>
                    </a:lnTo>
                    <a:lnTo>
                      <a:pt x="28" y="124"/>
                    </a:lnTo>
                    <a:lnTo>
                      <a:pt x="26" y="124"/>
                    </a:lnTo>
                    <a:lnTo>
                      <a:pt x="23" y="125"/>
                    </a:lnTo>
                    <a:lnTo>
                      <a:pt x="21" y="124"/>
                    </a:lnTo>
                    <a:lnTo>
                      <a:pt x="19" y="122"/>
                    </a:lnTo>
                    <a:lnTo>
                      <a:pt x="18" y="121"/>
                    </a:lnTo>
                    <a:lnTo>
                      <a:pt x="18" y="120"/>
                    </a:lnTo>
                    <a:lnTo>
                      <a:pt x="18" y="120"/>
                    </a:lnTo>
                    <a:lnTo>
                      <a:pt x="18" y="12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17" name="Freeform 183">
                <a:extLst>
                  <a:ext uri="{FF2B5EF4-FFF2-40B4-BE49-F238E27FC236}">
                    <a16:creationId xmlns:a16="http://schemas.microsoft.com/office/drawing/2014/main" id="{6788F85F-CA16-404D-B550-48EC53C375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4" y="2316"/>
                <a:ext cx="35" cy="25"/>
              </a:xfrm>
              <a:custGeom>
                <a:avLst/>
                <a:gdLst>
                  <a:gd name="T0" fmla="*/ 20 w 35"/>
                  <a:gd name="T1" fmla="*/ 6 h 25"/>
                  <a:gd name="T2" fmla="*/ 14 w 35"/>
                  <a:gd name="T3" fmla="*/ 7 h 25"/>
                  <a:gd name="T4" fmla="*/ 12 w 35"/>
                  <a:gd name="T5" fmla="*/ 4 h 25"/>
                  <a:gd name="T6" fmla="*/ 9 w 35"/>
                  <a:gd name="T7" fmla="*/ 6 h 25"/>
                  <a:gd name="T8" fmla="*/ 9 w 35"/>
                  <a:gd name="T9" fmla="*/ 8 h 25"/>
                  <a:gd name="T10" fmla="*/ 7 w 35"/>
                  <a:gd name="T11" fmla="*/ 10 h 25"/>
                  <a:gd name="T12" fmla="*/ 3 w 35"/>
                  <a:gd name="T13" fmla="*/ 14 h 25"/>
                  <a:gd name="T14" fmla="*/ 0 w 35"/>
                  <a:gd name="T15" fmla="*/ 15 h 25"/>
                  <a:gd name="T16" fmla="*/ 3 w 35"/>
                  <a:gd name="T17" fmla="*/ 14 h 25"/>
                  <a:gd name="T18" fmla="*/ 5 w 35"/>
                  <a:gd name="T19" fmla="*/ 17 h 25"/>
                  <a:gd name="T20" fmla="*/ 5 w 35"/>
                  <a:gd name="T21" fmla="*/ 21 h 25"/>
                  <a:gd name="T22" fmla="*/ 7 w 35"/>
                  <a:gd name="T23" fmla="*/ 23 h 25"/>
                  <a:gd name="T24" fmla="*/ 10 w 35"/>
                  <a:gd name="T25" fmla="*/ 25 h 25"/>
                  <a:gd name="T26" fmla="*/ 18 w 35"/>
                  <a:gd name="T27" fmla="*/ 15 h 25"/>
                  <a:gd name="T28" fmla="*/ 21 w 35"/>
                  <a:gd name="T29" fmla="*/ 14 h 25"/>
                  <a:gd name="T30" fmla="*/ 23 w 35"/>
                  <a:gd name="T31" fmla="*/ 14 h 25"/>
                  <a:gd name="T32" fmla="*/ 27 w 35"/>
                  <a:gd name="T33" fmla="*/ 16 h 25"/>
                  <a:gd name="T34" fmla="*/ 29 w 35"/>
                  <a:gd name="T35" fmla="*/ 15 h 25"/>
                  <a:gd name="T36" fmla="*/ 31 w 35"/>
                  <a:gd name="T37" fmla="*/ 11 h 25"/>
                  <a:gd name="T38" fmla="*/ 35 w 35"/>
                  <a:gd name="T39" fmla="*/ 9 h 25"/>
                  <a:gd name="T40" fmla="*/ 35 w 35"/>
                  <a:gd name="T41" fmla="*/ 7 h 25"/>
                  <a:gd name="T42" fmla="*/ 35 w 35"/>
                  <a:gd name="T43" fmla="*/ 3 h 25"/>
                  <a:gd name="T44" fmla="*/ 35 w 35"/>
                  <a:gd name="T45" fmla="*/ 2 h 25"/>
                  <a:gd name="T46" fmla="*/ 31 w 35"/>
                  <a:gd name="T47" fmla="*/ 2 h 25"/>
                  <a:gd name="T48" fmla="*/ 29 w 35"/>
                  <a:gd name="T49" fmla="*/ 0 h 25"/>
                  <a:gd name="T50" fmla="*/ 27 w 35"/>
                  <a:gd name="T51" fmla="*/ 0 h 25"/>
                  <a:gd name="T52" fmla="*/ 23 w 35"/>
                  <a:gd name="T53" fmla="*/ 1 h 25"/>
                  <a:gd name="T54" fmla="*/ 21 w 35"/>
                  <a:gd name="T55" fmla="*/ 2 h 25"/>
                  <a:gd name="T56" fmla="*/ 20 w 35"/>
                  <a:gd name="T57" fmla="*/ 6 h 25"/>
                  <a:gd name="T58" fmla="*/ 20 w 35"/>
                  <a:gd name="T59" fmla="*/ 6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5" h="25">
                    <a:moveTo>
                      <a:pt x="20" y="6"/>
                    </a:moveTo>
                    <a:lnTo>
                      <a:pt x="14" y="7"/>
                    </a:lnTo>
                    <a:lnTo>
                      <a:pt x="12" y="4"/>
                    </a:lnTo>
                    <a:lnTo>
                      <a:pt x="9" y="6"/>
                    </a:lnTo>
                    <a:lnTo>
                      <a:pt x="9" y="8"/>
                    </a:lnTo>
                    <a:lnTo>
                      <a:pt x="7" y="10"/>
                    </a:lnTo>
                    <a:lnTo>
                      <a:pt x="3" y="14"/>
                    </a:lnTo>
                    <a:lnTo>
                      <a:pt x="0" y="15"/>
                    </a:lnTo>
                    <a:lnTo>
                      <a:pt x="3" y="14"/>
                    </a:lnTo>
                    <a:lnTo>
                      <a:pt x="5" y="17"/>
                    </a:lnTo>
                    <a:lnTo>
                      <a:pt x="5" y="21"/>
                    </a:lnTo>
                    <a:lnTo>
                      <a:pt x="7" y="23"/>
                    </a:lnTo>
                    <a:lnTo>
                      <a:pt x="10" y="25"/>
                    </a:lnTo>
                    <a:lnTo>
                      <a:pt x="18" y="15"/>
                    </a:lnTo>
                    <a:lnTo>
                      <a:pt x="21" y="14"/>
                    </a:lnTo>
                    <a:lnTo>
                      <a:pt x="23" y="14"/>
                    </a:lnTo>
                    <a:lnTo>
                      <a:pt x="27" y="16"/>
                    </a:lnTo>
                    <a:lnTo>
                      <a:pt x="29" y="15"/>
                    </a:lnTo>
                    <a:lnTo>
                      <a:pt x="31" y="11"/>
                    </a:lnTo>
                    <a:lnTo>
                      <a:pt x="35" y="9"/>
                    </a:lnTo>
                    <a:lnTo>
                      <a:pt x="35" y="7"/>
                    </a:lnTo>
                    <a:lnTo>
                      <a:pt x="35" y="3"/>
                    </a:lnTo>
                    <a:lnTo>
                      <a:pt x="35" y="2"/>
                    </a:lnTo>
                    <a:lnTo>
                      <a:pt x="31" y="2"/>
                    </a:lnTo>
                    <a:lnTo>
                      <a:pt x="29" y="0"/>
                    </a:lnTo>
                    <a:lnTo>
                      <a:pt x="27" y="0"/>
                    </a:lnTo>
                    <a:lnTo>
                      <a:pt x="23" y="1"/>
                    </a:lnTo>
                    <a:lnTo>
                      <a:pt x="21" y="2"/>
                    </a:lnTo>
                    <a:lnTo>
                      <a:pt x="20" y="6"/>
                    </a:lnTo>
                    <a:lnTo>
                      <a:pt x="20" y="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18" name="Freeform 184">
                <a:extLst>
                  <a:ext uri="{FF2B5EF4-FFF2-40B4-BE49-F238E27FC236}">
                    <a16:creationId xmlns:a16="http://schemas.microsoft.com/office/drawing/2014/main" id="{69212753-AC70-4C48-B824-B72029232B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29" y="2313"/>
                <a:ext cx="4" cy="5"/>
              </a:xfrm>
              <a:custGeom>
                <a:avLst/>
                <a:gdLst>
                  <a:gd name="T0" fmla="*/ 4 w 4"/>
                  <a:gd name="T1" fmla="*/ 1 h 5"/>
                  <a:gd name="T2" fmla="*/ 4 w 4"/>
                  <a:gd name="T3" fmla="*/ 0 h 5"/>
                  <a:gd name="T4" fmla="*/ 2 w 4"/>
                  <a:gd name="T5" fmla="*/ 2 h 5"/>
                  <a:gd name="T6" fmla="*/ 0 w 4"/>
                  <a:gd name="T7" fmla="*/ 4 h 5"/>
                  <a:gd name="T8" fmla="*/ 0 w 4"/>
                  <a:gd name="T9" fmla="*/ 5 h 5"/>
                  <a:gd name="T10" fmla="*/ 3 w 4"/>
                  <a:gd name="T11" fmla="*/ 5 h 5"/>
                  <a:gd name="T12" fmla="*/ 3 w 4"/>
                  <a:gd name="T13" fmla="*/ 3 h 5"/>
                  <a:gd name="T14" fmla="*/ 4 w 4"/>
                  <a:gd name="T15" fmla="*/ 1 h 5"/>
                  <a:gd name="T16" fmla="*/ 4 w 4"/>
                  <a:gd name="T17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" h="5">
                    <a:moveTo>
                      <a:pt x="4" y="1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5"/>
                    </a:lnTo>
                    <a:lnTo>
                      <a:pt x="3" y="5"/>
                    </a:lnTo>
                    <a:lnTo>
                      <a:pt x="3" y="3"/>
                    </a:lnTo>
                    <a:lnTo>
                      <a:pt x="4" y="1"/>
                    </a:lnTo>
                    <a:lnTo>
                      <a:pt x="4" y="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19" name="Freeform 185">
                <a:extLst>
                  <a:ext uri="{FF2B5EF4-FFF2-40B4-BE49-F238E27FC236}">
                    <a16:creationId xmlns:a16="http://schemas.microsoft.com/office/drawing/2014/main" id="{0DBB4DCF-37C8-4BBF-A2A7-16ACD79A18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69" y="2907"/>
                <a:ext cx="20" cy="14"/>
              </a:xfrm>
              <a:custGeom>
                <a:avLst/>
                <a:gdLst>
                  <a:gd name="T0" fmla="*/ 13 w 20"/>
                  <a:gd name="T1" fmla="*/ 0 h 14"/>
                  <a:gd name="T2" fmla="*/ 7 w 20"/>
                  <a:gd name="T3" fmla="*/ 1 h 14"/>
                  <a:gd name="T4" fmla="*/ 5 w 20"/>
                  <a:gd name="T5" fmla="*/ 5 h 14"/>
                  <a:gd name="T6" fmla="*/ 4 w 20"/>
                  <a:gd name="T7" fmla="*/ 6 h 14"/>
                  <a:gd name="T8" fmla="*/ 0 w 20"/>
                  <a:gd name="T9" fmla="*/ 14 h 14"/>
                  <a:gd name="T10" fmla="*/ 12 w 20"/>
                  <a:gd name="T11" fmla="*/ 14 h 14"/>
                  <a:gd name="T12" fmla="*/ 14 w 20"/>
                  <a:gd name="T13" fmla="*/ 11 h 14"/>
                  <a:gd name="T14" fmla="*/ 15 w 20"/>
                  <a:gd name="T15" fmla="*/ 14 h 14"/>
                  <a:gd name="T16" fmla="*/ 17 w 20"/>
                  <a:gd name="T17" fmla="*/ 14 h 14"/>
                  <a:gd name="T18" fmla="*/ 16 w 20"/>
                  <a:gd name="T19" fmla="*/ 10 h 14"/>
                  <a:gd name="T20" fmla="*/ 14 w 20"/>
                  <a:gd name="T21" fmla="*/ 11 h 14"/>
                  <a:gd name="T22" fmla="*/ 16 w 20"/>
                  <a:gd name="T23" fmla="*/ 10 h 14"/>
                  <a:gd name="T24" fmla="*/ 17 w 20"/>
                  <a:gd name="T25" fmla="*/ 7 h 14"/>
                  <a:gd name="T26" fmla="*/ 20 w 20"/>
                  <a:gd name="T27" fmla="*/ 5 h 14"/>
                  <a:gd name="T28" fmla="*/ 17 w 20"/>
                  <a:gd name="T29" fmla="*/ 1 h 14"/>
                  <a:gd name="T30" fmla="*/ 15 w 20"/>
                  <a:gd name="T31" fmla="*/ 0 h 14"/>
                  <a:gd name="T32" fmla="*/ 13 w 20"/>
                  <a:gd name="T33" fmla="*/ 0 h 14"/>
                  <a:gd name="T34" fmla="*/ 13 w 20"/>
                  <a:gd name="T35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0" h="14">
                    <a:moveTo>
                      <a:pt x="13" y="0"/>
                    </a:moveTo>
                    <a:lnTo>
                      <a:pt x="7" y="1"/>
                    </a:lnTo>
                    <a:lnTo>
                      <a:pt x="5" y="5"/>
                    </a:lnTo>
                    <a:lnTo>
                      <a:pt x="4" y="6"/>
                    </a:lnTo>
                    <a:lnTo>
                      <a:pt x="0" y="14"/>
                    </a:lnTo>
                    <a:lnTo>
                      <a:pt x="12" y="14"/>
                    </a:lnTo>
                    <a:lnTo>
                      <a:pt x="14" y="11"/>
                    </a:lnTo>
                    <a:lnTo>
                      <a:pt x="15" y="14"/>
                    </a:lnTo>
                    <a:lnTo>
                      <a:pt x="17" y="14"/>
                    </a:lnTo>
                    <a:lnTo>
                      <a:pt x="16" y="10"/>
                    </a:lnTo>
                    <a:lnTo>
                      <a:pt x="14" y="11"/>
                    </a:lnTo>
                    <a:lnTo>
                      <a:pt x="16" y="10"/>
                    </a:lnTo>
                    <a:lnTo>
                      <a:pt x="17" y="7"/>
                    </a:lnTo>
                    <a:lnTo>
                      <a:pt x="20" y="5"/>
                    </a:lnTo>
                    <a:lnTo>
                      <a:pt x="17" y="1"/>
                    </a:lnTo>
                    <a:lnTo>
                      <a:pt x="15" y="0"/>
                    </a:lnTo>
                    <a:lnTo>
                      <a:pt x="13" y="0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20" name="Freeform 186">
                <a:extLst>
                  <a:ext uri="{FF2B5EF4-FFF2-40B4-BE49-F238E27FC236}">
                    <a16:creationId xmlns:a16="http://schemas.microsoft.com/office/drawing/2014/main" id="{C4B09ED7-31CC-49AB-826B-FDA5259C04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99" y="2137"/>
                <a:ext cx="81" cy="67"/>
              </a:xfrm>
              <a:custGeom>
                <a:avLst/>
                <a:gdLst>
                  <a:gd name="T0" fmla="*/ 3 w 81"/>
                  <a:gd name="T1" fmla="*/ 66 h 67"/>
                  <a:gd name="T2" fmla="*/ 6 w 81"/>
                  <a:gd name="T3" fmla="*/ 67 h 67"/>
                  <a:gd name="T4" fmla="*/ 10 w 81"/>
                  <a:gd name="T5" fmla="*/ 62 h 67"/>
                  <a:gd name="T6" fmla="*/ 17 w 81"/>
                  <a:gd name="T7" fmla="*/ 62 h 67"/>
                  <a:gd name="T8" fmla="*/ 12 w 81"/>
                  <a:gd name="T9" fmla="*/ 56 h 67"/>
                  <a:gd name="T10" fmla="*/ 7 w 81"/>
                  <a:gd name="T11" fmla="*/ 52 h 67"/>
                  <a:gd name="T12" fmla="*/ 11 w 81"/>
                  <a:gd name="T13" fmla="*/ 49 h 67"/>
                  <a:gd name="T14" fmla="*/ 16 w 81"/>
                  <a:gd name="T15" fmla="*/ 52 h 67"/>
                  <a:gd name="T16" fmla="*/ 24 w 81"/>
                  <a:gd name="T17" fmla="*/ 48 h 67"/>
                  <a:gd name="T18" fmla="*/ 29 w 81"/>
                  <a:gd name="T19" fmla="*/ 49 h 67"/>
                  <a:gd name="T20" fmla="*/ 40 w 81"/>
                  <a:gd name="T21" fmla="*/ 54 h 67"/>
                  <a:gd name="T22" fmla="*/ 47 w 81"/>
                  <a:gd name="T23" fmla="*/ 58 h 67"/>
                  <a:gd name="T24" fmla="*/ 51 w 81"/>
                  <a:gd name="T25" fmla="*/ 50 h 67"/>
                  <a:gd name="T26" fmla="*/ 57 w 81"/>
                  <a:gd name="T27" fmla="*/ 43 h 67"/>
                  <a:gd name="T28" fmla="*/ 61 w 81"/>
                  <a:gd name="T29" fmla="*/ 41 h 67"/>
                  <a:gd name="T30" fmla="*/ 74 w 81"/>
                  <a:gd name="T31" fmla="*/ 40 h 67"/>
                  <a:gd name="T32" fmla="*/ 78 w 81"/>
                  <a:gd name="T33" fmla="*/ 37 h 67"/>
                  <a:gd name="T34" fmla="*/ 79 w 81"/>
                  <a:gd name="T35" fmla="*/ 36 h 67"/>
                  <a:gd name="T36" fmla="*/ 78 w 81"/>
                  <a:gd name="T37" fmla="*/ 37 h 67"/>
                  <a:gd name="T38" fmla="*/ 75 w 81"/>
                  <a:gd name="T39" fmla="*/ 34 h 67"/>
                  <a:gd name="T40" fmla="*/ 72 w 81"/>
                  <a:gd name="T41" fmla="*/ 29 h 67"/>
                  <a:gd name="T42" fmla="*/ 76 w 81"/>
                  <a:gd name="T43" fmla="*/ 22 h 67"/>
                  <a:gd name="T44" fmla="*/ 74 w 81"/>
                  <a:gd name="T45" fmla="*/ 22 h 67"/>
                  <a:gd name="T46" fmla="*/ 62 w 81"/>
                  <a:gd name="T47" fmla="*/ 25 h 67"/>
                  <a:gd name="T48" fmla="*/ 59 w 81"/>
                  <a:gd name="T49" fmla="*/ 23 h 67"/>
                  <a:gd name="T50" fmla="*/ 53 w 81"/>
                  <a:gd name="T51" fmla="*/ 20 h 67"/>
                  <a:gd name="T52" fmla="*/ 44 w 81"/>
                  <a:gd name="T53" fmla="*/ 15 h 67"/>
                  <a:gd name="T54" fmla="*/ 34 w 81"/>
                  <a:gd name="T55" fmla="*/ 3 h 67"/>
                  <a:gd name="T56" fmla="*/ 28 w 81"/>
                  <a:gd name="T57" fmla="*/ 0 h 67"/>
                  <a:gd name="T58" fmla="*/ 25 w 81"/>
                  <a:gd name="T59" fmla="*/ 6 h 67"/>
                  <a:gd name="T60" fmla="*/ 27 w 81"/>
                  <a:gd name="T61" fmla="*/ 15 h 67"/>
                  <a:gd name="T62" fmla="*/ 26 w 81"/>
                  <a:gd name="T63" fmla="*/ 19 h 67"/>
                  <a:gd name="T64" fmla="*/ 24 w 81"/>
                  <a:gd name="T65" fmla="*/ 27 h 67"/>
                  <a:gd name="T66" fmla="*/ 23 w 81"/>
                  <a:gd name="T67" fmla="*/ 34 h 67"/>
                  <a:gd name="T68" fmla="*/ 20 w 81"/>
                  <a:gd name="T69" fmla="*/ 39 h 67"/>
                  <a:gd name="T70" fmla="*/ 12 w 81"/>
                  <a:gd name="T71" fmla="*/ 37 h 67"/>
                  <a:gd name="T72" fmla="*/ 8 w 81"/>
                  <a:gd name="T73" fmla="*/ 37 h 67"/>
                  <a:gd name="T74" fmla="*/ 8 w 81"/>
                  <a:gd name="T75" fmla="*/ 43 h 67"/>
                  <a:gd name="T76" fmla="*/ 1 w 81"/>
                  <a:gd name="T77" fmla="*/ 49 h 67"/>
                  <a:gd name="T78" fmla="*/ 3 w 81"/>
                  <a:gd name="T79" fmla="*/ 56 h 67"/>
                  <a:gd name="T80" fmla="*/ 3 w 81"/>
                  <a:gd name="T81" fmla="*/ 63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81" h="67">
                    <a:moveTo>
                      <a:pt x="3" y="63"/>
                    </a:moveTo>
                    <a:lnTo>
                      <a:pt x="3" y="66"/>
                    </a:lnTo>
                    <a:lnTo>
                      <a:pt x="3" y="67"/>
                    </a:lnTo>
                    <a:lnTo>
                      <a:pt x="6" y="67"/>
                    </a:lnTo>
                    <a:lnTo>
                      <a:pt x="9" y="66"/>
                    </a:lnTo>
                    <a:lnTo>
                      <a:pt x="10" y="62"/>
                    </a:lnTo>
                    <a:lnTo>
                      <a:pt x="12" y="61"/>
                    </a:lnTo>
                    <a:lnTo>
                      <a:pt x="17" y="62"/>
                    </a:lnTo>
                    <a:lnTo>
                      <a:pt x="17" y="59"/>
                    </a:lnTo>
                    <a:lnTo>
                      <a:pt x="12" y="56"/>
                    </a:lnTo>
                    <a:lnTo>
                      <a:pt x="9" y="54"/>
                    </a:lnTo>
                    <a:lnTo>
                      <a:pt x="7" y="52"/>
                    </a:lnTo>
                    <a:lnTo>
                      <a:pt x="8" y="49"/>
                    </a:lnTo>
                    <a:lnTo>
                      <a:pt x="11" y="49"/>
                    </a:lnTo>
                    <a:lnTo>
                      <a:pt x="13" y="49"/>
                    </a:lnTo>
                    <a:lnTo>
                      <a:pt x="16" y="52"/>
                    </a:lnTo>
                    <a:lnTo>
                      <a:pt x="18" y="51"/>
                    </a:lnTo>
                    <a:lnTo>
                      <a:pt x="24" y="48"/>
                    </a:lnTo>
                    <a:lnTo>
                      <a:pt x="26" y="48"/>
                    </a:lnTo>
                    <a:lnTo>
                      <a:pt x="29" y="49"/>
                    </a:lnTo>
                    <a:lnTo>
                      <a:pt x="34" y="52"/>
                    </a:lnTo>
                    <a:lnTo>
                      <a:pt x="40" y="54"/>
                    </a:lnTo>
                    <a:lnTo>
                      <a:pt x="45" y="57"/>
                    </a:lnTo>
                    <a:lnTo>
                      <a:pt x="47" y="58"/>
                    </a:lnTo>
                    <a:lnTo>
                      <a:pt x="49" y="52"/>
                    </a:lnTo>
                    <a:lnTo>
                      <a:pt x="51" y="50"/>
                    </a:lnTo>
                    <a:lnTo>
                      <a:pt x="52" y="46"/>
                    </a:lnTo>
                    <a:lnTo>
                      <a:pt x="57" y="43"/>
                    </a:lnTo>
                    <a:lnTo>
                      <a:pt x="59" y="42"/>
                    </a:lnTo>
                    <a:lnTo>
                      <a:pt x="61" y="41"/>
                    </a:lnTo>
                    <a:lnTo>
                      <a:pt x="68" y="42"/>
                    </a:lnTo>
                    <a:lnTo>
                      <a:pt x="74" y="40"/>
                    </a:lnTo>
                    <a:lnTo>
                      <a:pt x="76" y="39"/>
                    </a:lnTo>
                    <a:lnTo>
                      <a:pt x="78" y="37"/>
                    </a:lnTo>
                    <a:lnTo>
                      <a:pt x="81" y="36"/>
                    </a:lnTo>
                    <a:lnTo>
                      <a:pt x="79" y="36"/>
                    </a:lnTo>
                    <a:lnTo>
                      <a:pt x="78" y="36"/>
                    </a:lnTo>
                    <a:lnTo>
                      <a:pt x="78" y="37"/>
                    </a:lnTo>
                    <a:lnTo>
                      <a:pt x="76" y="36"/>
                    </a:lnTo>
                    <a:lnTo>
                      <a:pt x="75" y="34"/>
                    </a:lnTo>
                    <a:lnTo>
                      <a:pt x="76" y="32"/>
                    </a:lnTo>
                    <a:lnTo>
                      <a:pt x="72" y="29"/>
                    </a:lnTo>
                    <a:lnTo>
                      <a:pt x="72" y="27"/>
                    </a:lnTo>
                    <a:lnTo>
                      <a:pt x="76" y="22"/>
                    </a:lnTo>
                    <a:lnTo>
                      <a:pt x="76" y="18"/>
                    </a:lnTo>
                    <a:lnTo>
                      <a:pt x="74" y="22"/>
                    </a:lnTo>
                    <a:lnTo>
                      <a:pt x="68" y="26"/>
                    </a:lnTo>
                    <a:lnTo>
                      <a:pt x="62" y="25"/>
                    </a:lnTo>
                    <a:lnTo>
                      <a:pt x="61" y="23"/>
                    </a:lnTo>
                    <a:lnTo>
                      <a:pt x="59" y="23"/>
                    </a:lnTo>
                    <a:lnTo>
                      <a:pt x="55" y="23"/>
                    </a:lnTo>
                    <a:lnTo>
                      <a:pt x="53" y="20"/>
                    </a:lnTo>
                    <a:lnTo>
                      <a:pt x="50" y="19"/>
                    </a:lnTo>
                    <a:lnTo>
                      <a:pt x="44" y="15"/>
                    </a:lnTo>
                    <a:lnTo>
                      <a:pt x="41" y="11"/>
                    </a:lnTo>
                    <a:lnTo>
                      <a:pt x="34" y="3"/>
                    </a:lnTo>
                    <a:lnTo>
                      <a:pt x="30" y="1"/>
                    </a:lnTo>
                    <a:lnTo>
                      <a:pt x="28" y="0"/>
                    </a:lnTo>
                    <a:lnTo>
                      <a:pt x="26" y="0"/>
                    </a:lnTo>
                    <a:lnTo>
                      <a:pt x="25" y="6"/>
                    </a:lnTo>
                    <a:lnTo>
                      <a:pt x="27" y="9"/>
                    </a:lnTo>
                    <a:lnTo>
                      <a:pt x="27" y="15"/>
                    </a:lnTo>
                    <a:lnTo>
                      <a:pt x="27" y="17"/>
                    </a:lnTo>
                    <a:lnTo>
                      <a:pt x="26" y="19"/>
                    </a:lnTo>
                    <a:lnTo>
                      <a:pt x="26" y="25"/>
                    </a:lnTo>
                    <a:lnTo>
                      <a:pt x="24" y="27"/>
                    </a:lnTo>
                    <a:lnTo>
                      <a:pt x="21" y="28"/>
                    </a:lnTo>
                    <a:lnTo>
                      <a:pt x="23" y="34"/>
                    </a:lnTo>
                    <a:lnTo>
                      <a:pt x="21" y="37"/>
                    </a:lnTo>
                    <a:lnTo>
                      <a:pt x="20" y="39"/>
                    </a:lnTo>
                    <a:lnTo>
                      <a:pt x="18" y="39"/>
                    </a:lnTo>
                    <a:lnTo>
                      <a:pt x="12" y="37"/>
                    </a:lnTo>
                    <a:lnTo>
                      <a:pt x="10" y="35"/>
                    </a:lnTo>
                    <a:lnTo>
                      <a:pt x="8" y="37"/>
                    </a:lnTo>
                    <a:lnTo>
                      <a:pt x="9" y="40"/>
                    </a:lnTo>
                    <a:lnTo>
                      <a:pt x="8" y="43"/>
                    </a:lnTo>
                    <a:lnTo>
                      <a:pt x="6" y="44"/>
                    </a:lnTo>
                    <a:lnTo>
                      <a:pt x="1" y="49"/>
                    </a:lnTo>
                    <a:lnTo>
                      <a:pt x="0" y="53"/>
                    </a:lnTo>
                    <a:lnTo>
                      <a:pt x="3" y="56"/>
                    </a:lnTo>
                    <a:lnTo>
                      <a:pt x="4" y="58"/>
                    </a:lnTo>
                    <a:lnTo>
                      <a:pt x="3" y="63"/>
                    </a:lnTo>
                    <a:lnTo>
                      <a:pt x="3" y="6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21" name="Freeform 187">
                <a:extLst>
                  <a:ext uri="{FF2B5EF4-FFF2-40B4-BE49-F238E27FC236}">
                    <a16:creationId xmlns:a16="http://schemas.microsoft.com/office/drawing/2014/main" id="{BFBC00F4-8D0C-4356-AA15-4FB6C296F4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0" y="2323"/>
                <a:ext cx="32" cy="44"/>
              </a:xfrm>
              <a:custGeom>
                <a:avLst/>
                <a:gdLst>
                  <a:gd name="T0" fmla="*/ 18 w 32"/>
                  <a:gd name="T1" fmla="*/ 0 h 44"/>
                  <a:gd name="T2" fmla="*/ 19 w 32"/>
                  <a:gd name="T3" fmla="*/ 2 h 44"/>
                  <a:gd name="T4" fmla="*/ 23 w 32"/>
                  <a:gd name="T5" fmla="*/ 5 h 44"/>
                  <a:gd name="T6" fmla="*/ 28 w 32"/>
                  <a:gd name="T7" fmla="*/ 4 h 44"/>
                  <a:gd name="T8" fmla="*/ 26 w 32"/>
                  <a:gd name="T9" fmla="*/ 10 h 44"/>
                  <a:gd name="T10" fmla="*/ 32 w 32"/>
                  <a:gd name="T11" fmla="*/ 12 h 44"/>
                  <a:gd name="T12" fmla="*/ 30 w 32"/>
                  <a:gd name="T13" fmla="*/ 18 h 44"/>
                  <a:gd name="T14" fmla="*/ 28 w 32"/>
                  <a:gd name="T15" fmla="*/ 21 h 44"/>
                  <a:gd name="T16" fmla="*/ 24 w 32"/>
                  <a:gd name="T17" fmla="*/ 30 h 44"/>
                  <a:gd name="T18" fmla="*/ 23 w 32"/>
                  <a:gd name="T19" fmla="*/ 36 h 44"/>
                  <a:gd name="T20" fmla="*/ 21 w 32"/>
                  <a:gd name="T21" fmla="*/ 37 h 44"/>
                  <a:gd name="T22" fmla="*/ 20 w 32"/>
                  <a:gd name="T23" fmla="*/ 40 h 44"/>
                  <a:gd name="T24" fmla="*/ 14 w 32"/>
                  <a:gd name="T25" fmla="*/ 44 h 44"/>
                  <a:gd name="T26" fmla="*/ 15 w 32"/>
                  <a:gd name="T27" fmla="*/ 38 h 44"/>
                  <a:gd name="T28" fmla="*/ 15 w 32"/>
                  <a:gd name="T29" fmla="*/ 34 h 44"/>
                  <a:gd name="T30" fmla="*/ 12 w 32"/>
                  <a:gd name="T31" fmla="*/ 36 h 44"/>
                  <a:gd name="T32" fmla="*/ 8 w 32"/>
                  <a:gd name="T33" fmla="*/ 40 h 44"/>
                  <a:gd name="T34" fmla="*/ 10 w 32"/>
                  <a:gd name="T35" fmla="*/ 35 h 44"/>
                  <a:gd name="T36" fmla="*/ 10 w 32"/>
                  <a:gd name="T37" fmla="*/ 27 h 44"/>
                  <a:gd name="T38" fmla="*/ 13 w 32"/>
                  <a:gd name="T39" fmla="*/ 19 h 44"/>
                  <a:gd name="T40" fmla="*/ 13 w 32"/>
                  <a:gd name="T41" fmla="*/ 17 h 44"/>
                  <a:gd name="T42" fmla="*/ 10 w 32"/>
                  <a:gd name="T43" fmla="*/ 12 h 44"/>
                  <a:gd name="T44" fmla="*/ 8 w 32"/>
                  <a:gd name="T45" fmla="*/ 14 h 44"/>
                  <a:gd name="T46" fmla="*/ 5 w 32"/>
                  <a:gd name="T47" fmla="*/ 18 h 44"/>
                  <a:gd name="T48" fmla="*/ 1 w 32"/>
                  <a:gd name="T49" fmla="*/ 16 h 44"/>
                  <a:gd name="T50" fmla="*/ 2 w 32"/>
                  <a:gd name="T51" fmla="*/ 16 h 44"/>
                  <a:gd name="T52" fmla="*/ 4 w 32"/>
                  <a:gd name="T53" fmla="*/ 13 h 44"/>
                  <a:gd name="T54" fmla="*/ 0 w 32"/>
                  <a:gd name="T55" fmla="*/ 10 h 44"/>
                  <a:gd name="T56" fmla="*/ 2 w 32"/>
                  <a:gd name="T57" fmla="*/ 9 h 44"/>
                  <a:gd name="T58" fmla="*/ 5 w 32"/>
                  <a:gd name="T59" fmla="*/ 8 h 44"/>
                  <a:gd name="T60" fmla="*/ 9 w 32"/>
                  <a:gd name="T61" fmla="*/ 4 h 44"/>
                  <a:gd name="T62" fmla="*/ 12 w 32"/>
                  <a:gd name="T63" fmla="*/ 1 h 44"/>
                  <a:gd name="T64" fmla="*/ 18 w 32"/>
                  <a:gd name="T65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2" h="44">
                    <a:moveTo>
                      <a:pt x="18" y="0"/>
                    </a:moveTo>
                    <a:lnTo>
                      <a:pt x="18" y="0"/>
                    </a:lnTo>
                    <a:lnTo>
                      <a:pt x="18" y="1"/>
                    </a:lnTo>
                    <a:lnTo>
                      <a:pt x="19" y="2"/>
                    </a:lnTo>
                    <a:lnTo>
                      <a:pt x="21" y="4"/>
                    </a:lnTo>
                    <a:lnTo>
                      <a:pt x="23" y="5"/>
                    </a:lnTo>
                    <a:lnTo>
                      <a:pt x="26" y="4"/>
                    </a:lnTo>
                    <a:lnTo>
                      <a:pt x="28" y="4"/>
                    </a:lnTo>
                    <a:lnTo>
                      <a:pt x="28" y="8"/>
                    </a:lnTo>
                    <a:lnTo>
                      <a:pt x="26" y="10"/>
                    </a:lnTo>
                    <a:lnTo>
                      <a:pt x="31" y="10"/>
                    </a:lnTo>
                    <a:lnTo>
                      <a:pt x="32" y="12"/>
                    </a:lnTo>
                    <a:lnTo>
                      <a:pt x="32" y="16"/>
                    </a:lnTo>
                    <a:lnTo>
                      <a:pt x="30" y="18"/>
                    </a:lnTo>
                    <a:lnTo>
                      <a:pt x="28" y="20"/>
                    </a:lnTo>
                    <a:lnTo>
                      <a:pt x="28" y="21"/>
                    </a:lnTo>
                    <a:lnTo>
                      <a:pt x="26" y="27"/>
                    </a:lnTo>
                    <a:lnTo>
                      <a:pt x="24" y="30"/>
                    </a:lnTo>
                    <a:lnTo>
                      <a:pt x="24" y="34"/>
                    </a:lnTo>
                    <a:lnTo>
                      <a:pt x="23" y="36"/>
                    </a:lnTo>
                    <a:lnTo>
                      <a:pt x="23" y="38"/>
                    </a:lnTo>
                    <a:lnTo>
                      <a:pt x="21" y="37"/>
                    </a:lnTo>
                    <a:lnTo>
                      <a:pt x="19" y="38"/>
                    </a:lnTo>
                    <a:lnTo>
                      <a:pt x="20" y="40"/>
                    </a:lnTo>
                    <a:lnTo>
                      <a:pt x="17" y="43"/>
                    </a:lnTo>
                    <a:lnTo>
                      <a:pt x="14" y="44"/>
                    </a:lnTo>
                    <a:lnTo>
                      <a:pt x="15" y="40"/>
                    </a:lnTo>
                    <a:lnTo>
                      <a:pt x="15" y="38"/>
                    </a:lnTo>
                    <a:lnTo>
                      <a:pt x="13" y="36"/>
                    </a:lnTo>
                    <a:lnTo>
                      <a:pt x="15" y="34"/>
                    </a:lnTo>
                    <a:lnTo>
                      <a:pt x="13" y="34"/>
                    </a:lnTo>
                    <a:lnTo>
                      <a:pt x="12" y="36"/>
                    </a:lnTo>
                    <a:lnTo>
                      <a:pt x="13" y="42"/>
                    </a:lnTo>
                    <a:lnTo>
                      <a:pt x="8" y="40"/>
                    </a:lnTo>
                    <a:lnTo>
                      <a:pt x="9" y="37"/>
                    </a:lnTo>
                    <a:lnTo>
                      <a:pt x="10" y="35"/>
                    </a:lnTo>
                    <a:lnTo>
                      <a:pt x="8" y="29"/>
                    </a:lnTo>
                    <a:lnTo>
                      <a:pt x="10" y="27"/>
                    </a:lnTo>
                    <a:lnTo>
                      <a:pt x="13" y="21"/>
                    </a:lnTo>
                    <a:lnTo>
                      <a:pt x="13" y="19"/>
                    </a:lnTo>
                    <a:lnTo>
                      <a:pt x="11" y="19"/>
                    </a:lnTo>
                    <a:lnTo>
                      <a:pt x="13" y="17"/>
                    </a:lnTo>
                    <a:lnTo>
                      <a:pt x="11" y="14"/>
                    </a:lnTo>
                    <a:lnTo>
                      <a:pt x="10" y="12"/>
                    </a:lnTo>
                    <a:lnTo>
                      <a:pt x="6" y="12"/>
                    </a:lnTo>
                    <a:lnTo>
                      <a:pt x="8" y="14"/>
                    </a:lnTo>
                    <a:lnTo>
                      <a:pt x="8" y="18"/>
                    </a:lnTo>
                    <a:lnTo>
                      <a:pt x="5" y="18"/>
                    </a:lnTo>
                    <a:lnTo>
                      <a:pt x="3" y="19"/>
                    </a:lnTo>
                    <a:lnTo>
                      <a:pt x="1" y="16"/>
                    </a:lnTo>
                    <a:lnTo>
                      <a:pt x="2" y="13"/>
                    </a:lnTo>
                    <a:lnTo>
                      <a:pt x="2" y="16"/>
                    </a:lnTo>
                    <a:lnTo>
                      <a:pt x="5" y="17"/>
                    </a:lnTo>
                    <a:lnTo>
                      <a:pt x="4" y="13"/>
                    </a:lnTo>
                    <a:lnTo>
                      <a:pt x="1" y="12"/>
                    </a:lnTo>
                    <a:lnTo>
                      <a:pt x="0" y="10"/>
                    </a:lnTo>
                    <a:lnTo>
                      <a:pt x="2" y="9"/>
                    </a:lnTo>
                    <a:lnTo>
                      <a:pt x="2" y="9"/>
                    </a:lnTo>
                    <a:lnTo>
                      <a:pt x="3" y="7"/>
                    </a:lnTo>
                    <a:lnTo>
                      <a:pt x="5" y="8"/>
                    </a:lnTo>
                    <a:lnTo>
                      <a:pt x="5" y="7"/>
                    </a:lnTo>
                    <a:lnTo>
                      <a:pt x="9" y="4"/>
                    </a:lnTo>
                    <a:lnTo>
                      <a:pt x="11" y="3"/>
                    </a:lnTo>
                    <a:lnTo>
                      <a:pt x="12" y="1"/>
                    </a:lnTo>
                    <a:lnTo>
                      <a:pt x="18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22" name="Freeform 188">
                <a:extLst>
                  <a:ext uri="{FF2B5EF4-FFF2-40B4-BE49-F238E27FC236}">
                    <a16:creationId xmlns:a16="http://schemas.microsoft.com/office/drawing/2014/main" id="{A181707F-FA3C-498C-A601-09FAA5BBAE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59" y="1480"/>
                <a:ext cx="116" cy="44"/>
              </a:xfrm>
              <a:custGeom>
                <a:avLst/>
                <a:gdLst>
                  <a:gd name="T0" fmla="*/ 27 w 116"/>
                  <a:gd name="T1" fmla="*/ 0 h 44"/>
                  <a:gd name="T2" fmla="*/ 22 w 116"/>
                  <a:gd name="T3" fmla="*/ 2 h 44"/>
                  <a:gd name="T4" fmla="*/ 18 w 116"/>
                  <a:gd name="T5" fmla="*/ 2 h 44"/>
                  <a:gd name="T6" fmla="*/ 10 w 116"/>
                  <a:gd name="T7" fmla="*/ 7 h 44"/>
                  <a:gd name="T8" fmla="*/ 12 w 116"/>
                  <a:gd name="T9" fmla="*/ 14 h 44"/>
                  <a:gd name="T10" fmla="*/ 3 w 116"/>
                  <a:gd name="T11" fmla="*/ 14 h 44"/>
                  <a:gd name="T12" fmla="*/ 5 w 116"/>
                  <a:gd name="T13" fmla="*/ 17 h 44"/>
                  <a:gd name="T14" fmla="*/ 4 w 116"/>
                  <a:gd name="T15" fmla="*/ 23 h 44"/>
                  <a:gd name="T16" fmla="*/ 0 w 116"/>
                  <a:gd name="T17" fmla="*/ 25 h 44"/>
                  <a:gd name="T18" fmla="*/ 5 w 116"/>
                  <a:gd name="T19" fmla="*/ 31 h 44"/>
                  <a:gd name="T20" fmla="*/ 13 w 116"/>
                  <a:gd name="T21" fmla="*/ 35 h 44"/>
                  <a:gd name="T22" fmla="*/ 16 w 116"/>
                  <a:gd name="T23" fmla="*/ 40 h 44"/>
                  <a:gd name="T24" fmla="*/ 27 w 116"/>
                  <a:gd name="T25" fmla="*/ 43 h 44"/>
                  <a:gd name="T26" fmla="*/ 33 w 116"/>
                  <a:gd name="T27" fmla="*/ 43 h 44"/>
                  <a:gd name="T28" fmla="*/ 35 w 116"/>
                  <a:gd name="T29" fmla="*/ 38 h 44"/>
                  <a:gd name="T30" fmla="*/ 41 w 116"/>
                  <a:gd name="T31" fmla="*/ 35 h 44"/>
                  <a:gd name="T32" fmla="*/ 43 w 116"/>
                  <a:gd name="T33" fmla="*/ 40 h 44"/>
                  <a:gd name="T34" fmla="*/ 63 w 116"/>
                  <a:gd name="T35" fmla="*/ 36 h 44"/>
                  <a:gd name="T36" fmla="*/ 72 w 116"/>
                  <a:gd name="T37" fmla="*/ 34 h 44"/>
                  <a:gd name="T38" fmla="*/ 72 w 116"/>
                  <a:gd name="T39" fmla="*/ 38 h 44"/>
                  <a:gd name="T40" fmla="*/ 80 w 116"/>
                  <a:gd name="T41" fmla="*/ 38 h 44"/>
                  <a:gd name="T42" fmla="*/ 91 w 116"/>
                  <a:gd name="T43" fmla="*/ 36 h 44"/>
                  <a:gd name="T44" fmla="*/ 90 w 116"/>
                  <a:gd name="T45" fmla="*/ 34 h 44"/>
                  <a:gd name="T46" fmla="*/ 81 w 116"/>
                  <a:gd name="T47" fmla="*/ 32 h 44"/>
                  <a:gd name="T48" fmla="*/ 74 w 116"/>
                  <a:gd name="T49" fmla="*/ 25 h 44"/>
                  <a:gd name="T50" fmla="*/ 73 w 116"/>
                  <a:gd name="T51" fmla="*/ 17 h 44"/>
                  <a:gd name="T52" fmla="*/ 73 w 116"/>
                  <a:gd name="T53" fmla="*/ 16 h 44"/>
                  <a:gd name="T54" fmla="*/ 82 w 116"/>
                  <a:gd name="T55" fmla="*/ 15 h 44"/>
                  <a:gd name="T56" fmla="*/ 83 w 116"/>
                  <a:gd name="T57" fmla="*/ 18 h 44"/>
                  <a:gd name="T58" fmla="*/ 77 w 116"/>
                  <a:gd name="T59" fmla="*/ 22 h 44"/>
                  <a:gd name="T60" fmla="*/ 84 w 116"/>
                  <a:gd name="T61" fmla="*/ 31 h 44"/>
                  <a:gd name="T62" fmla="*/ 93 w 116"/>
                  <a:gd name="T63" fmla="*/ 32 h 44"/>
                  <a:gd name="T64" fmla="*/ 104 w 116"/>
                  <a:gd name="T65" fmla="*/ 32 h 44"/>
                  <a:gd name="T66" fmla="*/ 108 w 116"/>
                  <a:gd name="T67" fmla="*/ 27 h 44"/>
                  <a:gd name="T68" fmla="*/ 108 w 116"/>
                  <a:gd name="T69" fmla="*/ 26 h 44"/>
                  <a:gd name="T70" fmla="*/ 112 w 116"/>
                  <a:gd name="T71" fmla="*/ 21 h 44"/>
                  <a:gd name="T72" fmla="*/ 112 w 116"/>
                  <a:gd name="T73" fmla="*/ 17 h 44"/>
                  <a:gd name="T74" fmla="*/ 107 w 116"/>
                  <a:gd name="T75" fmla="*/ 15 h 44"/>
                  <a:gd name="T76" fmla="*/ 92 w 116"/>
                  <a:gd name="T77" fmla="*/ 10 h 44"/>
                  <a:gd name="T78" fmla="*/ 82 w 116"/>
                  <a:gd name="T79" fmla="*/ 12 h 44"/>
                  <a:gd name="T80" fmla="*/ 76 w 116"/>
                  <a:gd name="T81" fmla="*/ 9 h 44"/>
                  <a:gd name="T82" fmla="*/ 65 w 116"/>
                  <a:gd name="T83" fmla="*/ 4 h 44"/>
                  <a:gd name="T84" fmla="*/ 64 w 116"/>
                  <a:gd name="T85" fmla="*/ 6 h 44"/>
                  <a:gd name="T86" fmla="*/ 56 w 116"/>
                  <a:gd name="T87" fmla="*/ 7 h 44"/>
                  <a:gd name="T88" fmla="*/ 55 w 116"/>
                  <a:gd name="T89" fmla="*/ 14 h 44"/>
                  <a:gd name="T90" fmla="*/ 55 w 116"/>
                  <a:gd name="T91" fmla="*/ 17 h 44"/>
                  <a:gd name="T92" fmla="*/ 49 w 116"/>
                  <a:gd name="T93" fmla="*/ 15 h 44"/>
                  <a:gd name="T94" fmla="*/ 43 w 116"/>
                  <a:gd name="T95" fmla="*/ 12 h 44"/>
                  <a:gd name="T96" fmla="*/ 41 w 116"/>
                  <a:gd name="T97" fmla="*/ 8 h 44"/>
                  <a:gd name="T98" fmla="*/ 30 w 116"/>
                  <a:gd name="T99" fmla="*/ 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16" h="44">
                    <a:moveTo>
                      <a:pt x="30" y="4"/>
                    </a:moveTo>
                    <a:lnTo>
                      <a:pt x="27" y="0"/>
                    </a:lnTo>
                    <a:lnTo>
                      <a:pt x="25" y="0"/>
                    </a:lnTo>
                    <a:lnTo>
                      <a:pt x="22" y="2"/>
                    </a:lnTo>
                    <a:lnTo>
                      <a:pt x="21" y="5"/>
                    </a:lnTo>
                    <a:lnTo>
                      <a:pt x="18" y="2"/>
                    </a:lnTo>
                    <a:lnTo>
                      <a:pt x="16" y="6"/>
                    </a:lnTo>
                    <a:lnTo>
                      <a:pt x="10" y="7"/>
                    </a:lnTo>
                    <a:lnTo>
                      <a:pt x="7" y="8"/>
                    </a:lnTo>
                    <a:lnTo>
                      <a:pt x="12" y="14"/>
                    </a:lnTo>
                    <a:lnTo>
                      <a:pt x="6" y="13"/>
                    </a:lnTo>
                    <a:lnTo>
                      <a:pt x="3" y="14"/>
                    </a:lnTo>
                    <a:lnTo>
                      <a:pt x="3" y="17"/>
                    </a:lnTo>
                    <a:lnTo>
                      <a:pt x="5" y="17"/>
                    </a:lnTo>
                    <a:lnTo>
                      <a:pt x="5" y="21"/>
                    </a:lnTo>
                    <a:lnTo>
                      <a:pt x="4" y="23"/>
                    </a:lnTo>
                    <a:lnTo>
                      <a:pt x="6" y="25"/>
                    </a:lnTo>
                    <a:lnTo>
                      <a:pt x="0" y="25"/>
                    </a:lnTo>
                    <a:lnTo>
                      <a:pt x="1" y="29"/>
                    </a:lnTo>
                    <a:lnTo>
                      <a:pt x="5" y="31"/>
                    </a:lnTo>
                    <a:lnTo>
                      <a:pt x="9" y="34"/>
                    </a:lnTo>
                    <a:lnTo>
                      <a:pt x="13" y="35"/>
                    </a:lnTo>
                    <a:lnTo>
                      <a:pt x="14" y="39"/>
                    </a:lnTo>
                    <a:lnTo>
                      <a:pt x="16" y="40"/>
                    </a:lnTo>
                    <a:lnTo>
                      <a:pt x="25" y="42"/>
                    </a:lnTo>
                    <a:lnTo>
                      <a:pt x="27" y="43"/>
                    </a:lnTo>
                    <a:lnTo>
                      <a:pt x="31" y="44"/>
                    </a:lnTo>
                    <a:lnTo>
                      <a:pt x="33" y="43"/>
                    </a:lnTo>
                    <a:lnTo>
                      <a:pt x="37" y="40"/>
                    </a:lnTo>
                    <a:lnTo>
                      <a:pt x="35" y="38"/>
                    </a:lnTo>
                    <a:lnTo>
                      <a:pt x="38" y="35"/>
                    </a:lnTo>
                    <a:lnTo>
                      <a:pt x="41" y="35"/>
                    </a:lnTo>
                    <a:lnTo>
                      <a:pt x="43" y="39"/>
                    </a:lnTo>
                    <a:lnTo>
                      <a:pt x="43" y="40"/>
                    </a:lnTo>
                    <a:lnTo>
                      <a:pt x="57" y="36"/>
                    </a:lnTo>
                    <a:lnTo>
                      <a:pt x="63" y="36"/>
                    </a:lnTo>
                    <a:lnTo>
                      <a:pt x="68" y="34"/>
                    </a:lnTo>
                    <a:lnTo>
                      <a:pt x="72" y="34"/>
                    </a:lnTo>
                    <a:lnTo>
                      <a:pt x="74" y="36"/>
                    </a:lnTo>
                    <a:lnTo>
                      <a:pt x="72" y="38"/>
                    </a:lnTo>
                    <a:lnTo>
                      <a:pt x="76" y="40"/>
                    </a:lnTo>
                    <a:lnTo>
                      <a:pt x="80" y="38"/>
                    </a:lnTo>
                    <a:lnTo>
                      <a:pt x="85" y="38"/>
                    </a:lnTo>
                    <a:lnTo>
                      <a:pt x="91" y="36"/>
                    </a:lnTo>
                    <a:lnTo>
                      <a:pt x="92" y="34"/>
                    </a:lnTo>
                    <a:lnTo>
                      <a:pt x="90" y="34"/>
                    </a:lnTo>
                    <a:lnTo>
                      <a:pt x="84" y="32"/>
                    </a:lnTo>
                    <a:lnTo>
                      <a:pt x="81" y="32"/>
                    </a:lnTo>
                    <a:lnTo>
                      <a:pt x="78" y="31"/>
                    </a:lnTo>
                    <a:lnTo>
                      <a:pt x="74" y="25"/>
                    </a:lnTo>
                    <a:lnTo>
                      <a:pt x="70" y="17"/>
                    </a:lnTo>
                    <a:lnTo>
                      <a:pt x="73" y="17"/>
                    </a:lnTo>
                    <a:lnTo>
                      <a:pt x="70" y="16"/>
                    </a:lnTo>
                    <a:lnTo>
                      <a:pt x="73" y="16"/>
                    </a:lnTo>
                    <a:lnTo>
                      <a:pt x="76" y="15"/>
                    </a:lnTo>
                    <a:lnTo>
                      <a:pt x="82" y="15"/>
                    </a:lnTo>
                    <a:lnTo>
                      <a:pt x="84" y="16"/>
                    </a:lnTo>
                    <a:lnTo>
                      <a:pt x="83" y="18"/>
                    </a:lnTo>
                    <a:lnTo>
                      <a:pt x="80" y="19"/>
                    </a:lnTo>
                    <a:lnTo>
                      <a:pt x="77" y="22"/>
                    </a:lnTo>
                    <a:lnTo>
                      <a:pt x="78" y="25"/>
                    </a:lnTo>
                    <a:lnTo>
                      <a:pt x="84" y="31"/>
                    </a:lnTo>
                    <a:lnTo>
                      <a:pt x="90" y="32"/>
                    </a:lnTo>
                    <a:lnTo>
                      <a:pt x="93" y="32"/>
                    </a:lnTo>
                    <a:lnTo>
                      <a:pt x="98" y="33"/>
                    </a:lnTo>
                    <a:lnTo>
                      <a:pt x="104" y="32"/>
                    </a:lnTo>
                    <a:lnTo>
                      <a:pt x="107" y="31"/>
                    </a:lnTo>
                    <a:lnTo>
                      <a:pt x="108" y="27"/>
                    </a:lnTo>
                    <a:lnTo>
                      <a:pt x="110" y="26"/>
                    </a:lnTo>
                    <a:lnTo>
                      <a:pt x="108" y="26"/>
                    </a:lnTo>
                    <a:lnTo>
                      <a:pt x="107" y="23"/>
                    </a:lnTo>
                    <a:lnTo>
                      <a:pt x="112" y="21"/>
                    </a:lnTo>
                    <a:lnTo>
                      <a:pt x="116" y="18"/>
                    </a:lnTo>
                    <a:lnTo>
                      <a:pt x="112" y="17"/>
                    </a:lnTo>
                    <a:lnTo>
                      <a:pt x="110" y="17"/>
                    </a:lnTo>
                    <a:lnTo>
                      <a:pt x="107" y="15"/>
                    </a:lnTo>
                    <a:lnTo>
                      <a:pt x="104" y="15"/>
                    </a:lnTo>
                    <a:lnTo>
                      <a:pt x="92" y="10"/>
                    </a:lnTo>
                    <a:lnTo>
                      <a:pt x="84" y="12"/>
                    </a:lnTo>
                    <a:lnTo>
                      <a:pt x="82" y="12"/>
                    </a:lnTo>
                    <a:lnTo>
                      <a:pt x="78" y="10"/>
                    </a:lnTo>
                    <a:lnTo>
                      <a:pt x="76" y="9"/>
                    </a:lnTo>
                    <a:lnTo>
                      <a:pt x="70" y="6"/>
                    </a:lnTo>
                    <a:lnTo>
                      <a:pt x="65" y="4"/>
                    </a:lnTo>
                    <a:lnTo>
                      <a:pt x="61" y="4"/>
                    </a:lnTo>
                    <a:lnTo>
                      <a:pt x="64" y="6"/>
                    </a:lnTo>
                    <a:lnTo>
                      <a:pt x="58" y="5"/>
                    </a:lnTo>
                    <a:lnTo>
                      <a:pt x="56" y="7"/>
                    </a:lnTo>
                    <a:lnTo>
                      <a:pt x="56" y="12"/>
                    </a:lnTo>
                    <a:lnTo>
                      <a:pt x="55" y="14"/>
                    </a:lnTo>
                    <a:lnTo>
                      <a:pt x="57" y="16"/>
                    </a:lnTo>
                    <a:lnTo>
                      <a:pt x="55" y="17"/>
                    </a:lnTo>
                    <a:lnTo>
                      <a:pt x="52" y="17"/>
                    </a:lnTo>
                    <a:lnTo>
                      <a:pt x="49" y="15"/>
                    </a:lnTo>
                    <a:lnTo>
                      <a:pt x="49" y="12"/>
                    </a:lnTo>
                    <a:lnTo>
                      <a:pt x="43" y="12"/>
                    </a:lnTo>
                    <a:lnTo>
                      <a:pt x="42" y="10"/>
                    </a:lnTo>
                    <a:lnTo>
                      <a:pt x="41" y="8"/>
                    </a:lnTo>
                    <a:lnTo>
                      <a:pt x="30" y="4"/>
                    </a:lnTo>
                    <a:lnTo>
                      <a:pt x="30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23" name="Freeform 189">
                <a:extLst>
                  <a:ext uri="{FF2B5EF4-FFF2-40B4-BE49-F238E27FC236}">
                    <a16:creationId xmlns:a16="http://schemas.microsoft.com/office/drawing/2014/main" id="{6045414D-FF4C-445F-A755-65AFB10FE7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99" y="1544"/>
                <a:ext cx="51" cy="19"/>
              </a:xfrm>
              <a:custGeom>
                <a:avLst/>
                <a:gdLst>
                  <a:gd name="T0" fmla="*/ 3 w 51"/>
                  <a:gd name="T1" fmla="*/ 12 h 19"/>
                  <a:gd name="T2" fmla="*/ 0 w 51"/>
                  <a:gd name="T3" fmla="*/ 12 h 19"/>
                  <a:gd name="T4" fmla="*/ 2 w 51"/>
                  <a:gd name="T5" fmla="*/ 14 h 19"/>
                  <a:gd name="T6" fmla="*/ 6 w 51"/>
                  <a:gd name="T7" fmla="*/ 13 h 19"/>
                  <a:gd name="T8" fmla="*/ 11 w 51"/>
                  <a:gd name="T9" fmla="*/ 12 h 19"/>
                  <a:gd name="T10" fmla="*/ 17 w 51"/>
                  <a:gd name="T11" fmla="*/ 13 h 19"/>
                  <a:gd name="T12" fmla="*/ 26 w 51"/>
                  <a:gd name="T13" fmla="*/ 15 h 19"/>
                  <a:gd name="T14" fmla="*/ 41 w 51"/>
                  <a:gd name="T15" fmla="*/ 18 h 19"/>
                  <a:gd name="T16" fmla="*/ 46 w 51"/>
                  <a:gd name="T17" fmla="*/ 19 h 19"/>
                  <a:gd name="T18" fmla="*/ 49 w 51"/>
                  <a:gd name="T19" fmla="*/ 18 h 19"/>
                  <a:gd name="T20" fmla="*/ 51 w 51"/>
                  <a:gd name="T21" fmla="*/ 15 h 19"/>
                  <a:gd name="T22" fmla="*/ 51 w 51"/>
                  <a:gd name="T23" fmla="*/ 12 h 19"/>
                  <a:gd name="T24" fmla="*/ 50 w 51"/>
                  <a:gd name="T25" fmla="*/ 10 h 19"/>
                  <a:gd name="T26" fmla="*/ 46 w 51"/>
                  <a:gd name="T27" fmla="*/ 8 h 19"/>
                  <a:gd name="T28" fmla="*/ 38 w 51"/>
                  <a:gd name="T29" fmla="*/ 2 h 19"/>
                  <a:gd name="T30" fmla="*/ 30 w 51"/>
                  <a:gd name="T31" fmla="*/ 0 h 19"/>
                  <a:gd name="T32" fmla="*/ 25 w 51"/>
                  <a:gd name="T33" fmla="*/ 0 h 19"/>
                  <a:gd name="T34" fmla="*/ 21 w 51"/>
                  <a:gd name="T35" fmla="*/ 1 h 19"/>
                  <a:gd name="T36" fmla="*/ 19 w 51"/>
                  <a:gd name="T37" fmla="*/ 1 h 19"/>
                  <a:gd name="T38" fmla="*/ 16 w 51"/>
                  <a:gd name="T39" fmla="*/ 2 h 19"/>
                  <a:gd name="T40" fmla="*/ 13 w 51"/>
                  <a:gd name="T41" fmla="*/ 4 h 19"/>
                  <a:gd name="T42" fmla="*/ 12 w 51"/>
                  <a:gd name="T43" fmla="*/ 8 h 19"/>
                  <a:gd name="T44" fmla="*/ 10 w 51"/>
                  <a:gd name="T45" fmla="*/ 10 h 19"/>
                  <a:gd name="T46" fmla="*/ 7 w 51"/>
                  <a:gd name="T47" fmla="*/ 12 h 19"/>
                  <a:gd name="T48" fmla="*/ 3 w 51"/>
                  <a:gd name="T49" fmla="*/ 12 h 19"/>
                  <a:gd name="T50" fmla="*/ 3 w 51"/>
                  <a:gd name="T51" fmla="*/ 12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51" h="19">
                    <a:moveTo>
                      <a:pt x="3" y="12"/>
                    </a:moveTo>
                    <a:lnTo>
                      <a:pt x="0" y="12"/>
                    </a:lnTo>
                    <a:lnTo>
                      <a:pt x="2" y="14"/>
                    </a:lnTo>
                    <a:lnTo>
                      <a:pt x="6" y="13"/>
                    </a:lnTo>
                    <a:lnTo>
                      <a:pt x="11" y="12"/>
                    </a:lnTo>
                    <a:lnTo>
                      <a:pt x="17" y="13"/>
                    </a:lnTo>
                    <a:lnTo>
                      <a:pt x="26" y="15"/>
                    </a:lnTo>
                    <a:lnTo>
                      <a:pt x="41" y="18"/>
                    </a:lnTo>
                    <a:lnTo>
                      <a:pt x="46" y="19"/>
                    </a:lnTo>
                    <a:lnTo>
                      <a:pt x="49" y="18"/>
                    </a:lnTo>
                    <a:lnTo>
                      <a:pt x="51" y="15"/>
                    </a:lnTo>
                    <a:lnTo>
                      <a:pt x="51" y="12"/>
                    </a:lnTo>
                    <a:lnTo>
                      <a:pt x="50" y="10"/>
                    </a:lnTo>
                    <a:lnTo>
                      <a:pt x="46" y="8"/>
                    </a:lnTo>
                    <a:lnTo>
                      <a:pt x="38" y="2"/>
                    </a:lnTo>
                    <a:lnTo>
                      <a:pt x="30" y="0"/>
                    </a:lnTo>
                    <a:lnTo>
                      <a:pt x="25" y="0"/>
                    </a:lnTo>
                    <a:lnTo>
                      <a:pt x="21" y="1"/>
                    </a:lnTo>
                    <a:lnTo>
                      <a:pt x="19" y="1"/>
                    </a:lnTo>
                    <a:lnTo>
                      <a:pt x="16" y="2"/>
                    </a:lnTo>
                    <a:lnTo>
                      <a:pt x="13" y="4"/>
                    </a:lnTo>
                    <a:lnTo>
                      <a:pt x="12" y="8"/>
                    </a:lnTo>
                    <a:lnTo>
                      <a:pt x="10" y="10"/>
                    </a:lnTo>
                    <a:lnTo>
                      <a:pt x="7" y="12"/>
                    </a:lnTo>
                    <a:lnTo>
                      <a:pt x="3" y="12"/>
                    </a:lnTo>
                    <a:lnTo>
                      <a:pt x="3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24" name="Freeform 190">
                <a:extLst>
                  <a:ext uri="{FF2B5EF4-FFF2-40B4-BE49-F238E27FC236}">
                    <a16:creationId xmlns:a16="http://schemas.microsoft.com/office/drawing/2014/main" id="{EE97687D-690D-47F7-B999-C069179D7B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03" y="1533"/>
                <a:ext cx="14" cy="11"/>
              </a:xfrm>
              <a:custGeom>
                <a:avLst/>
                <a:gdLst>
                  <a:gd name="T0" fmla="*/ 5 w 14"/>
                  <a:gd name="T1" fmla="*/ 11 h 11"/>
                  <a:gd name="T2" fmla="*/ 9 w 14"/>
                  <a:gd name="T3" fmla="*/ 9 h 11"/>
                  <a:gd name="T4" fmla="*/ 13 w 14"/>
                  <a:gd name="T5" fmla="*/ 8 h 11"/>
                  <a:gd name="T6" fmla="*/ 14 w 14"/>
                  <a:gd name="T7" fmla="*/ 3 h 11"/>
                  <a:gd name="T8" fmla="*/ 11 w 14"/>
                  <a:gd name="T9" fmla="*/ 2 h 11"/>
                  <a:gd name="T10" fmla="*/ 8 w 14"/>
                  <a:gd name="T11" fmla="*/ 0 h 11"/>
                  <a:gd name="T12" fmla="*/ 3 w 14"/>
                  <a:gd name="T13" fmla="*/ 2 h 11"/>
                  <a:gd name="T14" fmla="*/ 0 w 14"/>
                  <a:gd name="T15" fmla="*/ 4 h 11"/>
                  <a:gd name="T16" fmla="*/ 0 w 14"/>
                  <a:gd name="T17" fmla="*/ 7 h 11"/>
                  <a:gd name="T18" fmla="*/ 3 w 14"/>
                  <a:gd name="T19" fmla="*/ 9 h 11"/>
                  <a:gd name="T20" fmla="*/ 5 w 14"/>
                  <a:gd name="T21" fmla="*/ 11 h 11"/>
                  <a:gd name="T22" fmla="*/ 5 w 14"/>
                  <a:gd name="T23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4" h="11">
                    <a:moveTo>
                      <a:pt x="5" y="11"/>
                    </a:moveTo>
                    <a:lnTo>
                      <a:pt x="9" y="9"/>
                    </a:lnTo>
                    <a:lnTo>
                      <a:pt x="13" y="8"/>
                    </a:lnTo>
                    <a:lnTo>
                      <a:pt x="14" y="3"/>
                    </a:lnTo>
                    <a:lnTo>
                      <a:pt x="11" y="2"/>
                    </a:lnTo>
                    <a:lnTo>
                      <a:pt x="8" y="0"/>
                    </a:lnTo>
                    <a:lnTo>
                      <a:pt x="3" y="2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3" y="9"/>
                    </a:lnTo>
                    <a:lnTo>
                      <a:pt x="5" y="11"/>
                    </a:lnTo>
                    <a:lnTo>
                      <a:pt x="5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25" name="Freeform 191">
                <a:extLst>
                  <a:ext uri="{FF2B5EF4-FFF2-40B4-BE49-F238E27FC236}">
                    <a16:creationId xmlns:a16="http://schemas.microsoft.com/office/drawing/2014/main" id="{51AB13DD-1A3B-4021-BFBE-0AA1E5C22A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85" y="1498"/>
                <a:ext cx="66" cy="23"/>
              </a:xfrm>
              <a:custGeom>
                <a:avLst/>
                <a:gdLst>
                  <a:gd name="T0" fmla="*/ 42 w 66"/>
                  <a:gd name="T1" fmla="*/ 23 h 23"/>
                  <a:gd name="T2" fmla="*/ 49 w 66"/>
                  <a:gd name="T3" fmla="*/ 23 h 23"/>
                  <a:gd name="T4" fmla="*/ 55 w 66"/>
                  <a:gd name="T5" fmla="*/ 21 h 23"/>
                  <a:gd name="T6" fmla="*/ 60 w 66"/>
                  <a:gd name="T7" fmla="*/ 20 h 23"/>
                  <a:gd name="T8" fmla="*/ 63 w 66"/>
                  <a:gd name="T9" fmla="*/ 17 h 23"/>
                  <a:gd name="T10" fmla="*/ 65 w 66"/>
                  <a:gd name="T11" fmla="*/ 15 h 23"/>
                  <a:gd name="T12" fmla="*/ 66 w 66"/>
                  <a:gd name="T13" fmla="*/ 13 h 23"/>
                  <a:gd name="T14" fmla="*/ 63 w 66"/>
                  <a:gd name="T15" fmla="*/ 12 h 23"/>
                  <a:gd name="T16" fmla="*/ 61 w 66"/>
                  <a:gd name="T17" fmla="*/ 13 h 23"/>
                  <a:gd name="T18" fmla="*/ 58 w 66"/>
                  <a:gd name="T19" fmla="*/ 12 h 23"/>
                  <a:gd name="T20" fmla="*/ 55 w 66"/>
                  <a:gd name="T21" fmla="*/ 11 h 23"/>
                  <a:gd name="T22" fmla="*/ 44 w 66"/>
                  <a:gd name="T23" fmla="*/ 8 h 23"/>
                  <a:gd name="T24" fmla="*/ 41 w 66"/>
                  <a:gd name="T25" fmla="*/ 9 h 23"/>
                  <a:gd name="T26" fmla="*/ 39 w 66"/>
                  <a:gd name="T27" fmla="*/ 11 h 23"/>
                  <a:gd name="T28" fmla="*/ 35 w 66"/>
                  <a:gd name="T29" fmla="*/ 11 h 23"/>
                  <a:gd name="T30" fmla="*/ 33 w 66"/>
                  <a:gd name="T31" fmla="*/ 8 h 23"/>
                  <a:gd name="T32" fmla="*/ 34 w 66"/>
                  <a:gd name="T33" fmla="*/ 6 h 23"/>
                  <a:gd name="T34" fmla="*/ 31 w 66"/>
                  <a:gd name="T35" fmla="*/ 5 h 23"/>
                  <a:gd name="T36" fmla="*/ 28 w 66"/>
                  <a:gd name="T37" fmla="*/ 5 h 23"/>
                  <a:gd name="T38" fmla="*/ 19 w 66"/>
                  <a:gd name="T39" fmla="*/ 4 h 23"/>
                  <a:gd name="T40" fmla="*/ 17 w 66"/>
                  <a:gd name="T41" fmla="*/ 7 h 23"/>
                  <a:gd name="T42" fmla="*/ 14 w 66"/>
                  <a:gd name="T43" fmla="*/ 7 h 23"/>
                  <a:gd name="T44" fmla="*/ 11 w 66"/>
                  <a:gd name="T45" fmla="*/ 7 h 23"/>
                  <a:gd name="T46" fmla="*/ 8 w 66"/>
                  <a:gd name="T47" fmla="*/ 5 h 23"/>
                  <a:gd name="T48" fmla="*/ 9 w 66"/>
                  <a:gd name="T49" fmla="*/ 3 h 23"/>
                  <a:gd name="T50" fmla="*/ 7 w 66"/>
                  <a:gd name="T51" fmla="*/ 0 h 23"/>
                  <a:gd name="T52" fmla="*/ 3 w 66"/>
                  <a:gd name="T53" fmla="*/ 3 h 23"/>
                  <a:gd name="T54" fmla="*/ 0 w 66"/>
                  <a:gd name="T55" fmla="*/ 11 h 23"/>
                  <a:gd name="T56" fmla="*/ 3 w 66"/>
                  <a:gd name="T57" fmla="*/ 12 h 23"/>
                  <a:gd name="T58" fmla="*/ 9 w 66"/>
                  <a:gd name="T59" fmla="*/ 13 h 23"/>
                  <a:gd name="T60" fmla="*/ 15 w 66"/>
                  <a:gd name="T61" fmla="*/ 16 h 23"/>
                  <a:gd name="T62" fmla="*/ 17 w 66"/>
                  <a:gd name="T63" fmla="*/ 17 h 23"/>
                  <a:gd name="T64" fmla="*/ 20 w 66"/>
                  <a:gd name="T65" fmla="*/ 17 h 23"/>
                  <a:gd name="T66" fmla="*/ 28 w 66"/>
                  <a:gd name="T67" fmla="*/ 22 h 23"/>
                  <a:gd name="T68" fmla="*/ 34 w 66"/>
                  <a:gd name="T69" fmla="*/ 23 h 23"/>
                  <a:gd name="T70" fmla="*/ 42 w 66"/>
                  <a:gd name="T71" fmla="*/ 23 h 23"/>
                  <a:gd name="T72" fmla="*/ 42 w 66"/>
                  <a:gd name="T73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66" h="23">
                    <a:moveTo>
                      <a:pt x="42" y="23"/>
                    </a:moveTo>
                    <a:lnTo>
                      <a:pt x="49" y="23"/>
                    </a:lnTo>
                    <a:lnTo>
                      <a:pt x="55" y="21"/>
                    </a:lnTo>
                    <a:lnTo>
                      <a:pt x="60" y="20"/>
                    </a:lnTo>
                    <a:lnTo>
                      <a:pt x="63" y="17"/>
                    </a:lnTo>
                    <a:lnTo>
                      <a:pt x="65" y="15"/>
                    </a:lnTo>
                    <a:lnTo>
                      <a:pt x="66" y="13"/>
                    </a:lnTo>
                    <a:lnTo>
                      <a:pt x="63" y="12"/>
                    </a:lnTo>
                    <a:lnTo>
                      <a:pt x="61" y="13"/>
                    </a:lnTo>
                    <a:lnTo>
                      <a:pt x="58" y="12"/>
                    </a:lnTo>
                    <a:lnTo>
                      <a:pt x="55" y="11"/>
                    </a:lnTo>
                    <a:lnTo>
                      <a:pt x="44" y="8"/>
                    </a:lnTo>
                    <a:lnTo>
                      <a:pt x="41" y="9"/>
                    </a:lnTo>
                    <a:lnTo>
                      <a:pt x="39" y="11"/>
                    </a:lnTo>
                    <a:lnTo>
                      <a:pt x="35" y="11"/>
                    </a:lnTo>
                    <a:lnTo>
                      <a:pt x="33" y="8"/>
                    </a:lnTo>
                    <a:lnTo>
                      <a:pt x="34" y="6"/>
                    </a:lnTo>
                    <a:lnTo>
                      <a:pt x="31" y="5"/>
                    </a:lnTo>
                    <a:lnTo>
                      <a:pt x="28" y="5"/>
                    </a:lnTo>
                    <a:lnTo>
                      <a:pt x="19" y="4"/>
                    </a:lnTo>
                    <a:lnTo>
                      <a:pt x="17" y="7"/>
                    </a:lnTo>
                    <a:lnTo>
                      <a:pt x="14" y="7"/>
                    </a:lnTo>
                    <a:lnTo>
                      <a:pt x="11" y="7"/>
                    </a:lnTo>
                    <a:lnTo>
                      <a:pt x="8" y="5"/>
                    </a:lnTo>
                    <a:lnTo>
                      <a:pt x="9" y="3"/>
                    </a:lnTo>
                    <a:lnTo>
                      <a:pt x="7" y="0"/>
                    </a:lnTo>
                    <a:lnTo>
                      <a:pt x="3" y="3"/>
                    </a:lnTo>
                    <a:lnTo>
                      <a:pt x="0" y="11"/>
                    </a:lnTo>
                    <a:lnTo>
                      <a:pt x="3" y="12"/>
                    </a:lnTo>
                    <a:lnTo>
                      <a:pt x="9" y="13"/>
                    </a:lnTo>
                    <a:lnTo>
                      <a:pt x="15" y="16"/>
                    </a:lnTo>
                    <a:lnTo>
                      <a:pt x="17" y="17"/>
                    </a:lnTo>
                    <a:lnTo>
                      <a:pt x="20" y="17"/>
                    </a:lnTo>
                    <a:lnTo>
                      <a:pt x="28" y="22"/>
                    </a:lnTo>
                    <a:lnTo>
                      <a:pt x="34" y="23"/>
                    </a:lnTo>
                    <a:lnTo>
                      <a:pt x="42" y="23"/>
                    </a:lnTo>
                    <a:lnTo>
                      <a:pt x="42" y="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26" name="Freeform 192">
                <a:extLst>
                  <a:ext uri="{FF2B5EF4-FFF2-40B4-BE49-F238E27FC236}">
                    <a16:creationId xmlns:a16="http://schemas.microsoft.com/office/drawing/2014/main" id="{04955075-257C-4633-948B-05D7169538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16" y="2863"/>
                <a:ext cx="56" cy="28"/>
              </a:xfrm>
              <a:custGeom>
                <a:avLst/>
                <a:gdLst>
                  <a:gd name="T0" fmla="*/ 34 w 56"/>
                  <a:gd name="T1" fmla="*/ 27 h 28"/>
                  <a:gd name="T2" fmla="*/ 35 w 56"/>
                  <a:gd name="T3" fmla="*/ 26 h 28"/>
                  <a:gd name="T4" fmla="*/ 38 w 56"/>
                  <a:gd name="T5" fmla="*/ 25 h 28"/>
                  <a:gd name="T6" fmla="*/ 40 w 56"/>
                  <a:gd name="T7" fmla="*/ 23 h 28"/>
                  <a:gd name="T8" fmla="*/ 43 w 56"/>
                  <a:gd name="T9" fmla="*/ 21 h 28"/>
                  <a:gd name="T10" fmla="*/ 44 w 56"/>
                  <a:gd name="T11" fmla="*/ 19 h 28"/>
                  <a:gd name="T12" fmla="*/ 49 w 56"/>
                  <a:gd name="T13" fmla="*/ 19 h 28"/>
                  <a:gd name="T14" fmla="*/ 52 w 56"/>
                  <a:gd name="T15" fmla="*/ 17 h 28"/>
                  <a:gd name="T16" fmla="*/ 51 w 56"/>
                  <a:gd name="T17" fmla="*/ 13 h 28"/>
                  <a:gd name="T18" fmla="*/ 52 w 56"/>
                  <a:gd name="T19" fmla="*/ 11 h 28"/>
                  <a:gd name="T20" fmla="*/ 54 w 56"/>
                  <a:gd name="T21" fmla="*/ 10 h 28"/>
                  <a:gd name="T22" fmla="*/ 56 w 56"/>
                  <a:gd name="T23" fmla="*/ 7 h 28"/>
                  <a:gd name="T24" fmla="*/ 55 w 56"/>
                  <a:gd name="T25" fmla="*/ 4 h 28"/>
                  <a:gd name="T26" fmla="*/ 55 w 56"/>
                  <a:gd name="T27" fmla="*/ 2 h 28"/>
                  <a:gd name="T28" fmla="*/ 52 w 56"/>
                  <a:gd name="T29" fmla="*/ 0 h 28"/>
                  <a:gd name="T30" fmla="*/ 49 w 56"/>
                  <a:gd name="T31" fmla="*/ 2 h 28"/>
                  <a:gd name="T32" fmla="*/ 47 w 56"/>
                  <a:gd name="T33" fmla="*/ 0 h 28"/>
                  <a:gd name="T34" fmla="*/ 44 w 56"/>
                  <a:gd name="T35" fmla="*/ 2 h 28"/>
                  <a:gd name="T36" fmla="*/ 46 w 56"/>
                  <a:gd name="T37" fmla="*/ 8 h 28"/>
                  <a:gd name="T38" fmla="*/ 45 w 56"/>
                  <a:gd name="T39" fmla="*/ 10 h 28"/>
                  <a:gd name="T40" fmla="*/ 41 w 56"/>
                  <a:gd name="T41" fmla="*/ 10 h 28"/>
                  <a:gd name="T42" fmla="*/ 39 w 56"/>
                  <a:gd name="T43" fmla="*/ 12 h 28"/>
                  <a:gd name="T44" fmla="*/ 35 w 56"/>
                  <a:gd name="T45" fmla="*/ 18 h 28"/>
                  <a:gd name="T46" fmla="*/ 32 w 56"/>
                  <a:gd name="T47" fmla="*/ 19 h 28"/>
                  <a:gd name="T48" fmla="*/ 30 w 56"/>
                  <a:gd name="T49" fmla="*/ 17 h 28"/>
                  <a:gd name="T50" fmla="*/ 27 w 56"/>
                  <a:gd name="T51" fmla="*/ 19 h 28"/>
                  <a:gd name="T52" fmla="*/ 24 w 56"/>
                  <a:gd name="T53" fmla="*/ 17 h 28"/>
                  <a:gd name="T54" fmla="*/ 23 w 56"/>
                  <a:gd name="T55" fmla="*/ 12 h 28"/>
                  <a:gd name="T56" fmla="*/ 22 w 56"/>
                  <a:gd name="T57" fmla="*/ 15 h 28"/>
                  <a:gd name="T58" fmla="*/ 22 w 56"/>
                  <a:gd name="T59" fmla="*/ 16 h 28"/>
                  <a:gd name="T60" fmla="*/ 21 w 56"/>
                  <a:gd name="T61" fmla="*/ 18 h 28"/>
                  <a:gd name="T62" fmla="*/ 19 w 56"/>
                  <a:gd name="T63" fmla="*/ 19 h 28"/>
                  <a:gd name="T64" fmla="*/ 17 w 56"/>
                  <a:gd name="T65" fmla="*/ 19 h 28"/>
                  <a:gd name="T66" fmla="*/ 17 w 56"/>
                  <a:gd name="T67" fmla="*/ 19 h 28"/>
                  <a:gd name="T68" fmla="*/ 13 w 56"/>
                  <a:gd name="T69" fmla="*/ 19 h 28"/>
                  <a:gd name="T70" fmla="*/ 11 w 56"/>
                  <a:gd name="T71" fmla="*/ 18 h 28"/>
                  <a:gd name="T72" fmla="*/ 5 w 56"/>
                  <a:gd name="T73" fmla="*/ 18 h 28"/>
                  <a:gd name="T74" fmla="*/ 0 w 56"/>
                  <a:gd name="T75" fmla="*/ 19 h 28"/>
                  <a:gd name="T76" fmla="*/ 2 w 56"/>
                  <a:gd name="T77" fmla="*/ 23 h 28"/>
                  <a:gd name="T78" fmla="*/ 5 w 56"/>
                  <a:gd name="T79" fmla="*/ 23 h 28"/>
                  <a:gd name="T80" fmla="*/ 10 w 56"/>
                  <a:gd name="T81" fmla="*/ 26 h 28"/>
                  <a:gd name="T82" fmla="*/ 12 w 56"/>
                  <a:gd name="T83" fmla="*/ 26 h 28"/>
                  <a:gd name="T84" fmla="*/ 15 w 56"/>
                  <a:gd name="T85" fmla="*/ 26 h 28"/>
                  <a:gd name="T86" fmla="*/ 18 w 56"/>
                  <a:gd name="T87" fmla="*/ 28 h 28"/>
                  <a:gd name="T88" fmla="*/ 28 w 56"/>
                  <a:gd name="T89" fmla="*/ 28 h 28"/>
                  <a:gd name="T90" fmla="*/ 30 w 56"/>
                  <a:gd name="T91" fmla="*/ 27 h 28"/>
                  <a:gd name="T92" fmla="*/ 34 w 56"/>
                  <a:gd name="T93" fmla="*/ 27 h 28"/>
                  <a:gd name="T94" fmla="*/ 34 w 56"/>
                  <a:gd name="T95" fmla="*/ 27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56" h="28">
                    <a:moveTo>
                      <a:pt x="34" y="27"/>
                    </a:moveTo>
                    <a:lnTo>
                      <a:pt x="35" y="26"/>
                    </a:lnTo>
                    <a:lnTo>
                      <a:pt x="38" y="25"/>
                    </a:lnTo>
                    <a:lnTo>
                      <a:pt x="40" y="23"/>
                    </a:lnTo>
                    <a:lnTo>
                      <a:pt x="43" y="21"/>
                    </a:lnTo>
                    <a:lnTo>
                      <a:pt x="44" y="19"/>
                    </a:lnTo>
                    <a:lnTo>
                      <a:pt x="49" y="19"/>
                    </a:lnTo>
                    <a:lnTo>
                      <a:pt x="52" y="17"/>
                    </a:lnTo>
                    <a:lnTo>
                      <a:pt x="51" y="13"/>
                    </a:lnTo>
                    <a:lnTo>
                      <a:pt x="52" y="11"/>
                    </a:lnTo>
                    <a:lnTo>
                      <a:pt x="54" y="10"/>
                    </a:lnTo>
                    <a:lnTo>
                      <a:pt x="56" y="7"/>
                    </a:lnTo>
                    <a:lnTo>
                      <a:pt x="55" y="4"/>
                    </a:lnTo>
                    <a:lnTo>
                      <a:pt x="55" y="2"/>
                    </a:lnTo>
                    <a:lnTo>
                      <a:pt x="52" y="0"/>
                    </a:lnTo>
                    <a:lnTo>
                      <a:pt x="49" y="2"/>
                    </a:lnTo>
                    <a:lnTo>
                      <a:pt x="47" y="0"/>
                    </a:lnTo>
                    <a:lnTo>
                      <a:pt x="44" y="2"/>
                    </a:lnTo>
                    <a:lnTo>
                      <a:pt x="46" y="8"/>
                    </a:lnTo>
                    <a:lnTo>
                      <a:pt x="45" y="10"/>
                    </a:lnTo>
                    <a:lnTo>
                      <a:pt x="41" y="10"/>
                    </a:lnTo>
                    <a:lnTo>
                      <a:pt x="39" y="12"/>
                    </a:lnTo>
                    <a:lnTo>
                      <a:pt x="35" y="18"/>
                    </a:lnTo>
                    <a:lnTo>
                      <a:pt x="32" y="19"/>
                    </a:lnTo>
                    <a:lnTo>
                      <a:pt x="30" y="17"/>
                    </a:lnTo>
                    <a:lnTo>
                      <a:pt x="27" y="19"/>
                    </a:lnTo>
                    <a:lnTo>
                      <a:pt x="24" y="17"/>
                    </a:lnTo>
                    <a:lnTo>
                      <a:pt x="23" y="12"/>
                    </a:lnTo>
                    <a:lnTo>
                      <a:pt x="22" y="15"/>
                    </a:lnTo>
                    <a:lnTo>
                      <a:pt x="22" y="16"/>
                    </a:lnTo>
                    <a:lnTo>
                      <a:pt x="21" y="18"/>
                    </a:lnTo>
                    <a:lnTo>
                      <a:pt x="19" y="19"/>
                    </a:lnTo>
                    <a:lnTo>
                      <a:pt x="17" y="19"/>
                    </a:lnTo>
                    <a:lnTo>
                      <a:pt x="17" y="19"/>
                    </a:lnTo>
                    <a:lnTo>
                      <a:pt x="13" y="19"/>
                    </a:lnTo>
                    <a:lnTo>
                      <a:pt x="11" y="18"/>
                    </a:lnTo>
                    <a:lnTo>
                      <a:pt x="5" y="18"/>
                    </a:lnTo>
                    <a:lnTo>
                      <a:pt x="0" y="19"/>
                    </a:lnTo>
                    <a:lnTo>
                      <a:pt x="2" y="23"/>
                    </a:lnTo>
                    <a:lnTo>
                      <a:pt x="5" y="23"/>
                    </a:lnTo>
                    <a:lnTo>
                      <a:pt x="10" y="26"/>
                    </a:lnTo>
                    <a:lnTo>
                      <a:pt x="12" y="26"/>
                    </a:lnTo>
                    <a:lnTo>
                      <a:pt x="15" y="26"/>
                    </a:lnTo>
                    <a:lnTo>
                      <a:pt x="18" y="28"/>
                    </a:lnTo>
                    <a:lnTo>
                      <a:pt x="28" y="28"/>
                    </a:lnTo>
                    <a:lnTo>
                      <a:pt x="30" y="27"/>
                    </a:lnTo>
                    <a:lnTo>
                      <a:pt x="34" y="27"/>
                    </a:lnTo>
                    <a:lnTo>
                      <a:pt x="34" y="2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27" name="Freeform 193">
                <a:extLst>
                  <a:ext uri="{FF2B5EF4-FFF2-40B4-BE49-F238E27FC236}">
                    <a16:creationId xmlns:a16="http://schemas.microsoft.com/office/drawing/2014/main" id="{563A6892-74EC-4EE3-AC92-6C1A94F6B3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48" y="2843"/>
                <a:ext cx="33" cy="28"/>
              </a:xfrm>
              <a:custGeom>
                <a:avLst/>
                <a:gdLst>
                  <a:gd name="T0" fmla="*/ 28 w 33"/>
                  <a:gd name="T1" fmla="*/ 15 h 28"/>
                  <a:gd name="T2" fmla="*/ 25 w 33"/>
                  <a:gd name="T3" fmla="*/ 13 h 28"/>
                  <a:gd name="T4" fmla="*/ 20 w 33"/>
                  <a:gd name="T5" fmla="*/ 9 h 28"/>
                  <a:gd name="T6" fmla="*/ 17 w 33"/>
                  <a:gd name="T7" fmla="*/ 6 h 28"/>
                  <a:gd name="T8" fmla="*/ 14 w 33"/>
                  <a:gd name="T9" fmla="*/ 5 h 28"/>
                  <a:gd name="T10" fmla="*/ 12 w 33"/>
                  <a:gd name="T11" fmla="*/ 3 h 28"/>
                  <a:gd name="T12" fmla="*/ 4 w 33"/>
                  <a:gd name="T13" fmla="*/ 0 h 28"/>
                  <a:gd name="T14" fmla="*/ 0 w 33"/>
                  <a:gd name="T15" fmla="*/ 0 h 28"/>
                  <a:gd name="T16" fmla="*/ 4 w 33"/>
                  <a:gd name="T17" fmla="*/ 1 h 28"/>
                  <a:gd name="T18" fmla="*/ 6 w 33"/>
                  <a:gd name="T19" fmla="*/ 2 h 28"/>
                  <a:gd name="T20" fmla="*/ 17 w 33"/>
                  <a:gd name="T21" fmla="*/ 10 h 28"/>
                  <a:gd name="T22" fmla="*/ 20 w 33"/>
                  <a:gd name="T23" fmla="*/ 11 h 28"/>
                  <a:gd name="T24" fmla="*/ 22 w 33"/>
                  <a:gd name="T25" fmla="*/ 12 h 28"/>
                  <a:gd name="T26" fmla="*/ 26 w 33"/>
                  <a:gd name="T27" fmla="*/ 18 h 28"/>
                  <a:gd name="T28" fmla="*/ 28 w 33"/>
                  <a:gd name="T29" fmla="*/ 20 h 28"/>
                  <a:gd name="T30" fmla="*/ 28 w 33"/>
                  <a:gd name="T31" fmla="*/ 26 h 28"/>
                  <a:gd name="T32" fmla="*/ 30 w 33"/>
                  <a:gd name="T33" fmla="*/ 28 h 28"/>
                  <a:gd name="T34" fmla="*/ 32 w 33"/>
                  <a:gd name="T35" fmla="*/ 27 h 28"/>
                  <a:gd name="T36" fmla="*/ 33 w 33"/>
                  <a:gd name="T37" fmla="*/ 21 h 28"/>
                  <a:gd name="T38" fmla="*/ 31 w 33"/>
                  <a:gd name="T39" fmla="*/ 18 h 28"/>
                  <a:gd name="T40" fmla="*/ 29 w 33"/>
                  <a:gd name="T41" fmla="*/ 16 h 28"/>
                  <a:gd name="T42" fmla="*/ 28 w 33"/>
                  <a:gd name="T43" fmla="*/ 15 h 28"/>
                  <a:gd name="T44" fmla="*/ 28 w 33"/>
                  <a:gd name="T45" fmla="*/ 15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3" h="28">
                    <a:moveTo>
                      <a:pt x="28" y="15"/>
                    </a:moveTo>
                    <a:lnTo>
                      <a:pt x="25" y="13"/>
                    </a:lnTo>
                    <a:lnTo>
                      <a:pt x="20" y="9"/>
                    </a:lnTo>
                    <a:lnTo>
                      <a:pt x="17" y="6"/>
                    </a:lnTo>
                    <a:lnTo>
                      <a:pt x="14" y="5"/>
                    </a:lnTo>
                    <a:lnTo>
                      <a:pt x="12" y="3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4" y="1"/>
                    </a:lnTo>
                    <a:lnTo>
                      <a:pt x="6" y="2"/>
                    </a:lnTo>
                    <a:lnTo>
                      <a:pt x="17" y="10"/>
                    </a:lnTo>
                    <a:lnTo>
                      <a:pt x="20" y="11"/>
                    </a:lnTo>
                    <a:lnTo>
                      <a:pt x="22" y="12"/>
                    </a:lnTo>
                    <a:lnTo>
                      <a:pt x="26" y="18"/>
                    </a:lnTo>
                    <a:lnTo>
                      <a:pt x="28" y="20"/>
                    </a:lnTo>
                    <a:lnTo>
                      <a:pt x="28" y="26"/>
                    </a:lnTo>
                    <a:lnTo>
                      <a:pt x="30" y="28"/>
                    </a:lnTo>
                    <a:lnTo>
                      <a:pt x="32" y="27"/>
                    </a:lnTo>
                    <a:lnTo>
                      <a:pt x="33" y="21"/>
                    </a:lnTo>
                    <a:lnTo>
                      <a:pt x="31" y="18"/>
                    </a:lnTo>
                    <a:lnTo>
                      <a:pt x="29" y="16"/>
                    </a:lnTo>
                    <a:lnTo>
                      <a:pt x="28" y="15"/>
                    </a:lnTo>
                    <a:lnTo>
                      <a:pt x="28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28" name="Freeform 194">
                <a:extLst>
                  <a:ext uri="{FF2B5EF4-FFF2-40B4-BE49-F238E27FC236}">
                    <a16:creationId xmlns:a16="http://schemas.microsoft.com/office/drawing/2014/main" id="{156E1A91-DE47-45D6-8A78-F9FF469DD8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53" y="3135"/>
                <a:ext cx="3" cy="2"/>
              </a:xfrm>
              <a:custGeom>
                <a:avLst/>
                <a:gdLst>
                  <a:gd name="T0" fmla="*/ 2 w 3"/>
                  <a:gd name="T1" fmla="*/ 2 h 2"/>
                  <a:gd name="T2" fmla="*/ 3 w 3"/>
                  <a:gd name="T3" fmla="*/ 1 h 2"/>
                  <a:gd name="T4" fmla="*/ 0 w 3"/>
                  <a:gd name="T5" fmla="*/ 0 h 2"/>
                  <a:gd name="T6" fmla="*/ 2 w 3"/>
                  <a:gd name="T7" fmla="*/ 2 h 2"/>
                  <a:gd name="T8" fmla="*/ 2 w 3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">
                    <a:moveTo>
                      <a:pt x="2" y="2"/>
                    </a:moveTo>
                    <a:lnTo>
                      <a:pt x="3" y="1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29" name="Freeform 195">
                <a:extLst>
                  <a:ext uri="{FF2B5EF4-FFF2-40B4-BE49-F238E27FC236}">
                    <a16:creationId xmlns:a16="http://schemas.microsoft.com/office/drawing/2014/main" id="{8E633E47-8754-45A8-AD07-8F55D531AE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79" y="3153"/>
                <a:ext cx="6" cy="13"/>
              </a:xfrm>
              <a:custGeom>
                <a:avLst/>
                <a:gdLst>
                  <a:gd name="T0" fmla="*/ 2 w 6"/>
                  <a:gd name="T1" fmla="*/ 13 h 13"/>
                  <a:gd name="T2" fmla="*/ 2 w 6"/>
                  <a:gd name="T3" fmla="*/ 11 h 13"/>
                  <a:gd name="T4" fmla="*/ 6 w 6"/>
                  <a:gd name="T5" fmla="*/ 3 h 13"/>
                  <a:gd name="T6" fmla="*/ 5 w 6"/>
                  <a:gd name="T7" fmla="*/ 0 h 13"/>
                  <a:gd name="T8" fmla="*/ 3 w 6"/>
                  <a:gd name="T9" fmla="*/ 3 h 13"/>
                  <a:gd name="T10" fmla="*/ 1 w 6"/>
                  <a:gd name="T11" fmla="*/ 5 h 13"/>
                  <a:gd name="T12" fmla="*/ 1 w 6"/>
                  <a:gd name="T13" fmla="*/ 8 h 13"/>
                  <a:gd name="T14" fmla="*/ 0 w 6"/>
                  <a:gd name="T15" fmla="*/ 10 h 13"/>
                  <a:gd name="T16" fmla="*/ 1 w 6"/>
                  <a:gd name="T17" fmla="*/ 13 h 13"/>
                  <a:gd name="T18" fmla="*/ 2 w 6"/>
                  <a:gd name="T19" fmla="*/ 13 h 13"/>
                  <a:gd name="T20" fmla="*/ 2 w 6"/>
                  <a:gd name="T21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" h="13">
                    <a:moveTo>
                      <a:pt x="2" y="13"/>
                    </a:moveTo>
                    <a:lnTo>
                      <a:pt x="2" y="11"/>
                    </a:lnTo>
                    <a:lnTo>
                      <a:pt x="6" y="3"/>
                    </a:lnTo>
                    <a:lnTo>
                      <a:pt x="5" y="0"/>
                    </a:lnTo>
                    <a:lnTo>
                      <a:pt x="3" y="3"/>
                    </a:lnTo>
                    <a:lnTo>
                      <a:pt x="1" y="5"/>
                    </a:lnTo>
                    <a:lnTo>
                      <a:pt x="1" y="8"/>
                    </a:lnTo>
                    <a:lnTo>
                      <a:pt x="0" y="10"/>
                    </a:lnTo>
                    <a:lnTo>
                      <a:pt x="1" y="13"/>
                    </a:lnTo>
                    <a:lnTo>
                      <a:pt x="2" y="13"/>
                    </a:lnTo>
                    <a:lnTo>
                      <a:pt x="2" y="1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30" name="Freeform 196">
                <a:extLst>
                  <a:ext uri="{FF2B5EF4-FFF2-40B4-BE49-F238E27FC236}">
                    <a16:creationId xmlns:a16="http://schemas.microsoft.com/office/drawing/2014/main" id="{ADD8995A-D31D-4A16-A098-3AB6009120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86" y="3192"/>
                <a:ext cx="0" cy="3"/>
              </a:xfrm>
              <a:custGeom>
                <a:avLst/>
                <a:gdLst>
                  <a:gd name="T0" fmla="*/ 3 h 3"/>
                  <a:gd name="T1" fmla="*/ 3 h 3"/>
                  <a:gd name="T2" fmla="*/ 0 h 3"/>
                  <a:gd name="T3" fmla="*/ 3 h 3"/>
                  <a:gd name="T4" fmla="*/ 3 h 3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31" name="Freeform 197">
                <a:extLst>
                  <a:ext uri="{FF2B5EF4-FFF2-40B4-BE49-F238E27FC236}">
                    <a16:creationId xmlns:a16="http://schemas.microsoft.com/office/drawing/2014/main" id="{ED3661A8-8A6D-4AE5-A95C-CBD18C1B0A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83" y="2917"/>
                <a:ext cx="3" cy="4"/>
              </a:xfrm>
              <a:custGeom>
                <a:avLst/>
                <a:gdLst>
                  <a:gd name="T0" fmla="*/ 0 w 3"/>
                  <a:gd name="T1" fmla="*/ 1 h 4"/>
                  <a:gd name="T2" fmla="*/ 2 w 3"/>
                  <a:gd name="T3" fmla="*/ 0 h 4"/>
                  <a:gd name="T4" fmla="*/ 3 w 3"/>
                  <a:gd name="T5" fmla="*/ 4 h 4"/>
                  <a:gd name="T6" fmla="*/ 1 w 3"/>
                  <a:gd name="T7" fmla="*/ 4 h 4"/>
                  <a:gd name="T8" fmla="*/ 0 w 3"/>
                  <a:gd name="T9" fmla="*/ 1 h 4"/>
                  <a:gd name="T10" fmla="*/ 0 w 3"/>
                  <a:gd name="T11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4">
                    <a:moveTo>
                      <a:pt x="0" y="1"/>
                    </a:moveTo>
                    <a:lnTo>
                      <a:pt x="2" y="0"/>
                    </a:lnTo>
                    <a:lnTo>
                      <a:pt x="3" y="4"/>
                    </a:lnTo>
                    <a:lnTo>
                      <a:pt x="1" y="4"/>
                    </a:lnTo>
                    <a:lnTo>
                      <a:pt x="0" y="1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32" name="Freeform 198">
                <a:extLst>
                  <a:ext uri="{FF2B5EF4-FFF2-40B4-BE49-F238E27FC236}">
                    <a16:creationId xmlns:a16="http://schemas.microsoft.com/office/drawing/2014/main" id="{C875B250-692B-4F6D-A8B9-275B051351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25" y="1978"/>
                <a:ext cx="41" cy="151"/>
              </a:xfrm>
              <a:custGeom>
                <a:avLst/>
                <a:gdLst>
                  <a:gd name="T0" fmla="*/ 0 w 41"/>
                  <a:gd name="T1" fmla="*/ 36 h 151"/>
                  <a:gd name="T2" fmla="*/ 0 w 41"/>
                  <a:gd name="T3" fmla="*/ 45 h 151"/>
                  <a:gd name="T4" fmla="*/ 2 w 41"/>
                  <a:gd name="T5" fmla="*/ 50 h 151"/>
                  <a:gd name="T6" fmla="*/ 8 w 41"/>
                  <a:gd name="T7" fmla="*/ 58 h 151"/>
                  <a:gd name="T8" fmla="*/ 6 w 41"/>
                  <a:gd name="T9" fmla="*/ 64 h 151"/>
                  <a:gd name="T10" fmla="*/ 7 w 41"/>
                  <a:gd name="T11" fmla="*/ 77 h 151"/>
                  <a:gd name="T12" fmla="*/ 4 w 41"/>
                  <a:gd name="T13" fmla="*/ 97 h 151"/>
                  <a:gd name="T14" fmla="*/ 3 w 41"/>
                  <a:gd name="T15" fmla="*/ 106 h 151"/>
                  <a:gd name="T16" fmla="*/ 7 w 41"/>
                  <a:gd name="T17" fmla="*/ 114 h 151"/>
                  <a:gd name="T18" fmla="*/ 4 w 41"/>
                  <a:gd name="T19" fmla="*/ 122 h 151"/>
                  <a:gd name="T20" fmla="*/ 4 w 41"/>
                  <a:gd name="T21" fmla="*/ 127 h 151"/>
                  <a:gd name="T22" fmla="*/ 4 w 41"/>
                  <a:gd name="T23" fmla="*/ 132 h 151"/>
                  <a:gd name="T24" fmla="*/ 2 w 41"/>
                  <a:gd name="T25" fmla="*/ 141 h 151"/>
                  <a:gd name="T26" fmla="*/ 4 w 41"/>
                  <a:gd name="T27" fmla="*/ 151 h 151"/>
                  <a:gd name="T28" fmla="*/ 8 w 41"/>
                  <a:gd name="T29" fmla="*/ 145 h 151"/>
                  <a:gd name="T30" fmla="*/ 12 w 41"/>
                  <a:gd name="T31" fmla="*/ 137 h 151"/>
                  <a:gd name="T32" fmla="*/ 20 w 41"/>
                  <a:gd name="T33" fmla="*/ 140 h 151"/>
                  <a:gd name="T34" fmla="*/ 24 w 41"/>
                  <a:gd name="T35" fmla="*/ 148 h 151"/>
                  <a:gd name="T36" fmla="*/ 26 w 41"/>
                  <a:gd name="T37" fmla="*/ 142 h 151"/>
                  <a:gd name="T38" fmla="*/ 23 w 41"/>
                  <a:gd name="T39" fmla="*/ 136 h 151"/>
                  <a:gd name="T40" fmla="*/ 18 w 41"/>
                  <a:gd name="T41" fmla="*/ 128 h 151"/>
                  <a:gd name="T42" fmla="*/ 11 w 41"/>
                  <a:gd name="T43" fmla="*/ 119 h 151"/>
                  <a:gd name="T44" fmla="*/ 17 w 41"/>
                  <a:gd name="T45" fmla="*/ 100 h 151"/>
                  <a:gd name="T46" fmla="*/ 19 w 41"/>
                  <a:gd name="T47" fmla="*/ 93 h 151"/>
                  <a:gd name="T48" fmla="*/ 23 w 41"/>
                  <a:gd name="T49" fmla="*/ 92 h 151"/>
                  <a:gd name="T50" fmla="*/ 32 w 41"/>
                  <a:gd name="T51" fmla="*/ 92 h 151"/>
                  <a:gd name="T52" fmla="*/ 40 w 41"/>
                  <a:gd name="T53" fmla="*/ 99 h 151"/>
                  <a:gd name="T54" fmla="*/ 41 w 41"/>
                  <a:gd name="T55" fmla="*/ 99 h 151"/>
                  <a:gd name="T56" fmla="*/ 36 w 41"/>
                  <a:gd name="T57" fmla="*/ 94 h 151"/>
                  <a:gd name="T58" fmla="*/ 28 w 41"/>
                  <a:gd name="T59" fmla="*/ 74 h 151"/>
                  <a:gd name="T60" fmla="*/ 23 w 41"/>
                  <a:gd name="T61" fmla="*/ 56 h 151"/>
                  <a:gd name="T62" fmla="*/ 21 w 41"/>
                  <a:gd name="T63" fmla="*/ 47 h 151"/>
                  <a:gd name="T64" fmla="*/ 19 w 41"/>
                  <a:gd name="T65" fmla="*/ 41 h 151"/>
                  <a:gd name="T66" fmla="*/ 20 w 41"/>
                  <a:gd name="T67" fmla="*/ 36 h 151"/>
                  <a:gd name="T68" fmla="*/ 21 w 41"/>
                  <a:gd name="T69" fmla="*/ 36 h 151"/>
                  <a:gd name="T70" fmla="*/ 21 w 41"/>
                  <a:gd name="T71" fmla="*/ 28 h 151"/>
                  <a:gd name="T72" fmla="*/ 19 w 41"/>
                  <a:gd name="T73" fmla="*/ 19 h 151"/>
                  <a:gd name="T74" fmla="*/ 23 w 41"/>
                  <a:gd name="T75" fmla="*/ 28 h 151"/>
                  <a:gd name="T76" fmla="*/ 21 w 41"/>
                  <a:gd name="T77" fmla="*/ 20 h 151"/>
                  <a:gd name="T78" fmla="*/ 17 w 41"/>
                  <a:gd name="T79" fmla="*/ 8 h 151"/>
                  <a:gd name="T80" fmla="*/ 16 w 41"/>
                  <a:gd name="T81" fmla="*/ 0 h 151"/>
                  <a:gd name="T82" fmla="*/ 10 w 41"/>
                  <a:gd name="T83" fmla="*/ 2 h 151"/>
                  <a:gd name="T84" fmla="*/ 12 w 41"/>
                  <a:gd name="T85" fmla="*/ 6 h 151"/>
                  <a:gd name="T86" fmla="*/ 11 w 41"/>
                  <a:gd name="T87" fmla="*/ 14 h 151"/>
                  <a:gd name="T88" fmla="*/ 9 w 41"/>
                  <a:gd name="T89" fmla="*/ 19 h 151"/>
                  <a:gd name="T90" fmla="*/ 2 w 41"/>
                  <a:gd name="T91" fmla="*/ 17 h 151"/>
                  <a:gd name="T92" fmla="*/ 3 w 41"/>
                  <a:gd name="T93" fmla="*/ 25 h 151"/>
                  <a:gd name="T94" fmla="*/ 2 w 41"/>
                  <a:gd name="T95" fmla="*/ 33 h 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41" h="151">
                    <a:moveTo>
                      <a:pt x="2" y="33"/>
                    </a:moveTo>
                    <a:lnTo>
                      <a:pt x="0" y="36"/>
                    </a:lnTo>
                    <a:lnTo>
                      <a:pt x="0" y="39"/>
                    </a:lnTo>
                    <a:lnTo>
                      <a:pt x="0" y="45"/>
                    </a:lnTo>
                    <a:lnTo>
                      <a:pt x="2" y="48"/>
                    </a:lnTo>
                    <a:lnTo>
                      <a:pt x="2" y="50"/>
                    </a:lnTo>
                    <a:lnTo>
                      <a:pt x="4" y="53"/>
                    </a:lnTo>
                    <a:lnTo>
                      <a:pt x="8" y="58"/>
                    </a:lnTo>
                    <a:lnTo>
                      <a:pt x="8" y="60"/>
                    </a:lnTo>
                    <a:lnTo>
                      <a:pt x="6" y="64"/>
                    </a:lnTo>
                    <a:lnTo>
                      <a:pt x="4" y="68"/>
                    </a:lnTo>
                    <a:lnTo>
                      <a:pt x="7" y="77"/>
                    </a:lnTo>
                    <a:lnTo>
                      <a:pt x="6" y="88"/>
                    </a:lnTo>
                    <a:lnTo>
                      <a:pt x="4" y="97"/>
                    </a:lnTo>
                    <a:lnTo>
                      <a:pt x="2" y="102"/>
                    </a:lnTo>
                    <a:lnTo>
                      <a:pt x="3" y="106"/>
                    </a:lnTo>
                    <a:lnTo>
                      <a:pt x="6" y="108"/>
                    </a:lnTo>
                    <a:lnTo>
                      <a:pt x="7" y="114"/>
                    </a:lnTo>
                    <a:lnTo>
                      <a:pt x="7" y="116"/>
                    </a:lnTo>
                    <a:lnTo>
                      <a:pt x="4" y="122"/>
                    </a:lnTo>
                    <a:lnTo>
                      <a:pt x="3" y="124"/>
                    </a:lnTo>
                    <a:lnTo>
                      <a:pt x="4" y="127"/>
                    </a:lnTo>
                    <a:lnTo>
                      <a:pt x="4" y="130"/>
                    </a:lnTo>
                    <a:lnTo>
                      <a:pt x="4" y="132"/>
                    </a:lnTo>
                    <a:lnTo>
                      <a:pt x="2" y="137"/>
                    </a:lnTo>
                    <a:lnTo>
                      <a:pt x="2" y="141"/>
                    </a:lnTo>
                    <a:lnTo>
                      <a:pt x="3" y="149"/>
                    </a:lnTo>
                    <a:lnTo>
                      <a:pt x="4" y="151"/>
                    </a:lnTo>
                    <a:lnTo>
                      <a:pt x="7" y="148"/>
                    </a:lnTo>
                    <a:lnTo>
                      <a:pt x="8" y="145"/>
                    </a:lnTo>
                    <a:lnTo>
                      <a:pt x="10" y="140"/>
                    </a:lnTo>
                    <a:lnTo>
                      <a:pt x="12" y="137"/>
                    </a:lnTo>
                    <a:lnTo>
                      <a:pt x="16" y="139"/>
                    </a:lnTo>
                    <a:lnTo>
                      <a:pt x="20" y="140"/>
                    </a:lnTo>
                    <a:lnTo>
                      <a:pt x="23" y="142"/>
                    </a:lnTo>
                    <a:lnTo>
                      <a:pt x="24" y="148"/>
                    </a:lnTo>
                    <a:lnTo>
                      <a:pt x="25" y="145"/>
                    </a:lnTo>
                    <a:lnTo>
                      <a:pt x="26" y="142"/>
                    </a:lnTo>
                    <a:lnTo>
                      <a:pt x="25" y="136"/>
                    </a:lnTo>
                    <a:lnTo>
                      <a:pt x="23" y="136"/>
                    </a:lnTo>
                    <a:lnTo>
                      <a:pt x="19" y="136"/>
                    </a:lnTo>
                    <a:lnTo>
                      <a:pt x="18" y="128"/>
                    </a:lnTo>
                    <a:lnTo>
                      <a:pt x="12" y="123"/>
                    </a:lnTo>
                    <a:lnTo>
                      <a:pt x="11" y="119"/>
                    </a:lnTo>
                    <a:lnTo>
                      <a:pt x="12" y="114"/>
                    </a:lnTo>
                    <a:lnTo>
                      <a:pt x="17" y="100"/>
                    </a:lnTo>
                    <a:lnTo>
                      <a:pt x="18" y="94"/>
                    </a:lnTo>
                    <a:lnTo>
                      <a:pt x="19" y="93"/>
                    </a:lnTo>
                    <a:lnTo>
                      <a:pt x="26" y="91"/>
                    </a:lnTo>
                    <a:lnTo>
                      <a:pt x="23" y="92"/>
                    </a:lnTo>
                    <a:lnTo>
                      <a:pt x="26" y="91"/>
                    </a:lnTo>
                    <a:lnTo>
                      <a:pt x="32" y="92"/>
                    </a:lnTo>
                    <a:lnTo>
                      <a:pt x="34" y="94"/>
                    </a:lnTo>
                    <a:lnTo>
                      <a:pt x="40" y="99"/>
                    </a:lnTo>
                    <a:lnTo>
                      <a:pt x="41" y="102"/>
                    </a:lnTo>
                    <a:lnTo>
                      <a:pt x="41" y="99"/>
                    </a:lnTo>
                    <a:lnTo>
                      <a:pt x="38" y="98"/>
                    </a:lnTo>
                    <a:lnTo>
                      <a:pt x="36" y="94"/>
                    </a:lnTo>
                    <a:lnTo>
                      <a:pt x="32" y="80"/>
                    </a:lnTo>
                    <a:lnTo>
                      <a:pt x="28" y="74"/>
                    </a:lnTo>
                    <a:lnTo>
                      <a:pt x="26" y="58"/>
                    </a:lnTo>
                    <a:lnTo>
                      <a:pt x="23" y="56"/>
                    </a:lnTo>
                    <a:lnTo>
                      <a:pt x="24" y="53"/>
                    </a:lnTo>
                    <a:lnTo>
                      <a:pt x="21" y="47"/>
                    </a:lnTo>
                    <a:lnTo>
                      <a:pt x="20" y="46"/>
                    </a:lnTo>
                    <a:lnTo>
                      <a:pt x="19" y="41"/>
                    </a:lnTo>
                    <a:lnTo>
                      <a:pt x="20" y="38"/>
                    </a:lnTo>
                    <a:lnTo>
                      <a:pt x="20" y="36"/>
                    </a:lnTo>
                    <a:lnTo>
                      <a:pt x="21" y="32"/>
                    </a:lnTo>
                    <a:lnTo>
                      <a:pt x="21" y="36"/>
                    </a:lnTo>
                    <a:lnTo>
                      <a:pt x="23" y="30"/>
                    </a:lnTo>
                    <a:lnTo>
                      <a:pt x="21" y="28"/>
                    </a:lnTo>
                    <a:lnTo>
                      <a:pt x="19" y="24"/>
                    </a:lnTo>
                    <a:lnTo>
                      <a:pt x="19" y="19"/>
                    </a:lnTo>
                    <a:lnTo>
                      <a:pt x="21" y="22"/>
                    </a:lnTo>
                    <a:lnTo>
                      <a:pt x="23" y="28"/>
                    </a:lnTo>
                    <a:lnTo>
                      <a:pt x="21" y="22"/>
                    </a:lnTo>
                    <a:lnTo>
                      <a:pt x="21" y="20"/>
                    </a:lnTo>
                    <a:lnTo>
                      <a:pt x="18" y="14"/>
                    </a:lnTo>
                    <a:lnTo>
                      <a:pt x="17" y="8"/>
                    </a:lnTo>
                    <a:lnTo>
                      <a:pt x="17" y="3"/>
                    </a:lnTo>
                    <a:lnTo>
                      <a:pt x="16" y="0"/>
                    </a:lnTo>
                    <a:lnTo>
                      <a:pt x="12" y="0"/>
                    </a:lnTo>
                    <a:lnTo>
                      <a:pt x="10" y="2"/>
                    </a:lnTo>
                    <a:lnTo>
                      <a:pt x="11" y="4"/>
                    </a:lnTo>
                    <a:lnTo>
                      <a:pt x="12" y="6"/>
                    </a:lnTo>
                    <a:lnTo>
                      <a:pt x="14" y="10"/>
                    </a:lnTo>
                    <a:lnTo>
                      <a:pt x="11" y="14"/>
                    </a:lnTo>
                    <a:lnTo>
                      <a:pt x="11" y="17"/>
                    </a:lnTo>
                    <a:lnTo>
                      <a:pt x="9" y="19"/>
                    </a:lnTo>
                    <a:lnTo>
                      <a:pt x="8" y="15"/>
                    </a:lnTo>
                    <a:lnTo>
                      <a:pt x="2" y="17"/>
                    </a:lnTo>
                    <a:lnTo>
                      <a:pt x="2" y="22"/>
                    </a:lnTo>
                    <a:lnTo>
                      <a:pt x="3" y="25"/>
                    </a:lnTo>
                    <a:lnTo>
                      <a:pt x="2" y="28"/>
                    </a:lnTo>
                    <a:lnTo>
                      <a:pt x="2" y="33"/>
                    </a:lnTo>
                    <a:lnTo>
                      <a:pt x="2" y="3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33" name="Freeform 199">
                <a:extLst>
                  <a:ext uri="{FF2B5EF4-FFF2-40B4-BE49-F238E27FC236}">
                    <a16:creationId xmlns:a16="http://schemas.microsoft.com/office/drawing/2014/main" id="{BD78BE68-2796-4291-B022-AA8D543173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82" y="1643"/>
                <a:ext cx="22" cy="12"/>
              </a:xfrm>
              <a:custGeom>
                <a:avLst/>
                <a:gdLst>
                  <a:gd name="T0" fmla="*/ 9 w 22"/>
                  <a:gd name="T1" fmla="*/ 0 h 12"/>
                  <a:gd name="T2" fmla="*/ 7 w 22"/>
                  <a:gd name="T3" fmla="*/ 0 h 12"/>
                  <a:gd name="T4" fmla="*/ 5 w 22"/>
                  <a:gd name="T5" fmla="*/ 0 h 12"/>
                  <a:gd name="T6" fmla="*/ 2 w 22"/>
                  <a:gd name="T7" fmla="*/ 3 h 12"/>
                  <a:gd name="T8" fmla="*/ 0 w 22"/>
                  <a:gd name="T9" fmla="*/ 5 h 12"/>
                  <a:gd name="T10" fmla="*/ 5 w 22"/>
                  <a:gd name="T11" fmla="*/ 8 h 12"/>
                  <a:gd name="T12" fmla="*/ 8 w 22"/>
                  <a:gd name="T13" fmla="*/ 9 h 12"/>
                  <a:gd name="T14" fmla="*/ 13 w 22"/>
                  <a:gd name="T15" fmla="*/ 10 h 12"/>
                  <a:gd name="T16" fmla="*/ 19 w 22"/>
                  <a:gd name="T17" fmla="*/ 12 h 12"/>
                  <a:gd name="T18" fmla="*/ 22 w 22"/>
                  <a:gd name="T19" fmla="*/ 6 h 12"/>
                  <a:gd name="T20" fmla="*/ 20 w 22"/>
                  <a:gd name="T21" fmla="*/ 3 h 12"/>
                  <a:gd name="T22" fmla="*/ 17 w 22"/>
                  <a:gd name="T23" fmla="*/ 3 h 12"/>
                  <a:gd name="T24" fmla="*/ 9 w 22"/>
                  <a:gd name="T25" fmla="*/ 0 h 12"/>
                  <a:gd name="T26" fmla="*/ 9 w 22"/>
                  <a:gd name="T27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2" h="12">
                    <a:moveTo>
                      <a:pt x="9" y="0"/>
                    </a:moveTo>
                    <a:lnTo>
                      <a:pt x="7" y="0"/>
                    </a:lnTo>
                    <a:lnTo>
                      <a:pt x="5" y="0"/>
                    </a:lnTo>
                    <a:lnTo>
                      <a:pt x="2" y="3"/>
                    </a:lnTo>
                    <a:lnTo>
                      <a:pt x="0" y="5"/>
                    </a:lnTo>
                    <a:lnTo>
                      <a:pt x="5" y="8"/>
                    </a:lnTo>
                    <a:lnTo>
                      <a:pt x="8" y="9"/>
                    </a:lnTo>
                    <a:lnTo>
                      <a:pt x="13" y="10"/>
                    </a:lnTo>
                    <a:lnTo>
                      <a:pt x="19" y="12"/>
                    </a:lnTo>
                    <a:lnTo>
                      <a:pt x="22" y="6"/>
                    </a:lnTo>
                    <a:lnTo>
                      <a:pt x="20" y="3"/>
                    </a:lnTo>
                    <a:lnTo>
                      <a:pt x="17" y="3"/>
                    </a:lnTo>
                    <a:lnTo>
                      <a:pt x="9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34" name="Freeform 200">
                <a:extLst>
                  <a:ext uri="{FF2B5EF4-FFF2-40B4-BE49-F238E27FC236}">
                    <a16:creationId xmlns:a16="http://schemas.microsoft.com/office/drawing/2014/main" id="{B8C6FD65-65B1-4FDF-9A99-8DE7B88B60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0" y="1604"/>
                <a:ext cx="53" cy="19"/>
              </a:xfrm>
              <a:custGeom>
                <a:avLst/>
                <a:gdLst>
                  <a:gd name="T0" fmla="*/ 19 w 53"/>
                  <a:gd name="T1" fmla="*/ 15 h 19"/>
                  <a:gd name="T2" fmla="*/ 24 w 53"/>
                  <a:gd name="T3" fmla="*/ 15 h 19"/>
                  <a:gd name="T4" fmla="*/ 26 w 53"/>
                  <a:gd name="T5" fmla="*/ 18 h 19"/>
                  <a:gd name="T6" fmla="*/ 30 w 53"/>
                  <a:gd name="T7" fmla="*/ 17 h 19"/>
                  <a:gd name="T8" fmla="*/ 39 w 53"/>
                  <a:gd name="T9" fmla="*/ 15 h 19"/>
                  <a:gd name="T10" fmla="*/ 42 w 53"/>
                  <a:gd name="T11" fmla="*/ 14 h 19"/>
                  <a:gd name="T12" fmla="*/ 48 w 53"/>
                  <a:gd name="T13" fmla="*/ 13 h 19"/>
                  <a:gd name="T14" fmla="*/ 51 w 53"/>
                  <a:gd name="T15" fmla="*/ 13 h 19"/>
                  <a:gd name="T16" fmla="*/ 53 w 53"/>
                  <a:gd name="T17" fmla="*/ 11 h 19"/>
                  <a:gd name="T18" fmla="*/ 53 w 53"/>
                  <a:gd name="T19" fmla="*/ 8 h 19"/>
                  <a:gd name="T20" fmla="*/ 51 w 53"/>
                  <a:gd name="T21" fmla="*/ 6 h 19"/>
                  <a:gd name="T22" fmla="*/ 45 w 53"/>
                  <a:gd name="T23" fmla="*/ 3 h 19"/>
                  <a:gd name="T24" fmla="*/ 42 w 53"/>
                  <a:gd name="T25" fmla="*/ 1 h 19"/>
                  <a:gd name="T26" fmla="*/ 34 w 53"/>
                  <a:gd name="T27" fmla="*/ 0 h 19"/>
                  <a:gd name="T28" fmla="*/ 27 w 53"/>
                  <a:gd name="T29" fmla="*/ 1 h 19"/>
                  <a:gd name="T30" fmla="*/ 23 w 53"/>
                  <a:gd name="T31" fmla="*/ 1 h 19"/>
                  <a:gd name="T32" fmla="*/ 14 w 53"/>
                  <a:gd name="T33" fmla="*/ 3 h 19"/>
                  <a:gd name="T34" fmla="*/ 9 w 53"/>
                  <a:gd name="T35" fmla="*/ 8 h 19"/>
                  <a:gd name="T36" fmla="*/ 6 w 53"/>
                  <a:gd name="T37" fmla="*/ 9 h 19"/>
                  <a:gd name="T38" fmla="*/ 0 w 53"/>
                  <a:gd name="T39" fmla="*/ 13 h 19"/>
                  <a:gd name="T40" fmla="*/ 4 w 53"/>
                  <a:gd name="T41" fmla="*/ 19 h 19"/>
                  <a:gd name="T42" fmla="*/ 8 w 53"/>
                  <a:gd name="T43" fmla="*/ 18 h 19"/>
                  <a:gd name="T44" fmla="*/ 14 w 53"/>
                  <a:gd name="T45" fmla="*/ 18 h 19"/>
                  <a:gd name="T46" fmla="*/ 19 w 53"/>
                  <a:gd name="T47" fmla="*/ 15 h 19"/>
                  <a:gd name="T48" fmla="*/ 19 w 53"/>
                  <a:gd name="T49" fmla="*/ 15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3" h="19">
                    <a:moveTo>
                      <a:pt x="19" y="15"/>
                    </a:moveTo>
                    <a:lnTo>
                      <a:pt x="24" y="15"/>
                    </a:lnTo>
                    <a:lnTo>
                      <a:pt x="26" y="18"/>
                    </a:lnTo>
                    <a:lnTo>
                      <a:pt x="30" y="17"/>
                    </a:lnTo>
                    <a:lnTo>
                      <a:pt x="39" y="15"/>
                    </a:lnTo>
                    <a:lnTo>
                      <a:pt x="42" y="14"/>
                    </a:lnTo>
                    <a:lnTo>
                      <a:pt x="48" y="13"/>
                    </a:lnTo>
                    <a:lnTo>
                      <a:pt x="51" y="13"/>
                    </a:lnTo>
                    <a:lnTo>
                      <a:pt x="53" y="11"/>
                    </a:lnTo>
                    <a:lnTo>
                      <a:pt x="53" y="8"/>
                    </a:lnTo>
                    <a:lnTo>
                      <a:pt x="51" y="6"/>
                    </a:lnTo>
                    <a:lnTo>
                      <a:pt x="45" y="3"/>
                    </a:lnTo>
                    <a:lnTo>
                      <a:pt x="42" y="1"/>
                    </a:lnTo>
                    <a:lnTo>
                      <a:pt x="34" y="0"/>
                    </a:lnTo>
                    <a:lnTo>
                      <a:pt x="27" y="1"/>
                    </a:lnTo>
                    <a:lnTo>
                      <a:pt x="23" y="1"/>
                    </a:lnTo>
                    <a:lnTo>
                      <a:pt x="14" y="3"/>
                    </a:lnTo>
                    <a:lnTo>
                      <a:pt x="9" y="8"/>
                    </a:lnTo>
                    <a:lnTo>
                      <a:pt x="6" y="9"/>
                    </a:lnTo>
                    <a:lnTo>
                      <a:pt x="0" y="13"/>
                    </a:lnTo>
                    <a:lnTo>
                      <a:pt x="4" y="19"/>
                    </a:lnTo>
                    <a:lnTo>
                      <a:pt x="8" y="18"/>
                    </a:lnTo>
                    <a:lnTo>
                      <a:pt x="14" y="18"/>
                    </a:lnTo>
                    <a:lnTo>
                      <a:pt x="19" y="15"/>
                    </a:lnTo>
                    <a:lnTo>
                      <a:pt x="19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35" name="Freeform 201">
                <a:extLst>
                  <a:ext uri="{FF2B5EF4-FFF2-40B4-BE49-F238E27FC236}">
                    <a16:creationId xmlns:a16="http://schemas.microsoft.com/office/drawing/2014/main" id="{266E7798-5CDE-493F-A740-699A1D4A56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65" y="3392"/>
                <a:ext cx="106" cy="103"/>
              </a:xfrm>
              <a:custGeom>
                <a:avLst/>
                <a:gdLst>
                  <a:gd name="T0" fmla="*/ 18 w 106"/>
                  <a:gd name="T1" fmla="*/ 68 h 103"/>
                  <a:gd name="T2" fmla="*/ 12 w 106"/>
                  <a:gd name="T3" fmla="*/ 74 h 103"/>
                  <a:gd name="T4" fmla="*/ 8 w 106"/>
                  <a:gd name="T5" fmla="*/ 77 h 103"/>
                  <a:gd name="T6" fmla="*/ 9 w 106"/>
                  <a:gd name="T7" fmla="*/ 82 h 103"/>
                  <a:gd name="T8" fmla="*/ 3 w 106"/>
                  <a:gd name="T9" fmla="*/ 82 h 103"/>
                  <a:gd name="T10" fmla="*/ 3 w 106"/>
                  <a:gd name="T11" fmla="*/ 85 h 103"/>
                  <a:gd name="T12" fmla="*/ 3 w 106"/>
                  <a:gd name="T13" fmla="*/ 87 h 103"/>
                  <a:gd name="T14" fmla="*/ 1 w 106"/>
                  <a:gd name="T15" fmla="*/ 88 h 103"/>
                  <a:gd name="T16" fmla="*/ 0 w 106"/>
                  <a:gd name="T17" fmla="*/ 91 h 103"/>
                  <a:gd name="T18" fmla="*/ 1 w 106"/>
                  <a:gd name="T19" fmla="*/ 93 h 103"/>
                  <a:gd name="T20" fmla="*/ 2 w 106"/>
                  <a:gd name="T21" fmla="*/ 95 h 103"/>
                  <a:gd name="T22" fmla="*/ 12 w 106"/>
                  <a:gd name="T23" fmla="*/ 95 h 103"/>
                  <a:gd name="T24" fmla="*/ 17 w 106"/>
                  <a:gd name="T25" fmla="*/ 98 h 103"/>
                  <a:gd name="T26" fmla="*/ 25 w 106"/>
                  <a:gd name="T27" fmla="*/ 99 h 103"/>
                  <a:gd name="T28" fmla="*/ 28 w 106"/>
                  <a:gd name="T29" fmla="*/ 102 h 103"/>
                  <a:gd name="T30" fmla="*/ 33 w 106"/>
                  <a:gd name="T31" fmla="*/ 103 h 103"/>
                  <a:gd name="T32" fmla="*/ 43 w 106"/>
                  <a:gd name="T33" fmla="*/ 101 h 103"/>
                  <a:gd name="T34" fmla="*/ 47 w 106"/>
                  <a:gd name="T35" fmla="*/ 96 h 103"/>
                  <a:gd name="T36" fmla="*/ 55 w 106"/>
                  <a:gd name="T37" fmla="*/ 90 h 103"/>
                  <a:gd name="T38" fmla="*/ 59 w 106"/>
                  <a:gd name="T39" fmla="*/ 82 h 103"/>
                  <a:gd name="T40" fmla="*/ 63 w 106"/>
                  <a:gd name="T41" fmla="*/ 73 h 103"/>
                  <a:gd name="T42" fmla="*/ 63 w 106"/>
                  <a:gd name="T43" fmla="*/ 68 h 103"/>
                  <a:gd name="T44" fmla="*/ 70 w 106"/>
                  <a:gd name="T45" fmla="*/ 60 h 103"/>
                  <a:gd name="T46" fmla="*/ 90 w 106"/>
                  <a:gd name="T47" fmla="*/ 54 h 103"/>
                  <a:gd name="T48" fmla="*/ 86 w 106"/>
                  <a:gd name="T49" fmla="*/ 51 h 103"/>
                  <a:gd name="T50" fmla="*/ 85 w 106"/>
                  <a:gd name="T51" fmla="*/ 46 h 103"/>
                  <a:gd name="T52" fmla="*/ 89 w 106"/>
                  <a:gd name="T53" fmla="*/ 42 h 103"/>
                  <a:gd name="T54" fmla="*/ 96 w 106"/>
                  <a:gd name="T55" fmla="*/ 33 h 103"/>
                  <a:gd name="T56" fmla="*/ 102 w 106"/>
                  <a:gd name="T57" fmla="*/ 27 h 103"/>
                  <a:gd name="T58" fmla="*/ 106 w 106"/>
                  <a:gd name="T59" fmla="*/ 21 h 103"/>
                  <a:gd name="T60" fmla="*/ 103 w 106"/>
                  <a:gd name="T61" fmla="*/ 16 h 103"/>
                  <a:gd name="T62" fmla="*/ 103 w 106"/>
                  <a:gd name="T63" fmla="*/ 13 h 103"/>
                  <a:gd name="T64" fmla="*/ 105 w 106"/>
                  <a:gd name="T65" fmla="*/ 11 h 103"/>
                  <a:gd name="T66" fmla="*/ 103 w 106"/>
                  <a:gd name="T67" fmla="*/ 9 h 103"/>
                  <a:gd name="T68" fmla="*/ 99 w 106"/>
                  <a:gd name="T69" fmla="*/ 12 h 103"/>
                  <a:gd name="T70" fmla="*/ 99 w 106"/>
                  <a:gd name="T71" fmla="*/ 9 h 103"/>
                  <a:gd name="T72" fmla="*/ 97 w 106"/>
                  <a:gd name="T73" fmla="*/ 9 h 103"/>
                  <a:gd name="T74" fmla="*/ 90 w 106"/>
                  <a:gd name="T75" fmla="*/ 12 h 103"/>
                  <a:gd name="T76" fmla="*/ 89 w 106"/>
                  <a:gd name="T77" fmla="*/ 8 h 103"/>
                  <a:gd name="T78" fmla="*/ 86 w 106"/>
                  <a:gd name="T79" fmla="*/ 5 h 103"/>
                  <a:gd name="T80" fmla="*/ 86 w 106"/>
                  <a:gd name="T81" fmla="*/ 0 h 103"/>
                  <a:gd name="T82" fmla="*/ 81 w 106"/>
                  <a:gd name="T83" fmla="*/ 2 h 103"/>
                  <a:gd name="T84" fmla="*/ 77 w 106"/>
                  <a:gd name="T85" fmla="*/ 7 h 103"/>
                  <a:gd name="T86" fmla="*/ 75 w 106"/>
                  <a:gd name="T87" fmla="*/ 17 h 103"/>
                  <a:gd name="T88" fmla="*/ 68 w 106"/>
                  <a:gd name="T89" fmla="*/ 21 h 103"/>
                  <a:gd name="T90" fmla="*/ 64 w 106"/>
                  <a:gd name="T91" fmla="*/ 33 h 103"/>
                  <a:gd name="T92" fmla="*/ 61 w 106"/>
                  <a:gd name="T93" fmla="*/ 36 h 103"/>
                  <a:gd name="T94" fmla="*/ 56 w 106"/>
                  <a:gd name="T95" fmla="*/ 41 h 103"/>
                  <a:gd name="T96" fmla="*/ 51 w 106"/>
                  <a:gd name="T97" fmla="*/ 45 h 103"/>
                  <a:gd name="T98" fmla="*/ 43 w 106"/>
                  <a:gd name="T99" fmla="*/ 51 h 103"/>
                  <a:gd name="T100" fmla="*/ 31 w 106"/>
                  <a:gd name="T101" fmla="*/ 56 h 103"/>
                  <a:gd name="T102" fmla="*/ 24 w 106"/>
                  <a:gd name="T103" fmla="*/ 61 h 103"/>
                  <a:gd name="T104" fmla="*/ 19 w 106"/>
                  <a:gd name="T105" fmla="*/ 65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06" h="103">
                    <a:moveTo>
                      <a:pt x="19" y="65"/>
                    </a:moveTo>
                    <a:lnTo>
                      <a:pt x="18" y="68"/>
                    </a:lnTo>
                    <a:lnTo>
                      <a:pt x="16" y="69"/>
                    </a:lnTo>
                    <a:lnTo>
                      <a:pt x="12" y="74"/>
                    </a:lnTo>
                    <a:lnTo>
                      <a:pt x="9" y="73"/>
                    </a:lnTo>
                    <a:lnTo>
                      <a:pt x="8" y="77"/>
                    </a:lnTo>
                    <a:lnTo>
                      <a:pt x="7" y="79"/>
                    </a:lnTo>
                    <a:lnTo>
                      <a:pt x="9" y="82"/>
                    </a:lnTo>
                    <a:lnTo>
                      <a:pt x="5" y="80"/>
                    </a:lnTo>
                    <a:lnTo>
                      <a:pt x="3" y="82"/>
                    </a:lnTo>
                    <a:lnTo>
                      <a:pt x="5" y="84"/>
                    </a:lnTo>
                    <a:lnTo>
                      <a:pt x="3" y="85"/>
                    </a:lnTo>
                    <a:lnTo>
                      <a:pt x="5" y="85"/>
                    </a:lnTo>
                    <a:lnTo>
                      <a:pt x="3" y="87"/>
                    </a:lnTo>
                    <a:lnTo>
                      <a:pt x="5" y="87"/>
                    </a:lnTo>
                    <a:lnTo>
                      <a:pt x="1" y="88"/>
                    </a:lnTo>
                    <a:lnTo>
                      <a:pt x="0" y="91"/>
                    </a:lnTo>
                    <a:lnTo>
                      <a:pt x="0" y="91"/>
                    </a:lnTo>
                    <a:lnTo>
                      <a:pt x="2" y="90"/>
                    </a:lnTo>
                    <a:lnTo>
                      <a:pt x="1" y="93"/>
                    </a:lnTo>
                    <a:lnTo>
                      <a:pt x="3" y="93"/>
                    </a:lnTo>
                    <a:lnTo>
                      <a:pt x="2" y="95"/>
                    </a:lnTo>
                    <a:lnTo>
                      <a:pt x="10" y="96"/>
                    </a:lnTo>
                    <a:lnTo>
                      <a:pt x="12" y="95"/>
                    </a:lnTo>
                    <a:lnTo>
                      <a:pt x="16" y="95"/>
                    </a:lnTo>
                    <a:lnTo>
                      <a:pt x="17" y="98"/>
                    </a:lnTo>
                    <a:lnTo>
                      <a:pt x="21" y="97"/>
                    </a:lnTo>
                    <a:lnTo>
                      <a:pt x="25" y="99"/>
                    </a:lnTo>
                    <a:lnTo>
                      <a:pt x="25" y="102"/>
                    </a:lnTo>
                    <a:lnTo>
                      <a:pt x="28" y="102"/>
                    </a:lnTo>
                    <a:lnTo>
                      <a:pt x="30" y="102"/>
                    </a:lnTo>
                    <a:lnTo>
                      <a:pt x="33" y="103"/>
                    </a:lnTo>
                    <a:lnTo>
                      <a:pt x="38" y="103"/>
                    </a:lnTo>
                    <a:lnTo>
                      <a:pt x="43" y="101"/>
                    </a:lnTo>
                    <a:lnTo>
                      <a:pt x="45" y="98"/>
                    </a:lnTo>
                    <a:lnTo>
                      <a:pt x="47" y="96"/>
                    </a:lnTo>
                    <a:lnTo>
                      <a:pt x="52" y="90"/>
                    </a:lnTo>
                    <a:lnTo>
                      <a:pt x="55" y="90"/>
                    </a:lnTo>
                    <a:lnTo>
                      <a:pt x="56" y="87"/>
                    </a:lnTo>
                    <a:lnTo>
                      <a:pt x="59" y="82"/>
                    </a:lnTo>
                    <a:lnTo>
                      <a:pt x="60" y="79"/>
                    </a:lnTo>
                    <a:lnTo>
                      <a:pt x="63" y="73"/>
                    </a:lnTo>
                    <a:lnTo>
                      <a:pt x="64" y="71"/>
                    </a:lnTo>
                    <a:lnTo>
                      <a:pt x="63" y="68"/>
                    </a:lnTo>
                    <a:lnTo>
                      <a:pt x="65" y="63"/>
                    </a:lnTo>
                    <a:lnTo>
                      <a:pt x="70" y="60"/>
                    </a:lnTo>
                    <a:lnTo>
                      <a:pt x="80" y="55"/>
                    </a:lnTo>
                    <a:lnTo>
                      <a:pt x="90" y="54"/>
                    </a:lnTo>
                    <a:lnTo>
                      <a:pt x="88" y="52"/>
                    </a:lnTo>
                    <a:lnTo>
                      <a:pt x="86" y="51"/>
                    </a:lnTo>
                    <a:lnTo>
                      <a:pt x="85" y="47"/>
                    </a:lnTo>
                    <a:lnTo>
                      <a:pt x="85" y="46"/>
                    </a:lnTo>
                    <a:lnTo>
                      <a:pt x="87" y="44"/>
                    </a:lnTo>
                    <a:lnTo>
                      <a:pt x="89" y="42"/>
                    </a:lnTo>
                    <a:lnTo>
                      <a:pt x="93" y="39"/>
                    </a:lnTo>
                    <a:lnTo>
                      <a:pt x="96" y="33"/>
                    </a:lnTo>
                    <a:lnTo>
                      <a:pt x="102" y="27"/>
                    </a:lnTo>
                    <a:lnTo>
                      <a:pt x="102" y="27"/>
                    </a:lnTo>
                    <a:lnTo>
                      <a:pt x="104" y="24"/>
                    </a:lnTo>
                    <a:lnTo>
                      <a:pt x="106" y="21"/>
                    </a:lnTo>
                    <a:lnTo>
                      <a:pt x="105" y="18"/>
                    </a:lnTo>
                    <a:lnTo>
                      <a:pt x="103" y="16"/>
                    </a:lnTo>
                    <a:lnTo>
                      <a:pt x="105" y="12"/>
                    </a:lnTo>
                    <a:lnTo>
                      <a:pt x="103" y="13"/>
                    </a:lnTo>
                    <a:lnTo>
                      <a:pt x="103" y="12"/>
                    </a:lnTo>
                    <a:lnTo>
                      <a:pt x="105" y="11"/>
                    </a:lnTo>
                    <a:lnTo>
                      <a:pt x="106" y="9"/>
                    </a:lnTo>
                    <a:lnTo>
                      <a:pt x="103" y="9"/>
                    </a:lnTo>
                    <a:lnTo>
                      <a:pt x="103" y="11"/>
                    </a:lnTo>
                    <a:lnTo>
                      <a:pt x="99" y="12"/>
                    </a:lnTo>
                    <a:lnTo>
                      <a:pt x="101" y="12"/>
                    </a:lnTo>
                    <a:lnTo>
                      <a:pt x="99" y="9"/>
                    </a:lnTo>
                    <a:lnTo>
                      <a:pt x="103" y="7"/>
                    </a:lnTo>
                    <a:lnTo>
                      <a:pt x="97" y="9"/>
                    </a:lnTo>
                    <a:lnTo>
                      <a:pt x="93" y="12"/>
                    </a:lnTo>
                    <a:lnTo>
                      <a:pt x="90" y="12"/>
                    </a:lnTo>
                    <a:lnTo>
                      <a:pt x="89" y="10"/>
                    </a:lnTo>
                    <a:lnTo>
                      <a:pt x="89" y="8"/>
                    </a:lnTo>
                    <a:lnTo>
                      <a:pt x="89" y="4"/>
                    </a:lnTo>
                    <a:lnTo>
                      <a:pt x="86" y="5"/>
                    </a:lnTo>
                    <a:lnTo>
                      <a:pt x="85" y="3"/>
                    </a:lnTo>
                    <a:lnTo>
                      <a:pt x="86" y="0"/>
                    </a:lnTo>
                    <a:lnTo>
                      <a:pt x="84" y="2"/>
                    </a:lnTo>
                    <a:lnTo>
                      <a:pt x="81" y="2"/>
                    </a:lnTo>
                    <a:lnTo>
                      <a:pt x="78" y="4"/>
                    </a:lnTo>
                    <a:lnTo>
                      <a:pt x="77" y="7"/>
                    </a:lnTo>
                    <a:lnTo>
                      <a:pt x="77" y="12"/>
                    </a:lnTo>
                    <a:lnTo>
                      <a:pt x="75" y="17"/>
                    </a:lnTo>
                    <a:lnTo>
                      <a:pt x="72" y="19"/>
                    </a:lnTo>
                    <a:lnTo>
                      <a:pt x="68" y="21"/>
                    </a:lnTo>
                    <a:lnTo>
                      <a:pt x="65" y="29"/>
                    </a:lnTo>
                    <a:lnTo>
                      <a:pt x="64" y="33"/>
                    </a:lnTo>
                    <a:lnTo>
                      <a:pt x="63" y="34"/>
                    </a:lnTo>
                    <a:lnTo>
                      <a:pt x="61" y="36"/>
                    </a:lnTo>
                    <a:lnTo>
                      <a:pt x="59" y="39"/>
                    </a:lnTo>
                    <a:lnTo>
                      <a:pt x="56" y="41"/>
                    </a:lnTo>
                    <a:lnTo>
                      <a:pt x="53" y="42"/>
                    </a:lnTo>
                    <a:lnTo>
                      <a:pt x="51" y="45"/>
                    </a:lnTo>
                    <a:lnTo>
                      <a:pt x="45" y="48"/>
                    </a:lnTo>
                    <a:lnTo>
                      <a:pt x="43" y="51"/>
                    </a:lnTo>
                    <a:lnTo>
                      <a:pt x="39" y="52"/>
                    </a:lnTo>
                    <a:lnTo>
                      <a:pt x="31" y="56"/>
                    </a:lnTo>
                    <a:lnTo>
                      <a:pt x="26" y="57"/>
                    </a:lnTo>
                    <a:lnTo>
                      <a:pt x="24" y="61"/>
                    </a:lnTo>
                    <a:lnTo>
                      <a:pt x="21" y="63"/>
                    </a:lnTo>
                    <a:lnTo>
                      <a:pt x="19" y="65"/>
                    </a:lnTo>
                    <a:lnTo>
                      <a:pt x="19" y="6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36" name="Freeform 202">
                <a:extLst>
                  <a:ext uri="{FF2B5EF4-FFF2-40B4-BE49-F238E27FC236}">
                    <a16:creationId xmlns:a16="http://schemas.microsoft.com/office/drawing/2014/main" id="{425D45A4-69E9-4BB7-8B86-3D08A28284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50" y="3297"/>
                <a:ext cx="80" cy="113"/>
              </a:xfrm>
              <a:custGeom>
                <a:avLst/>
                <a:gdLst>
                  <a:gd name="T0" fmla="*/ 27 w 80"/>
                  <a:gd name="T1" fmla="*/ 37 h 113"/>
                  <a:gd name="T2" fmla="*/ 28 w 80"/>
                  <a:gd name="T3" fmla="*/ 34 h 113"/>
                  <a:gd name="T4" fmla="*/ 28 w 80"/>
                  <a:gd name="T5" fmla="*/ 30 h 113"/>
                  <a:gd name="T6" fmla="*/ 26 w 80"/>
                  <a:gd name="T7" fmla="*/ 26 h 113"/>
                  <a:gd name="T8" fmla="*/ 25 w 80"/>
                  <a:gd name="T9" fmla="*/ 21 h 113"/>
                  <a:gd name="T10" fmla="*/ 22 w 80"/>
                  <a:gd name="T11" fmla="*/ 13 h 113"/>
                  <a:gd name="T12" fmla="*/ 17 w 80"/>
                  <a:gd name="T13" fmla="*/ 10 h 113"/>
                  <a:gd name="T14" fmla="*/ 11 w 80"/>
                  <a:gd name="T15" fmla="*/ 8 h 113"/>
                  <a:gd name="T16" fmla="*/ 3 w 80"/>
                  <a:gd name="T17" fmla="*/ 1 h 113"/>
                  <a:gd name="T18" fmla="*/ 5 w 80"/>
                  <a:gd name="T19" fmla="*/ 8 h 113"/>
                  <a:gd name="T20" fmla="*/ 9 w 80"/>
                  <a:gd name="T21" fmla="*/ 17 h 113"/>
                  <a:gd name="T22" fmla="*/ 9 w 80"/>
                  <a:gd name="T23" fmla="*/ 17 h 113"/>
                  <a:gd name="T24" fmla="*/ 17 w 80"/>
                  <a:gd name="T25" fmla="*/ 26 h 113"/>
                  <a:gd name="T26" fmla="*/ 22 w 80"/>
                  <a:gd name="T27" fmla="*/ 26 h 113"/>
                  <a:gd name="T28" fmla="*/ 21 w 80"/>
                  <a:gd name="T29" fmla="*/ 29 h 113"/>
                  <a:gd name="T30" fmla="*/ 20 w 80"/>
                  <a:gd name="T31" fmla="*/ 30 h 113"/>
                  <a:gd name="T32" fmla="*/ 24 w 80"/>
                  <a:gd name="T33" fmla="*/ 37 h 113"/>
                  <a:gd name="T34" fmla="*/ 27 w 80"/>
                  <a:gd name="T35" fmla="*/ 43 h 113"/>
                  <a:gd name="T36" fmla="*/ 28 w 80"/>
                  <a:gd name="T37" fmla="*/ 47 h 113"/>
                  <a:gd name="T38" fmla="*/ 28 w 80"/>
                  <a:gd name="T39" fmla="*/ 53 h 113"/>
                  <a:gd name="T40" fmla="*/ 26 w 80"/>
                  <a:gd name="T41" fmla="*/ 62 h 113"/>
                  <a:gd name="T42" fmla="*/ 25 w 80"/>
                  <a:gd name="T43" fmla="*/ 69 h 113"/>
                  <a:gd name="T44" fmla="*/ 18 w 80"/>
                  <a:gd name="T45" fmla="*/ 72 h 113"/>
                  <a:gd name="T46" fmla="*/ 14 w 80"/>
                  <a:gd name="T47" fmla="*/ 77 h 113"/>
                  <a:gd name="T48" fmla="*/ 18 w 80"/>
                  <a:gd name="T49" fmla="*/ 80 h 113"/>
                  <a:gd name="T50" fmla="*/ 24 w 80"/>
                  <a:gd name="T51" fmla="*/ 83 h 113"/>
                  <a:gd name="T52" fmla="*/ 29 w 80"/>
                  <a:gd name="T53" fmla="*/ 86 h 113"/>
                  <a:gd name="T54" fmla="*/ 34 w 80"/>
                  <a:gd name="T55" fmla="*/ 90 h 113"/>
                  <a:gd name="T56" fmla="*/ 34 w 80"/>
                  <a:gd name="T57" fmla="*/ 98 h 113"/>
                  <a:gd name="T58" fmla="*/ 29 w 80"/>
                  <a:gd name="T59" fmla="*/ 104 h 113"/>
                  <a:gd name="T60" fmla="*/ 27 w 80"/>
                  <a:gd name="T61" fmla="*/ 107 h 113"/>
                  <a:gd name="T62" fmla="*/ 29 w 80"/>
                  <a:gd name="T63" fmla="*/ 111 h 113"/>
                  <a:gd name="T64" fmla="*/ 34 w 80"/>
                  <a:gd name="T65" fmla="*/ 112 h 113"/>
                  <a:gd name="T66" fmla="*/ 43 w 80"/>
                  <a:gd name="T67" fmla="*/ 109 h 113"/>
                  <a:gd name="T68" fmla="*/ 48 w 80"/>
                  <a:gd name="T69" fmla="*/ 100 h 113"/>
                  <a:gd name="T70" fmla="*/ 52 w 80"/>
                  <a:gd name="T71" fmla="*/ 96 h 113"/>
                  <a:gd name="T72" fmla="*/ 56 w 80"/>
                  <a:gd name="T73" fmla="*/ 90 h 113"/>
                  <a:gd name="T74" fmla="*/ 56 w 80"/>
                  <a:gd name="T75" fmla="*/ 78 h 113"/>
                  <a:gd name="T76" fmla="*/ 61 w 80"/>
                  <a:gd name="T77" fmla="*/ 73 h 113"/>
                  <a:gd name="T78" fmla="*/ 69 w 80"/>
                  <a:gd name="T79" fmla="*/ 72 h 113"/>
                  <a:gd name="T80" fmla="*/ 71 w 80"/>
                  <a:gd name="T81" fmla="*/ 71 h 113"/>
                  <a:gd name="T82" fmla="*/ 73 w 80"/>
                  <a:gd name="T83" fmla="*/ 66 h 113"/>
                  <a:gd name="T84" fmla="*/ 77 w 80"/>
                  <a:gd name="T85" fmla="*/ 61 h 113"/>
                  <a:gd name="T86" fmla="*/ 78 w 80"/>
                  <a:gd name="T87" fmla="*/ 52 h 113"/>
                  <a:gd name="T88" fmla="*/ 74 w 80"/>
                  <a:gd name="T89" fmla="*/ 48 h 113"/>
                  <a:gd name="T90" fmla="*/ 67 w 80"/>
                  <a:gd name="T91" fmla="*/ 54 h 113"/>
                  <a:gd name="T92" fmla="*/ 60 w 80"/>
                  <a:gd name="T93" fmla="*/ 55 h 113"/>
                  <a:gd name="T94" fmla="*/ 47 w 80"/>
                  <a:gd name="T95" fmla="*/ 51 h 113"/>
                  <a:gd name="T96" fmla="*/ 44 w 80"/>
                  <a:gd name="T97" fmla="*/ 46 h 113"/>
                  <a:gd name="T98" fmla="*/ 44 w 80"/>
                  <a:gd name="T99" fmla="*/ 40 h 113"/>
                  <a:gd name="T100" fmla="*/ 41 w 80"/>
                  <a:gd name="T101" fmla="*/ 35 h 113"/>
                  <a:gd name="T102" fmla="*/ 37 w 80"/>
                  <a:gd name="T103" fmla="*/ 36 h 113"/>
                  <a:gd name="T104" fmla="*/ 36 w 80"/>
                  <a:gd name="T105" fmla="*/ 43 h 113"/>
                  <a:gd name="T106" fmla="*/ 30 w 80"/>
                  <a:gd name="T107" fmla="*/ 38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80" h="113">
                    <a:moveTo>
                      <a:pt x="30" y="38"/>
                    </a:moveTo>
                    <a:lnTo>
                      <a:pt x="27" y="37"/>
                    </a:lnTo>
                    <a:lnTo>
                      <a:pt x="28" y="36"/>
                    </a:lnTo>
                    <a:lnTo>
                      <a:pt x="28" y="34"/>
                    </a:lnTo>
                    <a:lnTo>
                      <a:pt x="28" y="34"/>
                    </a:lnTo>
                    <a:lnTo>
                      <a:pt x="28" y="30"/>
                    </a:lnTo>
                    <a:lnTo>
                      <a:pt x="28" y="28"/>
                    </a:lnTo>
                    <a:lnTo>
                      <a:pt x="26" y="26"/>
                    </a:lnTo>
                    <a:lnTo>
                      <a:pt x="22" y="20"/>
                    </a:lnTo>
                    <a:lnTo>
                      <a:pt x="25" y="21"/>
                    </a:lnTo>
                    <a:lnTo>
                      <a:pt x="24" y="17"/>
                    </a:lnTo>
                    <a:lnTo>
                      <a:pt x="22" y="13"/>
                    </a:lnTo>
                    <a:lnTo>
                      <a:pt x="20" y="12"/>
                    </a:lnTo>
                    <a:lnTo>
                      <a:pt x="17" y="10"/>
                    </a:lnTo>
                    <a:lnTo>
                      <a:pt x="14" y="9"/>
                    </a:lnTo>
                    <a:lnTo>
                      <a:pt x="11" y="8"/>
                    </a:lnTo>
                    <a:lnTo>
                      <a:pt x="7" y="5"/>
                    </a:lnTo>
                    <a:lnTo>
                      <a:pt x="3" y="1"/>
                    </a:lnTo>
                    <a:lnTo>
                      <a:pt x="0" y="0"/>
                    </a:lnTo>
                    <a:lnTo>
                      <a:pt x="5" y="8"/>
                    </a:lnTo>
                    <a:lnTo>
                      <a:pt x="7" y="13"/>
                    </a:lnTo>
                    <a:lnTo>
                      <a:pt x="9" y="17"/>
                    </a:lnTo>
                    <a:lnTo>
                      <a:pt x="11" y="13"/>
                    </a:lnTo>
                    <a:lnTo>
                      <a:pt x="9" y="17"/>
                    </a:lnTo>
                    <a:lnTo>
                      <a:pt x="17" y="28"/>
                    </a:lnTo>
                    <a:lnTo>
                      <a:pt x="17" y="26"/>
                    </a:lnTo>
                    <a:lnTo>
                      <a:pt x="20" y="27"/>
                    </a:lnTo>
                    <a:lnTo>
                      <a:pt x="22" y="26"/>
                    </a:lnTo>
                    <a:lnTo>
                      <a:pt x="24" y="28"/>
                    </a:lnTo>
                    <a:lnTo>
                      <a:pt x="21" y="29"/>
                    </a:lnTo>
                    <a:lnTo>
                      <a:pt x="24" y="31"/>
                    </a:lnTo>
                    <a:lnTo>
                      <a:pt x="20" y="30"/>
                    </a:lnTo>
                    <a:lnTo>
                      <a:pt x="20" y="31"/>
                    </a:lnTo>
                    <a:lnTo>
                      <a:pt x="24" y="37"/>
                    </a:lnTo>
                    <a:lnTo>
                      <a:pt x="29" y="39"/>
                    </a:lnTo>
                    <a:lnTo>
                      <a:pt x="27" y="43"/>
                    </a:lnTo>
                    <a:lnTo>
                      <a:pt x="28" y="45"/>
                    </a:lnTo>
                    <a:lnTo>
                      <a:pt x="28" y="47"/>
                    </a:lnTo>
                    <a:lnTo>
                      <a:pt x="28" y="51"/>
                    </a:lnTo>
                    <a:lnTo>
                      <a:pt x="28" y="53"/>
                    </a:lnTo>
                    <a:lnTo>
                      <a:pt x="28" y="55"/>
                    </a:lnTo>
                    <a:lnTo>
                      <a:pt x="26" y="62"/>
                    </a:lnTo>
                    <a:lnTo>
                      <a:pt x="26" y="66"/>
                    </a:lnTo>
                    <a:lnTo>
                      <a:pt x="25" y="69"/>
                    </a:lnTo>
                    <a:lnTo>
                      <a:pt x="22" y="71"/>
                    </a:lnTo>
                    <a:lnTo>
                      <a:pt x="18" y="72"/>
                    </a:lnTo>
                    <a:lnTo>
                      <a:pt x="14" y="73"/>
                    </a:lnTo>
                    <a:lnTo>
                      <a:pt x="14" y="77"/>
                    </a:lnTo>
                    <a:lnTo>
                      <a:pt x="16" y="79"/>
                    </a:lnTo>
                    <a:lnTo>
                      <a:pt x="18" y="80"/>
                    </a:lnTo>
                    <a:lnTo>
                      <a:pt x="21" y="81"/>
                    </a:lnTo>
                    <a:lnTo>
                      <a:pt x="24" y="83"/>
                    </a:lnTo>
                    <a:lnTo>
                      <a:pt x="26" y="85"/>
                    </a:lnTo>
                    <a:lnTo>
                      <a:pt x="29" y="86"/>
                    </a:lnTo>
                    <a:lnTo>
                      <a:pt x="31" y="87"/>
                    </a:lnTo>
                    <a:lnTo>
                      <a:pt x="34" y="90"/>
                    </a:lnTo>
                    <a:lnTo>
                      <a:pt x="35" y="91"/>
                    </a:lnTo>
                    <a:lnTo>
                      <a:pt x="34" y="98"/>
                    </a:lnTo>
                    <a:lnTo>
                      <a:pt x="31" y="102"/>
                    </a:lnTo>
                    <a:lnTo>
                      <a:pt x="29" y="104"/>
                    </a:lnTo>
                    <a:lnTo>
                      <a:pt x="29" y="105"/>
                    </a:lnTo>
                    <a:lnTo>
                      <a:pt x="27" y="107"/>
                    </a:lnTo>
                    <a:lnTo>
                      <a:pt x="28" y="107"/>
                    </a:lnTo>
                    <a:lnTo>
                      <a:pt x="29" y="111"/>
                    </a:lnTo>
                    <a:lnTo>
                      <a:pt x="33" y="109"/>
                    </a:lnTo>
                    <a:lnTo>
                      <a:pt x="34" y="112"/>
                    </a:lnTo>
                    <a:lnTo>
                      <a:pt x="36" y="113"/>
                    </a:lnTo>
                    <a:lnTo>
                      <a:pt x="43" y="109"/>
                    </a:lnTo>
                    <a:lnTo>
                      <a:pt x="45" y="106"/>
                    </a:lnTo>
                    <a:lnTo>
                      <a:pt x="48" y="100"/>
                    </a:lnTo>
                    <a:lnTo>
                      <a:pt x="48" y="99"/>
                    </a:lnTo>
                    <a:lnTo>
                      <a:pt x="52" y="96"/>
                    </a:lnTo>
                    <a:lnTo>
                      <a:pt x="54" y="92"/>
                    </a:lnTo>
                    <a:lnTo>
                      <a:pt x="56" y="90"/>
                    </a:lnTo>
                    <a:lnTo>
                      <a:pt x="59" y="83"/>
                    </a:lnTo>
                    <a:lnTo>
                      <a:pt x="56" y="78"/>
                    </a:lnTo>
                    <a:lnTo>
                      <a:pt x="59" y="75"/>
                    </a:lnTo>
                    <a:lnTo>
                      <a:pt x="61" y="73"/>
                    </a:lnTo>
                    <a:lnTo>
                      <a:pt x="64" y="72"/>
                    </a:lnTo>
                    <a:lnTo>
                      <a:pt x="69" y="72"/>
                    </a:lnTo>
                    <a:lnTo>
                      <a:pt x="71" y="74"/>
                    </a:lnTo>
                    <a:lnTo>
                      <a:pt x="71" y="71"/>
                    </a:lnTo>
                    <a:lnTo>
                      <a:pt x="71" y="66"/>
                    </a:lnTo>
                    <a:lnTo>
                      <a:pt x="73" y="66"/>
                    </a:lnTo>
                    <a:lnTo>
                      <a:pt x="76" y="63"/>
                    </a:lnTo>
                    <a:lnTo>
                      <a:pt x="77" y="61"/>
                    </a:lnTo>
                    <a:lnTo>
                      <a:pt x="77" y="55"/>
                    </a:lnTo>
                    <a:lnTo>
                      <a:pt x="78" y="52"/>
                    </a:lnTo>
                    <a:lnTo>
                      <a:pt x="80" y="49"/>
                    </a:lnTo>
                    <a:lnTo>
                      <a:pt x="74" y="48"/>
                    </a:lnTo>
                    <a:lnTo>
                      <a:pt x="69" y="51"/>
                    </a:lnTo>
                    <a:lnTo>
                      <a:pt x="67" y="54"/>
                    </a:lnTo>
                    <a:lnTo>
                      <a:pt x="63" y="55"/>
                    </a:lnTo>
                    <a:lnTo>
                      <a:pt x="60" y="55"/>
                    </a:lnTo>
                    <a:lnTo>
                      <a:pt x="50" y="51"/>
                    </a:lnTo>
                    <a:lnTo>
                      <a:pt x="47" y="51"/>
                    </a:lnTo>
                    <a:lnTo>
                      <a:pt x="45" y="48"/>
                    </a:lnTo>
                    <a:lnTo>
                      <a:pt x="44" y="46"/>
                    </a:lnTo>
                    <a:lnTo>
                      <a:pt x="43" y="43"/>
                    </a:lnTo>
                    <a:lnTo>
                      <a:pt x="44" y="40"/>
                    </a:lnTo>
                    <a:lnTo>
                      <a:pt x="43" y="38"/>
                    </a:lnTo>
                    <a:lnTo>
                      <a:pt x="41" y="35"/>
                    </a:lnTo>
                    <a:lnTo>
                      <a:pt x="37" y="34"/>
                    </a:lnTo>
                    <a:lnTo>
                      <a:pt x="37" y="36"/>
                    </a:lnTo>
                    <a:lnTo>
                      <a:pt x="38" y="42"/>
                    </a:lnTo>
                    <a:lnTo>
                      <a:pt x="36" y="43"/>
                    </a:lnTo>
                    <a:lnTo>
                      <a:pt x="33" y="38"/>
                    </a:lnTo>
                    <a:lnTo>
                      <a:pt x="30" y="38"/>
                    </a:lnTo>
                    <a:lnTo>
                      <a:pt x="30" y="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37" name="Freeform 203">
                <a:extLst>
                  <a:ext uri="{FF2B5EF4-FFF2-40B4-BE49-F238E27FC236}">
                    <a16:creationId xmlns:a16="http://schemas.microsoft.com/office/drawing/2014/main" id="{E2D45C62-977E-4D27-9E96-1D9F4B927E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91" y="1740"/>
                <a:ext cx="94" cy="62"/>
              </a:xfrm>
              <a:custGeom>
                <a:avLst/>
                <a:gdLst>
                  <a:gd name="T0" fmla="*/ 52 w 94"/>
                  <a:gd name="T1" fmla="*/ 19 h 62"/>
                  <a:gd name="T2" fmla="*/ 56 w 94"/>
                  <a:gd name="T3" fmla="*/ 22 h 62"/>
                  <a:gd name="T4" fmla="*/ 63 w 94"/>
                  <a:gd name="T5" fmla="*/ 26 h 62"/>
                  <a:gd name="T6" fmla="*/ 69 w 94"/>
                  <a:gd name="T7" fmla="*/ 27 h 62"/>
                  <a:gd name="T8" fmla="*/ 74 w 94"/>
                  <a:gd name="T9" fmla="*/ 35 h 62"/>
                  <a:gd name="T10" fmla="*/ 73 w 94"/>
                  <a:gd name="T11" fmla="*/ 43 h 62"/>
                  <a:gd name="T12" fmla="*/ 79 w 94"/>
                  <a:gd name="T13" fmla="*/ 40 h 62"/>
                  <a:gd name="T14" fmla="*/ 87 w 94"/>
                  <a:gd name="T15" fmla="*/ 40 h 62"/>
                  <a:gd name="T16" fmla="*/ 89 w 94"/>
                  <a:gd name="T17" fmla="*/ 45 h 62"/>
                  <a:gd name="T18" fmla="*/ 94 w 94"/>
                  <a:gd name="T19" fmla="*/ 48 h 62"/>
                  <a:gd name="T20" fmla="*/ 84 w 94"/>
                  <a:gd name="T21" fmla="*/ 54 h 62"/>
                  <a:gd name="T22" fmla="*/ 72 w 94"/>
                  <a:gd name="T23" fmla="*/ 50 h 62"/>
                  <a:gd name="T24" fmla="*/ 67 w 94"/>
                  <a:gd name="T25" fmla="*/ 49 h 62"/>
                  <a:gd name="T26" fmla="*/ 65 w 94"/>
                  <a:gd name="T27" fmla="*/ 44 h 62"/>
                  <a:gd name="T28" fmla="*/ 56 w 94"/>
                  <a:gd name="T29" fmla="*/ 41 h 62"/>
                  <a:gd name="T30" fmla="*/ 54 w 94"/>
                  <a:gd name="T31" fmla="*/ 39 h 62"/>
                  <a:gd name="T32" fmla="*/ 48 w 94"/>
                  <a:gd name="T33" fmla="*/ 41 h 62"/>
                  <a:gd name="T34" fmla="*/ 47 w 94"/>
                  <a:gd name="T35" fmla="*/ 47 h 62"/>
                  <a:gd name="T36" fmla="*/ 42 w 94"/>
                  <a:gd name="T37" fmla="*/ 52 h 62"/>
                  <a:gd name="T38" fmla="*/ 37 w 94"/>
                  <a:gd name="T39" fmla="*/ 54 h 62"/>
                  <a:gd name="T40" fmla="*/ 30 w 94"/>
                  <a:gd name="T41" fmla="*/ 60 h 62"/>
                  <a:gd name="T42" fmla="*/ 25 w 94"/>
                  <a:gd name="T43" fmla="*/ 62 h 62"/>
                  <a:gd name="T44" fmla="*/ 21 w 94"/>
                  <a:gd name="T45" fmla="*/ 58 h 62"/>
                  <a:gd name="T46" fmla="*/ 21 w 94"/>
                  <a:gd name="T47" fmla="*/ 50 h 62"/>
                  <a:gd name="T48" fmla="*/ 19 w 94"/>
                  <a:gd name="T49" fmla="*/ 48 h 62"/>
                  <a:gd name="T50" fmla="*/ 13 w 94"/>
                  <a:gd name="T51" fmla="*/ 50 h 62"/>
                  <a:gd name="T52" fmla="*/ 5 w 94"/>
                  <a:gd name="T53" fmla="*/ 52 h 62"/>
                  <a:gd name="T54" fmla="*/ 0 w 94"/>
                  <a:gd name="T55" fmla="*/ 52 h 62"/>
                  <a:gd name="T56" fmla="*/ 3 w 94"/>
                  <a:gd name="T57" fmla="*/ 46 h 62"/>
                  <a:gd name="T58" fmla="*/ 11 w 94"/>
                  <a:gd name="T59" fmla="*/ 41 h 62"/>
                  <a:gd name="T60" fmla="*/ 11 w 94"/>
                  <a:gd name="T61" fmla="*/ 36 h 62"/>
                  <a:gd name="T62" fmla="*/ 14 w 94"/>
                  <a:gd name="T63" fmla="*/ 22 h 62"/>
                  <a:gd name="T64" fmla="*/ 14 w 94"/>
                  <a:gd name="T65" fmla="*/ 17 h 62"/>
                  <a:gd name="T66" fmla="*/ 14 w 94"/>
                  <a:gd name="T67" fmla="*/ 9 h 62"/>
                  <a:gd name="T68" fmla="*/ 19 w 94"/>
                  <a:gd name="T69" fmla="*/ 1 h 62"/>
                  <a:gd name="T70" fmla="*/ 27 w 94"/>
                  <a:gd name="T71" fmla="*/ 4 h 62"/>
                  <a:gd name="T72" fmla="*/ 27 w 94"/>
                  <a:gd name="T73" fmla="*/ 10 h 62"/>
                  <a:gd name="T74" fmla="*/ 30 w 94"/>
                  <a:gd name="T75" fmla="*/ 14 h 62"/>
                  <a:gd name="T76" fmla="*/ 35 w 94"/>
                  <a:gd name="T77" fmla="*/ 11 h 62"/>
                  <a:gd name="T78" fmla="*/ 42 w 94"/>
                  <a:gd name="T79" fmla="*/ 15 h 62"/>
                  <a:gd name="T80" fmla="*/ 50 w 94"/>
                  <a:gd name="T81" fmla="*/ 17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94" h="62">
                    <a:moveTo>
                      <a:pt x="50" y="17"/>
                    </a:moveTo>
                    <a:lnTo>
                      <a:pt x="52" y="19"/>
                    </a:lnTo>
                    <a:lnTo>
                      <a:pt x="54" y="21"/>
                    </a:lnTo>
                    <a:lnTo>
                      <a:pt x="56" y="22"/>
                    </a:lnTo>
                    <a:lnTo>
                      <a:pt x="61" y="26"/>
                    </a:lnTo>
                    <a:lnTo>
                      <a:pt x="63" y="26"/>
                    </a:lnTo>
                    <a:lnTo>
                      <a:pt x="67" y="26"/>
                    </a:lnTo>
                    <a:lnTo>
                      <a:pt x="69" y="27"/>
                    </a:lnTo>
                    <a:lnTo>
                      <a:pt x="74" y="31"/>
                    </a:lnTo>
                    <a:lnTo>
                      <a:pt x="74" y="35"/>
                    </a:lnTo>
                    <a:lnTo>
                      <a:pt x="76" y="39"/>
                    </a:lnTo>
                    <a:lnTo>
                      <a:pt x="73" y="43"/>
                    </a:lnTo>
                    <a:lnTo>
                      <a:pt x="76" y="41"/>
                    </a:lnTo>
                    <a:lnTo>
                      <a:pt x="79" y="40"/>
                    </a:lnTo>
                    <a:lnTo>
                      <a:pt x="85" y="43"/>
                    </a:lnTo>
                    <a:lnTo>
                      <a:pt x="87" y="40"/>
                    </a:lnTo>
                    <a:lnTo>
                      <a:pt x="90" y="43"/>
                    </a:lnTo>
                    <a:lnTo>
                      <a:pt x="89" y="45"/>
                    </a:lnTo>
                    <a:lnTo>
                      <a:pt x="91" y="46"/>
                    </a:lnTo>
                    <a:lnTo>
                      <a:pt x="94" y="48"/>
                    </a:lnTo>
                    <a:lnTo>
                      <a:pt x="91" y="49"/>
                    </a:lnTo>
                    <a:lnTo>
                      <a:pt x="84" y="54"/>
                    </a:lnTo>
                    <a:lnTo>
                      <a:pt x="78" y="52"/>
                    </a:lnTo>
                    <a:lnTo>
                      <a:pt x="72" y="50"/>
                    </a:lnTo>
                    <a:lnTo>
                      <a:pt x="70" y="49"/>
                    </a:lnTo>
                    <a:lnTo>
                      <a:pt x="67" y="49"/>
                    </a:lnTo>
                    <a:lnTo>
                      <a:pt x="64" y="49"/>
                    </a:lnTo>
                    <a:lnTo>
                      <a:pt x="65" y="44"/>
                    </a:lnTo>
                    <a:lnTo>
                      <a:pt x="60" y="43"/>
                    </a:lnTo>
                    <a:lnTo>
                      <a:pt x="56" y="41"/>
                    </a:lnTo>
                    <a:lnTo>
                      <a:pt x="56" y="38"/>
                    </a:lnTo>
                    <a:lnTo>
                      <a:pt x="54" y="39"/>
                    </a:lnTo>
                    <a:lnTo>
                      <a:pt x="51" y="39"/>
                    </a:lnTo>
                    <a:lnTo>
                      <a:pt x="48" y="41"/>
                    </a:lnTo>
                    <a:lnTo>
                      <a:pt x="48" y="45"/>
                    </a:lnTo>
                    <a:lnTo>
                      <a:pt x="47" y="47"/>
                    </a:lnTo>
                    <a:lnTo>
                      <a:pt x="45" y="48"/>
                    </a:lnTo>
                    <a:lnTo>
                      <a:pt x="42" y="52"/>
                    </a:lnTo>
                    <a:lnTo>
                      <a:pt x="39" y="52"/>
                    </a:lnTo>
                    <a:lnTo>
                      <a:pt x="37" y="54"/>
                    </a:lnTo>
                    <a:lnTo>
                      <a:pt x="36" y="56"/>
                    </a:lnTo>
                    <a:lnTo>
                      <a:pt x="30" y="60"/>
                    </a:lnTo>
                    <a:lnTo>
                      <a:pt x="28" y="61"/>
                    </a:lnTo>
                    <a:lnTo>
                      <a:pt x="25" y="62"/>
                    </a:lnTo>
                    <a:lnTo>
                      <a:pt x="22" y="61"/>
                    </a:lnTo>
                    <a:lnTo>
                      <a:pt x="21" y="58"/>
                    </a:lnTo>
                    <a:lnTo>
                      <a:pt x="21" y="56"/>
                    </a:lnTo>
                    <a:lnTo>
                      <a:pt x="21" y="50"/>
                    </a:lnTo>
                    <a:lnTo>
                      <a:pt x="20" y="47"/>
                    </a:lnTo>
                    <a:lnTo>
                      <a:pt x="19" y="48"/>
                    </a:lnTo>
                    <a:lnTo>
                      <a:pt x="16" y="49"/>
                    </a:lnTo>
                    <a:lnTo>
                      <a:pt x="13" y="50"/>
                    </a:lnTo>
                    <a:lnTo>
                      <a:pt x="8" y="49"/>
                    </a:lnTo>
                    <a:lnTo>
                      <a:pt x="5" y="52"/>
                    </a:lnTo>
                    <a:lnTo>
                      <a:pt x="3" y="52"/>
                    </a:lnTo>
                    <a:lnTo>
                      <a:pt x="0" y="52"/>
                    </a:lnTo>
                    <a:lnTo>
                      <a:pt x="0" y="48"/>
                    </a:lnTo>
                    <a:lnTo>
                      <a:pt x="3" y="46"/>
                    </a:lnTo>
                    <a:lnTo>
                      <a:pt x="5" y="44"/>
                    </a:lnTo>
                    <a:lnTo>
                      <a:pt x="11" y="41"/>
                    </a:lnTo>
                    <a:lnTo>
                      <a:pt x="13" y="39"/>
                    </a:lnTo>
                    <a:lnTo>
                      <a:pt x="11" y="36"/>
                    </a:lnTo>
                    <a:lnTo>
                      <a:pt x="11" y="28"/>
                    </a:lnTo>
                    <a:lnTo>
                      <a:pt x="14" y="22"/>
                    </a:lnTo>
                    <a:lnTo>
                      <a:pt x="13" y="20"/>
                    </a:lnTo>
                    <a:lnTo>
                      <a:pt x="14" y="17"/>
                    </a:lnTo>
                    <a:lnTo>
                      <a:pt x="13" y="14"/>
                    </a:lnTo>
                    <a:lnTo>
                      <a:pt x="14" y="9"/>
                    </a:lnTo>
                    <a:lnTo>
                      <a:pt x="17" y="4"/>
                    </a:lnTo>
                    <a:lnTo>
                      <a:pt x="19" y="1"/>
                    </a:lnTo>
                    <a:lnTo>
                      <a:pt x="22" y="0"/>
                    </a:lnTo>
                    <a:lnTo>
                      <a:pt x="27" y="4"/>
                    </a:lnTo>
                    <a:lnTo>
                      <a:pt x="29" y="6"/>
                    </a:lnTo>
                    <a:lnTo>
                      <a:pt x="27" y="10"/>
                    </a:lnTo>
                    <a:lnTo>
                      <a:pt x="29" y="12"/>
                    </a:lnTo>
                    <a:lnTo>
                      <a:pt x="30" y="14"/>
                    </a:lnTo>
                    <a:lnTo>
                      <a:pt x="34" y="13"/>
                    </a:lnTo>
                    <a:lnTo>
                      <a:pt x="35" y="11"/>
                    </a:lnTo>
                    <a:lnTo>
                      <a:pt x="40" y="12"/>
                    </a:lnTo>
                    <a:lnTo>
                      <a:pt x="42" y="15"/>
                    </a:lnTo>
                    <a:lnTo>
                      <a:pt x="46" y="17"/>
                    </a:lnTo>
                    <a:lnTo>
                      <a:pt x="50" y="17"/>
                    </a:lnTo>
                    <a:lnTo>
                      <a:pt x="50" y="1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38" name="Freeform 204">
                <a:extLst>
                  <a:ext uri="{FF2B5EF4-FFF2-40B4-BE49-F238E27FC236}">
                    <a16:creationId xmlns:a16="http://schemas.microsoft.com/office/drawing/2014/main" id="{77B46D1F-07FF-4500-94D6-1AF3B6AE35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77" y="2670"/>
                <a:ext cx="29" cy="55"/>
              </a:xfrm>
              <a:custGeom>
                <a:avLst/>
                <a:gdLst>
                  <a:gd name="T0" fmla="*/ 11 w 29"/>
                  <a:gd name="T1" fmla="*/ 55 h 55"/>
                  <a:gd name="T2" fmla="*/ 14 w 29"/>
                  <a:gd name="T3" fmla="*/ 52 h 55"/>
                  <a:gd name="T4" fmla="*/ 18 w 29"/>
                  <a:gd name="T5" fmla="*/ 51 h 55"/>
                  <a:gd name="T6" fmla="*/ 21 w 29"/>
                  <a:gd name="T7" fmla="*/ 51 h 55"/>
                  <a:gd name="T8" fmla="*/ 27 w 29"/>
                  <a:gd name="T9" fmla="*/ 47 h 55"/>
                  <a:gd name="T10" fmla="*/ 29 w 29"/>
                  <a:gd name="T11" fmla="*/ 41 h 55"/>
                  <a:gd name="T12" fmla="*/ 29 w 29"/>
                  <a:gd name="T13" fmla="*/ 35 h 55"/>
                  <a:gd name="T14" fmla="*/ 28 w 29"/>
                  <a:gd name="T15" fmla="*/ 33 h 55"/>
                  <a:gd name="T16" fmla="*/ 28 w 29"/>
                  <a:gd name="T17" fmla="*/ 33 h 55"/>
                  <a:gd name="T18" fmla="*/ 27 w 29"/>
                  <a:gd name="T19" fmla="*/ 30 h 55"/>
                  <a:gd name="T20" fmla="*/ 24 w 29"/>
                  <a:gd name="T21" fmla="*/ 26 h 55"/>
                  <a:gd name="T22" fmla="*/ 22 w 29"/>
                  <a:gd name="T23" fmla="*/ 22 h 55"/>
                  <a:gd name="T24" fmla="*/ 20 w 29"/>
                  <a:gd name="T25" fmla="*/ 19 h 55"/>
                  <a:gd name="T26" fmla="*/ 18 w 29"/>
                  <a:gd name="T27" fmla="*/ 13 h 55"/>
                  <a:gd name="T28" fmla="*/ 15 w 29"/>
                  <a:gd name="T29" fmla="*/ 11 h 55"/>
                  <a:gd name="T30" fmla="*/ 12 w 29"/>
                  <a:gd name="T31" fmla="*/ 6 h 55"/>
                  <a:gd name="T32" fmla="*/ 4 w 29"/>
                  <a:gd name="T33" fmla="*/ 0 h 55"/>
                  <a:gd name="T34" fmla="*/ 3 w 29"/>
                  <a:gd name="T35" fmla="*/ 3 h 55"/>
                  <a:gd name="T36" fmla="*/ 6 w 29"/>
                  <a:gd name="T37" fmla="*/ 4 h 55"/>
                  <a:gd name="T38" fmla="*/ 9 w 29"/>
                  <a:gd name="T39" fmla="*/ 5 h 55"/>
                  <a:gd name="T40" fmla="*/ 9 w 29"/>
                  <a:gd name="T41" fmla="*/ 5 h 55"/>
                  <a:gd name="T42" fmla="*/ 6 w 29"/>
                  <a:gd name="T43" fmla="*/ 5 h 55"/>
                  <a:gd name="T44" fmla="*/ 4 w 29"/>
                  <a:gd name="T45" fmla="*/ 7 h 55"/>
                  <a:gd name="T46" fmla="*/ 4 w 29"/>
                  <a:gd name="T47" fmla="*/ 9 h 55"/>
                  <a:gd name="T48" fmla="*/ 2 w 29"/>
                  <a:gd name="T49" fmla="*/ 13 h 55"/>
                  <a:gd name="T50" fmla="*/ 3 w 29"/>
                  <a:gd name="T51" fmla="*/ 15 h 55"/>
                  <a:gd name="T52" fmla="*/ 2 w 29"/>
                  <a:gd name="T53" fmla="*/ 20 h 55"/>
                  <a:gd name="T54" fmla="*/ 1 w 29"/>
                  <a:gd name="T55" fmla="*/ 23 h 55"/>
                  <a:gd name="T56" fmla="*/ 1 w 29"/>
                  <a:gd name="T57" fmla="*/ 26 h 55"/>
                  <a:gd name="T58" fmla="*/ 0 w 29"/>
                  <a:gd name="T59" fmla="*/ 23 h 55"/>
                  <a:gd name="T60" fmla="*/ 0 w 29"/>
                  <a:gd name="T61" fmla="*/ 29 h 55"/>
                  <a:gd name="T62" fmla="*/ 1 w 29"/>
                  <a:gd name="T63" fmla="*/ 33 h 55"/>
                  <a:gd name="T64" fmla="*/ 1 w 29"/>
                  <a:gd name="T65" fmla="*/ 38 h 55"/>
                  <a:gd name="T66" fmla="*/ 1 w 29"/>
                  <a:gd name="T67" fmla="*/ 41 h 55"/>
                  <a:gd name="T68" fmla="*/ 3 w 29"/>
                  <a:gd name="T69" fmla="*/ 46 h 55"/>
                  <a:gd name="T70" fmla="*/ 3 w 29"/>
                  <a:gd name="T71" fmla="*/ 48 h 55"/>
                  <a:gd name="T72" fmla="*/ 5 w 29"/>
                  <a:gd name="T73" fmla="*/ 52 h 55"/>
                  <a:gd name="T74" fmla="*/ 9 w 29"/>
                  <a:gd name="T75" fmla="*/ 54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29" h="55">
                    <a:moveTo>
                      <a:pt x="9" y="54"/>
                    </a:moveTo>
                    <a:lnTo>
                      <a:pt x="11" y="55"/>
                    </a:lnTo>
                    <a:lnTo>
                      <a:pt x="13" y="54"/>
                    </a:lnTo>
                    <a:lnTo>
                      <a:pt x="14" y="52"/>
                    </a:lnTo>
                    <a:lnTo>
                      <a:pt x="17" y="51"/>
                    </a:lnTo>
                    <a:lnTo>
                      <a:pt x="18" y="51"/>
                    </a:lnTo>
                    <a:lnTo>
                      <a:pt x="21" y="51"/>
                    </a:lnTo>
                    <a:lnTo>
                      <a:pt x="21" y="51"/>
                    </a:lnTo>
                    <a:lnTo>
                      <a:pt x="27" y="47"/>
                    </a:lnTo>
                    <a:lnTo>
                      <a:pt x="27" y="47"/>
                    </a:lnTo>
                    <a:lnTo>
                      <a:pt x="28" y="43"/>
                    </a:lnTo>
                    <a:lnTo>
                      <a:pt x="29" y="41"/>
                    </a:lnTo>
                    <a:lnTo>
                      <a:pt x="29" y="39"/>
                    </a:lnTo>
                    <a:lnTo>
                      <a:pt x="29" y="35"/>
                    </a:lnTo>
                    <a:lnTo>
                      <a:pt x="28" y="33"/>
                    </a:lnTo>
                    <a:lnTo>
                      <a:pt x="28" y="33"/>
                    </a:lnTo>
                    <a:lnTo>
                      <a:pt x="28" y="33"/>
                    </a:lnTo>
                    <a:lnTo>
                      <a:pt x="28" y="33"/>
                    </a:lnTo>
                    <a:lnTo>
                      <a:pt x="28" y="32"/>
                    </a:lnTo>
                    <a:lnTo>
                      <a:pt x="27" y="30"/>
                    </a:lnTo>
                    <a:lnTo>
                      <a:pt x="27" y="30"/>
                    </a:lnTo>
                    <a:lnTo>
                      <a:pt x="24" y="26"/>
                    </a:lnTo>
                    <a:lnTo>
                      <a:pt x="23" y="25"/>
                    </a:lnTo>
                    <a:lnTo>
                      <a:pt x="22" y="22"/>
                    </a:lnTo>
                    <a:lnTo>
                      <a:pt x="20" y="20"/>
                    </a:lnTo>
                    <a:lnTo>
                      <a:pt x="20" y="19"/>
                    </a:lnTo>
                    <a:lnTo>
                      <a:pt x="19" y="16"/>
                    </a:lnTo>
                    <a:lnTo>
                      <a:pt x="18" y="13"/>
                    </a:lnTo>
                    <a:lnTo>
                      <a:pt x="15" y="13"/>
                    </a:lnTo>
                    <a:lnTo>
                      <a:pt x="15" y="11"/>
                    </a:lnTo>
                    <a:lnTo>
                      <a:pt x="14" y="8"/>
                    </a:lnTo>
                    <a:lnTo>
                      <a:pt x="12" y="6"/>
                    </a:lnTo>
                    <a:lnTo>
                      <a:pt x="6" y="3"/>
                    </a:lnTo>
                    <a:lnTo>
                      <a:pt x="4" y="0"/>
                    </a:lnTo>
                    <a:lnTo>
                      <a:pt x="3" y="0"/>
                    </a:lnTo>
                    <a:lnTo>
                      <a:pt x="3" y="3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9" y="5"/>
                    </a:lnTo>
                    <a:lnTo>
                      <a:pt x="9" y="5"/>
                    </a:lnTo>
                    <a:lnTo>
                      <a:pt x="10" y="5"/>
                    </a:lnTo>
                    <a:lnTo>
                      <a:pt x="9" y="5"/>
                    </a:lnTo>
                    <a:lnTo>
                      <a:pt x="9" y="5"/>
                    </a:lnTo>
                    <a:lnTo>
                      <a:pt x="6" y="5"/>
                    </a:lnTo>
                    <a:lnTo>
                      <a:pt x="4" y="4"/>
                    </a:lnTo>
                    <a:lnTo>
                      <a:pt x="4" y="7"/>
                    </a:lnTo>
                    <a:lnTo>
                      <a:pt x="5" y="9"/>
                    </a:lnTo>
                    <a:lnTo>
                      <a:pt x="4" y="9"/>
                    </a:lnTo>
                    <a:lnTo>
                      <a:pt x="3" y="12"/>
                    </a:lnTo>
                    <a:lnTo>
                      <a:pt x="2" y="13"/>
                    </a:lnTo>
                    <a:lnTo>
                      <a:pt x="2" y="15"/>
                    </a:lnTo>
                    <a:lnTo>
                      <a:pt x="3" y="15"/>
                    </a:lnTo>
                    <a:lnTo>
                      <a:pt x="2" y="19"/>
                    </a:lnTo>
                    <a:lnTo>
                      <a:pt x="2" y="20"/>
                    </a:lnTo>
                    <a:lnTo>
                      <a:pt x="1" y="22"/>
                    </a:lnTo>
                    <a:lnTo>
                      <a:pt x="1" y="23"/>
                    </a:lnTo>
                    <a:lnTo>
                      <a:pt x="1" y="25"/>
                    </a:lnTo>
                    <a:lnTo>
                      <a:pt x="1" y="26"/>
                    </a:lnTo>
                    <a:lnTo>
                      <a:pt x="0" y="26"/>
                    </a:lnTo>
                    <a:lnTo>
                      <a:pt x="0" y="23"/>
                    </a:lnTo>
                    <a:lnTo>
                      <a:pt x="0" y="26"/>
                    </a:lnTo>
                    <a:lnTo>
                      <a:pt x="0" y="29"/>
                    </a:lnTo>
                    <a:lnTo>
                      <a:pt x="1" y="31"/>
                    </a:lnTo>
                    <a:lnTo>
                      <a:pt x="1" y="33"/>
                    </a:lnTo>
                    <a:lnTo>
                      <a:pt x="1" y="35"/>
                    </a:lnTo>
                    <a:lnTo>
                      <a:pt x="1" y="38"/>
                    </a:lnTo>
                    <a:lnTo>
                      <a:pt x="2" y="40"/>
                    </a:lnTo>
                    <a:lnTo>
                      <a:pt x="1" y="41"/>
                    </a:lnTo>
                    <a:lnTo>
                      <a:pt x="2" y="43"/>
                    </a:lnTo>
                    <a:lnTo>
                      <a:pt x="3" y="46"/>
                    </a:lnTo>
                    <a:lnTo>
                      <a:pt x="3" y="47"/>
                    </a:lnTo>
                    <a:lnTo>
                      <a:pt x="3" y="48"/>
                    </a:lnTo>
                    <a:lnTo>
                      <a:pt x="4" y="50"/>
                    </a:lnTo>
                    <a:lnTo>
                      <a:pt x="5" y="52"/>
                    </a:lnTo>
                    <a:lnTo>
                      <a:pt x="9" y="54"/>
                    </a:lnTo>
                    <a:lnTo>
                      <a:pt x="9" y="5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39" name="Freeform 205">
                <a:extLst>
                  <a:ext uri="{FF2B5EF4-FFF2-40B4-BE49-F238E27FC236}">
                    <a16:creationId xmlns:a16="http://schemas.microsoft.com/office/drawing/2014/main" id="{E8F804E6-8A12-4E24-ABEA-07499C84A6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88" y="2132"/>
                <a:ext cx="10" cy="23"/>
              </a:xfrm>
              <a:custGeom>
                <a:avLst/>
                <a:gdLst>
                  <a:gd name="T0" fmla="*/ 4 w 10"/>
                  <a:gd name="T1" fmla="*/ 3 h 23"/>
                  <a:gd name="T2" fmla="*/ 5 w 10"/>
                  <a:gd name="T3" fmla="*/ 3 h 23"/>
                  <a:gd name="T4" fmla="*/ 6 w 10"/>
                  <a:gd name="T5" fmla="*/ 3 h 23"/>
                  <a:gd name="T6" fmla="*/ 8 w 10"/>
                  <a:gd name="T7" fmla="*/ 3 h 23"/>
                  <a:gd name="T8" fmla="*/ 9 w 10"/>
                  <a:gd name="T9" fmla="*/ 6 h 23"/>
                  <a:gd name="T10" fmla="*/ 9 w 10"/>
                  <a:gd name="T11" fmla="*/ 8 h 23"/>
                  <a:gd name="T12" fmla="*/ 9 w 10"/>
                  <a:gd name="T13" fmla="*/ 7 h 23"/>
                  <a:gd name="T14" fmla="*/ 9 w 10"/>
                  <a:gd name="T15" fmla="*/ 6 h 23"/>
                  <a:gd name="T16" fmla="*/ 9 w 10"/>
                  <a:gd name="T17" fmla="*/ 4 h 23"/>
                  <a:gd name="T18" fmla="*/ 10 w 10"/>
                  <a:gd name="T19" fmla="*/ 4 h 23"/>
                  <a:gd name="T20" fmla="*/ 10 w 10"/>
                  <a:gd name="T21" fmla="*/ 7 h 23"/>
                  <a:gd name="T22" fmla="*/ 10 w 10"/>
                  <a:gd name="T23" fmla="*/ 12 h 23"/>
                  <a:gd name="T24" fmla="*/ 9 w 10"/>
                  <a:gd name="T25" fmla="*/ 14 h 23"/>
                  <a:gd name="T26" fmla="*/ 8 w 10"/>
                  <a:gd name="T27" fmla="*/ 16 h 23"/>
                  <a:gd name="T28" fmla="*/ 6 w 10"/>
                  <a:gd name="T29" fmla="*/ 17 h 23"/>
                  <a:gd name="T30" fmla="*/ 6 w 10"/>
                  <a:gd name="T31" fmla="*/ 16 h 23"/>
                  <a:gd name="T32" fmla="*/ 6 w 10"/>
                  <a:gd name="T33" fmla="*/ 19 h 23"/>
                  <a:gd name="T34" fmla="*/ 8 w 10"/>
                  <a:gd name="T35" fmla="*/ 22 h 23"/>
                  <a:gd name="T36" fmla="*/ 6 w 10"/>
                  <a:gd name="T37" fmla="*/ 20 h 23"/>
                  <a:gd name="T38" fmla="*/ 5 w 10"/>
                  <a:gd name="T39" fmla="*/ 21 h 23"/>
                  <a:gd name="T40" fmla="*/ 4 w 10"/>
                  <a:gd name="T41" fmla="*/ 21 h 23"/>
                  <a:gd name="T42" fmla="*/ 4 w 10"/>
                  <a:gd name="T43" fmla="*/ 22 h 23"/>
                  <a:gd name="T44" fmla="*/ 2 w 10"/>
                  <a:gd name="T45" fmla="*/ 23 h 23"/>
                  <a:gd name="T46" fmla="*/ 1 w 10"/>
                  <a:gd name="T47" fmla="*/ 21 h 23"/>
                  <a:gd name="T48" fmla="*/ 1 w 10"/>
                  <a:gd name="T49" fmla="*/ 20 h 23"/>
                  <a:gd name="T50" fmla="*/ 1 w 10"/>
                  <a:gd name="T51" fmla="*/ 19 h 23"/>
                  <a:gd name="T52" fmla="*/ 0 w 10"/>
                  <a:gd name="T53" fmla="*/ 19 h 23"/>
                  <a:gd name="T54" fmla="*/ 0 w 10"/>
                  <a:gd name="T55" fmla="*/ 17 h 23"/>
                  <a:gd name="T56" fmla="*/ 1 w 10"/>
                  <a:gd name="T57" fmla="*/ 19 h 23"/>
                  <a:gd name="T58" fmla="*/ 2 w 10"/>
                  <a:gd name="T59" fmla="*/ 19 h 23"/>
                  <a:gd name="T60" fmla="*/ 3 w 10"/>
                  <a:gd name="T61" fmla="*/ 20 h 23"/>
                  <a:gd name="T62" fmla="*/ 3 w 10"/>
                  <a:gd name="T63" fmla="*/ 17 h 23"/>
                  <a:gd name="T64" fmla="*/ 2 w 10"/>
                  <a:gd name="T65" fmla="*/ 16 h 23"/>
                  <a:gd name="T66" fmla="*/ 1 w 10"/>
                  <a:gd name="T67" fmla="*/ 17 h 23"/>
                  <a:gd name="T68" fmla="*/ 1 w 10"/>
                  <a:gd name="T69" fmla="*/ 15 h 23"/>
                  <a:gd name="T70" fmla="*/ 2 w 10"/>
                  <a:gd name="T71" fmla="*/ 14 h 23"/>
                  <a:gd name="T72" fmla="*/ 2 w 10"/>
                  <a:gd name="T73" fmla="*/ 13 h 23"/>
                  <a:gd name="T74" fmla="*/ 3 w 10"/>
                  <a:gd name="T75" fmla="*/ 13 h 23"/>
                  <a:gd name="T76" fmla="*/ 3 w 10"/>
                  <a:gd name="T77" fmla="*/ 12 h 23"/>
                  <a:gd name="T78" fmla="*/ 2 w 10"/>
                  <a:gd name="T79" fmla="*/ 13 h 23"/>
                  <a:gd name="T80" fmla="*/ 1 w 10"/>
                  <a:gd name="T81" fmla="*/ 13 h 23"/>
                  <a:gd name="T82" fmla="*/ 0 w 10"/>
                  <a:gd name="T83" fmla="*/ 12 h 23"/>
                  <a:gd name="T84" fmla="*/ 1 w 10"/>
                  <a:gd name="T85" fmla="*/ 12 h 23"/>
                  <a:gd name="T86" fmla="*/ 2 w 10"/>
                  <a:gd name="T87" fmla="*/ 11 h 23"/>
                  <a:gd name="T88" fmla="*/ 1 w 10"/>
                  <a:gd name="T89" fmla="*/ 10 h 23"/>
                  <a:gd name="T90" fmla="*/ 1 w 10"/>
                  <a:gd name="T91" fmla="*/ 8 h 23"/>
                  <a:gd name="T92" fmla="*/ 1 w 10"/>
                  <a:gd name="T93" fmla="*/ 7 h 23"/>
                  <a:gd name="T94" fmla="*/ 1 w 10"/>
                  <a:gd name="T95" fmla="*/ 6 h 23"/>
                  <a:gd name="T96" fmla="*/ 1 w 10"/>
                  <a:gd name="T97" fmla="*/ 5 h 23"/>
                  <a:gd name="T98" fmla="*/ 2 w 10"/>
                  <a:gd name="T99" fmla="*/ 4 h 23"/>
                  <a:gd name="T100" fmla="*/ 3 w 10"/>
                  <a:gd name="T101" fmla="*/ 3 h 23"/>
                  <a:gd name="T102" fmla="*/ 4 w 10"/>
                  <a:gd name="T103" fmla="*/ 3 h 23"/>
                  <a:gd name="T104" fmla="*/ 3 w 10"/>
                  <a:gd name="T105" fmla="*/ 2 h 23"/>
                  <a:gd name="T106" fmla="*/ 3 w 10"/>
                  <a:gd name="T107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0" h="23">
                    <a:moveTo>
                      <a:pt x="4" y="0"/>
                    </a:moveTo>
                    <a:lnTo>
                      <a:pt x="4" y="0"/>
                    </a:lnTo>
                    <a:lnTo>
                      <a:pt x="4" y="3"/>
                    </a:lnTo>
                    <a:lnTo>
                      <a:pt x="4" y="3"/>
                    </a:lnTo>
                    <a:lnTo>
                      <a:pt x="4" y="3"/>
                    </a:lnTo>
                    <a:lnTo>
                      <a:pt x="5" y="3"/>
                    </a:lnTo>
                    <a:lnTo>
                      <a:pt x="5" y="3"/>
                    </a:lnTo>
                    <a:lnTo>
                      <a:pt x="5" y="3"/>
                    </a:lnTo>
                    <a:lnTo>
                      <a:pt x="5" y="3"/>
                    </a:lnTo>
                    <a:lnTo>
                      <a:pt x="5" y="3"/>
                    </a:lnTo>
                    <a:lnTo>
                      <a:pt x="5" y="3"/>
                    </a:lnTo>
                    <a:lnTo>
                      <a:pt x="6" y="3"/>
                    </a:lnTo>
                    <a:lnTo>
                      <a:pt x="6" y="3"/>
                    </a:lnTo>
                    <a:lnTo>
                      <a:pt x="8" y="3"/>
                    </a:lnTo>
                    <a:lnTo>
                      <a:pt x="8" y="3"/>
                    </a:lnTo>
                    <a:lnTo>
                      <a:pt x="8" y="3"/>
                    </a:lnTo>
                    <a:lnTo>
                      <a:pt x="8" y="3"/>
                    </a:lnTo>
                    <a:lnTo>
                      <a:pt x="8" y="3"/>
                    </a:lnTo>
                    <a:lnTo>
                      <a:pt x="9" y="3"/>
                    </a:lnTo>
                    <a:lnTo>
                      <a:pt x="9" y="6"/>
                    </a:lnTo>
                    <a:lnTo>
                      <a:pt x="8" y="6"/>
                    </a:lnTo>
                    <a:lnTo>
                      <a:pt x="9" y="7"/>
                    </a:lnTo>
                    <a:lnTo>
                      <a:pt x="9" y="7"/>
                    </a:lnTo>
                    <a:lnTo>
                      <a:pt x="9" y="8"/>
                    </a:lnTo>
                    <a:lnTo>
                      <a:pt x="9" y="8"/>
                    </a:lnTo>
                    <a:lnTo>
                      <a:pt x="9" y="8"/>
                    </a:lnTo>
                    <a:lnTo>
                      <a:pt x="9" y="8"/>
                    </a:lnTo>
                    <a:lnTo>
                      <a:pt x="9" y="7"/>
                    </a:lnTo>
                    <a:lnTo>
                      <a:pt x="9" y="7"/>
                    </a:lnTo>
                    <a:lnTo>
                      <a:pt x="9" y="6"/>
                    </a:lnTo>
                    <a:lnTo>
                      <a:pt x="9" y="6"/>
                    </a:lnTo>
                    <a:lnTo>
                      <a:pt x="9" y="6"/>
                    </a:lnTo>
                    <a:lnTo>
                      <a:pt x="9" y="5"/>
                    </a:lnTo>
                    <a:lnTo>
                      <a:pt x="9" y="5"/>
                    </a:lnTo>
                    <a:lnTo>
                      <a:pt x="9" y="5"/>
                    </a:lnTo>
                    <a:lnTo>
                      <a:pt x="9" y="4"/>
                    </a:lnTo>
                    <a:lnTo>
                      <a:pt x="9" y="4"/>
                    </a:lnTo>
                    <a:lnTo>
                      <a:pt x="9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5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7"/>
                    </a:lnTo>
                    <a:lnTo>
                      <a:pt x="10" y="7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3"/>
                    </a:lnTo>
                    <a:lnTo>
                      <a:pt x="10" y="13"/>
                    </a:lnTo>
                    <a:lnTo>
                      <a:pt x="9" y="14"/>
                    </a:lnTo>
                    <a:lnTo>
                      <a:pt x="9" y="14"/>
                    </a:lnTo>
                    <a:lnTo>
                      <a:pt x="9" y="15"/>
                    </a:lnTo>
                    <a:lnTo>
                      <a:pt x="8" y="15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7"/>
                    </a:lnTo>
                    <a:lnTo>
                      <a:pt x="8" y="17"/>
                    </a:lnTo>
                    <a:lnTo>
                      <a:pt x="6" y="17"/>
                    </a:lnTo>
                    <a:lnTo>
                      <a:pt x="6" y="17"/>
                    </a:lnTo>
                    <a:lnTo>
                      <a:pt x="6" y="17"/>
                    </a:lnTo>
                    <a:lnTo>
                      <a:pt x="6" y="17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7"/>
                    </a:lnTo>
                    <a:lnTo>
                      <a:pt x="6" y="17"/>
                    </a:lnTo>
                    <a:lnTo>
                      <a:pt x="6" y="19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8" y="21"/>
                    </a:lnTo>
                    <a:lnTo>
                      <a:pt x="8" y="22"/>
                    </a:lnTo>
                    <a:lnTo>
                      <a:pt x="6" y="22"/>
                    </a:lnTo>
                    <a:lnTo>
                      <a:pt x="6" y="21"/>
                    </a:lnTo>
                    <a:lnTo>
                      <a:pt x="6" y="21"/>
                    </a:lnTo>
                    <a:lnTo>
                      <a:pt x="6" y="20"/>
                    </a:lnTo>
                    <a:lnTo>
                      <a:pt x="6" y="21"/>
                    </a:lnTo>
                    <a:lnTo>
                      <a:pt x="6" y="21"/>
                    </a:lnTo>
                    <a:lnTo>
                      <a:pt x="6" y="21"/>
                    </a:lnTo>
                    <a:lnTo>
                      <a:pt x="5" y="21"/>
                    </a:lnTo>
                    <a:lnTo>
                      <a:pt x="5" y="21"/>
                    </a:lnTo>
                    <a:lnTo>
                      <a:pt x="5" y="20"/>
                    </a:lnTo>
                    <a:lnTo>
                      <a:pt x="4" y="20"/>
                    </a:lnTo>
                    <a:lnTo>
                      <a:pt x="4" y="21"/>
                    </a:lnTo>
                    <a:lnTo>
                      <a:pt x="4" y="21"/>
                    </a:lnTo>
                    <a:lnTo>
                      <a:pt x="4" y="21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3"/>
                    </a:lnTo>
                    <a:lnTo>
                      <a:pt x="4" y="23"/>
                    </a:lnTo>
                    <a:lnTo>
                      <a:pt x="4" y="23"/>
                    </a:lnTo>
                    <a:lnTo>
                      <a:pt x="2" y="23"/>
                    </a:lnTo>
                    <a:lnTo>
                      <a:pt x="2" y="23"/>
                    </a:lnTo>
                    <a:lnTo>
                      <a:pt x="1" y="23"/>
                    </a:lnTo>
                    <a:lnTo>
                      <a:pt x="1" y="22"/>
                    </a:lnTo>
                    <a:lnTo>
                      <a:pt x="1" y="21"/>
                    </a:lnTo>
                    <a:lnTo>
                      <a:pt x="1" y="21"/>
                    </a:lnTo>
                    <a:lnTo>
                      <a:pt x="1" y="21"/>
                    </a:lnTo>
                    <a:lnTo>
                      <a:pt x="1" y="20"/>
                    </a:lnTo>
                    <a:lnTo>
                      <a:pt x="1" y="20"/>
                    </a:lnTo>
                    <a:lnTo>
                      <a:pt x="1" y="20"/>
                    </a:lnTo>
                    <a:lnTo>
                      <a:pt x="1" y="20"/>
                    </a:lnTo>
                    <a:lnTo>
                      <a:pt x="1" y="19"/>
                    </a:lnTo>
                    <a:lnTo>
                      <a:pt x="1" y="19"/>
                    </a:lnTo>
                    <a:lnTo>
                      <a:pt x="0" y="19"/>
                    </a:lnTo>
                    <a:lnTo>
                      <a:pt x="0" y="19"/>
                    </a:lnTo>
                    <a:lnTo>
                      <a:pt x="0" y="19"/>
                    </a:lnTo>
                    <a:lnTo>
                      <a:pt x="0" y="19"/>
                    </a:lnTo>
                    <a:lnTo>
                      <a:pt x="0" y="19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0" y="19"/>
                    </a:lnTo>
                    <a:lnTo>
                      <a:pt x="1" y="19"/>
                    </a:lnTo>
                    <a:lnTo>
                      <a:pt x="2" y="19"/>
                    </a:lnTo>
                    <a:lnTo>
                      <a:pt x="2" y="19"/>
                    </a:lnTo>
                    <a:lnTo>
                      <a:pt x="2" y="19"/>
                    </a:lnTo>
                    <a:lnTo>
                      <a:pt x="2" y="19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3" y="20"/>
                    </a:lnTo>
                    <a:lnTo>
                      <a:pt x="3" y="20"/>
                    </a:lnTo>
                    <a:lnTo>
                      <a:pt x="3" y="19"/>
                    </a:lnTo>
                    <a:lnTo>
                      <a:pt x="3" y="17"/>
                    </a:lnTo>
                    <a:lnTo>
                      <a:pt x="3" y="17"/>
                    </a:lnTo>
                    <a:lnTo>
                      <a:pt x="3" y="16"/>
                    </a:lnTo>
                    <a:lnTo>
                      <a:pt x="3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7"/>
                    </a:lnTo>
                    <a:lnTo>
                      <a:pt x="1" y="17"/>
                    </a:lnTo>
                    <a:lnTo>
                      <a:pt x="1" y="16"/>
                    </a:lnTo>
                    <a:lnTo>
                      <a:pt x="1" y="16"/>
                    </a:lnTo>
                    <a:lnTo>
                      <a:pt x="1" y="15"/>
                    </a:lnTo>
                    <a:lnTo>
                      <a:pt x="1" y="15"/>
                    </a:lnTo>
                    <a:lnTo>
                      <a:pt x="1" y="15"/>
                    </a:lnTo>
                    <a:lnTo>
                      <a:pt x="2" y="15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2" y="13"/>
                    </a:lnTo>
                    <a:lnTo>
                      <a:pt x="2" y="13"/>
                    </a:lnTo>
                    <a:lnTo>
                      <a:pt x="3" y="13"/>
                    </a:lnTo>
                    <a:lnTo>
                      <a:pt x="3" y="13"/>
                    </a:lnTo>
                    <a:lnTo>
                      <a:pt x="3" y="13"/>
                    </a:lnTo>
                    <a:lnTo>
                      <a:pt x="3" y="13"/>
                    </a:lnTo>
                    <a:lnTo>
                      <a:pt x="3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3" y="12"/>
                    </a:lnTo>
                    <a:lnTo>
                      <a:pt x="3" y="12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13"/>
                    </a:lnTo>
                    <a:lnTo>
                      <a:pt x="2" y="13"/>
                    </a:lnTo>
                    <a:lnTo>
                      <a:pt x="1" y="13"/>
                    </a:lnTo>
                    <a:lnTo>
                      <a:pt x="1" y="13"/>
                    </a:lnTo>
                    <a:lnTo>
                      <a:pt x="1" y="13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1" y="12"/>
                    </a:lnTo>
                    <a:lnTo>
                      <a:pt x="1" y="12"/>
                    </a:lnTo>
                    <a:lnTo>
                      <a:pt x="1" y="11"/>
                    </a:lnTo>
                    <a:lnTo>
                      <a:pt x="2" y="11"/>
                    </a:lnTo>
                    <a:lnTo>
                      <a:pt x="2" y="11"/>
                    </a:lnTo>
                    <a:lnTo>
                      <a:pt x="2" y="11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1" y="10"/>
                    </a:lnTo>
                    <a:lnTo>
                      <a:pt x="1" y="10"/>
                    </a:lnTo>
                    <a:lnTo>
                      <a:pt x="1" y="8"/>
                    </a:lnTo>
                    <a:lnTo>
                      <a:pt x="1" y="8"/>
                    </a:lnTo>
                    <a:lnTo>
                      <a:pt x="1" y="8"/>
                    </a:lnTo>
                    <a:lnTo>
                      <a:pt x="1" y="8"/>
                    </a:lnTo>
                    <a:lnTo>
                      <a:pt x="1" y="7"/>
                    </a:lnTo>
                    <a:lnTo>
                      <a:pt x="1" y="7"/>
                    </a:lnTo>
                    <a:lnTo>
                      <a:pt x="1" y="7"/>
                    </a:lnTo>
                    <a:lnTo>
                      <a:pt x="1" y="6"/>
                    </a:lnTo>
                    <a:lnTo>
                      <a:pt x="1" y="6"/>
                    </a:lnTo>
                    <a:lnTo>
                      <a:pt x="1" y="6"/>
                    </a:lnTo>
                    <a:lnTo>
                      <a:pt x="1" y="6"/>
                    </a:lnTo>
                    <a:lnTo>
                      <a:pt x="1" y="6"/>
                    </a:lnTo>
                    <a:lnTo>
                      <a:pt x="1" y="6"/>
                    </a:lnTo>
                    <a:lnTo>
                      <a:pt x="1" y="5"/>
                    </a:lnTo>
                    <a:lnTo>
                      <a:pt x="1" y="5"/>
                    </a:lnTo>
                    <a:lnTo>
                      <a:pt x="2" y="5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4" y="3"/>
                    </a:lnTo>
                    <a:lnTo>
                      <a:pt x="4" y="3"/>
                    </a:lnTo>
                    <a:lnTo>
                      <a:pt x="4" y="3"/>
                    </a:lnTo>
                    <a:lnTo>
                      <a:pt x="4" y="3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3" y="2"/>
                    </a:lnTo>
                    <a:lnTo>
                      <a:pt x="3" y="2"/>
                    </a:lnTo>
                    <a:lnTo>
                      <a:pt x="3" y="2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</p:grpSp>
        <p:sp>
          <p:nvSpPr>
            <p:cNvPr id="7" name="Freeform 207">
              <a:extLst>
                <a:ext uri="{FF2B5EF4-FFF2-40B4-BE49-F238E27FC236}">
                  <a16:creationId xmlns:a16="http://schemas.microsoft.com/office/drawing/2014/main" id="{09FB67DB-EA93-4577-A443-38479F2DB9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1275" y="2009775"/>
              <a:ext cx="671512" cy="342900"/>
            </a:xfrm>
            <a:custGeom>
              <a:avLst/>
              <a:gdLst>
                <a:gd name="T0" fmla="*/ 381 w 423"/>
                <a:gd name="T1" fmla="*/ 10 h 216"/>
                <a:gd name="T2" fmla="*/ 322 w 423"/>
                <a:gd name="T3" fmla="*/ 16 h 216"/>
                <a:gd name="T4" fmla="*/ 317 w 423"/>
                <a:gd name="T5" fmla="*/ 5 h 216"/>
                <a:gd name="T6" fmla="*/ 267 w 423"/>
                <a:gd name="T7" fmla="*/ 1 h 216"/>
                <a:gd name="T8" fmla="*/ 230 w 423"/>
                <a:gd name="T9" fmla="*/ 2 h 216"/>
                <a:gd name="T10" fmla="*/ 215 w 423"/>
                <a:gd name="T11" fmla="*/ 22 h 216"/>
                <a:gd name="T12" fmla="*/ 162 w 423"/>
                <a:gd name="T13" fmla="*/ 6 h 216"/>
                <a:gd name="T14" fmla="*/ 151 w 423"/>
                <a:gd name="T15" fmla="*/ 10 h 216"/>
                <a:gd name="T16" fmla="*/ 133 w 423"/>
                <a:gd name="T17" fmla="*/ 22 h 216"/>
                <a:gd name="T18" fmla="*/ 164 w 423"/>
                <a:gd name="T19" fmla="*/ 40 h 216"/>
                <a:gd name="T20" fmla="*/ 127 w 423"/>
                <a:gd name="T21" fmla="*/ 35 h 216"/>
                <a:gd name="T22" fmla="*/ 87 w 423"/>
                <a:gd name="T23" fmla="*/ 28 h 216"/>
                <a:gd name="T24" fmla="*/ 86 w 423"/>
                <a:gd name="T25" fmla="*/ 40 h 216"/>
                <a:gd name="T26" fmla="*/ 37 w 423"/>
                <a:gd name="T27" fmla="*/ 40 h 216"/>
                <a:gd name="T28" fmla="*/ 15 w 423"/>
                <a:gd name="T29" fmla="*/ 50 h 216"/>
                <a:gd name="T30" fmla="*/ 42 w 423"/>
                <a:gd name="T31" fmla="*/ 52 h 216"/>
                <a:gd name="T32" fmla="*/ 35 w 423"/>
                <a:gd name="T33" fmla="*/ 62 h 216"/>
                <a:gd name="T34" fmla="*/ 60 w 423"/>
                <a:gd name="T35" fmla="*/ 68 h 216"/>
                <a:gd name="T36" fmla="*/ 66 w 423"/>
                <a:gd name="T37" fmla="*/ 70 h 216"/>
                <a:gd name="T38" fmla="*/ 73 w 423"/>
                <a:gd name="T39" fmla="*/ 75 h 216"/>
                <a:gd name="T40" fmla="*/ 121 w 423"/>
                <a:gd name="T41" fmla="*/ 67 h 216"/>
                <a:gd name="T42" fmla="*/ 85 w 423"/>
                <a:gd name="T43" fmla="*/ 84 h 216"/>
                <a:gd name="T44" fmla="*/ 133 w 423"/>
                <a:gd name="T45" fmla="*/ 77 h 216"/>
                <a:gd name="T46" fmla="*/ 156 w 423"/>
                <a:gd name="T47" fmla="*/ 79 h 216"/>
                <a:gd name="T48" fmla="*/ 202 w 423"/>
                <a:gd name="T49" fmla="*/ 57 h 216"/>
                <a:gd name="T50" fmla="*/ 211 w 423"/>
                <a:gd name="T51" fmla="*/ 75 h 216"/>
                <a:gd name="T52" fmla="*/ 182 w 423"/>
                <a:gd name="T53" fmla="*/ 84 h 216"/>
                <a:gd name="T54" fmla="*/ 129 w 423"/>
                <a:gd name="T55" fmla="*/ 99 h 216"/>
                <a:gd name="T56" fmla="*/ 150 w 423"/>
                <a:gd name="T57" fmla="*/ 115 h 216"/>
                <a:gd name="T58" fmla="*/ 88 w 423"/>
                <a:gd name="T59" fmla="*/ 93 h 216"/>
                <a:gd name="T60" fmla="*/ 83 w 423"/>
                <a:gd name="T61" fmla="*/ 111 h 216"/>
                <a:gd name="T62" fmla="*/ 105 w 423"/>
                <a:gd name="T63" fmla="*/ 134 h 216"/>
                <a:gd name="T64" fmla="*/ 127 w 423"/>
                <a:gd name="T65" fmla="*/ 142 h 216"/>
                <a:gd name="T66" fmla="*/ 78 w 423"/>
                <a:gd name="T67" fmla="*/ 138 h 216"/>
                <a:gd name="T68" fmla="*/ 79 w 423"/>
                <a:gd name="T69" fmla="*/ 161 h 216"/>
                <a:gd name="T70" fmla="*/ 99 w 423"/>
                <a:gd name="T71" fmla="*/ 161 h 216"/>
                <a:gd name="T72" fmla="*/ 95 w 423"/>
                <a:gd name="T73" fmla="*/ 176 h 216"/>
                <a:gd name="T74" fmla="*/ 58 w 423"/>
                <a:gd name="T75" fmla="*/ 167 h 216"/>
                <a:gd name="T76" fmla="*/ 58 w 423"/>
                <a:gd name="T77" fmla="*/ 188 h 216"/>
                <a:gd name="T78" fmla="*/ 48 w 423"/>
                <a:gd name="T79" fmla="*/ 204 h 216"/>
                <a:gd name="T80" fmla="*/ 83 w 423"/>
                <a:gd name="T81" fmla="*/ 211 h 216"/>
                <a:gd name="T82" fmla="*/ 119 w 423"/>
                <a:gd name="T83" fmla="*/ 209 h 216"/>
                <a:gd name="T84" fmla="*/ 144 w 423"/>
                <a:gd name="T85" fmla="*/ 207 h 216"/>
                <a:gd name="T86" fmla="*/ 190 w 423"/>
                <a:gd name="T87" fmla="*/ 203 h 216"/>
                <a:gd name="T88" fmla="*/ 161 w 423"/>
                <a:gd name="T89" fmla="*/ 186 h 216"/>
                <a:gd name="T90" fmla="*/ 152 w 423"/>
                <a:gd name="T91" fmla="*/ 183 h 216"/>
                <a:gd name="T92" fmla="*/ 190 w 423"/>
                <a:gd name="T93" fmla="*/ 164 h 216"/>
                <a:gd name="T94" fmla="*/ 224 w 423"/>
                <a:gd name="T95" fmla="*/ 156 h 216"/>
                <a:gd name="T96" fmla="*/ 229 w 423"/>
                <a:gd name="T97" fmla="*/ 136 h 216"/>
                <a:gd name="T98" fmla="*/ 194 w 423"/>
                <a:gd name="T99" fmla="*/ 132 h 216"/>
                <a:gd name="T100" fmla="*/ 199 w 423"/>
                <a:gd name="T101" fmla="*/ 128 h 216"/>
                <a:gd name="T102" fmla="*/ 239 w 423"/>
                <a:gd name="T103" fmla="*/ 132 h 216"/>
                <a:gd name="T104" fmla="*/ 203 w 423"/>
                <a:gd name="T105" fmla="*/ 121 h 216"/>
                <a:gd name="T106" fmla="*/ 235 w 423"/>
                <a:gd name="T107" fmla="*/ 119 h 216"/>
                <a:gd name="T108" fmla="*/ 252 w 423"/>
                <a:gd name="T109" fmla="*/ 108 h 216"/>
                <a:gd name="T110" fmla="*/ 292 w 423"/>
                <a:gd name="T111" fmla="*/ 100 h 216"/>
                <a:gd name="T112" fmla="*/ 299 w 423"/>
                <a:gd name="T113" fmla="*/ 93 h 216"/>
                <a:gd name="T114" fmla="*/ 339 w 423"/>
                <a:gd name="T115" fmla="*/ 72 h 216"/>
                <a:gd name="T116" fmla="*/ 350 w 423"/>
                <a:gd name="T117" fmla="*/ 57 h 216"/>
                <a:gd name="T118" fmla="*/ 305 w 423"/>
                <a:gd name="T119" fmla="*/ 64 h 216"/>
                <a:gd name="T120" fmla="*/ 323 w 423"/>
                <a:gd name="T121" fmla="*/ 53 h 216"/>
                <a:gd name="T122" fmla="*/ 360 w 423"/>
                <a:gd name="T123" fmla="*/ 49 h 216"/>
                <a:gd name="T124" fmla="*/ 408 w 423"/>
                <a:gd name="T125" fmla="*/ 36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23" h="216">
                  <a:moveTo>
                    <a:pt x="421" y="25"/>
                  </a:moveTo>
                  <a:lnTo>
                    <a:pt x="419" y="23"/>
                  </a:lnTo>
                  <a:lnTo>
                    <a:pt x="416" y="22"/>
                  </a:lnTo>
                  <a:lnTo>
                    <a:pt x="415" y="22"/>
                  </a:lnTo>
                  <a:lnTo>
                    <a:pt x="411" y="22"/>
                  </a:lnTo>
                  <a:lnTo>
                    <a:pt x="409" y="22"/>
                  </a:lnTo>
                  <a:lnTo>
                    <a:pt x="406" y="22"/>
                  </a:lnTo>
                  <a:lnTo>
                    <a:pt x="402" y="21"/>
                  </a:lnTo>
                  <a:lnTo>
                    <a:pt x="400" y="21"/>
                  </a:lnTo>
                  <a:lnTo>
                    <a:pt x="397" y="22"/>
                  </a:lnTo>
                  <a:lnTo>
                    <a:pt x="394" y="23"/>
                  </a:lnTo>
                  <a:lnTo>
                    <a:pt x="391" y="23"/>
                  </a:lnTo>
                  <a:lnTo>
                    <a:pt x="394" y="23"/>
                  </a:lnTo>
                  <a:lnTo>
                    <a:pt x="395" y="19"/>
                  </a:lnTo>
                  <a:lnTo>
                    <a:pt x="392" y="18"/>
                  </a:lnTo>
                  <a:lnTo>
                    <a:pt x="390" y="15"/>
                  </a:lnTo>
                  <a:lnTo>
                    <a:pt x="386" y="14"/>
                  </a:lnTo>
                  <a:lnTo>
                    <a:pt x="390" y="13"/>
                  </a:lnTo>
                  <a:lnTo>
                    <a:pt x="390" y="10"/>
                  </a:lnTo>
                  <a:lnTo>
                    <a:pt x="386" y="9"/>
                  </a:lnTo>
                  <a:lnTo>
                    <a:pt x="383" y="9"/>
                  </a:lnTo>
                  <a:lnTo>
                    <a:pt x="381" y="10"/>
                  </a:lnTo>
                  <a:lnTo>
                    <a:pt x="377" y="12"/>
                  </a:lnTo>
                  <a:lnTo>
                    <a:pt x="375" y="12"/>
                  </a:lnTo>
                  <a:lnTo>
                    <a:pt x="372" y="10"/>
                  </a:lnTo>
                  <a:lnTo>
                    <a:pt x="369" y="9"/>
                  </a:lnTo>
                  <a:lnTo>
                    <a:pt x="373" y="8"/>
                  </a:lnTo>
                  <a:lnTo>
                    <a:pt x="369" y="7"/>
                  </a:lnTo>
                  <a:lnTo>
                    <a:pt x="366" y="8"/>
                  </a:lnTo>
                  <a:lnTo>
                    <a:pt x="364" y="10"/>
                  </a:lnTo>
                  <a:lnTo>
                    <a:pt x="361" y="12"/>
                  </a:lnTo>
                  <a:lnTo>
                    <a:pt x="358" y="9"/>
                  </a:lnTo>
                  <a:lnTo>
                    <a:pt x="356" y="10"/>
                  </a:lnTo>
                  <a:lnTo>
                    <a:pt x="352" y="10"/>
                  </a:lnTo>
                  <a:lnTo>
                    <a:pt x="350" y="12"/>
                  </a:lnTo>
                  <a:lnTo>
                    <a:pt x="347" y="13"/>
                  </a:lnTo>
                  <a:lnTo>
                    <a:pt x="344" y="14"/>
                  </a:lnTo>
                  <a:lnTo>
                    <a:pt x="342" y="14"/>
                  </a:lnTo>
                  <a:lnTo>
                    <a:pt x="339" y="15"/>
                  </a:lnTo>
                  <a:lnTo>
                    <a:pt x="335" y="16"/>
                  </a:lnTo>
                  <a:lnTo>
                    <a:pt x="333" y="16"/>
                  </a:lnTo>
                  <a:lnTo>
                    <a:pt x="327" y="16"/>
                  </a:lnTo>
                  <a:lnTo>
                    <a:pt x="324" y="16"/>
                  </a:lnTo>
                  <a:lnTo>
                    <a:pt x="322" y="16"/>
                  </a:lnTo>
                  <a:lnTo>
                    <a:pt x="318" y="17"/>
                  </a:lnTo>
                  <a:lnTo>
                    <a:pt x="321" y="15"/>
                  </a:lnTo>
                  <a:lnTo>
                    <a:pt x="324" y="15"/>
                  </a:lnTo>
                  <a:lnTo>
                    <a:pt x="326" y="14"/>
                  </a:lnTo>
                  <a:lnTo>
                    <a:pt x="330" y="14"/>
                  </a:lnTo>
                  <a:lnTo>
                    <a:pt x="333" y="13"/>
                  </a:lnTo>
                  <a:lnTo>
                    <a:pt x="335" y="13"/>
                  </a:lnTo>
                  <a:lnTo>
                    <a:pt x="339" y="12"/>
                  </a:lnTo>
                  <a:lnTo>
                    <a:pt x="341" y="12"/>
                  </a:lnTo>
                  <a:lnTo>
                    <a:pt x="348" y="9"/>
                  </a:lnTo>
                  <a:lnTo>
                    <a:pt x="349" y="7"/>
                  </a:lnTo>
                  <a:lnTo>
                    <a:pt x="347" y="6"/>
                  </a:lnTo>
                  <a:lnTo>
                    <a:pt x="343" y="6"/>
                  </a:lnTo>
                  <a:lnTo>
                    <a:pt x="341" y="6"/>
                  </a:lnTo>
                  <a:lnTo>
                    <a:pt x="338" y="6"/>
                  </a:lnTo>
                  <a:lnTo>
                    <a:pt x="335" y="6"/>
                  </a:lnTo>
                  <a:lnTo>
                    <a:pt x="332" y="6"/>
                  </a:lnTo>
                  <a:lnTo>
                    <a:pt x="329" y="6"/>
                  </a:lnTo>
                  <a:lnTo>
                    <a:pt x="326" y="7"/>
                  </a:lnTo>
                  <a:lnTo>
                    <a:pt x="323" y="5"/>
                  </a:lnTo>
                  <a:lnTo>
                    <a:pt x="321" y="4"/>
                  </a:lnTo>
                  <a:lnTo>
                    <a:pt x="317" y="5"/>
                  </a:lnTo>
                  <a:lnTo>
                    <a:pt x="315" y="5"/>
                  </a:lnTo>
                  <a:lnTo>
                    <a:pt x="312" y="4"/>
                  </a:lnTo>
                  <a:lnTo>
                    <a:pt x="306" y="5"/>
                  </a:lnTo>
                  <a:lnTo>
                    <a:pt x="303" y="2"/>
                  </a:lnTo>
                  <a:lnTo>
                    <a:pt x="299" y="0"/>
                  </a:lnTo>
                  <a:lnTo>
                    <a:pt x="293" y="0"/>
                  </a:lnTo>
                  <a:lnTo>
                    <a:pt x="291" y="1"/>
                  </a:lnTo>
                  <a:lnTo>
                    <a:pt x="288" y="1"/>
                  </a:lnTo>
                  <a:lnTo>
                    <a:pt x="284" y="1"/>
                  </a:lnTo>
                  <a:lnTo>
                    <a:pt x="282" y="2"/>
                  </a:lnTo>
                  <a:lnTo>
                    <a:pt x="279" y="4"/>
                  </a:lnTo>
                  <a:lnTo>
                    <a:pt x="282" y="6"/>
                  </a:lnTo>
                  <a:lnTo>
                    <a:pt x="286" y="7"/>
                  </a:lnTo>
                  <a:lnTo>
                    <a:pt x="288" y="8"/>
                  </a:lnTo>
                  <a:lnTo>
                    <a:pt x="284" y="8"/>
                  </a:lnTo>
                  <a:lnTo>
                    <a:pt x="282" y="7"/>
                  </a:lnTo>
                  <a:lnTo>
                    <a:pt x="279" y="7"/>
                  </a:lnTo>
                  <a:lnTo>
                    <a:pt x="275" y="5"/>
                  </a:lnTo>
                  <a:lnTo>
                    <a:pt x="277" y="1"/>
                  </a:lnTo>
                  <a:lnTo>
                    <a:pt x="273" y="1"/>
                  </a:lnTo>
                  <a:lnTo>
                    <a:pt x="270" y="1"/>
                  </a:lnTo>
                  <a:lnTo>
                    <a:pt x="267" y="1"/>
                  </a:lnTo>
                  <a:lnTo>
                    <a:pt x="264" y="1"/>
                  </a:lnTo>
                  <a:lnTo>
                    <a:pt x="262" y="1"/>
                  </a:lnTo>
                  <a:lnTo>
                    <a:pt x="258" y="2"/>
                  </a:lnTo>
                  <a:lnTo>
                    <a:pt x="255" y="4"/>
                  </a:lnTo>
                  <a:lnTo>
                    <a:pt x="253" y="5"/>
                  </a:lnTo>
                  <a:lnTo>
                    <a:pt x="249" y="6"/>
                  </a:lnTo>
                  <a:lnTo>
                    <a:pt x="253" y="8"/>
                  </a:lnTo>
                  <a:lnTo>
                    <a:pt x="255" y="10"/>
                  </a:lnTo>
                  <a:lnTo>
                    <a:pt x="258" y="12"/>
                  </a:lnTo>
                  <a:lnTo>
                    <a:pt x="264" y="14"/>
                  </a:lnTo>
                  <a:lnTo>
                    <a:pt x="261" y="14"/>
                  </a:lnTo>
                  <a:lnTo>
                    <a:pt x="258" y="13"/>
                  </a:lnTo>
                  <a:lnTo>
                    <a:pt x="255" y="13"/>
                  </a:lnTo>
                  <a:lnTo>
                    <a:pt x="253" y="12"/>
                  </a:lnTo>
                  <a:lnTo>
                    <a:pt x="249" y="10"/>
                  </a:lnTo>
                  <a:lnTo>
                    <a:pt x="247" y="9"/>
                  </a:lnTo>
                  <a:lnTo>
                    <a:pt x="245" y="7"/>
                  </a:lnTo>
                  <a:lnTo>
                    <a:pt x="241" y="5"/>
                  </a:lnTo>
                  <a:lnTo>
                    <a:pt x="239" y="4"/>
                  </a:lnTo>
                  <a:lnTo>
                    <a:pt x="236" y="4"/>
                  </a:lnTo>
                  <a:lnTo>
                    <a:pt x="232" y="2"/>
                  </a:lnTo>
                  <a:lnTo>
                    <a:pt x="230" y="2"/>
                  </a:lnTo>
                  <a:lnTo>
                    <a:pt x="228" y="4"/>
                  </a:lnTo>
                  <a:lnTo>
                    <a:pt x="226" y="4"/>
                  </a:lnTo>
                  <a:lnTo>
                    <a:pt x="215" y="2"/>
                  </a:lnTo>
                  <a:lnTo>
                    <a:pt x="213" y="2"/>
                  </a:lnTo>
                  <a:lnTo>
                    <a:pt x="210" y="4"/>
                  </a:lnTo>
                  <a:lnTo>
                    <a:pt x="206" y="4"/>
                  </a:lnTo>
                  <a:lnTo>
                    <a:pt x="201" y="4"/>
                  </a:lnTo>
                  <a:lnTo>
                    <a:pt x="197" y="6"/>
                  </a:lnTo>
                  <a:lnTo>
                    <a:pt x="201" y="7"/>
                  </a:lnTo>
                  <a:lnTo>
                    <a:pt x="203" y="7"/>
                  </a:lnTo>
                  <a:lnTo>
                    <a:pt x="206" y="9"/>
                  </a:lnTo>
                  <a:lnTo>
                    <a:pt x="210" y="12"/>
                  </a:lnTo>
                  <a:lnTo>
                    <a:pt x="212" y="12"/>
                  </a:lnTo>
                  <a:lnTo>
                    <a:pt x="215" y="12"/>
                  </a:lnTo>
                  <a:lnTo>
                    <a:pt x="212" y="14"/>
                  </a:lnTo>
                  <a:lnTo>
                    <a:pt x="215" y="15"/>
                  </a:lnTo>
                  <a:lnTo>
                    <a:pt x="218" y="16"/>
                  </a:lnTo>
                  <a:lnTo>
                    <a:pt x="221" y="17"/>
                  </a:lnTo>
                  <a:lnTo>
                    <a:pt x="223" y="18"/>
                  </a:lnTo>
                  <a:lnTo>
                    <a:pt x="221" y="18"/>
                  </a:lnTo>
                  <a:lnTo>
                    <a:pt x="218" y="21"/>
                  </a:lnTo>
                  <a:lnTo>
                    <a:pt x="215" y="22"/>
                  </a:lnTo>
                  <a:lnTo>
                    <a:pt x="212" y="23"/>
                  </a:lnTo>
                  <a:lnTo>
                    <a:pt x="214" y="21"/>
                  </a:lnTo>
                  <a:lnTo>
                    <a:pt x="216" y="18"/>
                  </a:lnTo>
                  <a:lnTo>
                    <a:pt x="213" y="17"/>
                  </a:lnTo>
                  <a:lnTo>
                    <a:pt x="211" y="16"/>
                  </a:lnTo>
                  <a:lnTo>
                    <a:pt x="207" y="16"/>
                  </a:lnTo>
                  <a:lnTo>
                    <a:pt x="205" y="14"/>
                  </a:lnTo>
                  <a:lnTo>
                    <a:pt x="202" y="12"/>
                  </a:lnTo>
                  <a:lnTo>
                    <a:pt x="199" y="9"/>
                  </a:lnTo>
                  <a:lnTo>
                    <a:pt x="196" y="9"/>
                  </a:lnTo>
                  <a:lnTo>
                    <a:pt x="194" y="8"/>
                  </a:lnTo>
                  <a:lnTo>
                    <a:pt x="190" y="7"/>
                  </a:lnTo>
                  <a:lnTo>
                    <a:pt x="187" y="9"/>
                  </a:lnTo>
                  <a:lnTo>
                    <a:pt x="185" y="8"/>
                  </a:lnTo>
                  <a:lnTo>
                    <a:pt x="182" y="6"/>
                  </a:lnTo>
                  <a:lnTo>
                    <a:pt x="179" y="7"/>
                  </a:lnTo>
                  <a:lnTo>
                    <a:pt x="176" y="8"/>
                  </a:lnTo>
                  <a:lnTo>
                    <a:pt x="175" y="6"/>
                  </a:lnTo>
                  <a:lnTo>
                    <a:pt x="171" y="5"/>
                  </a:lnTo>
                  <a:lnTo>
                    <a:pt x="169" y="6"/>
                  </a:lnTo>
                  <a:lnTo>
                    <a:pt x="165" y="6"/>
                  </a:lnTo>
                  <a:lnTo>
                    <a:pt x="162" y="6"/>
                  </a:lnTo>
                  <a:lnTo>
                    <a:pt x="159" y="7"/>
                  </a:lnTo>
                  <a:lnTo>
                    <a:pt x="161" y="9"/>
                  </a:lnTo>
                  <a:lnTo>
                    <a:pt x="164" y="9"/>
                  </a:lnTo>
                  <a:lnTo>
                    <a:pt x="168" y="10"/>
                  </a:lnTo>
                  <a:lnTo>
                    <a:pt x="164" y="10"/>
                  </a:lnTo>
                  <a:lnTo>
                    <a:pt x="168" y="14"/>
                  </a:lnTo>
                  <a:lnTo>
                    <a:pt x="170" y="14"/>
                  </a:lnTo>
                  <a:lnTo>
                    <a:pt x="173" y="15"/>
                  </a:lnTo>
                  <a:lnTo>
                    <a:pt x="177" y="15"/>
                  </a:lnTo>
                  <a:lnTo>
                    <a:pt x="179" y="15"/>
                  </a:lnTo>
                  <a:lnTo>
                    <a:pt x="182" y="15"/>
                  </a:lnTo>
                  <a:lnTo>
                    <a:pt x="180" y="16"/>
                  </a:lnTo>
                  <a:lnTo>
                    <a:pt x="177" y="15"/>
                  </a:lnTo>
                  <a:lnTo>
                    <a:pt x="175" y="16"/>
                  </a:lnTo>
                  <a:lnTo>
                    <a:pt x="171" y="15"/>
                  </a:lnTo>
                  <a:lnTo>
                    <a:pt x="168" y="15"/>
                  </a:lnTo>
                  <a:lnTo>
                    <a:pt x="164" y="14"/>
                  </a:lnTo>
                  <a:lnTo>
                    <a:pt x="162" y="15"/>
                  </a:lnTo>
                  <a:lnTo>
                    <a:pt x="159" y="13"/>
                  </a:lnTo>
                  <a:lnTo>
                    <a:pt x="156" y="12"/>
                  </a:lnTo>
                  <a:lnTo>
                    <a:pt x="153" y="10"/>
                  </a:lnTo>
                  <a:lnTo>
                    <a:pt x="151" y="10"/>
                  </a:lnTo>
                  <a:lnTo>
                    <a:pt x="147" y="10"/>
                  </a:lnTo>
                  <a:lnTo>
                    <a:pt x="144" y="10"/>
                  </a:lnTo>
                  <a:lnTo>
                    <a:pt x="144" y="13"/>
                  </a:lnTo>
                  <a:lnTo>
                    <a:pt x="147" y="14"/>
                  </a:lnTo>
                  <a:lnTo>
                    <a:pt x="150" y="16"/>
                  </a:lnTo>
                  <a:lnTo>
                    <a:pt x="153" y="18"/>
                  </a:lnTo>
                  <a:lnTo>
                    <a:pt x="150" y="19"/>
                  </a:lnTo>
                  <a:lnTo>
                    <a:pt x="147" y="18"/>
                  </a:lnTo>
                  <a:lnTo>
                    <a:pt x="144" y="17"/>
                  </a:lnTo>
                  <a:lnTo>
                    <a:pt x="141" y="16"/>
                  </a:lnTo>
                  <a:lnTo>
                    <a:pt x="138" y="16"/>
                  </a:lnTo>
                  <a:lnTo>
                    <a:pt x="135" y="15"/>
                  </a:lnTo>
                  <a:lnTo>
                    <a:pt x="133" y="16"/>
                  </a:lnTo>
                  <a:lnTo>
                    <a:pt x="132" y="18"/>
                  </a:lnTo>
                  <a:lnTo>
                    <a:pt x="135" y="19"/>
                  </a:lnTo>
                  <a:lnTo>
                    <a:pt x="137" y="21"/>
                  </a:lnTo>
                  <a:lnTo>
                    <a:pt x="141" y="21"/>
                  </a:lnTo>
                  <a:lnTo>
                    <a:pt x="143" y="22"/>
                  </a:lnTo>
                  <a:lnTo>
                    <a:pt x="141" y="22"/>
                  </a:lnTo>
                  <a:lnTo>
                    <a:pt x="139" y="22"/>
                  </a:lnTo>
                  <a:lnTo>
                    <a:pt x="136" y="21"/>
                  </a:lnTo>
                  <a:lnTo>
                    <a:pt x="133" y="22"/>
                  </a:lnTo>
                  <a:lnTo>
                    <a:pt x="130" y="21"/>
                  </a:lnTo>
                  <a:lnTo>
                    <a:pt x="127" y="23"/>
                  </a:lnTo>
                  <a:lnTo>
                    <a:pt x="127" y="26"/>
                  </a:lnTo>
                  <a:lnTo>
                    <a:pt x="130" y="27"/>
                  </a:lnTo>
                  <a:lnTo>
                    <a:pt x="133" y="28"/>
                  </a:lnTo>
                  <a:lnTo>
                    <a:pt x="136" y="30"/>
                  </a:lnTo>
                  <a:lnTo>
                    <a:pt x="138" y="31"/>
                  </a:lnTo>
                  <a:lnTo>
                    <a:pt x="142" y="32"/>
                  </a:lnTo>
                  <a:lnTo>
                    <a:pt x="144" y="32"/>
                  </a:lnTo>
                  <a:lnTo>
                    <a:pt x="147" y="33"/>
                  </a:lnTo>
                  <a:lnTo>
                    <a:pt x="150" y="34"/>
                  </a:lnTo>
                  <a:lnTo>
                    <a:pt x="153" y="35"/>
                  </a:lnTo>
                  <a:lnTo>
                    <a:pt x="155" y="36"/>
                  </a:lnTo>
                  <a:lnTo>
                    <a:pt x="159" y="36"/>
                  </a:lnTo>
                  <a:lnTo>
                    <a:pt x="161" y="36"/>
                  </a:lnTo>
                  <a:lnTo>
                    <a:pt x="164" y="39"/>
                  </a:lnTo>
                  <a:lnTo>
                    <a:pt x="168" y="40"/>
                  </a:lnTo>
                  <a:lnTo>
                    <a:pt x="170" y="41"/>
                  </a:lnTo>
                  <a:lnTo>
                    <a:pt x="173" y="44"/>
                  </a:lnTo>
                  <a:lnTo>
                    <a:pt x="170" y="44"/>
                  </a:lnTo>
                  <a:lnTo>
                    <a:pt x="167" y="42"/>
                  </a:lnTo>
                  <a:lnTo>
                    <a:pt x="164" y="40"/>
                  </a:lnTo>
                  <a:lnTo>
                    <a:pt x="161" y="39"/>
                  </a:lnTo>
                  <a:lnTo>
                    <a:pt x="159" y="39"/>
                  </a:lnTo>
                  <a:lnTo>
                    <a:pt x="155" y="39"/>
                  </a:lnTo>
                  <a:lnTo>
                    <a:pt x="153" y="36"/>
                  </a:lnTo>
                  <a:lnTo>
                    <a:pt x="151" y="36"/>
                  </a:lnTo>
                  <a:lnTo>
                    <a:pt x="147" y="35"/>
                  </a:lnTo>
                  <a:lnTo>
                    <a:pt x="142" y="34"/>
                  </a:lnTo>
                  <a:lnTo>
                    <a:pt x="139" y="33"/>
                  </a:lnTo>
                  <a:lnTo>
                    <a:pt x="136" y="32"/>
                  </a:lnTo>
                  <a:lnTo>
                    <a:pt x="134" y="32"/>
                  </a:lnTo>
                  <a:lnTo>
                    <a:pt x="130" y="30"/>
                  </a:lnTo>
                  <a:lnTo>
                    <a:pt x="128" y="28"/>
                  </a:lnTo>
                  <a:lnTo>
                    <a:pt x="125" y="28"/>
                  </a:lnTo>
                  <a:lnTo>
                    <a:pt x="122" y="31"/>
                  </a:lnTo>
                  <a:lnTo>
                    <a:pt x="125" y="32"/>
                  </a:lnTo>
                  <a:lnTo>
                    <a:pt x="127" y="35"/>
                  </a:lnTo>
                  <a:lnTo>
                    <a:pt x="130" y="35"/>
                  </a:lnTo>
                  <a:lnTo>
                    <a:pt x="133" y="35"/>
                  </a:lnTo>
                  <a:lnTo>
                    <a:pt x="136" y="36"/>
                  </a:lnTo>
                  <a:lnTo>
                    <a:pt x="134" y="36"/>
                  </a:lnTo>
                  <a:lnTo>
                    <a:pt x="130" y="35"/>
                  </a:lnTo>
                  <a:lnTo>
                    <a:pt x="127" y="35"/>
                  </a:lnTo>
                  <a:lnTo>
                    <a:pt x="125" y="35"/>
                  </a:lnTo>
                  <a:lnTo>
                    <a:pt x="121" y="35"/>
                  </a:lnTo>
                  <a:lnTo>
                    <a:pt x="121" y="32"/>
                  </a:lnTo>
                  <a:lnTo>
                    <a:pt x="119" y="31"/>
                  </a:lnTo>
                  <a:lnTo>
                    <a:pt x="117" y="28"/>
                  </a:lnTo>
                  <a:lnTo>
                    <a:pt x="113" y="27"/>
                  </a:lnTo>
                  <a:lnTo>
                    <a:pt x="111" y="26"/>
                  </a:lnTo>
                  <a:lnTo>
                    <a:pt x="109" y="25"/>
                  </a:lnTo>
                  <a:lnTo>
                    <a:pt x="105" y="26"/>
                  </a:lnTo>
                  <a:lnTo>
                    <a:pt x="102" y="25"/>
                  </a:lnTo>
                  <a:lnTo>
                    <a:pt x="99" y="24"/>
                  </a:lnTo>
                  <a:lnTo>
                    <a:pt x="96" y="23"/>
                  </a:lnTo>
                  <a:lnTo>
                    <a:pt x="99" y="23"/>
                  </a:lnTo>
                  <a:lnTo>
                    <a:pt x="100" y="23"/>
                  </a:lnTo>
                  <a:lnTo>
                    <a:pt x="96" y="22"/>
                  </a:lnTo>
                  <a:lnTo>
                    <a:pt x="93" y="22"/>
                  </a:lnTo>
                  <a:lnTo>
                    <a:pt x="91" y="22"/>
                  </a:lnTo>
                  <a:lnTo>
                    <a:pt x="87" y="23"/>
                  </a:lnTo>
                  <a:lnTo>
                    <a:pt x="84" y="24"/>
                  </a:lnTo>
                  <a:lnTo>
                    <a:pt x="87" y="26"/>
                  </a:lnTo>
                  <a:lnTo>
                    <a:pt x="90" y="28"/>
                  </a:lnTo>
                  <a:lnTo>
                    <a:pt x="87" y="28"/>
                  </a:lnTo>
                  <a:lnTo>
                    <a:pt x="84" y="30"/>
                  </a:lnTo>
                  <a:lnTo>
                    <a:pt x="82" y="30"/>
                  </a:lnTo>
                  <a:lnTo>
                    <a:pt x="78" y="31"/>
                  </a:lnTo>
                  <a:lnTo>
                    <a:pt x="75" y="31"/>
                  </a:lnTo>
                  <a:lnTo>
                    <a:pt x="73" y="31"/>
                  </a:lnTo>
                  <a:lnTo>
                    <a:pt x="69" y="32"/>
                  </a:lnTo>
                  <a:lnTo>
                    <a:pt x="73" y="34"/>
                  </a:lnTo>
                  <a:lnTo>
                    <a:pt x="75" y="34"/>
                  </a:lnTo>
                  <a:lnTo>
                    <a:pt x="77" y="34"/>
                  </a:lnTo>
                  <a:lnTo>
                    <a:pt x="81" y="35"/>
                  </a:lnTo>
                  <a:lnTo>
                    <a:pt x="83" y="36"/>
                  </a:lnTo>
                  <a:lnTo>
                    <a:pt x="86" y="36"/>
                  </a:lnTo>
                  <a:lnTo>
                    <a:pt x="92" y="36"/>
                  </a:lnTo>
                  <a:lnTo>
                    <a:pt x="95" y="38"/>
                  </a:lnTo>
                  <a:lnTo>
                    <a:pt x="98" y="39"/>
                  </a:lnTo>
                  <a:lnTo>
                    <a:pt x="98" y="41"/>
                  </a:lnTo>
                  <a:lnTo>
                    <a:pt x="96" y="39"/>
                  </a:lnTo>
                  <a:lnTo>
                    <a:pt x="94" y="39"/>
                  </a:lnTo>
                  <a:lnTo>
                    <a:pt x="95" y="41"/>
                  </a:lnTo>
                  <a:lnTo>
                    <a:pt x="93" y="39"/>
                  </a:lnTo>
                  <a:lnTo>
                    <a:pt x="90" y="38"/>
                  </a:lnTo>
                  <a:lnTo>
                    <a:pt x="86" y="40"/>
                  </a:lnTo>
                  <a:lnTo>
                    <a:pt x="90" y="42"/>
                  </a:lnTo>
                  <a:lnTo>
                    <a:pt x="86" y="41"/>
                  </a:lnTo>
                  <a:lnTo>
                    <a:pt x="84" y="39"/>
                  </a:lnTo>
                  <a:lnTo>
                    <a:pt x="81" y="38"/>
                  </a:lnTo>
                  <a:lnTo>
                    <a:pt x="78" y="36"/>
                  </a:lnTo>
                  <a:lnTo>
                    <a:pt x="75" y="36"/>
                  </a:lnTo>
                  <a:lnTo>
                    <a:pt x="71" y="36"/>
                  </a:lnTo>
                  <a:lnTo>
                    <a:pt x="69" y="39"/>
                  </a:lnTo>
                  <a:lnTo>
                    <a:pt x="66" y="40"/>
                  </a:lnTo>
                  <a:lnTo>
                    <a:pt x="69" y="41"/>
                  </a:lnTo>
                  <a:lnTo>
                    <a:pt x="66" y="40"/>
                  </a:lnTo>
                  <a:lnTo>
                    <a:pt x="64" y="40"/>
                  </a:lnTo>
                  <a:lnTo>
                    <a:pt x="64" y="36"/>
                  </a:lnTo>
                  <a:lnTo>
                    <a:pt x="61" y="35"/>
                  </a:lnTo>
                  <a:lnTo>
                    <a:pt x="58" y="35"/>
                  </a:lnTo>
                  <a:lnTo>
                    <a:pt x="56" y="35"/>
                  </a:lnTo>
                  <a:lnTo>
                    <a:pt x="52" y="35"/>
                  </a:lnTo>
                  <a:lnTo>
                    <a:pt x="50" y="35"/>
                  </a:lnTo>
                  <a:lnTo>
                    <a:pt x="47" y="35"/>
                  </a:lnTo>
                  <a:lnTo>
                    <a:pt x="44" y="36"/>
                  </a:lnTo>
                  <a:lnTo>
                    <a:pt x="41" y="38"/>
                  </a:lnTo>
                  <a:lnTo>
                    <a:pt x="37" y="40"/>
                  </a:lnTo>
                  <a:lnTo>
                    <a:pt x="35" y="41"/>
                  </a:lnTo>
                  <a:lnTo>
                    <a:pt x="37" y="42"/>
                  </a:lnTo>
                  <a:lnTo>
                    <a:pt x="35" y="44"/>
                  </a:lnTo>
                  <a:lnTo>
                    <a:pt x="32" y="43"/>
                  </a:lnTo>
                  <a:lnTo>
                    <a:pt x="30" y="41"/>
                  </a:lnTo>
                  <a:lnTo>
                    <a:pt x="26" y="42"/>
                  </a:lnTo>
                  <a:lnTo>
                    <a:pt x="25" y="41"/>
                  </a:lnTo>
                  <a:lnTo>
                    <a:pt x="22" y="41"/>
                  </a:lnTo>
                  <a:lnTo>
                    <a:pt x="19" y="42"/>
                  </a:lnTo>
                  <a:lnTo>
                    <a:pt x="17" y="43"/>
                  </a:lnTo>
                  <a:lnTo>
                    <a:pt x="14" y="43"/>
                  </a:lnTo>
                  <a:lnTo>
                    <a:pt x="11" y="45"/>
                  </a:lnTo>
                  <a:lnTo>
                    <a:pt x="8" y="45"/>
                  </a:lnTo>
                  <a:lnTo>
                    <a:pt x="5" y="45"/>
                  </a:lnTo>
                  <a:lnTo>
                    <a:pt x="2" y="49"/>
                  </a:lnTo>
                  <a:lnTo>
                    <a:pt x="0" y="50"/>
                  </a:lnTo>
                  <a:lnTo>
                    <a:pt x="0" y="51"/>
                  </a:lnTo>
                  <a:lnTo>
                    <a:pt x="4" y="51"/>
                  </a:lnTo>
                  <a:lnTo>
                    <a:pt x="6" y="53"/>
                  </a:lnTo>
                  <a:lnTo>
                    <a:pt x="9" y="53"/>
                  </a:lnTo>
                  <a:lnTo>
                    <a:pt x="11" y="53"/>
                  </a:lnTo>
                  <a:lnTo>
                    <a:pt x="15" y="50"/>
                  </a:lnTo>
                  <a:lnTo>
                    <a:pt x="17" y="49"/>
                  </a:lnTo>
                  <a:lnTo>
                    <a:pt x="21" y="49"/>
                  </a:lnTo>
                  <a:lnTo>
                    <a:pt x="24" y="49"/>
                  </a:lnTo>
                  <a:lnTo>
                    <a:pt x="26" y="50"/>
                  </a:lnTo>
                  <a:lnTo>
                    <a:pt x="28" y="50"/>
                  </a:lnTo>
                  <a:lnTo>
                    <a:pt x="32" y="51"/>
                  </a:lnTo>
                  <a:lnTo>
                    <a:pt x="28" y="51"/>
                  </a:lnTo>
                  <a:lnTo>
                    <a:pt x="26" y="52"/>
                  </a:lnTo>
                  <a:lnTo>
                    <a:pt x="24" y="52"/>
                  </a:lnTo>
                  <a:lnTo>
                    <a:pt x="21" y="53"/>
                  </a:lnTo>
                  <a:lnTo>
                    <a:pt x="17" y="55"/>
                  </a:lnTo>
                  <a:lnTo>
                    <a:pt x="15" y="57"/>
                  </a:lnTo>
                  <a:lnTo>
                    <a:pt x="17" y="57"/>
                  </a:lnTo>
                  <a:lnTo>
                    <a:pt x="21" y="59"/>
                  </a:lnTo>
                  <a:lnTo>
                    <a:pt x="24" y="58"/>
                  </a:lnTo>
                  <a:lnTo>
                    <a:pt x="26" y="57"/>
                  </a:lnTo>
                  <a:lnTo>
                    <a:pt x="27" y="57"/>
                  </a:lnTo>
                  <a:lnTo>
                    <a:pt x="31" y="56"/>
                  </a:lnTo>
                  <a:lnTo>
                    <a:pt x="33" y="55"/>
                  </a:lnTo>
                  <a:lnTo>
                    <a:pt x="36" y="55"/>
                  </a:lnTo>
                  <a:lnTo>
                    <a:pt x="39" y="53"/>
                  </a:lnTo>
                  <a:lnTo>
                    <a:pt x="42" y="52"/>
                  </a:lnTo>
                  <a:lnTo>
                    <a:pt x="44" y="52"/>
                  </a:lnTo>
                  <a:lnTo>
                    <a:pt x="48" y="52"/>
                  </a:lnTo>
                  <a:lnTo>
                    <a:pt x="50" y="52"/>
                  </a:lnTo>
                  <a:lnTo>
                    <a:pt x="53" y="52"/>
                  </a:lnTo>
                  <a:lnTo>
                    <a:pt x="57" y="53"/>
                  </a:lnTo>
                  <a:lnTo>
                    <a:pt x="59" y="53"/>
                  </a:lnTo>
                  <a:lnTo>
                    <a:pt x="61" y="55"/>
                  </a:lnTo>
                  <a:lnTo>
                    <a:pt x="59" y="53"/>
                  </a:lnTo>
                  <a:lnTo>
                    <a:pt x="57" y="53"/>
                  </a:lnTo>
                  <a:lnTo>
                    <a:pt x="53" y="53"/>
                  </a:lnTo>
                  <a:lnTo>
                    <a:pt x="50" y="53"/>
                  </a:lnTo>
                  <a:lnTo>
                    <a:pt x="48" y="53"/>
                  </a:lnTo>
                  <a:lnTo>
                    <a:pt x="44" y="53"/>
                  </a:lnTo>
                  <a:lnTo>
                    <a:pt x="41" y="56"/>
                  </a:lnTo>
                  <a:lnTo>
                    <a:pt x="39" y="56"/>
                  </a:lnTo>
                  <a:lnTo>
                    <a:pt x="35" y="58"/>
                  </a:lnTo>
                  <a:lnTo>
                    <a:pt x="32" y="58"/>
                  </a:lnTo>
                  <a:lnTo>
                    <a:pt x="30" y="59"/>
                  </a:lnTo>
                  <a:lnTo>
                    <a:pt x="27" y="60"/>
                  </a:lnTo>
                  <a:lnTo>
                    <a:pt x="30" y="61"/>
                  </a:lnTo>
                  <a:lnTo>
                    <a:pt x="33" y="61"/>
                  </a:lnTo>
                  <a:lnTo>
                    <a:pt x="35" y="62"/>
                  </a:lnTo>
                  <a:lnTo>
                    <a:pt x="39" y="62"/>
                  </a:lnTo>
                  <a:lnTo>
                    <a:pt x="41" y="62"/>
                  </a:lnTo>
                  <a:lnTo>
                    <a:pt x="37" y="62"/>
                  </a:lnTo>
                  <a:lnTo>
                    <a:pt x="35" y="64"/>
                  </a:lnTo>
                  <a:lnTo>
                    <a:pt x="32" y="64"/>
                  </a:lnTo>
                  <a:lnTo>
                    <a:pt x="30" y="62"/>
                  </a:lnTo>
                  <a:lnTo>
                    <a:pt x="26" y="62"/>
                  </a:lnTo>
                  <a:lnTo>
                    <a:pt x="24" y="64"/>
                  </a:lnTo>
                  <a:lnTo>
                    <a:pt x="22" y="66"/>
                  </a:lnTo>
                  <a:lnTo>
                    <a:pt x="24" y="68"/>
                  </a:lnTo>
                  <a:lnTo>
                    <a:pt x="26" y="69"/>
                  </a:lnTo>
                  <a:lnTo>
                    <a:pt x="28" y="70"/>
                  </a:lnTo>
                  <a:lnTo>
                    <a:pt x="31" y="70"/>
                  </a:lnTo>
                  <a:lnTo>
                    <a:pt x="34" y="70"/>
                  </a:lnTo>
                  <a:lnTo>
                    <a:pt x="36" y="70"/>
                  </a:lnTo>
                  <a:lnTo>
                    <a:pt x="40" y="69"/>
                  </a:lnTo>
                  <a:lnTo>
                    <a:pt x="42" y="69"/>
                  </a:lnTo>
                  <a:lnTo>
                    <a:pt x="45" y="69"/>
                  </a:lnTo>
                  <a:lnTo>
                    <a:pt x="48" y="68"/>
                  </a:lnTo>
                  <a:lnTo>
                    <a:pt x="54" y="68"/>
                  </a:lnTo>
                  <a:lnTo>
                    <a:pt x="57" y="68"/>
                  </a:lnTo>
                  <a:lnTo>
                    <a:pt x="60" y="68"/>
                  </a:lnTo>
                  <a:lnTo>
                    <a:pt x="62" y="68"/>
                  </a:lnTo>
                  <a:lnTo>
                    <a:pt x="73" y="67"/>
                  </a:lnTo>
                  <a:lnTo>
                    <a:pt x="75" y="66"/>
                  </a:lnTo>
                  <a:lnTo>
                    <a:pt x="78" y="65"/>
                  </a:lnTo>
                  <a:lnTo>
                    <a:pt x="81" y="64"/>
                  </a:lnTo>
                  <a:lnTo>
                    <a:pt x="84" y="62"/>
                  </a:lnTo>
                  <a:lnTo>
                    <a:pt x="86" y="62"/>
                  </a:lnTo>
                  <a:lnTo>
                    <a:pt x="90" y="61"/>
                  </a:lnTo>
                  <a:lnTo>
                    <a:pt x="92" y="61"/>
                  </a:lnTo>
                  <a:lnTo>
                    <a:pt x="95" y="60"/>
                  </a:lnTo>
                  <a:lnTo>
                    <a:pt x="98" y="62"/>
                  </a:lnTo>
                  <a:lnTo>
                    <a:pt x="95" y="62"/>
                  </a:lnTo>
                  <a:lnTo>
                    <a:pt x="92" y="64"/>
                  </a:lnTo>
                  <a:lnTo>
                    <a:pt x="90" y="64"/>
                  </a:lnTo>
                  <a:lnTo>
                    <a:pt x="86" y="65"/>
                  </a:lnTo>
                  <a:lnTo>
                    <a:pt x="84" y="66"/>
                  </a:lnTo>
                  <a:lnTo>
                    <a:pt x="81" y="68"/>
                  </a:lnTo>
                  <a:lnTo>
                    <a:pt x="78" y="68"/>
                  </a:lnTo>
                  <a:lnTo>
                    <a:pt x="75" y="69"/>
                  </a:lnTo>
                  <a:lnTo>
                    <a:pt x="71" y="70"/>
                  </a:lnTo>
                  <a:lnTo>
                    <a:pt x="69" y="70"/>
                  </a:lnTo>
                  <a:lnTo>
                    <a:pt x="66" y="70"/>
                  </a:lnTo>
                  <a:lnTo>
                    <a:pt x="64" y="72"/>
                  </a:lnTo>
                  <a:lnTo>
                    <a:pt x="60" y="72"/>
                  </a:lnTo>
                  <a:lnTo>
                    <a:pt x="58" y="70"/>
                  </a:lnTo>
                  <a:lnTo>
                    <a:pt x="54" y="70"/>
                  </a:lnTo>
                  <a:lnTo>
                    <a:pt x="49" y="70"/>
                  </a:lnTo>
                  <a:lnTo>
                    <a:pt x="43" y="70"/>
                  </a:lnTo>
                  <a:lnTo>
                    <a:pt x="40" y="72"/>
                  </a:lnTo>
                  <a:lnTo>
                    <a:pt x="37" y="72"/>
                  </a:lnTo>
                  <a:lnTo>
                    <a:pt x="35" y="73"/>
                  </a:lnTo>
                  <a:lnTo>
                    <a:pt x="36" y="75"/>
                  </a:lnTo>
                  <a:lnTo>
                    <a:pt x="41" y="77"/>
                  </a:lnTo>
                  <a:lnTo>
                    <a:pt x="44" y="78"/>
                  </a:lnTo>
                  <a:lnTo>
                    <a:pt x="48" y="79"/>
                  </a:lnTo>
                  <a:lnTo>
                    <a:pt x="50" y="81"/>
                  </a:lnTo>
                  <a:lnTo>
                    <a:pt x="53" y="81"/>
                  </a:lnTo>
                  <a:lnTo>
                    <a:pt x="56" y="82"/>
                  </a:lnTo>
                  <a:lnTo>
                    <a:pt x="59" y="83"/>
                  </a:lnTo>
                  <a:lnTo>
                    <a:pt x="61" y="83"/>
                  </a:lnTo>
                  <a:lnTo>
                    <a:pt x="65" y="82"/>
                  </a:lnTo>
                  <a:lnTo>
                    <a:pt x="67" y="79"/>
                  </a:lnTo>
                  <a:lnTo>
                    <a:pt x="70" y="77"/>
                  </a:lnTo>
                  <a:lnTo>
                    <a:pt x="73" y="75"/>
                  </a:lnTo>
                  <a:lnTo>
                    <a:pt x="75" y="74"/>
                  </a:lnTo>
                  <a:lnTo>
                    <a:pt x="78" y="72"/>
                  </a:lnTo>
                  <a:lnTo>
                    <a:pt x="82" y="70"/>
                  </a:lnTo>
                  <a:lnTo>
                    <a:pt x="84" y="69"/>
                  </a:lnTo>
                  <a:lnTo>
                    <a:pt x="87" y="69"/>
                  </a:lnTo>
                  <a:lnTo>
                    <a:pt x="90" y="69"/>
                  </a:lnTo>
                  <a:lnTo>
                    <a:pt x="92" y="68"/>
                  </a:lnTo>
                  <a:lnTo>
                    <a:pt x="95" y="68"/>
                  </a:lnTo>
                  <a:lnTo>
                    <a:pt x="101" y="68"/>
                  </a:lnTo>
                  <a:lnTo>
                    <a:pt x="104" y="67"/>
                  </a:lnTo>
                  <a:lnTo>
                    <a:pt x="108" y="67"/>
                  </a:lnTo>
                  <a:lnTo>
                    <a:pt x="111" y="67"/>
                  </a:lnTo>
                  <a:lnTo>
                    <a:pt x="113" y="67"/>
                  </a:lnTo>
                  <a:lnTo>
                    <a:pt x="117" y="66"/>
                  </a:lnTo>
                  <a:lnTo>
                    <a:pt x="119" y="66"/>
                  </a:lnTo>
                  <a:lnTo>
                    <a:pt x="122" y="66"/>
                  </a:lnTo>
                  <a:lnTo>
                    <a:pt x="125" y="65"/>
                  </a:lnTo>
                  <a:lnTo>
                    <a:pt x="127" y="65"/>
                  </a:lnTo>
                  <a:lnTo>
                    <a:pt x="130" y="65"/>
                  </a:lnTo>
                  <a:lnTo>
                    <a:pt x="127" y="66"/>
                  </a:lnTo>
                  <a:lnTo>
                    <a:pt x="125" y="67"/>
                  </a:lnTo>
                  <a:lnTo>
                    <a:pt x="121" y="67"/>
                  </a:lnTo>
                  <a:lnTo>
                    <a:pt x="119" y="67"/>
                  </a:lnTo>
                  <a:lnTo>
                    <a:pt x="113" y="68"/>
                  </a:lnTo>
                  <a:lnTo>
                    <a:pt x="110" y="68"/>
                  </a:lnTo>
                  <a:lnTo>
                    <a:pt x="107" y="68"/>
                  </a:lnTo>
                  <a:lnTo>
                    <a:pt x="104" y="69"/>
                  </a:lnTo>
                  <a:lnTo>
                    <a:pt x="101" y="69"/>
                  </a:lnTo>
                  <a:lnTo>
                    <a:pt x="99" y="69"/>
                  </a:lnTo>
                  <a:lnTo>
                    <a:pt x="95" y="69"/>
                  </a:lnTo>
                  <a:lnTo>
                    <a:pt x="93" y="70"/>
                  </a:lnTo>
                  <a:lnTo>
                    <a:pt x="90" y="70"/>
                  </a:lnTo>
                  <a:lnTo>
                    <a:pt x="86" y="72"/>
                  </a:lnTo>
                  <a:lnTo>
                    <a:pt x="83" y="73"/>
                  </a:lnTo>
                  <a:lnTo>
                    <a:pt x="81" y="75"/>
                  </a:lnTo>
                  <a:lnTo>
                    <a:pt x="78" y="77"/>
                  </a:lnTo>
                  <a:lnTo>
                    <a:pt x="75" y="78"/>
                  </a:lnTo>
                  <a:lnTo>
                    <a:pt x="73" y="81"/>
                  </a:lnTo>
                  <a:lnTo>
                    <a:pt x="71" y="84"/>
                  </a:lnTo>
                  <a:lnTo>
                    <a:pt x="74" y="84"/>
                  </a:lnTo>
                  <a:lnTo>
                    <a:pt x="77" y="85"/>
                  </a:lnTo>
                  <a:lnTo>
                    <a:pt x="79" y="85"/>
                  </a:lnTo>
                  <a:lnTo>
                    <a:pt x="83" y="84"/>
                  </a:lnTo>
                  <a:lnTo>
                    <a:pt x="85" y="84"/>
                  </a:lnTo>
                  <a:lnTo>
                    <a:pt x="83" y="85"/>
                  </a:lnTo>
                  <a:lnTo>
                    <a:pt x="85" y="85"/>
                  </a:lnTo>
                  <a:lnTo>
                    <a:pt x="88" y="86"/>
                  </a:lnTo>
                  <a:lnTo>
                    <a:pt x="92" y="86"/>
                  </a:lnTo>
                  <a:lnTo>
                    <a:pt x="94" y="86"/>
                  </a:lnTo>
                  <a:lnTo>
                    <a:pt x="98" y="86"/>
                  </a:lnTo>
                  <a:lnTo>
                    <a:pt x="100" y="86"/>
                  </a:lnTo>
                  <a:lnTo>
                    <a:pt x="103" y="86"/>
                  </a:lnTo>
                  <a:lnTo>
                    <a:pt x="105" y="85"/>
                  </a:lnTo>
                  <a:lnTo>
                    <a:pt x="109" y="85"/>
                  </a:lnTo>
                  <a:lnTo>
                    <a:pt x="111" y="84"/>
                  </a:lnTo>
                  <a:lnTo>
                    <a:pt x="112" y="82"/>
                  </a:lnTo>
                  <a:lnTo>
                    <a:pt x="112" y="78"/>
                  </a:lnTo>
                  <a:lnTo>
                    <a:pt x="116" y="77"/>
                  </a:lnTo>
                  <a:lnTo>
                    <a:pt x="118" y="77"/>
                  </a:lnTo>
                  <a:lnTo>
                    <a:pt x="116" y="81"/>
                  </a:lnTo>
                  <a:lnTo>
                    <a:pt x="118" y="81"/>
                  </a:lnTo>
                  <a:lnTo>
                    <a:pt x="121" y="79"/>
                  </a:lnTo>
                  <a:lnTo>
                    <a:pt x="124" y="79"/>
                  </a:lnTo>
                  <a:lnTo>
                    <a:pt x="127" y="79"/>
                  </a:lnTo>
                  <a:lnTo>
                    <a:pt x="129" y="78"/>
                  </a:lnTo>
                  <a:lnTo>
                    <a:pt x="133" y="77"/>
                  </a:lnTo>
                  <a:lnTo>
                    <a:pt x="135" y="76"/>
                  </a:lnTo>
                  <a:lnTo>
                    <a:pt x="138" y="77"/>
                  </a:lnTo>
                  <a:lnTo>
                    <a:pt x="135" y="78"/>
                  </a:lnTo>
                  <a:lnTo>
                    <a:pt x="133" y="79"/>
                  </a:lnTo>
                  <a:lnTo>
                    <a:pt x="129" y="79"/>
                  </a:lnTo>
                  <a:lnTo>
                    <a:pt x="126" y="81"/>
                  </a:lnTo>
                  <a:lnTo>
                    <a:pt x="124" y="82"/>
                  </a:lnTo>
                  <a:lnTo>
                    <a:pt x="120" y="83"/>
                  </a:lnTo>
                  <a:lnTo>
                    <a:pt x="120" y="85"/>
                  </a:lnTo>
                  <a:lnTo>
                    <a:pt x="122" y="85"/>
                  </a:lnTo>
                  <a:lnTo>
                    <a:pt x="126" y="85"/>
                  </a:lnTo>
                  <a:lnTo>
                    <a:pt x="129" y="85"/>
                  </a:lnTo>
                  <a:lnTo>
                    <a:pt x="132" y="84"/>
                  </a:lnTo>
                  <a:lnTo>
                    <a:pt x="135" y="84"/>
                  </a:lnTo>
                  <a:lnTo>
                    <a:pt x="137" y="84"/>
                  </a:lnTo>
                  <a:lnTo>
                    <a:pt x="141" y="84"/>
                  </a:lnTo>
                  <a:lnTo>
                    <a:pt x="143" y="83"/>
                  </a:lnTo>
                  <a:lnTo>
                    <a:pt x="146" y="83"/>
                  </a:lnTo>
                  <a:lnTo>
                    <a:pt x="149" y="82"/>
                  </a:lnTo>
                  <a:lnTo>
                    <a:pt x="152" y="82"/>
                  </a:lnTo>
                  <a:lnTo>
                    <a:pt x="154" y="81"/>
                  </a:lnTo>
                  <a:lnTo>
                    <a:pt x="156" y="79"/>
                  </a:lnTo>
                  <a:lnTo>
                    <a:pt x="160" y="79"/>
                  </a:lnTo>
                  <a:lnTo>
                    <a:pt x="163" y="78"/>
                  </a:lnTo>
                  <a:lnTo>
                    <a:pt x="165" y="77"/>
                  </a:lnTo>
                  <a:lnTo>
                    <a:pt x="169" y="76"/>
                  </a:lnTo>
                  <a:lnTo>
                    <a:pt x="171" y="74"/>
                  </a:lnTo>
                  <a:lnTo>
                    <a:pt x="175" y="72"/>
                  </a:lnTo>
                  <a:lnTo>
                    <a:pt x="172" y="69"/>
                  </a:lnTo>
                  <a:lnTo>
                    <a:pt x="176" y="67"/>
                  </a:lnTo>
                  <a:lnTo>
                    <a:pt x="173" y="66"/>
                  </a:lnTo>
                  <a:lnTo>
                    <a:pt x="170" y="65"/>
                  </a:lnTo>
                  <a:lnTo>
                    <a:pt x="172" y="66"/>
                  </a:lnTo>
                  <a:lnTo>
                    <a:pt x="176" y="66"/>
                  </a:lnTo>
                  <a:lnTo>
                    <a:pt x="178" y="67"/>
                  </a:lnTo>
                  <a:lnTo>
                    <a:pt x="181" y="67"/>
                  </a:lnTo>
                  <a:lnTo>
                    <a:pt x="182" y="64"/>
                  </a:lnTo>
                  <a:lnTo>
                    <a:pt x="185" y="62"/>
                  </a:lnTo>
                  <a:lnTo>
                    <a:pt x="187" y="61"/>
                  </a:lnTo>
                  <a:lnTo>
                    <a:pt x="190" y="59"/>
                  </a:lnTo>
                  <a:lnTo>
                    <a:pt x="193" y="59"/>
                  </a:lnTo>
                  <a:lnTo>
                    <a:pt x="196" y="58"/>
                  </a:lnTo>
                  <a:lnTo>
                    <a:pt x="199" y="57"/>
                  </a:lnTo>
                  <a:lnTo>
                    <a:pt x="202" y="57"/>
                  </a:lnTo>
                  <a:lnTo>
                    <a:pt x="205" y="57"/>
                  </a:lnTo>
                  <a:lnTo>
                    <a:pt x="202" y="58"/>
                  </a:lnTo>
                  <a:lnTo>
                    <a:pt x="199" y="59"/>
                  </a:lnTo>
                  <a:lnTo>
                    <a:pt x="196" y="59"/>
                  </a:lnTo>
                  <a:lnTo>
                    <a:pt x="194" y="60"/>
                  </a:lnTo>
                  <a:lnTo>
                    <a:pt x="190" y="62"/>
                  </a:lnTo>
                  <a:lnTo>
                    <a:pt x="188" y="65"/>
                  </a:lnTo>
                  <a:lnTo>
                    <a:pt x="185" y="66"/>
                  </a:lnTo>
                  <a:lnTo>
                    <a:pt x="182" y="68"/>
                  </a:lnTo>
                  <a:lnTo>
                    <a:pt x="179" y="69"/>
                  </a:lnTo>
                  <a:lnTo>
                    <a:pt x="178" y="73"/>
                  </a:lnTo>
                  <a:lnTo>
                    <a:pt x="179" y="75"/>
                  </a:lnTo>
                  <a:lnTo>
                    <a:pt x="182" y="75"/>
                  </a:lnTo>
                  <a:lnTo>
                    <a:pt x="185" y="75"/>
                  </a:lnTo>
                  <a:lnTo>
                    <a:pt x="188" y="74"/>
                  </a:lnTo>
                  <a:lnTo>
                    <a:pt x="190" y="74"/>
                  </a:lnTo>
                  <a:lnTo>
                    <a:pt x="194" y="74"/>
                  </a:lnTo>
                  <a:lnTo>
                    <a:pt x="196" y="74"/>
                  </a:lnTo>
                  <a:lnTo>
                    <a:pt x="199" y="74"/>
                  </a:lnTo>
                  <a:lnTo>
                    <a:pt x="202" y="74"/>
                  </a:lnTo>
                  <a:lnTo>
                    <a:pt x="209" y="74"/>
                  </a:lnTo>
                  <a:lnTo>
                    <a:pt x="211" y="75"/>
                  </a:lnTo>
                  <a:lnTo>
                    <a:pt x="209" y="76"/>
                  </a:lnTo>
                  <a:lnTo>
                    <a:pt x="202" y="76"/>
                  </a:lnTo>
                  <a:lnTo>
                    <a:pt x="198" y="76"/>
                  </a:lnTo>
                  <a:lnTo>
                    <a:pt x="196" y="76"/>
                  </a:lnTo>
                  <a:lnTo>
                    <a:pt x="193" y="76"/>
                  </a:lnTo>
                  <a:lnTo>
                    <a:pt x="189" y="77"/>
                  </a:lnTo>
                  <a:lnTo>
                    <a:pt x="182" y="78"/>
                  </a:lnTo>
                  <a:lnTo>
                    <a:pt x="180" y="78"/>
                  </a:lnTo>
                  <a:lnTo>
                    <a:pt x="178" y="79"/>
                  </a:lnTo>
                  <a:lnTo>
                    <a:pt x="175" y="79"/>
                  </a:lnTo>
                  <a:lnTo>
                    <a:pt x="169" y="82"/>
                  </a:lnTo>
                  <a:lnTo>
                    <a:pt x="165" y="83"/>
                  </a:lnTo>
                  <a:lnTo>
                    <a:pt x="169" y="84"/>
                  </a:lnTo>
                  <a:lnTo>
                    <a:pt x="172" y="83"/>
                  </a:lnTo>
                  <a:lnTo>
                    <a:pt x="176" y="83"/>
                  </a:lnTo>
                  <a:lnTo>
                    <a:pt x="178" y="83"/>
                  </a:lnTo>
                  <a:lnTo>
                    <a:pt x="181" y="83"/>
                  </a:lnTo>
                  <a:lnTo>
                    <a:pt x="184" y="83"/>
                  </a:lnTo>
                  <a:lnTo>
                    <a:pt x="187" y="84"/>
                  </a:lnTo>
                  <a:lnTo>
                    <a:pt x="190" y="84"/>
                  </a:lnTo>
                  <a:lnTo>
                    <a:pt x="188" y="84"/>
                  </a:lnTo>
                  <a:lnTo>
                    <a:pt x="182" y="84"/>
                  </a:lnTo>
                  <a:lnTo>
                    <a:pt x="179" y="85"/>
                  </a:lnTo>
                  <a:lnTo>
                    <a:pt x="173" y="85"/>
                  </a:lnTo>
                  <a:lnTo>
                    <a:pt x="171" y="85"/>
                  </a:lnTo>
                  <a:lnTo>
                    <a:pt x="168" y="85"/>
                  </a:lnTo>
                  <a:lnTo>
                    <a:pt x="164" y="85"/>
                  </a:lnTo>
                  <a:lnTo>
                    <a:pt x="162" y="85"/>
                  </a:lnTo>
                  <a:lnTo>
                    <a:pt x="159" y="87"/>
                  </a:lnTo>
                  <a:lnTo>
                    <a:pt x="156" y="87"/>
                  </a:lnTo>
                  <a:lnTo>
                    <a:pt x="153" y="89"/>
                  </a:lnTo>
                  <a:lnTo>
                    <a:pt x="151" y="89"/>
                  </a:lnTo>
                  <a:lnTo>
                    <a:pt x="145" y="89"/>
                  </a:lnTo>
                  <a:lnTo>
                    <a:pt x="142" y="90"/>
                  </a:lnTo>
                  <a:lnTo>
                    <a:pt x="139" y="90"/>
                  </a:lnTo>
                  <a:lnTo>
                    <a:pt x="136" y="90"/>
                  </a:lnTo>
                  <a:lnTo>
                    <a:pt x="133" y="91"/>
                  </a:lnTo>
                  <a:lnTo>
                    <a:pt x="130" y="91"/>
                  </a:lnTo>
                  <a:lnTo>
                    <a:pt x="127" y="91"/>
                  </a:lnTo>
                  <a:lnTo>
                    <a:pt x="124" y="91"/>
                  </a:lnTo>
                  <a:lnTo>
                    <a:pt x="121" y="93"/>
                  </a:lnTo>
                  <a:lnTo>
                    <a:pt x="124" y="95"/>
                  </a:lnTo>
                  <a:lnTo>
                    <a:pt x="127" y="98"/>
                  </a:lnTo>
                  <a:lnTo>
                    <a:pt x="129" y="99"/>
                  </a:lnTo>
                  <a:lnTo>
                    <a:pt x="133" y="101"/>
                  </a:lnTo>
                  <a:lnTo>
                    <a:pt x="135" y="102"/>
                  </a:lnTo>
                  <a:lnTo>
                    <a:pt x="138" y="103"/>
                  </a:lnTo>
                  <a:lnTo>
                    <a:pt x="141" y="103"/>
                  </a:lnTo>
                  <a:lnTo>
                    <a:pt x="144" y="104"/>
                  </a:lnTo>
                  <a:lnTo>
                    <a:pt x="142" y="107"/>
                  </a:lnTo>
                  <a:lnTo>
                    <a:pt x="141" y="110"/>
                  </a:lnTo>
                  <a:lnTo>
                    <a:pt x="144" y="111"/>
                  </a:lnTo>
                  <a:lnTo>
                    <a:pt x="146" y="111"/>
                  </a:lnTo>
                  <a:lnTo>
                    <a:pt x="149" y="112"/>
                  </a:lnTo>
                  <a:lnTo>
                    <a:pt x="152" y="113"/>
                  </a:lnTo>
                  <a:lnTo>
                    <a:pt x="154" y="113"/>
                  </a:lnTo>
                  <a:lnTo>
                    <a:pt x="158" y="112"/>
                  </a:lnTo>
                  <a:lnTo>
                    <a:pt x="161" y="112"/>
                  </a:lnTo>
                  <a:lnTo>
                    <a:pt x="163" y="111"/>
                  </a:lnTo>
                  <a:lnTo>
                    <a:pt x="165" y="112"/>
                  </a:lnTo>
                  <a:lnTo>
                    <a:pt x="163" y="113"/>
                  </a:lnTo>
                  <a:lnTo>
                    <a:pt x="162" y="113"/>
                  </a:lnTo>
                  <a:lnTo>
                    <a:pt x="159" y="113"/>
                  </a:lnTo>
                  <a:lnTo>
                    <a:pt x="156" y="115"/>
                  </a:lnTo>
                  <a:lnTo>
                    <a:pt x="153" y="116"/>
                  </a:lnTo>
                  <a:lnTo>
                    <a:pt x="150" y="115"/>
                  </a:lnTo>
                  <a:lnTo>
                    <a:pt x="147" y="115"/>
                  </a:lnTo>
                  <a:lnTo>
                    <a:pt x="144" y="113"/>
                  </a:lnTo>
                  <a:lnTo>
                    <a:pt x="141" y="115"/>
                  </a:lnTo>
                  <a:lnTo>
                    <a:pt x="138" y="112"/>
                  </a:lnTo>
                  <a:lnTo>
                    <a:pt x="135" y="109"/>
                  </a:lnTo>
                  <a:lnTo>
                    <a:pt x="134" y="107"/>
                  </a:lnTo>
                  <a:lnTo>
                    <a:pt x="130" y="105"/>
                  </a:lnTo>
                  <a:lnTo>
                    <a:pt x="128" y="103"/>
                  </a:lnTo>
                  <a:lnTo>
                    <a:pt x="125" y="102"/>
                  </a:lnTo>
                  <a:lnTo>
                    <a:pt x="122" y="101"/>
                  </a:lnTo>
                  <a:lnTo>
                    <a:pt x="120" y="100"/>
                  </a:lnTo>
                  <a:lnTo>
                    <a:pt x="117" y="98"/>
                  </a:lnTo>
                  <a:lnTo>
                    <a:pt x="115" y="96"/>
                  </a:lnTo>
                  <a:lnTo>
                    <a:pt x="111" y="94"/>
                  </a:lnTo>
                  <a:lnTo>
                    <a:pt x="109" y="94"/>
                  </a:lnTo>
                  <a:lnTo>
                    <a:pt x="105" y="94"/>
                  </a:lnTo>
                  <a:lnTo>
                    <a:pt x="103" y="93"/>
                  </a:lnTo>
                  <a:lnTo>
                    <a:pt x="100" y="93"/>
                  </a:lnTo>
                  <a:lnTo>
                    <a:pt x="96" y="94"/>
                  </a:lnTo>
                  <a:lnTo>
                    <a:pt x="94" y="94"/>
                  </a:lnTo>
                  <a:lnTo>
                    <a:pt x="91" y="94"/>
                  </a:lnTo>
                  <a:lnTo>
                    <a:pt x="88" y="93"/>
                  </a:lnTo>
                  <a:lnTo>
                    <a:pt x="83" y="92"/>
                  </a:lnTo>
                  <a:lnTo>
                    <a:pt x="79" y="92"/>
                  </a:lnTo>
                  <a:lnTo>
                    <a:pt x="77" y="92"/>
                  </a:lnTo>
                  <a:lnTo>
                    <a:pt x="74" y="94"/>
                  </a:lnTo>
                  <a:lnTo>
                    <a:pt x="73" y="96"/>
                  </a:lnTo>
                  <a:lnTo>
                    <a:pt x="73" y="100"/>
                  </a:lnTo>
                  <a:lnTo>
                    <a:pt x="75" y="102"/>
                  </a:lnTo>
                  <a:lnTo>
                    <a:pt x="77" y="102"/>
                  </a:lnTo>
                  <a:lnTo>
                    <a:pt x="79" y="102"/>
                  </a:lnTo>
                  <a:lnTo>
                    <a:pt x="83" y="103"/>
                  </a:lnTo>
                  <a:lnTo>
                    <a:pt x="86" y="103"/>
                  </a:lnTo>
                  <a:lnTo>
                    <a:pt x="88" y="105"/>
                  </a:lnTo>
                  <a:lnTo>
                    <a:pt x="86" y="104"/>
                  </a:lnTo>
                  <a:lnTo>
                    <a:pt x="83" y="104"/>
                  </a:lnTo>
                  <a:lnTo>
                    <a:pt x="81" y="103"/>
                  </a:lnTo>
                  <a:lnTo>
                    <a:pt x="78" y="103"/>
                  </a:lnTo>
                  <a:lnTo>
                    <a:pt x="75" y="104"/>
                  </a:lnTo>
                  <a:lnTo>
                    <a:pt x="75" y="107"/>
                  </a:lnTo>
                  <a:lnTo>
                    <a:pt x="75" y="110"/>
                  </a:lnTo>
                  <a:lnTo>
                    <a:pt x="77" y="110"/>
                  </a:lnTo>
                  <a:lnTo>
                    <a:pt x="81" y="111"/>
                  </a:lnTo>
                  <a:lnTo>
                    <a:pt x="83" y="111"/>
                  </a:lnTo>
                  <a:lnTo>
                    <a:pt x="86" y="111"/>
                  </a:lnTo>
                  <a:lnTo>
                    <a:pt x="90" y="112"/>
                  </a:lnTo>
                  <a:lnTo>
                    <a:pt x="92" y="113"/>
                  </a:lnTo>
                  <a:lnTo>
                    <a:pt x="95" y="116"/>
                  </a:lnTo>
                  <a:lnTo>
                    <a:pt x="96" y="118"/>
                  </a:lnTo>
                  <a:lnTo>
                    <a:pt x="100" y="119"/>
                  </a:lnTo>
                  <a:lnTo>
                    <a:pt x="102" y="122"/>
                  </a:lnTo>
                  <a:lnTo>
                    <a:pt x="103" y="125"/>
                  </a:lnTo>
                  <a:lnTo>
                    <a:pt x="104" y="127"/>
                  </a:lnTo>
                  <a:lnTo>
                    <a:pt x="108" y="128"/>
                  </a:lnTo>
                  <a:lnTo>
                    <a:pt x="111" y="129"/>
                  </a:lnTo>
                  <a:lnTo>
                    <a:pt x="113" y="132"/>
                  </a:lnTo>
                  <a:lnTo>
                    <a:pt x="117" y="132"/>
                  </a:lnTo>
                  <a:lnTo>
                    <a:pt x="113" y="133"/>
                  </a:lnTo>
                  <a:lnTo>
                    <a:pt x="111" y="132"/>
                  </a:lnTo>
                  <a:lnTo>
                    <a:pt x="108" y="130"/>
                  </a:lnTo>
                  <a:lnTo>
                    <a:pt x="104" y="129"/>
                  </a:lnTo>
                  <a:lnTo>
                    <a:pt x="102" y="128"/>
                  </a:lnTo>
                  <a:lnTo>
                    <a:pt x="99" y="130"/>
                  </a:lnTo>
                  <a:lnTo>
                    <a:pt x="100" y="133"/>
                  </a:lnTo>
                  <a:lnTo>
                    <a:pt x="103" y="134"/>
                  </a:lnTo>
                  <a:lnTo>
                    <a:pt x="105" y="134"/>
                  </a:lnTo>
                  <a:lnTo>
                    <a:pt x="109" y="135"/>
                  </a:lnTo>
                  <a:lnTo>
                    <a:pt x="111" y="135"/>
                  </a:lnTo>
                  <a:lnTo>
                    <a:pt x="115" y="135"/>
                  </a:lnTo>
                  <a:lnTo>
                    <a:pt x="117" y="135"/>
                  </a:lnTo>
                  <a:lnTo>
                    <a:pt x="120" y="135"/>
                  </a:lnTo>
                  <a:lnTo>
                    <a:pt x="122" y="135"/>
                  </a:lnTo>
                  <a:lnTo>
                    <a:pt x="128" y="136"/>
                  </a:lnTo>
                  <a:lnTo>
                    <a:pt x="132" y="136"/>
                  </a:lnTo>
                  <a:lnTo>
                    <a:pt x="134" y="136"/>
                  </a:lnTo>
                  <a:lnTo>
                    <a:pt x="137" y="133"/>
                  </a:lnTo>
                  <a:lnTo>
                    <a:pt x="139" y="132"/>
                  </a:lnTo>
                  <a:lnTo>
                    <a:pt x="143" y="132"/>
                  </a:lnTo>
                  <a:lnTo>
                    <a:pt x="139" y="135"/>
                  </a:lnTo>
                  <a:lnTo>
                    <a:pt x="138" y="137"/>
                  </a:lnTo>
                  <a:lnTo>
                    <a:pt x="135" y="137"/>
                  </a:lnTo>
                  <a:lnTo>
                    <a:pt x="133" y="138"/>
                  </a:lnTo>
                  <a:lnTo>
                    <a:pt x="129" y="138"/>
                  </a:lnTo>
                  <a:lnTo>
                    <a:pt x="126" y="138"/>
                  </a:lnTo>
                  <a:lnTo>
                    <a:pt x="124" y="137"/>
                  </a:lnTo>
                  <a:lnTo>
                    <a:pt x="121" y="139"/>
                  </a:lnTo>
                  <a:lnTo>
                    <a:pt x="124" y="141"/>
                  </a:lnTo>
                  <a:lnTo>
                    <a:pt x="127" y="142"/>
                  </a:lnTo>
                  <a:lnTo>
                    <a:pt x="129" y="141"/>
                  </a:lnTo>
                  <a:lnTo>
                    <a:pt x="133" y="142"/>
                  </a:lnTo>
                  <a:lnTo>
                    <a:pt x="129" y="144"/>
                  </a:lnTo>
                  <a:lnTo>
                    <a:pt x="132" y="146"/>
                  </a:lnTo>
                  <a:lnTo>
                    <a:pt x="128" y="145"/>
                  </a:lnTo>
                  <a:lnTo>
                    <a:pt x="126" y="143"/>
                  </a:lnTo>
                  <a:lnTo>
                    <a:pt x="122" y="142"/>
                  </a:lnTo>
                  <a:lnTo>
                    <a:pt x="120" y="142"/>
                  </a:lnTo>
                  <a:lnTo>
                    <a:pt x="118" y="139"/>
                  </a:lnTo>
                  <a:lnTo>
                    <a:pt x="115" y="139"/>
                  </a:lnTo>
                  <a:lnTo>
                    <a:pt x="111" y="138"/>
                  </a:lnTo>
                  <a:lnTo>
                    <a:pt x="109" y="137"/>
                  </a:lnTo>
                  <a:lnTo>
                    <a:pt x="105" y="137"/>
                  </a:lnTo>
                  <a:lnTo>
                    <a:pt x="103" y="137"/>
                  </a:lnTo>
                  <a:lnTo>
                    <a:pt x="100" y="137"/>
                  </a:lnTo>
                  <a:lnTo>
                    <a:pt x="98" y="136"/>
                  </a:lnTo>
                  <a:lnTo>
                    <a:pt x="95" y="136"/>
                  </a:lnTo>
                  <a:lnTo>
                    <a:pt x="92" y="136"/>
                  </a:lnTo>
                  <a:lnTo>
                    <a:pt x="90" y="136"/>
                  </a:lnTo>
                  <a:lnTo>
                    <a:pt x="86" y="137"/>
                  </a:lnTo>
                  <a:lnTo>
                    <a:pt x="81" y="138"/>
                  </a:lnTo>
                  <a:lnTo>
                    <a:pt x="78" y="138"/>
                  </a:lnTo>
                  <a:lnTo>
                    <a:pt x="75" y="139"/>
                  </a:lnTo>
                  <a:lnTo>
                    <a:pt x="71" y="139"/>
                  </a:lnTo>
                  <a:lnTo>
                    <a:pt x="69" y="141"/>
                  </a:lnTo>
                  <a:lnTo>
                    <a:pt x="67" y="144"/>
                  </a:lnTo>
                  <a:lnTo>
                    <a:pt x="68" y="146"/>
                  </a:lnTo>
                  <a:lnTo>
                    <a:pt x="66" y="146"/>
                  </a:lnTo>
                  <a:lnTo>
                    <a:pt x="62" y="149"/>
                  </a:lnTo>
                  <a:lnTo>
                    <a:pt x="60" y="151"/>
                  </a:lnTo>
                  <a:lnTo>
                    <a:pt x="60" y="154"/>
                  </a:lnTo>
                  <a:lnTo>
                    <a:pt x="62" y="156"/>
                  </a:lnTo>
                  <a:lnTo>
                    <a:pt x="65" y="158"/>
                  </a:lnTo>
                  <a:lnTo>
                    <a:pt x="62" y="160"/>
                  </a:lnTo>
                  <a:lnTo>
                    <a:pt x="65" y="160"/>
                  </a:lnTo>
                  <a:lnTo>
                    <a:pt x="68" y="160"/>
                  </a:lnTo>
                  <a:lnTo>
                    <a:pt x="71" y="160"/>
                  </a:lnTo>
                  <a:lnTo>
                    <a:pt x="74" y="156"/>
                  </a:lnTo>
                  <a:lnTo>
                    <a:pt x="77" y="158"/>
                  </a:lnTo>
                  <a:lnTo>
                    <a:pt x="79" y="156"/>
                  </a:lnTo>
                  <a:lnTo>
                    <a:pt x="83" y="154"/>
                  </a:lnTo>
                  <a:lnTo>
                    <a:pt x="81" y="156"/>
                  </a:lnTo>
                  <a:lnTo>
                    <a:pt x="77" y="159"/>
                  </a:lnTo>
                  <a:lnTo>
                    <a:pt x="79" y="161"/>
                  </a:lnTo>
                  <a:lnTo>
                    <a:pt x="83" y="161"/>
                  </a:lnTo>
                  <a:lnTo>
                    <a:pt x="85" y="160"/>
                  </a:lnTo>
                  <a:lnTo>
                    <a:pt x="88" y="160"/>
                  </a:lnTo>
                  <a:lnTo>
                    <a:pt x="91" y="158"/>
                  </a:lnTo>
                  <a:lnTo>
                    <a:pt x="93" y="155"/>
                  </a:lnTo>
                  <a:lnTo>
                    <a:pt x="95" y="152"/>
                  </a:lnTo>
                  <a:lnTo>
                    <a:pt x="96" y="150"/>
                  </a:lnTo>
                  <a:lnTo>
                    <a:pt x="99" y="147"/>
                  </a:lnTo>
                  <a:lnTo>
                    <a:pt x="98" y="150"/>
                  </a:lnTo>
                  <a:lnTo>
                    <a:pt x="96" y="152"/>
                  </a:lnTo>
                  <a:lnTo>
                    <a:pt x="100" y="153"/>
                  </a:lnTo>
                  <a:lnTo>
                    <a:pt x="96" y="154"/>
                  </a:lnTo>
                  <a:lnTo>
                    <a:pt x="98" y="156"/>
                  </a:lnTo>
                  <a:lnTo>
                    <a:pt x="100" y="156"/>
                  </a:lnTo>
                  <a:lnTo>
                    <a:pt x="103" y="156"/>
                  </a:lnTo>
                  <a:lnTo>
                    <a:pt x="105" y="159"/>
                  </a:lnTo>
                  <a:lnTo>
                    <a:pt x="103" y="158"/>
                  </a:lnTo>
                  <a:lnTo>
                    <a:pt x="100" y="158"/>
                  </a:lnTo>
                  <a:lnTo>
                    <a:pt x="98" y="158"/>
                  </a:lnTo>
                  <a:lnTo>
                    <a:pt x="95" y="158"/>
                  </a:lnTo>
                  <a:lnTo>
                    <a:pt x="95" y="161"/>
                  </a:lnTo>
                  <a:lnTo>
                    <a:pt x="99" y="161"/>
                  </a:lnTo>
                  <a:lnTo>
                    <a:pt x="101" y="161"/>
                  </a:lnTo>
                  <a:lnTo>
                    <a:pt x="104" y="161"/>
                  </a:lnTo>
                  <a:lnTo>
                    <a:pt x="101" y="161"/>
                  </a:lnTo>
                  <a:lnTo>
                    <a:pt x="99" y="162"/>
                  </a:lnTo>
                  <a:lnTo>
                    <a:pt x="95" y="162"/>
                  </a:lnTo>
                  <a:lnTo>
                    <a:pt x="93" y="162"/>
                  </a:lnTo>
                  <a:lnTo>
                    <a:pt x="90" y="162"/>
                  </a:lnTo>
                  <a:lnTo>
                    <a:pt x="87" y="164"/>
                  </a:lnTo>
                  <a:lnTo>
                    <a:pt x="87" y="167"/>
                  </a:lnTo>
                  <a:lnTo>
                    <a:pt x="93" y="166"/>
                  </a:lnTo>
                  <a:lnTo>
                    <a:pt x="95" y="166"/>
                  </a:lnTo>
                  <a:lnTo>
                    <a:pt x="95" y="167"/>
                  </a:lnTo>
                  <a:lnTo>
                    <a:pt x="93" y="167"/>
                  </a:lnTo>
                  <a:lnTo>
                    <a:pt x="91" y="169"/>
                  </a:lnTo>
                  <a:lnTo>
                    <a:pt x="93" y="169"/>
                  </a:lnTo>
                  <a:lnTo>
                    <a:pt x="91" y="171"/>
                  </a:lnTo>
                  <a:lnTo>
                    <a:pt x="93" y="173"/>
                  </a:lnTo>
                  <a:lnTo>
                    <a:pt x="95" y="175"/>
                  </a:lnTo>
                  <a:lnTo>
                    <a:pt x="95" y="175"/>
                  </a:lnTo>
                  <a:lnTo>
                    <a:pt x="95" y="175"/>
                  </a:lnTo>
                  <a:lnTo>
                    <a:pt x="95" y="175"/>
                  </a:lnTo>
                  <a:lnTo>
                    <a:pt x="95" y="176"/>
                  </a:lnTo>
                  <a:lnTo>
                    <a:pt x="94" y="176"/>
                  </a:lnTo>
                  <a:lnTo>
                    <a:pt x="91" y="176"/>
                  </a:lnTo>
                  <a:lnTo>
                    <a:pt x="88" y="177"/>
                  </a:lnTo>
                  <a:lnTo>
                    <a:pt x="91" y="177"/>
                  </a:lnTo>
                  <a:lnTo>
                    <a:pt x="94" y="179"/>
                  </a:lnTo>
                  <a:lnTo>
                    <a:pt x="95" y="178"/>
                  </a:lnTo>
                  <a:lnTo>
                    <a:pt x="95" y="181"/>
                  </a:lnTo>
                  <a:lnTo>
                    <a:pt x="93" y="181"/>
                  </a:lnTo>
                  <a:lnTo>
                    <a:pt x="90" y="180"/>
                  </a:lnTo>
                  <a:lnTo>
                    <a:pt x="87" y="179"/>
                  </a:lnTo>
                  <a:lnTo>
                    <a:pt x="84" y="179"/>
                  </a:lnTo>
                  <a:lnTo>
                    <a:pt x="84" y="177"/>
                  </a:lnTo>
                  <a:lnTo>
                    <a:pt x="83" y="173"/>
                  </a:lnTo>
                  <a:lnTo>
                    <a:pt x="79" y="171"/>
                  </a:lnTo>
                  <a:lnTo>
                    <a:pt x="77" y="169"/>
                  </a:lnTo>
                  <a:lnTo>
                    <a:pt x="74" y="168"/>
                  </a:lnTo>
                  <a:lnTo>
                    <a:pt x="71" y="167"/>
                  </a:lnTo>
                  <a:lnTo>
                    <a:pt x="69" y="167"/>
                  </a:lnTo>
                  <a:lnTo>
                    <a:pt x="66" y="167"/>
                  </a:lnTo>
                  <a:lnTo>
                    <a:pt x="64" y="167"/>
                  </a:lnTo>
                  <a:lnTo>
                    <a:pt x="60" y="167"/>
                  </a:lnTo>
                  <a:lnTo>
                    <a:pt x="58" y="167"/>
                  </a:lnTo>
                  <a:lnTo>
                    <a:pt x="54" y="168"/>
                  </a:lnTo>
                  <a:lnTo>
                    <a:pt x="52" y="169"/>
                  </a:lnTo>
                  <a:lnTo>
                    <a:pt x="51" y="171"/>
                  </a:lnTo>
                  <a:lnTo>
                    <a:pt x="52" y="175"/>
                  </a:lnTo>
                  <a:lnTo>
                    <a:pt x="54" y="176"/>
                  </a:lnTo>
                  <a:lnTo>
                    <a:pt x="58" y="177"/>
                  </a:lnTo>
                  <a:lnTo>
                    <a:pt x="57" y="179"/>
                  </a:lnTo>
                  <a:lnTo>
                    <a:pt x="58" y="183"/>
                  </a:lnTo>
                  <a:lnTo>
                    <a:pt x="61" y="183"/>
                  </a:lnTo>
                  <a:lnTo>
                    <a:pt x="64" y="181"/>
                  </a:lnTo>
                  <a:lnTo>
                    <a:pt x="67" y="181"/>
                  </a:lnTo>
                  <a:lnTo>
                    <a:pt x="69" y="183"/>
                  </a:lnTo>
                  <a:lnTo>
                    <a:pt x="67" y="183"/>
                  </a:lnTo>
                  <a:lnTo>
                    <a:pt x="64" y="184"/>
                  </a:lnTo>
                  <a:lnTo>
                    <a:pt x="67" y="186"/>
                  </a:lnTo>
                  <a:lnTo>
                    <a:pt x="69" y="187"/>
                  </a:lnTo>
                  <a:lnTo>
                    <a:pt x="73" y="187"/>
                  </a:lnTo>
                  <a:lnTo>
                    <a:pt x="69" y="188"/>
                  </a:lnTo>
                  <a:lnTo>
                    <a:pt x="67" y="187"/>
                  </a:lnTo>
                  <a:lnTo>
                    <a:pt x="64" y="187"/>
                  </a:lnTo>
                  <a:lnTo>
                    <a:pt x="61" y="189"/>
                  </a:lnTo>
                  <a:lnTo>
                    <a:pt x="58" y="188"/>
                  </a:lnTo>
                  <a:lnTo>
                    <a:pt x="56" y="188"/>
                  </a:lnTo>
                  <a:lnTo>
                    <a:pt x="52" y="189"/>
                  </a:lnTo>
                  <a:lnTo>
                    <a:pt x="50" y="188"/>
                  </a:lnTo>
                  <a:lnTo>
                    <a:pt x="47" y="190"/>
                  </a:lnTo>
                  <a:lnTo>
                    <a:pt x="44" y="192"/>
                  </a:lnTo>
                  <a:lnTo>
                    <a:pt x="41" y="193"/>
                  </a:lnTo>
                  <a:lnTo>
                    <a:pt x="35" y="195"/>
                  </a:lnTo>
                  <a:lnTo>
                    <a:pt x="33" y="196"/>
                  </a:lnTo>
                  <a:lnTo>
                    <a:pt x="33" y="199"/>
                  </a:lnTo>
                  <a:lnTo>
                    <a:pt x="34" y="202"/>
                  </a:lnTo>
                  <a:lnTo>
                    <a:pt x="31" y="205"/>
                  </a:lnTo>
                  <a:lnTo>
                    <a:pt x="36" y="209"/>
                  </a:lnTo>
                  <a:lnTo>
                    <a:pt x="40" y="209"/>
                  </a:lnTo>
                  <a:lnTo>
                    <a:pt x="42" y="209"/>
                  </a:lnTo>
                  <a:lnTo>
                    <a:pt x="44" y="205"/>
                  </a:lnTo>
                  <a:lnTo>
                    <a:pt x="45" y="207"/>
                  </a:lnTo>
                  <a:lnTo>
                    <a:pt x="47" y="205"/>
                  </a:lnTo>
                  <a:lnTo>
                    <a:pt x="45" y="203"/>
                  </a:lnTo>
                  <a:lnTo>
                    <a:pt x="44" y="199"/>
                  </a:lnTo>
                  <a:lnTo>
                    <a:pt x="47" y="198"/>
                  </a:lnTo>
                  <a:lnTo>
                    <a:pt x="47" y="202"/>
                  </a:lnTo>
                  <a:lnTo>
                    <a:pt x="48" y="204"/>
                  </a:lnTo>
                  <a:lnTo>
                    <a:pt x="49" y="206"/>
                  </a:lnTo>
                  <a:lnTo>
                    <a:pt x="48" y="210"/>
                  </a:lnTo>
                  <a:lnTo>
                    <a:pt x="50" y="210"/>
                  </a:lnTo>
                  <a:lnTo>
                    <a:pt x="53" y="211"/>
                  </a:lnTo>
                  <a:lnTo>
                    <a:pt x="56" y="210"/>
                  </a:lnTo>
                  <a:lnTo>
                    <a:pt x="59" y="211"/>
                  </a:lnTo>
                  <a:lnTo>
                    <a:pt x="61" y="211"/>
                  </a:lnTo>
                  <a:lnTo>
                    <a:pt x="60" y="207"/>
                  </a:lnTo>
                  <a:lnTo>
                    <a:pt x="60" y="205"/>
                  </a:lnTo>
                  <a:lnTo>
                    <a:pt x="62" y="207"/>
                  </a:lnTo>
                  <a:lnTo>
                    <a:pt x="66" y="210"/>
                  </a:lnTo>
                  <a:lnTo>
                    <a:pt x="69" y="210"/>
                  </a:lnTo>
                  <a:lnTo>
                    <a:pt x="71" y="210"/>
                  </a:lnTo>
                  <a:lnTo>
                    <a:pt x="73" y="207"/>
                  </a:lnTo>
                  <a:lnTo>
                    <a:pt x="75" y="205"/>
                  </a:lnTo>
                  <a:lnTo>
                    <a:pt x="73" y="203"/>
                  </a:lnTo>
                  <a:lnTo>
                    <a:pt x="75" y="204"/>
                  </a:lnTo>
                  <a:lnTo>
                    <a:pt x="78" y="206"/>
                  </a:lnTo>
                  <a:lnTo>
                    <a:pt x="75" y="207"/>
                  </a:lnTo>
                  <a:lnTo>
                    <a:pt x="77" y="210"/>
                  </a:lnTo>
                  <a:lnTo>
                    <a:pt x="81" y="210"/>
                  </a:lnTo>
                  <a:lnTo>
                    <a:pt x="83" y="211"/>
                  </a:lnTo>
                  <a:lnTo>
                    <a:pt x="86" y="211"/>
                  </a:lnTo>
                  <a:lnTo>
                    <a:pt x="88" y="212"/>
                  </a:lnTo>
                  <a:lnTo>
                    <a:pt x="92" y="212"/>
                  </a:lnTo>
                  <a:lnTo>
                    <a:pt x="94" y="212"/>
                  </a:lnTo>
                  <a:lnTo>
                    <a:pt x="98" y="212"/>
                  </a:lnTo>
                  <a:lnTo>
                    <a:pt x="100" y="212"/>
                  </a:lnTo>
                  <a:lnTo>
                    <a:pt x="103" y="211"/>
                  </a:lnTo>
                  <a:lnTo>
                    <a:pt x="98" y="210"/>
                  </a:lnTo>
                  <a:lnTo>
                    <a:pt x="95" y="207"/>
                  </a:lnTo>
                  <a:lnTo>
                    <a:pt x="95" y="205"/>
                  </a:lnTo>
                  <a:lnTo>
                    <a:pt x="98" y="206"/>
                  </a:lnTo>
                  <a:lnTo>
                    <a:pt x="100" y="209"/>
                  </a:lnTo>
                  <a:lnTo>
                    <a:pt x="103" y="209"/>
                  </a:lnTo>
                  <a:lnTo>
                    <a:pt x="105" y="207"/>
                  </a:lnTo>
                  <a:lnTo>
                    <a:pt x="105" y="205"/>
                  </a:lnTo>
                  <a:lnTo>
                    <a:pt x="104" y="202"/>
                  </a:lnTo>
                  <a:lnTo>
                    <a:pt x="108" y="203"/>
                  </a:lnTo>
                  <a:lnTo>
                    <a:pt x="109" y="206"/>
                  </a:lnTo>
                  <a:lnTo>
                    <a:pt x="111" y="207"/>
                  </a:lnTo>
                  <a:lnTo>
                    <a:pt x="113" y="209"/>
                  </a:lnTo>
                  <a:lnTo>
                    <a:pt x="117" y="209"/>
                  </a:lnTo>
                  <a:lnTo>
                    <a:pt x="119" y="209"/>
                  </a:lnTo>
                  <a:lnTo>
                    <a:pt x="119" y="206"/>
                  </a:lnTo>
                  <a:lnTo>
                    <a:pt x="117" y="203"/>
                  </a:lnTo>
                  <a:lnTo>
                    <a:pt x="117" y="201"/>
                  </a:lnTo>
                  <a:lnTo>
                    <a:pt x="119" y="203"/>
                  </a:lnTo>
                  <a:lnTo>
                    <a:pt x="121" y="205"/>
                  </a:lnTo>
                  <a:lnTo>
                    <a:pt x="121" y="209"/>
                  </a:lnTo>
                  <a:lnTo>
                    <a:pt x="125" y="210"/>
                  </a:lnTo>
                  <a:lnTo>
                    <a:pt x="130" y="210"/>
                  </a:lnTo>
                  <a:lnTo>
                    <a:pt x="133" y="206"/>
                  </a:lnTo>
                  <a:lnTo>
                    <a:pt x="134" y="204"/>
                  </a:lnTo>
                  <a:lnTo>
                    <a:pt x="130" y="203"/>
                  </a:lnTo>
                  <a:lnTo>
                    <a:pt x="128" y="202"/>
                  </a:lnTo>
                  <a:lnTo>
                    <a:pt x="127" y="198"/>
                  </a:lnTo>
                  <a:lnTo>
                    <a:pt x="129" y="201"/>
                  </a:lnTo>
                  <a:lnTo>
                    <a:pt x="133" y="203"/>
                  </a:lnTo>
                  <a:lnTo>
                    <a:pt x="135" y="203"/>
                  </a:lnTo>
                  <a:lnTo>
                    <a:pt x="138" y="202"/>
                  </a:lnTo>
                  <a:lnTo>
                    <a:pt x="135" y="204"/>
                  </a:lnTo>
                  <a:lnTo>
                    <a:pt x="135" y="206"/>
                  </a:lnTo>
                  <a:lnTo>
                    <a:pt x="138" y="207"/>
                  </a:lnTo>
                  <a:lnTo>
                    <a:pt x="141" y="207"/>
                  </a:lnTo>
                  <a:lnTo>
                    <a:pt x="144" y="207"/>
                  </a:lnTo>
                  <a:lnTo>
                    <a:pt x="146" y="206"/>
                  </a:lnTo>
                  <a:lnTo>
                    <a:pt x="150" y="207"/>
                  </a:lnTo>
                  <a:lnTo>
                    <a:pt x="153" y="209"/>
                  </a:lnTo>
                  <a:lnTo>
                    <a:pt x="151" y="211"/>
                  </a:lnTo>
                  <a:lnTo>
                    <a:pt x="149" y="214"/>
                  </a:lnTo>
                  <a:lnTo>
                    <a:pt x="150" y="216"/>
                  </a:lnTo>
                  <a:lnTo>
                    <a:pt x="155" y="215"/>
                  </a:lnTo>
                  <a:lnTo>
                    <a:pt x="158" y="215"/>
                  </a:lnTo>
                  <a:lnTo>
                    <a:pt x="161" y="214"/>
                  </a:lnTo>
                  <a:lnTo>
                    <a:pt x="163" y="214"/>
                  </a:lnTo>
                  <a:lnTo>
                    <a:pt x="165" y="213"/>
                  </a:lnTo>
                  <a:lnTo>
                    <a:pt x="168" y="212"/>
                  </a:lnTo>
                  <a:lnTo>
                    <a:pt x="170" y="212"/>
                  </a:lnTo>
                  <a:lnTo>
                    <a:pt x="173" y="212"/>
                  </a:lnTo>
                  <a:lnTo>
                    <a:pt x="175" y="209"/>
                  </a:lnTo>
                  <a:lnTo>
                    <a:pt x="178" y="207"/>
                  </a:lnTo>
                  <a:lnTo>
                    <a:pt x="180" y="204"/>
                  </a:lnTo>
                  <a:lnTo>
                    <a:pt x="182" y="205"/>
                  </a:lnTo>
                  <a:lnTo>
                    <a:pt x="182" y="207"/>
                  </a:lnTo>
                  <a:lnTo>
                    <a:pt x="186" y="206"/>
                  </a:lnTo>
                  <a:lnTo>
                    <a:pt x="188" y="205"/>
                  </a:lnTo>
                  <a:lnTo>
                    <a:pt x="190" y="203"/>
                  </a:lnTo>
                  <a:lnTo>
                    <a:pt x="193" y="201"/>
                  </a:lnTo>
                  <a:lnTo>
                    <a:pt x="194" y="198"/>
                  </a:lnTo>
                  <a:lnTo>
                    <a:pt x="193" y="195"/>
                  </a:lnTo>
                  <a:lnTo>
                    <a:pt x="190" y="193"/>
                  </a:lnTo>
                  <a:lnTo>
                    <a:pt x="188" y="192"/>
                  </a:lnTo>
                  <a:lnTo>
                    <a:pt x="185" y="193"/>
                  </a:lnTo>
                  <a:lnTo>
                    <a:pt x="182" y="195"/>
                  </a:lnTo>
                  <a:lnTo>
                    <a:pt x="180" y="197"/>
                  </a:lnTo>
                  <a:lnTo>
                    <a:pt x="177" y="197"/>
                  </a:lnTo>
                  <a:lnTo>
                    <a:pt x="178" y="194"/>
                  </a:lnTo>
                  <a:lnTo>
                    <a:pt x="175" y="194"/>
                  </a:lnTo>
                  <a:lnTo>
                    <a:pt x="171" y="194"/>
                  </a:lnTo>
                  <a:lnTo>
                    <a:pt x="175" y="192"/>
                  </a:lnTo>
                  <a:lnTo>
                    <a:pt x="177" y="189"/>
                  </a:lnTo>
                  <a:lnTo>
                    <a:pt x="175" y="186"/>
                  </a:lnTo>
                  <a:lnTo>
                    <a:pt x="171" y="186"/>
                  </a:lnTo>
                  <a:lnTo>
                    <a:pt x="169" y="185"/>
                  </a:lnTo>
                  <a:lnTo>
                    <a:pt x="165" y="186"/>
                  </a:lnTo>
                  <a:lnTo>
                    <a:pt x="163" y="187"/>
                  </a:lnTo>
                  <a:lnTo>
                    <a:pt x="162" y="188"/>
                  </a:lnTo>
                  <a:lnTo>
                    <a:pt x="159" y="189"/>
                  </a:lnTo>
                  <a:lnTo>
                    <a:pt x="161" y="186"/>
                  </a:lnTo>
                  <a:lnTo>
                    <a:pt x="158" y="186"/>
                  </a:lnTo>
                  <a:lnTo>
                    <a:pt x="155" y="185"/>
                  </a:lnTo>
                  <a:lnTo>
                    <a:pt x="150" y="184"/>
                  </a:lnTo>
                  <a:lnTo>
                    <a:pt x="146" y="185"/>
                  </a:lnTo>
                  <a:lnTo>
                    <a:pt x="144" y="186"/>
                  </a:lnTo>
                  <a:lnTo>
                    <a:pt x="141" y="187"/>
                  </a:lnTo>
                  <a:lnTo>
                    <a:pt x="138" y="187"/>
                  </a:lnTo>
                  <a:lnTo>
                    <a:pt x="136" y="185"/>
                  </a:lnTo>
                  <a:lnTo>
                    <a:pt x="134" y="184"/>
                  </a:lnTo>
                  <a:lnTo>
                    <a:pt x="136" y="184"/>
                  </a:lnTo>
                  <a:lnTo>
                    <a:pt x="139" y="184"/>
                  </a:lnTo>
                  <a:lnTo>
                    <a:pt x="142" y="184"/>
                  </a:lnTo>
                  <a:lnTo>
                    <a:pt x="145" y="181"/>
                  </a:lnTo>
                  <a:lnTo>
                    <a:pt x="142" y="181"/>
                  </a:lnTo>
                  <a:lnTo>
                    <a:pt x="139" y="179"/>
                  </a:lnTo>
                  <a:lnTo>
                    <a:pt x="141" y="177"/>
                  </a:lnTo>
                  <a:lnTo>
                    <a:pt x="138" y="173"/>
                  </a:lnTo>
                  <a:lnTo>
                    <a:pt x="141" y="176"/>
                  </a:lnTo>
                  <a:lnTo>
                    <a:pt x="144" y="178"/>
                  </a:lnTo>
                  <a:lnTo>
                    <a:pt x="146" y="180"/>
                  </a:lnTo>
                  <a:lnTo>
                    <a:pt x="150" y="181"/>
                  </a:lnTo>
                  <a:lnTo>
                    <a:pt x="152" y="183"/>
                  </a:lnTo>
                  <a:lnTo>
                    <a:pt x="155" y="184"/>
                  </a:lnTo>
                  <a:lnTo>
                    <a:pt x="158" y="184"/>
                  </a:lnTo>
                  <a:lnTo>
                    <a:pt x="161" y="184"/>
                  </a:lnTo>
                  <a:lnTo>
                    <a:pt x="163" y="184"/>
                  </a:lnTo>
                  <a:lnTo>
                    <a:pt x="164" y="184"/>
                  </a:lnTo>
                  <a:lnTo>
                    <a:pt x="167" y="184"/>
                  </a:lnTo>
                  <a:lnTo>
                    <a:pt x="170" y="184"/>
                  </a:lnTo>
                  <a:lnTo>
                    <a:pt x="172" y="184"/>
                  </a:lnTo>
                  <a:lnTo>
                    <a:pt x="176" y="184"/>
                  </a:lnTo>
                  <a:lnTo>
                    <a:pt x="178" y="181"/>
                  </a:lnTo>
                  <a:lnTo>
                    <a:pt x="181" y="184"/>
                  </a:lnTo>
                  <a:lnTo>
                    <a:pt x="184" y="181"/>
                  </a:lnTo>
                  <a:lnTo>
                    <a:pt x="187" y="180"/>
                  </a:lnTo>
                  <a:lnTo>
                    <a:pt x="189" y="179"/>
                  </a:lnTo>
                  <a:lnTo>
                    <a:pt x="190" y="176"/>
                  </a:lnTo>
                  <a:lnTo>
                    <a:pt x="194" y="175"/>
                  </a:lnTo>
                  <a:lnTo>
                    <a:pt x="190" y="171"/>
                  </a:lnTo>
                  <a:lnTo>
                    <a:pt x="192" y="169"/>
                  </a:lnTo>
                  <a:lnTo>
                    <a:pt x="188" y="167"/>
                  </a:lnTo>
                  <a:lnTo>
                    <a:pt x="185" y="166"/>
                  </a:lnTo>
                  <a:lnTo>
                    <a:pt x="188" y="163"/>
                  </a:lnTo>
                  <a:lnTo>
                    <a:pt x="190" y="164"/>
                  </a:lnTo>
                  <a:lnTo>
                    <a:pt x="194" y="164"/>
                  </a:lnTo>
                  <a:lnTo>
                    <a:pt x="196" y="164"/>
                  </a:lnTo>
                  <a:lnTo>
                    <a:pt x="202" y="164"/>
                  </a:lnTo>
                  <a:lnTo>
                    <a:pt x="205" y="166"/>
                  </a:lnTo>
                  <a:lnTo>
                    <a:pt x="207" y="164"/>
                  </a:lnTo>
                  <a:lnTo>
                    <a:pt x="211" y="164"/>
                  </a:lnTo>
                  <a:lnTo>
                    <a:pt x="213" y="163"/>
                  </a:lnTo>
                  <a:lnTo>
                    <a:pt x="216" y="163"/>
                  </a:lnTo>
                  <a:lnTo>
                    <a:pt x="219" y="164"/>
                  </a:lnTo>
                  <a:lnTo>
                    <a:pt x="222" y="162"/>
                  </a:lnTo>
                  <a:lnTo>
                    <a:pt x="222" y="159"/>
                  </a:lnTo>
                  <a:lnTo>
                    <a:pt x="219" y="159"/>
                  </a:lnTo>
                  <a:lnTo>
                    <a:pt x="216" y="159"/>
                  </a:lnTo>
                  <a:lnTo>
                    <a:pt x="214" y="159"/>
                  </a:lnTo>
                  <a:lnTo>
                    <a:pt x="211" y="159"/>
                  </a:lnTo>
                  <a:lnTo>
                    <a:pt x="209" y="156"/>
                  </a:lnTo>
                  <a:lnTo>
                    <a:pt x="211" y="155"/>
                  </a:lnTo>
                  <a:lnTo>
                    <a:pt x="213" y="156"/>
                  </a:lnTo>
                  <a:lnTo>
                    <a:pt x="216" y="156"/>
                  </a:lnTo>
                  <a:lnTo>
                    <a:pt x="219" y="156"/>
                  </a:lnTo>
                  <a:lnTo>
                    <a:pt x="222" y="156"/>
                  </a:lnTo>
                  <a:lnTo>
                    <a:pt x="224" y="156"/>
                  </a:lnTo>
                  <a:lnTo>
                    <a:pt x="228" y="154"/>
                  </a:lnTo>
                  <a:lnTo>
                    <a:pt x="230" y="152"/>
                  </a:lnTo>
                  <a:lnTo>
                    <a:pt x="228" y="151"/>
                  </a:lnTo>
                  <a:lnTo>
                    <a:pt x="224" y="150"/>
                  </a:lnTo>
                  <a:lnTo>
                    <a:pt x="222" y="150"/>
                  </a:lnTo>
                  <a:lnTo>
                    <a:pt x="219" y="150"/>
                  </a:lnTo>
                  <a:lnTo>
                    <a:pt x="215" y="149"/>
                  </a:lnTo>
                  <a:lnTo>
                    <a:pt x="213" y="147"/>
                  </a:lnTo>
                  <a:lnTo>
                    <a:pt x="210" y="147"/>
                  </a:lnTo>
                  <a:lnTo>
                    <a:pt x="213" y="146"/>
                  </a:lnTo>
                  <a:lnTo>
                    <a:pt x="216" y="147"/>
                  </a:lnTo>
                  <a:lnTo>
                    <a:pt x="219" y="147"/>
                  </a:lnTo>
                  <a:lnTo>
                    <a:pt x="224" y="147"/>
                  </a:lnTo>
                  <a:lnTo>
                    <a:pt x="228" y="147"/>
                  </a:lnTo>
                  <a:lnTo>
                    <a:pt x="231" y="147"/>
                  </a:lnTo>
                  <a:lnTo>
                    <a:pt x="233" y="146"/>
                  </a:lnTo>
                  <a:lnTo>
                    <a:pt x="236" y="145"/>
                  </a:lnTo>
                  <a:lnTo>
                    <a:pt x="233" y="144"/>
                  </a:lnTo>
                  <a:lnTo>
                    <a:pt x="235" y="141"/>
                  </a:lnTo>
                  <a:lnTo>
                    <a:pt x="235" y="138"/>
                  </a:lnTo>
                  <a:lnTo>
                    <a:pt x="232" y="137"/>
                  </a:lnTo>
                  <a:lnTo>
                    <a:pt x="229" y="136"/>
                  </a:lnTo>
                  <a:lnTo>
                    <a:pt x="227" y="136"/>
                  </a:lnTo>
                  <a:lnTo>
                    <a:pt x="223" y="136"/>
                  </a:lnTo>
                  <a:lnTo>
                    <a:pt x="221" y="136"/>
                  </a:lnTo>
                  <a:lnTo>
                    <a:pt x="218" y="137"/>
                  </a:lnTo>
                  <a:lnTo>
                    <a:pt x="215" y="136"/>
                  </a:lnTo>
                  <a:lnTo>
                    <a:pt x="212" y="137"/>
                  </a:lnTo>
                  <a:lnTo>
                    <a:pt x="215" y="136"/>
                  </a:lnTo>
                  <a:lnTo>
                    <a:pt x="218" y="136"/>
                  </a:lnTo>
                  <a:lnTo>
                    <a:pt x="221" y="134"/>
                  </a:lnTo>
                  <a:lnTo>
                    <a:pt x="218" y="133"/>
                  </a:lnTo>
                  <a:lnTo>
                    <a:pt x="215" y="133"/>
                  </a:lnTo>
                  <a:lnTo>
                    <a:pt x="213" y="133"/>
                  </a:lnTo>
                  <a:lnTo>
                    <a:pt x="206" y="133"/>
                  </a:lnTo>
                  <a:lnTo>
                    <a:pt x="201" y="134"/>
                  </a:lnTo>
                  <a:lnTo>
                    <a:pt x="197" y="134"/>
                  </a:lnTo>
                  <a:lnTo>
                    <a:pt x="195" y="134"/>
                  </a:lnTo>
                  <a:lnTo>
                    <a:pt x="192" y="136"/>
                  </a:lnTo>
                  <a:lnTo>
                    <a:pt x="189" y="138"/>
                  </a:lnTo>
                  <a:lnTo>
                    <a:pt x="187" y="139"/>
                  </a:lnTo>
                  <a:lnTo>
                    <a:pt x="188" y="137"/>
                  </a:lnTo>
                  <a:lnTo>
                    <a:pt x="192" y="135"/>
                  </a:lnTo>
                  <a:lnTo>
                    <a:pt x="194" y="132"/>
                  </a:lnTo>
                  <a:lnTo>
                    <a:pt x="192" y="132"/>
                  </a:lnTo>
                  <a:lnTo>
                    <a:pt x="188" y="132"/>
                  </a:lnTo>
                  <a:lnTo>
                    <a:pt x="185" y="132"/>
                  </a:lnTo>
                  <a:lnTo>
                    <a:pt x="182" y="132"/>
                  </a:lnTo>
                  <a:lnTo>
                    <a:pt x="179" y="132"/>
                  </a:lnTo>
                  <a:lnTo>
                    <a:pt x="185" y="130"/>
                  </a:lnTo>
                  <a:lnTo>
                    <a:pt x="188" y="132"/>
                  </a:lnTo>
                  <a:lnTo>
                    <a:pt x="192" y="132"/>
                  </a:lnTo>
                  <a:lnTo>
                    <a:pt x="194" y="132"/>
                  </a:lnTo>
                  <a:lnTo>
                    <a:pt x="197" y="133"/>
                  </a:lnTo>
                  <a:lnTo>
                    <a:pt x="199" y="132"/>
                  </a:lnTo>
                  <a:lnTo>
                    <a:pt x="203" y="132"/>
                  </a:lnTo>
                  <a:lnTo>
                    <a:pt x="209" y="130"/>
                  </a:lnTo>
                  <a:lnTo>
                    <a:pt x="211" y="130"/>
                  </a:lnTo>
                  <a:lnTo>
                    <a:pt x="214" y="130"/>
                  </a:lnTo>
                  <a:lnTo>
                    <a:pt x="216" y="130"/>
                  </a:lnTo>
                  <a:lnTo>
                    <a:pt x="214" y="129"/>
                  </a:lnTo>
                  <a:lnTo>
                    <a:pt x="211" y="129"/>
                  </a:lnTo>
                  <a:lnTo>
                    <a:pt x="209" y="128"/>
                  </a:lnTo>
                  <a:lnTo>
                    <a:pt x="205" y="128"/>
                  </a:lnTo>
                  <a:lnTo>
                    <a:pt x="203" y="128"/>
                  </a:lnTo>
                  <a:lnTo>
                    <a:pt x="199" y="128"/>
                  </a:lnTo>
                  <a:lnTo>
                    <a:pt x="196" y="128"/>
                  </a:lnTo>
                  <a:lnTo>
                    <a:pt x="194" y="127"/>
                  </a:lnTo>
                  <a:lnTo>
                    <a:pt x="192" y="127"/>
                  </a:lnTo>
                  <a:lnTo>
                    <a:pt x="188" y="127"/>
                  </a:lnTo>
                  <a:lnTo>
                    <a:pt x="192" y="127"/>
                  </a:lnTo>
                  <a:lnTo>
                    <a:pt x="194" y="127"/>
                  </a:lnTo>
                  <a:lnTo>
                    <a:pt x="197" y="127"/>
                  </a:lnTo>
                  <a:lnTo>
                    <a:pt x="201" y="127"/>
                  </a:lnTo>
                  <a:lnTo>
                    <a:pt x="203" y="127"/>
                  </a:lnTo>
                  <a:lnTo>
                    <a:pt x="206" y="127"/>
                  </a:lnTo>
                  <a:lnTo>
                    <a:pt x="210" y="127"/>
                  </a:lnTo>
                  <a:lnTo>
                    <a:pt x="212" y="127"/>
                  </a:lnTo>
                  <a:lnTo>
                    <a:pt x="214" y="127"/>
                  </a:lnTo>
                  <a:lnTo>
                    <a:pt x="218" y="127"/>
                  </a:lnTo>
                  <a:lnTo>
                    <a:pt x="220" y="130"/>
                  </a:lnTo>
                  <a:lnTo>
                    <a:pt x="223" y="132"/>
                  </a:lnTo>
                  <a:lnTo>
                    <a:pt x="226" y="132"/>
                  </a:lnTo>
                  <a:lnTo>
                    <a:pt x="229" y="132"/>
                  </a:lnTo>
                  <a:lnTo>
                    <a:pt x="231" y="132"/>
                  </a:lnTo>
                  <a:lnTo>
                    <a:pt x="233" y="132"/>
                  </a:lnTo>
                  <a:lnTo>
                    <a:pt x="236" y="133"/>
                  </a:lnTo>
                  <a:lnTo>
                    <a:pt x="239" y="132"/>
                  </a:lnTo>
                  <a:lnTo>
                    <a:pt x="237" y="129"/>
                  </a:lnTo>
                  <a:lnTo>
                    <a:pt x="235" y="127"/>
                  </a:lnTo>
                  <a:lnTo>
                    <a:pt x="237" y="126"/>
                  </a:lnTo>
                  <a:lnTo>
                    <a:pt x="235" y="126"/>
                  </a:lnTo>
                  <a:lnTo>
                    <a:pt x="231" y="126"/>
                  </a:lnTo>
                  <a:lnTo>
                    <a:pt x="229" y="126"/>
                  </a:lnTo>
                  <a:lnTo>
                    <a:pt x="223" y="126"/>
                  </a:lnTo>
                  <a:lnTo>
                    <a:pt x="220" y="126"/>
                  </a:lnTo>
                  <a:lnTo>
                    <a:pt x="218" y="125"/>
                  </a:lnTo>
                  <a:lnTo>
                    <a:pt x="214" y="125"/>
                  </a:lnTo>
                  <a:lnTo>
                    <a:pt x="212" y="125"/>
                  </a:lnTo>
                  <a:lnTo>
                    <a:pt x="206" y="125"/>
                  </a:lnTo>
                  <a:lnTo>
                    <a:pt x="203" y="125"/>
                  </a:lnTo>
                  <a:lnTo>
                    <a:pt x="201" y="125"/>
                  </a:lnTo>
                  <a:lnTo>
                    <a:pt x="197" y="124"/>
                  </a:lnTo>
                  <a:lnTo>
                    <a:pt x="195" y="124"/>
                  </a:lnTo>
                  <a:lnTo>
                    <a:pt x="192" y="122"/>
                  </a:lnTo>
                  <a:lnTo>
                    <a:pt x="195" y="122"/>
                  </a:lnTo>
                  <a:lnTo>
                    <a:pt x="198" y="122"/>
                  </a:lnTo>
                  <a:lnTo>
                    <a:pt x="201" y="122"/>
                  </a:lnTo>
                  <a:lnTo>
                    <a:pt x="201" y="119"/>
                  </a:lnTo>
                  <a:lnTo>
                    <a:pt x="203" y="121"/>
                  </a:lnTo>
                  <a:lnTo>
                    <a:pt x="206" y="122"/>
                  </a:lnTo>
                  <a:lnTo>
                    <a:pt x="210" y="122"/>
                  </a:lnTo>
                  <a:lnTo>
                    <a:pt x="212" y="122"/>
                  </a:lnTo>
                  <a:lnTo>
                    <a:pt x="214" y="122"/>
                  </a:lnTo>
                  <a:lnTo>
                    <a:pt x="218" y="121"/>
                  </a:lnTo>
                  <a:lnTo>
                    <a:pt x="214" y="119"/>
                  </a:lnTo>
                  <a:lnTo>
                    <a:pt x="212" y="119"/>
                  </a:lnTo>
                  <a:lnTo>
                    <a:pt x="210" y="119"/>
                  </a:lnTo>
                  <a:lnTo>
                    <a:pt x="206" y="118"/>
                  </a:lnTo>
                  <a:lnTo>
                    <a:pt x="204" y="117"/>
                  </a:lnTo>
                  <a:lnTo>
                    <a:pt x="206" y="118"/>
                  </a:lnTo>
                  <a:lnTo>
                    <a:pt x="210" y="117"/>
                  </a:lnTo>
                  <a:lnTo>
                    <a:pt x="212" y="118"/>
                  </a:lnTo>
                  <a:lnTo>
                    <a:pt x="215" y="118"/>
                  </a:lnTo>
                  <a:lnTo>
                    <a:pt x="218" y="120"/>
                  </a:lnTo>
                  <a:lnTo>
                    <a:pt x="221" y="119"/>
                  </a:lnTo>
                  <a:lnTo>
                    <a:pt x="223" y="120"/>
                  </a:lnTo>
                  <a:lnTo>
                    <a:pt x="226" y="121"/>
                  </a:lnTo>
                  <a:lnTo>
                    <a:pt x="229" y="121"/>
                  </a:lnTo>
                  <a:lnTo>
                    <a:pt x="231" y="121"/>
                  </a:lnTo>
                  <a:lnTo>
                    <a:pt x="231" y="119"/>
                  </a:lnTo>
                  <a:lnTo>
                    <a:pt x="235" y="119"/>
                  </a:lnTo>
                  <a:lnTo>
                    <a:pt x="237" y="119"/>
                  </a:lnTo>
                  <a:lnTo>
                    <a:pt x="240" y="119"/>
                  </a:lnTo>
                  <a:lnTo>
                    <a:pt x="244" y="119"/>
                  </a:lnTo>
                  <a:lnTo>
                    <a:pt x="246" y="119"/>
                  </a:lnTo>
                  <a:lnTo>
                    <a:pt x="246" y="116"/>
                  </a:lnTo>
                  <a:lnTo>
                    <a:pt x="248" y="118"/>
                  </a:lnTo>
                  <a:lnTo>
                    <a:pt x="252" y="118"/>
                  </a:lnTo>
                  <a:lnTo>
                    <a:pt x="255" y="118"/>
                  </a:lnTo>
                  <a:lnTo>
                    <a:pt x="257" y="116"/>
                  </a:lnTo>
                  <a:lnTo>
                    <a:pt x="257" y="113"/>
                  </a:lnTo>
                  <a:lnTo>
                    <a:pt x="254" y="111"/>
                  </a:lnTo>
                  <a:lnTo>
                    <a:pt x="252" y="110"/>
                  </a:lnTo>
                  <a:lnTo>
                    <a:pt x="248" y="110"/>
                  </a:lnTo>
                  <a:lnTo>
                    <a:pt x="246" y="109"/>
                  </a:lnTo>
                  <a:lnTo>
                    <a:pt x="243" y="109"/>
                  </a:lnTo>
                  <a:lnTo>
                    <a:pt x="239" y="109"/>
                  </a:lnTo>
                  <a:lnTo>
                    <a:pt x="237" y="109"/>
                  </a:lnTo>
                  <a:lnTo>
                    <a:pt x="233" y="107"/>
                  </a:lnTo>
                  <a:lnTo>
                    <a:pt x="239" y="107"/>
                  </a:lnTo>
                  <a:lnTo>
                    <a:pt x="243" y="105"/>
                  </a:lnTo>
                  <a:lnTo>
                    <a:pt x="245" y="105"/>
                  </a:lnTo>
                  <a:lnTo>
                    <a:pt x="252" y="108"/>
                  </a:lnTo>
                  <a:lnTo>
                    <a:pt x="254" y="108"/>
                  </a:lnTo>
                  <a:lnTo>
                    <a:pt x="257" y="108"/>
                  </a:lnTo>
                  <a:lnTo>
                    <a:pt x="260" y="108"/>
                  </a:lnTo>
                  <a:lnTo>
                    <a:pt x="260" y="110"/>
                  </a:lnTo>
                  <a:lnTo>
                    <a:pt x="263" y="112"/>
                  </a:lnTo>
                  <a:lnTo>
                    <a:pt x="265" y="112"/>
                  </a:lnTo>
                  <a:lnTo>
                    <a:pt x="269" y="112"/>
                  </a:lnTo>
                  <a:lnTo>
                    <a:pt x="271" y="112"/>
                  </a:lnTo>
                  <a:lnTo>
                    <a:pt x="274" y="111"/>
                  </a:lnTo>
                  <a:lnTo>
                    <a:pt x="277" y="111"/>
                  </a:lnTo>
                  <a:lnTo>
                    <a:pt x="280" y="110"/>
                  </a:lnTo>
                  <a:lnTo>
                    <a:pt x="282" y="110"/>
                  </a:lnTo>
                  <a:lnTo>
                    <a:pt x="286" y="108"/>
                  </a:lnTo>
                  <a:lnTo>
                    <a:pt x="287" y="105"/>
                  </a:lnTo>
                  <a:lnTo>
                    <a:pt x="283" y="105"/>
                  </a:lnTo>
                  <a:lnTo>
                    <a:pt x="281" y="105"/>
                  </a:lnTo>
                  <a:lnTo>
                    <a:pt x="283" y="103"/>
                  </a:lnTo>
                  <a:lnTo>
                    <a:pt x="287" y="103"/>
                  </a:lnTo>
                  <a:lnTo>
                    <a:pt x="290" y="103"/>
                  </a:lnTo>
                  <a:lnTo>
                    <a:pt x="291" y="102"/>
                  </a:lnTo>
                  <a:lnTo>
                    <a:pt x="290" y="102"/>
                  </a:lnTo>
                  <a:lnTo>
                    <a:pt x="292" y="100"/>
                  </a:lnTo>
                  <a:lnTo>
                    <a:pt x="290" y="98"/>
                  </a:lnTo>
                  <a:lnTo>
                    <a:pt x="284" y="99"/>
                  </a:lnTo>
                  <a:lnTo>
                    <a:pt x="281" y="100"/>
                  </a:lnTo>
                  <a:lnTo>
                    <a:pt x="278" y="100"/>
                  </a:lnTo>
                  <a:lnTo>
                    <a:pt x="275" y="100"/>
                  </a:lnTo>
                  <a:lnTo>
                    <a:pt x="272" y="101"/>
                  </a:lnTo>
                  <a:lnTo>
                    <a:pt x="270" y="101"/>
                  </a:lnTo>
                  <a:lnTo>
                    <a:pt x="266" y="100"/>
                  </a:lnTo>
                  <a:lnTo>
                    <a:pt x="272" y="100"/>
                  </a:lnTo>
                  <a:lnTo>
                    <a:pt x="270" y="98"/>
                  </a:lnTo>
                  <a:lnTo>
                    <a:pt x="266" y="96"/>
                  </a:lnTo>
                  <a:lnTo>
                    <a:pt x="269" y="96"/>
                  </a:lnTo>
                  <a:lnTo>
                    <a:pt x="272" y="96"/>
                  </a:lnTo>
                  <a:lnTo>
                    <a:pt x="274" y="99"/>
                  </a:lnTo>
                  <a:lnTo>
                    <a:pt x="278" y="99"/>
                  </a:lnTo>
                  <a:lnTo>
                    <a:pt x="280" y="98"/>
                  </a:lnTo>
                  <a:lnTo>
                    <a:pt x="283" y="98"/>
                  </a:lnTo>
                  <a:lnTo>
                    <a:pt x="286" y="96"/>
                  </a:lnTo>
                  <a:lnTo>
                    <a:pt x="289" y="96"/>
                  </a:lnTo>
                  <a:lnTo>
                    <a:pt x="291" y="96"/>
                  </a:lnTo>
                  <a:lnTo>
                    <a:pt x="298" y="96"/>
                  </a:lnTo>
                  <a:lnTo>
                    <a:pt x="299" y="93"/>
                  </a:lnTo>
                  <a:lnTo>
                    <a:pt x="296" y="93"/>
                  </a:lnTo>
                  <a:lnTo>
                    <a:pt x="293" y="92"/>
                  </a:lnTo>
                  <a:lnTo>
                    <a:pt x="293" y="89"/>
                  </a:lnTo>
                  <a:lnTo>
                    <a:pt x="291" y="86"/>
                  </a:lnTo>
                  <a:lnTo>
                    <a:pt x="293" y="86"/>
                  </a:lnTo>
                  <a:lnTo>
                    <a:pt x="296" y="89"/>
                  </a:lnTo>
                  <a:lnTo>
                    <a:pt x="296" y="92"/>
                  </a:lnTo>
                  <a:lnTo>
                    <a:pt x="299" y="92"/>
                  </a:lnTo>
                  <a:lnTo>
                    <a:pt x="303" y="91"/>
                  </a:lnTo>
                  <a:lnTo>
                    <a:pt x="305" y="91"/>
                  </a:lnTo>
                  <a:lnTo>
                    <a:pt x="308" y="90"/>
                  </a:lnTo>
                  <a:lnTo>
                    <a:pt x="310" y="87"/>
                  </a:lnTo>
                  <a:lnTo>
                    <a:pt x="313" y="85"/>
                  </a:lnTo>
                  <a:lnTo>
                    <a:pt x="316" y="83"/>
                  </a:lnTo>
                  <a:lnTo>
                    <a:pt x="318" y="81"/>
                  </a:lnTo>
                  <a:lnTo>
                    <a:pt x="322" y="79"/>
                  </a:lnTo>
                  <a:lnTo>
                    <a:pt x="325" y="78"/>
                  </a:lnTo>
                  <a:lnTo>
                    <a:pt x="327" y="77"/>
                  </a:lnTo>
                  <a:lnTo>
                    <a:pt x="331" y="75"/>
                  </a:lnTo>
                  <a:lnTo>
                    <a:pt x="333" y="75"/>
                  </a:lnTo>
                  <a:lnTo>
                    <a:pt x="337" y="73"/>
                  </a:lnTo>
                  <a:lnTo>
                    <a:pt x="339" y="72"/>
                  </a:lnTo>
                  <a:lnTo>
                    <a:pt x="342" y="70"/>
                  </a:lnTo>
                  <a:lnTo>
                    <a:pt x="344" y="70"/>
                  </a:lnTo>
                  <a:lnTo>
                    <a:pt x="348" y="68"/>
                  </a:lnTo>
                  <a:lnTo>
                    <a:pt x="350" y="66"/>
                  </a:lnTo>
                  <a:lnTo>
                    <a:pt x="352" y="65"/>
                  </a:lnTo>
                  <a:lnTo>
                    <a:pt x="356" y="64"/>
                  </a:lnTo>
                  <a:lnTo>
                    <a:pt x="359" y="62"/>
                  </a:lnTo>
                  <a:lnTo>
                    <a:pt x="361" y="62"/>
                  </a:lnTo>
                  <a:lnTo>
                    <a:pt x="365" y="61"/>
                  </a:lnTo>
                  <a:lnTo>
                    <a:pt x="367" y="60"/>
                  </a:lnTo>
                  <a:lnTo>
                    <a:pt x="371" y="59"/>
                  </a:lnTo>
                  <a:lnTo>
                    <a:pt x="373" y="58"/>
                  </a:lnTo>
                  <a:lnTo>
                    <a:pt x="375" y="56"/>
                  </a:lnTo>
                  <a:lnTo>
                    <a:pt x="375" y="53"/>
                  </a:lnTo>
                  <a:lnTo>
                    <a:pt x="369" y="53"/>
                  </a:lnTo>
                  <a:lnTo>
                    <a:pt x="366" y="53"/>
                  </a:lnTo>
                  <a:lnTo>
                    <a:pt x="364" y="53"/>
                  </a:lnTo>
                  <a:lnTo>
                    <a:pt x="361" y="55"/>
                  </a:lnTo>
                  <a:lnTo>
                    <a:pt x="358" y="55"/>
                  </a:lnTo>
                  <a:lnTo>
                    <a:pt x="356" y="56"/>
                  </a:lnTo>
                  <a:lnTo>
                    <a:pt x="352" y="56"/>
                  </a:lnTo>
                  <a:lnTo>
                    <a:pt x="350" y="57"/>
                  </a:lnTo>
                  <a:lnTo>
                    <a:pt x="347" y="57"/>
                  </a:lnTo>
                  <a:lnTo>
                    <a:pt x="340" y="58"/>
                  </a:lnTo>
                  <a:lnTo>
                    <a:pt x="338" y="58"/>
                  </a:lnTo>
                  <a:lnTo>
                    <a:pt x="334" y="59"/>
                  </a:lnTo>
                  <a:lnTo>
                    <a:pt x="332" y="60"/>
                  </a:lnTo>
                  <a:lnTo>
                    <a:pt x="330" y="60"/>
                  </a:lnTo>
                  <a:lnTo>
                    <a:pt x="326" y="61"/>
                  </a:lnTo>
                  <a:lnTo>
                    <a:pt x="324" y="61"/>
                  </a:lnTo>
                  <a:lnTo>
                    <a:pt x="321" y="62"/>
                  </a:lnTo>
                  <a:lnTo>
                    <a:pt x="318" y="62"/>
                  </a:lnTo>
                  <a:lnTo>
                    <a:pt x="315" y="64"/>
                  </a:lnTo>
                  <a:lnTo>
                    <a:pt x="313" y="64"/>
                  </a:lnTo>
                  <a:lnTo>
                    <a:pt x="309" y="65"/>
                  </a:lnTo>
                  <a:lnTo>
                    <a:pt x="306" y="65"/>
                  </a:lnTo>
                  <a:lnTo>
                    <a:pt x="304" y="66"/>
                  </a:lnTo>
                  <a:lnTo>
                    <a:pt x="300" y="67"/>
                  </a:lnTo>
                  <a:lnTo>
                    <a:pt x="299" y="67"/>
                  </a:lnTo>
                  <a:lnTo>
                    <a:pt x="303" y="66"/>
                  </a:lnTo>
                  <a:lnTo>
                    <a:pt x="299" y="66"/>
                  </a:lnTo>
                  <a:lnTo>
                    <a:pt x="297" y="65"/>
                  </a:lnTo>
                  <a:lnTo>
                    <a:pt x="299" y="65"/>
                  </a:lnTo>
                  <a:lnTo>
                    <a:pt x="305" y="64"/>
                  </a:lnTo>
                  <a:lnTo>
                    <a:pt x="308" y="62"/>
                  </a:lnTo>
                  <a:lnTo>
                    <a:pt x="312" y="62"/>
                  </a:lnTo>
                  <a:lnTo>
                    <a:pt x="314" y="62"/>
                  </a:lnTo>
                  <a:lnTo>
                    <a:pt x="317" y="61"/>
                  </a:lnTo>
                  <a:lnTo>
                    <a:pt x="321" y="61"/>
                  </a:lnTo>
                  <a:lnTo>
                    <a:pt x="323" y="60"/>
                  </a:lnTo>
                  <a:lnTo>
                    <a:pt x="326" y="59"/>
                  </a:lnTo>
                  <a:lnTo>
                    <a:pt x="330" y="58"/>
                  </a:lnTo>
                  <a:lnTo>
                    <a:pt x="332" y="58"/>
                  </a:lnTo>
                  <a:lnTo>
                    <a:pt x="334" y="57"/>
                  </a:lnTo>
                  <a:lnTo>
                    <a:pt x="338" y="56"/>
                  </a:lnTo>
                  <a:lnTo>
                    <a:pt x="340" y="56"/>
                  </a:lnTo>
                  <a:lnTo>
                    <a:pt x="343" y="55"/>
                  </a:lnTo>
                  <a:lnTo>
                    <a:pt x="347" y="53"/>
                  </a:lnTo>
                  <a:lnTo>
                    <a:pt x="343" y="53"/>
                  </a:lnTo>
                  <a:lnTo>
                    <a:pt x="340" y="52"/>
                  </a:lnTo>
                  <a:lnTo>
                    <a:pt x="338" y="52"/>
                  </a:lnTo>
                  <a:lnTo>
                    <a:pt x="334" y="52"/>
                  </a:lnTo>
                  <a:lnTo>
                    <a:pt x="332" y="52"/>
                  </a:lnTo>
                  <a:lnTo>
                    <a:pt x="329" y="53"/>
                  </a:lnTo>
                  <a:lnTo>
                    <a:pt x="325" y="53"/>
                  </a:lnTo>
                  <a:lnTo>
                    <a:pt x="323" y="53"/>
                  </a:lnTo>
                  <a:lnTo>
                    <a:pt x="320" y="53"/>
                  </a:lnTo>
                  <a:lnTo>
                    <a:pt x="317" y="53"/>
                  </a:lnTo>
                  <a:lnTo>
                    <a:pt x="321" y="53"/>
                  </a:lnTo>
                  <a:lnTo>
                    <a:pt x="317" y="50"/>
                  </a:lnTo>
                  <a:lnTo>
                    <a:pt x="312" y="49"/>
                  </a:lnTo>
                  <a:lnTo>
                    <a:pt x="314" y="49"/>
                  </a:lnTo>
                  <a:lnTo>
                    <a:pt x="317" y="50"/>
                  </a:lnTo>
                  <a:lnTo>
                    <a:pt x="321" y="51"/>
                  </a:lnTo>
                  <a:lnTo>
                    <a:pt x="323" y="52"/>
                  </a:lnTo>
                  <a:lnTo>
                    <a:pt x="325" y="52"/>
                  </a:lnTo>
                  <a:lnTo>
                    <a:pt x="329" y="52"/>
                  </a:lnTo>
                  <a:lnTo>
                    <a:pt x="332" y="51"/>
                  </a:lnTo>
                  <a:lnTo>
                    <a:pt x="334" y="51"/>
                  </a:lnTo>
                  <a:lnTo>
                    <a:pt x="338" y="51"/>
                  </a:lnTo>
                  <a:lnTo>
                    <a:pt x="340" y="51"/>
                  </a:lnTo>
                  <a:lnTo>
                    <a:pt x="343" y="51"/>
                  </a:lnTo>
                  <a:lnTo>
                    <a:pt x="346" y="50"/>
                  </a:lnTo>
                  <a:lnTo>
                    <a:pt x="349" y="50"/>
                  </a:lnTo>
                  <a:lnTo>
                    <a:pt x="351" y="50"/>
                  </a:lnTo>
                  <a:lnTo>
                    <a:pt x="355" y="49"/>
                  </a:lnTo>
                  <a:lnTo>
                    <a:pt x="357" y="50"/>
                  </a:lnTo>
                  <a:lnTo>
                    <a:pt x="360" y="49"/>
                  </a:lnTo>
                  <a:lnTo>
                    <a:pt x="363" y="49"/>
                  </a:lnTo>
                  <a:lnTo>
                    <a:pt x="360" y="49"/>
                  </a:lnTo>
                  <a:lnTo>
                    <a:pt x="355" y="49"/>
                  </a:lnTo>
                  <a:lnTo>
                    <a:pt x="357" y="48"/>
                  </a:lnTo>
                  <a:lnTo>
                    <a:pt x="360" y="48"/>
                  </a:lnTo>
                  <a:lnTo>
                    <a:pt x="363" y="47"/>
                  </a:lnTo>
                  <a:lnTo>
                    <a:pt x="366" y="47"/>
                  </a:lnTo>
                  <a:lnTo>
                    <a:pt x="368" y="47"/>
                  </a:lnTo>
                  <a:lnTo>
                    <a:pt x="372" y="47"/>
                  </a:lnTo>
                  <a:lnTo>
                    <a:pt x="374" y="47"/>
                  </a:lnTo>
                  <a:lnTo>
                    <a:pt x="377" y="47"/>
                  </a:lnTo>
                  <a:lnTo>
                    <a:pt x="380" y="47"/>
                  </a:lnTo>
                  <a:lnTo>
                    <a:pt x="383" y="44"/>
                  </a:lnTo>
                  <a:lnTo>
                    <a:pt x="385" y="44"/>
                  </a:lnTo>
                  <a:lnTo>
                    <a:pt x="389" y="42"/>
                  </a:lnTo>
                  <a:lnTo>
                    <a:pt x="391" y="42"/>
                  </a:lnTo>
                  <a:lnTo>
                    <a:pt x="394" y="41"/>
                  </a:lnTo>
                  <a:lnTo>
                    <a:pt x="397" y="40"/>
                  </a:lnTo>
                  <a:lnTo>
                    <a:pt x="400" y="40"/>
                  </a:lnTo>
                  <a:lnTo>
                    <a:pt x="402" y="39"/>
                  </a:lnTo>
                  <a:lnTo>
                    <a:pt x="406" y="38"/>
                  </a:lnTo>
                  <a:lnTo>
                    <a:pt x="408" y="36"/>
                  </a:lnTo>
                  <a:lnTo>
                    <a:pt x="414" y="33"/>
                  </a:lnTo>
                  <a:lnTo>
                    <a:pt x="417" y="32"/>
                  </a:lnTo>
                  <a:lnTo>
                    <a:pt x="419" y="31"/>
                  </a:lnTo>
                  <a:lnTo>
                    <a:pt x="423" y="28"/>
                  </a:lnTo>
                  <a:lnTo>
                    <a:pt x="421" y="25"/>
                  </a:lnTo>
                  <a:close/>
                  <a:moveTo>
                    <a:pt x="99" y="166"/>
                  </a:moveTo>
                  <a:lnTo>
                    <a:pt x="101" y="166"/>
                  </a:lnTo>
                  <a:lnTo>
                    <a:pt x="99" y="167"/>
                  </a:lnTo>
                  <a:lnTo>
                    <a:pt x="98" y="167"/>
                  </a:lnTo>
                  <a:lnTo>
                    <a:pt x="101" y="166"/>
                  </a:lnTo>
                  <a:lnTo>
                    <a:pt x="96" y="166"/>
                  </a:lnTo>
                  <a:lnTo>
                    <a:pt x="99" y="1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8" name="Freeform 208">
              <a:extLst>
                <a:ext uri="{FF2B5EF4-FFF2-40B4-BE49-F238E27FC236}">
                  <a16:creationId xmlns:a16="http://schemas.microsoft.com/office/drawing/2014/main" id="{5BBB452F-967C-4EDE-9442-85C10173DBA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43250" y="3273425"/>
              <a:ext cx="1382712" cy="246063"/>
            </a:xfrm>
            <a:custGeom>
              <a:avLst/>
              <a:gdLst>
                <a:gd name="T0" fmla="*/ 25 w 871"/>
                <a:gd name="T1" fmla="*/ 26 h 155"/>
                <a:gd name="T2" fmla="*/ 29 w 871"/>
                <a:gd name="T3" fmla="*/ 31 h 155"/>
                <a:gd name="T4" fmla="*/ 26 w 871"/>
                <a:gd name="T5" fmla="*/ 29 h 155"/>
                <a:gd name="T6" fmla="*/ 26 w 871"/>
                <a:gd name="T7" fmla="*/ 24 h 155"/>
                <a:gd name="T8" fmla="*/ 5 w 871"/>
                <a:gd name="T9" fmla="*/ 5 h 155"/>
                <a:gd name="T10" fmla="*/ 0 w 871"/>
                <a:gd name="T11" fmla="*/ 0 h 155"/>
                <a:gd name="T12" fmla="*/ 4 w 871"/>
                <a:gd name="T13" fmla="*/ 5 h 155"/>
                <a:gd name="T14" fmla="*/ 5 w 871"/>
                <a:gd name="T15" fmla="*/ 5 h 155"/>
                <a:gd name="T16" fmla="*/ 29 w 871"/>
                <a:gd name="T17" fmla="*/ 30 h 155"/>
                <a:gd name="T18" fmla="*/ 28 w 871"/>
                <a:gd name="T19" fmla="*/ 27 h 155"/>
                <a:gd name="T20" fmla="*/ 411 w 871"/>
                <a:gd name="T21" fmla="*/ 9 h 155"/>
                <a:gd name="T22" fmla="*/ 411 w 871"/>
                <a:gd name="T23" fmla="*/ 9 h 155"/>
                <a:gd name="T24" fmla="*/ 464 w 871"/>
                <a:gd name="T25" fmla="*/ 50 h 155"/>
                <a:gd name="T26" fmla="*/ 464 w 871"/>
                <a:gd name="T27" fmla="*/ 50 h 155"/>
                <a:gd name="T28" fmla="*/ 503 w 871"/>
                <a:gd name="T29" fmla="*/ 16 h 155"/>
                <a:gd name="T30" fmla="*/ 503 w 871"/>
                <a:gd name="T31" fmla="*/ 16 h 155"/>
                <a:gd name="T32" fmla="*/ 503 w 871"/>
                <a:gd name="T33" fmla="*/ 16 h 155"/>
                <a:gd name="T34" fmla="*/ 497 w 871"/>
                <a:gd name="T35" fmla="*/ 44 h 155"/>
                <a:gd name="T36" fmla="*/ 491 w 871"/>
                <a:gd name="T37" fmla="*/ 46 h 155"/>
                <a:gd name="T38" fmla="*/ 495 w 871"/>
                <a:gd name="T39" fmla="*/ 41 h 155"/>
                <a:gd name="T40" fmla="*/ 500 w 871"/>
                <a:gd name="T41" fmla="*/ 40 h 155"/>
                <a:gd name="T42" fmla="*/ 500 w 871"/>
                <a:gd name="T43" fmla="*/ 41 h 155"/>
                <a:gd name="T44" fmla="*/ 499 w 871"/>
                <a:gd name="T45" fmla="*/ 42 h 155"/>
                <a:gd name="T46" fmla="*/ 557 w 871"/>
                <a:gd name="T47" fmla="*/ 61 h 155"/>
                <a:gd name="T48" fmla="*/ 555 w 871"/>
                <a:gd name="T49" fmla="*/ 63 h 155"/>
                <a:gd name="T50" fmla="*/ 556 w 871"/>
                <a:gd name="T51" fmla="*/ 64 h 155"/>
                <a:gd name="T52" fmla="*/ 561 w 871"/>
                <a:gd name="T53" fmla="*/ 66 h 155"/>
                <a:gd name="T54" fmla="*/ 558 w 871"/>
                <a:gd name="T55" fmla="*/ 64 h 155"/>
                <a:gd name="T56" fmla="*/ 559 w 871"/>
                <a:gd name="T57" fmla="*/ 64 h 155"/>
                <a:gd name="T58" fmla="*/ 587 w 871"/>
                <a:gd name="T59" fmla="*/ 72 h 155"/>
                <a:gd name="T60" fmla="*/ 583 w 871"/>
                <a:gd name="T61" fmla="*/ 67 h 155"/>
                <a:gd name="T62" fmla="*/ 579 w 871"/>
                <a:gd name="T63" fmla="*/ 67 h 155"/>
                <a:gd name="T64" fmla="*/ 573 w 871"/>
                <a:gd name="T65" fmla="*/ 68 h 155"/>
                <a:gd name="T66" fmla="*/ 568 w 871"/>
                <a:gd name="T67" fmla="*/ 66 h 155"/>
                <a:gd name="T68" fmla="*/ 568 w 871"/>
                <a:gd name="T69" fmla="*/ 68 h 155"/>
                <a:gd name="T70" fmla="*/ 573 w 871"/>
                <a:gd name="T71" fmla="*/ 69 h 155"/>
                <a:gd name="T72" fmla="*/ 579 w 871"/>
                <a:gd name="T73" fmla="*/ 72 h 155"/>
                <a:gd name="T74" fmla="*/ 584 w 871"/>
                <a:gd name="T75" fmla="*/ 70 h 155"/>
                <a:gd name="T76" fmla="*/ 584 w 871"/>
                <a:gd name="T77" fmla="*/ 74 h 155"/>
                <a:gd name="T78" fmla="*/ 658 w 871"/>
                <a:gd name="T79" fmla="*/ 95 h 155"/>
                <a:gd name="T80" fmla="*/ 659 w 871"/>
                <a:gd name="T81" fmla="*/ 95 h 155"/>
                <a:gd name="T82" fmla="*/ 658 w 871"/>
                <a:gd name="T83" fmla="*/ 95 h 155"/>
                <a:gd name="T84" fmla="*/ 733 w 871"/>
                <a:gd name="T85" fmla="*/ 50 h 155"/>
                <a:gd name="T86" fmla="*/ 735 w 871"/>
                <a:gd name="T87" fmla="*/ 48 h 155"/>
                <a:gd name="T88" fmla="*/ 729 w 871"/>
                <a:gd name="T89" fmla="*/ 138 h 155"/>
                <a:gd name="T90" fmla="*/ 729 w 871"/>
                <a:gd name="T91" fmla="*/ 138 h 155"/>
                <a:gd name="T92" fmla="*/ 729 w 871"/>
                <a:gd name="T93" fmla="*/ 138 h 155"/>
                <a:gd name="T94" fmla="*/ 696 w 871"/>
                <a:gd name="T95" fmla="*/ 154 h 155"/>
                <a:gd name="T96" fmla="*/ 691 w 871"/>
                <a:gd name="T97" fmla="*/ 155 h 155"/>
                <a:gd name="T98" fmla="*/ 694 w 871"/>
                <a:gd name="T99" fmla="*/ 152 h 155"/>
                <a:gd name="T100" fmla="*/ 700 w 871"/>
                <a:gd name="T101" fmla="*/ 151 h 155"/>
                <a:gd name="T102" fmla="*/ 706 w 871"/>
                <a:gd name="T103" fmla="*/ 150 h 155"/>
                <a:gd name="T104" fmla="*/ 711 w 871"/>
                <a:gd name="T105" fmla="*/ 149 h 155"/>
                <a:gd name="T106" fmla="*/ 711 w 871"/>
                <a:gd name="T107" fmla="*/ 150 h 155"/>
                <a:gd name="T108" fmla="*/ 716 w 871"/>
                <a:gd name="T109" fmla="*/ 147 h 155"/>
                <a:gd name="T110" fmla="*/ 713 w 871"/>
                <a:gd name="T111" fmla="*/ 151 h 155"/>
                <a:gd name="T112" fmla="*/ 708 w 871"/>
                <a:gd name="T113" fmla="*/ 152 h 155"/>
                <a:gd name="T114" fmla="*/ 703 w 871"/>
                <a:gd name="T115" fmla="*/ 154 h 155"/>
                <a:gd name="T116" fmla="*/ 700 w 871"/>
                <a:gd name="T117" fmla="*/ 154 h 155"/>
                <a:gd name="T118" fmla="*/ 871 w 871"/>
                <a:gd name="T119" fmla="*/ 73 h 155"/>
                <a:gd name="T120" fmla="*/ 871 w 871"/>
                <a:gd name="T121" fmla="*/ 73 h 155"/>
                <a:gd name="T122" fmla="*/ 871 w 871"/>
                <a:gd name="T123" fmla="*/ 73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871" h="155">
                  <a:moveTo>
                    <a:pt x="26" y="24"/>
                  </a:moveTo>
                  <a:lnTo>
                    <a:pt x="25" y="26"/>
                  </a:lnTo>
                  <a:lnTo>
                    <a:pt x="27" y="30"/>
                  </a:lnTo>
                  <a:lnTo>
                    <a:pt x="29" y="31"/>
                  </a:lnTo>
                  <a:lnTo>
                    <a:pt x="27" y="31"/>
                  </a:lnTo>
                  <a:lnTo>
                    <a:pt x="26" y="29"/>
                  </a:lnTo>
                  <a:lnTo>
                    <a:pt x="25" y="25"/>
                  </a:lnTo>
                  <a:lnTo>
                    <a:pt x="26" y="24"/>
                  </a:lnTo>
                  <a:lnTo>
                    <a:pt x="26" y="24"/>
                  </a:lnTo>
                  <a:close/>
                  <a:moveTo>
                    <a:pt x="5" y="5"/>
                  </a:moveTo>
                  <a:lnTo>
                    <a:pt x="2" y="1"/>
                  </a:lnTo>
                  <a:lnTo>
                    <a:pt x="0" y="0"/>
                  </a:lnTo>
                  <a:lnTo>
                    <a:pt x="2" y="3"/>
                  </a:lnTo>
                  <a:lnTo>
                    <a:pt x="4" y="5"/>
                  </a:lnTo>
                  <a:lnTo>
                    <a:pt x="5" y="5"/>
                  </a:lnTo>
                  <a:lnTo>
                    <a:pt x="5" y="5"/>
                  </a:lnTo>
                  <a:close/>
                  <a:moveTo>
                    <a:pt x="28" y="27"/>
                  </a:moveTo>
                  <a:lnTo>
                    <a:pt x="29" y="30"/>
                  </a:lnTo>
                  <a:lnTo>
                    <a:pt x="27" y="27"/>
                  </a:lnTo>
                  <a:lnTo>
                    <a:pt x="28" y="27"/>
                  </a:lnTo>
                  <a:lnTo>
                    <a:pt x="28" y="27"/>
                  </a:lnTo>
                  <a:close/>
                  <a:moveTo>
                    <a:pt x="411" y="9"/>
                  </a:moveTo>
                  <a:lnTo>
                    <a:pt x="409" y="12"/>
                  </a:lnTo>
                  <a:lnTo>
                    <a:pt x="411" y="9"/>
                  </a:lnTo>
                  <a:lnTo>
                    <a:pt x="411" y="9"/>
                  </a:lnTo>
                  <a:close/>
                  <a:moveTo>
                    <a:pt x="464" y="50"/>
                  </a:moveTo>
                  <a:lnTo>
                    <a:pt x="461" y="52"/>
                  </a:lnTo>
                  <a:lnTo>
                    <a:pt x="464" y="50"/>
                  </a:lnTo>
                  <a:lnTo>
                    <a:pt x="464" y="50"/>
                  </a:lnTo>
                  <a:close/>
                  <a:moveTo>
                    <a:pt x="503" y="16"/>
                  </a:moveTo>
                  <a:lnTo>
                    <a:pt x="500" y="17"/>
                  </a:lnTo>
                  <a:lnTo>
                    <a:pt x="503" y="16"/>
                  </a:lnTo>
                  <a:lnTo>
                    <a:pt x="503" y="16"/>
                  </a:lnTo>
                  <a:lnTo>
                    <a:pt x="503" y="16"/>
                  </a:lnTo>
                  <a:close/>
                  <a:moveTo>
                    <a:pt x="499" y="42"/>
                  </a:moveTo>
                  <a:lnTo>
                    <a:pt x="497" y="44"/>
                  </a:lnTo>
                  <a:lnTo>
                    <a:pt x="495" y="47"/>
                  </a:lnTo>
                  <a:lnTo>
                    <a:pt x="491" y="46"/>
                  </a:lnTo>
                  <a:lnTo>
                    <a:pt x="493" y="43"/>
                  </a:lnTo>
                  <a:lnTo>
                    <a:pt x="495" y="41"/>
                  </a:lnTo>
                  <a:lnTo>
                    <a:pt x="498" y="40"/>
                  </a:lnTo>
                  <a:lnTo>
                    <a:pt x="500" y="40"/>
                  </a:lnTo>
                  <a:lnTo>
                    <a:pt x="503" y="41"/>
                  </a:lnTo>
                  <a:lnTo>
                    <a:pt x="500" y="41"/>
                  </a:lnTo>
                  <a:lnTo>
                    <a:pt x="499" y="42"/>
                  </a:lnTo>
                  <a:lnTo>
                    <a:pt x="499" y="42"/>
                  </a:lnTo>
                  <a:close/>
                  <a:moveTo>
                    <a:pt x="556" y="64"/>
                  </a:moveTo>
                  <a:lnTo>
                    <a:pt x="557" y="61"/>
                  </a:lnTo>
                  <a:lnTo>
                    <a:pt x="554" y="60"/>
                  </a:lnTo>
                  <a:lnTo>
                    <a:pt x="555" y="63"/>
                  </a:lnTo>
                  <a:lnTo>
                    <a:pt x="556" y="64"/>
                  </a:lnTo>
                  <a:lnTo>
                    <a:pt x="556" y="64"/>
                  </a:lnTo>
                  <a:close/>
                  <a:moveTo>
                    <a:pt x="559" y="64"/>
                  </a:moveTo>
                  <a:lnTo>
                    <a:pt x="561" y="66"/>
                  </a:lnTo>
                  <a:lnTo>
                    <a:pt x="558" y="67"/>
                  </a:lnTo>
                  <a:lnTo>
                    <a:pt x="558" y="64"/>
                  </a:lnTo>
                  <a:lnTo>
                    <a:pt x="559" y="64"/>
                  </a:lnTo>
                  <a:lnTo>
                    <a:pt x="559" y="64"/>
                  </a:lnTo>
                  <a:close/>
                  <a:moveTo>
                    <a:pt x="584" y="74"/>
                  </a:moveTo>
                  <a:lnTo>
                    <a:pt x="587" y="72"/>
                  </a:lnTo>
                  <a:lnTo>
                    <a:pt x="587" y="68"/>
                  </a:lnTo>
                  <a:lnTo>
                    <a:pt x="583" y="67"/>
                  </a:lnTo>
                  <a:lnTo>
                    <a:pt x="581" y="66"/>
                  </a:lnTo>
                  <a:lnTo>
                    <a:pt x="579" y="67"/>
                  </a:lnTo>
                  <a:lnTo>
                    <a:pt x="575" y="67"/>
                  </a:lnTo>
                  <a:lnTo>
                    <a:pt x="573" y="68"/>
                  </a:lnTo>
                  <a:lnTo>
                    <a:pt x="571" y="66"/>
                  </a:lnTo>
                  <a:lnTo>
                    <a:pt x="568" y="66"/>
                  </a:lnTo>
                  <a:lnTo>
                    <a:pt x="565" y="67"/>
                  </a:lnTo>
                  <a:lnTo>
                    <a:pt x="568" y="68"/>
                  </a:lnTo>
                  <a:lnTo>
                    <a:pt x="571" y="69"/>
                  </a:lnTo>
                  <a:lnTo>
                    <a:pt x="573" y="69"/>
                  </a:lnTo>
                  <a:lnTo>
                    <a:pt x="576" y="70"/>
                  </a:lnTo>
                  <a:lnTo>
                    <a:pt x="579" y="72"/>
                  </a:lnTo>
                  <a:lnTo>
                    <a:pt x="581" y="73"/>
                  </a:lnTo>
                  <a:lnTo>
                    <a:pt x="584" y="70"/>
                  </a:lnTo>
                  <a:lnTo>
                    <a:pt x="583" y="74"/>
                  </a:lnTo>
                  <a:lnTo>
                    <a:pt x="584" y="74"/>
                  </a:lnTo>
                  <a:lnTo>
                    <a:pt x="584" y="74"/>
                  </a:lnTo>
                  <a:close/>
                  <a:moveTo>
                    <a:pt x="658" y="95"/>
                  </a:moveTo>
                  <a:lnTo>
                    <a:pt x="661" y="95"/>
                  </a:lnTo>
                  <a:lnTo>
                    <a:pt x="659" y="95"/>
                  </a:lnTo>
                  <a:lnTo>
                    <a:pt x="658" y="95"/>
                  </a:lnTo>
                  <a:lnTo>
                    <a:pt x="658" y="95"/>
                  </a:lnTo>
                  <a:close/>
                  <a:moveTo>
                    <a:pt x="735" y="48"/>
                  </a:moveTo>
                  <a:lnTo>
                    <a:pt x="733" y="50"/>
                  </a:lnTo>
                  <a:lnTo>
                    <a:pt x="734" y="48"/>
                  </a:lnTo>
                  <a:lnTo>
                    <a:pt x="735" y="48"/>
                  </a:lnTo>
                  <a:lnTo>
                    <a:pt x="735" y="48"/>
                  </a:lnTo>
                  <a:close/>
                  <a:moveTo>
                    <a:pt x="729" y="138"/>
                  </a:moveTo>
                  <a:lnTo>
                    <a:pt x="728" y="141"/>
                  </a:lnTo>
                  <a:lnTo>
                    <a:pt x="729" y="138"/>
                  </a:lnTo>
                  <a:lnTo>
                    <a:pt x="729" y="138"/>
                  </a:lnTo>
                  <a:lnTo>
                    <a:pt x="729" y="138"/>
                  </a:lnTo>
                  <a:close/>
                  <a:moveTo>
                    <a:pt x="700" y="154"/>
                  </a:moveTo>
                  <a:lnTo>
                    <a:pt x="696" y="154"/>
                  </a:lnTo>
                  <a:lnTo>
                    <a:pt x="694" y="155"/>
                  </a:lnTo>
                  <a:lnTo>
                    <a:pt x="691" y="155"/>
                  </a:lnTo>
                  <a:lnTo>
                    <a:pt x="692" y="153"/>
                  </a:lnTo>
                  <a:lnTo>
                    <a:pt x="694" y="152"/>
                  </a:lnTo>
                  <a:lnTo>
                    <a:pt x="698" y="150"/>
                  </a:lnTo>
                  <a:lnTo>
                    <a:pt x="700" y="151"/>
                  </a:lnTo>
                  <a:lnTo>
                    <a:pt x="703" y="150"/>
                  </a:lnTo>
                  <a:lnTo>
                    <a:pt x="706" y="150"/>
                  </a:lnTo>
                  <a:lnTo>
                    <a:pt x="708" y="150"/>
                  </a:lnTo>
                  <a:lnTo>
                    <a:pt x="711" y="149"/>
                  </a:lnTo>
                  <a:lnTo>
                    <a:pt x="713" y="147"/>
                  </a:lnTo>
                  <a:lnTo>
                    <a:pt x="711" y="150"/>
                  </a:lnTo>
                  <a:lnTo>
                    <a:pt x="713" y="149"/>
                  </a:lnTo>
                  <a:lnTo>
                    <a:pt x="716" y="147"/>
                  </a:lnTo>
                  <a:lnTo>
                    <a:pt x="719" y="149"/>
                  </a:lnTo>
                  <a:lnTo>
                    <a:pt x="713" y="151"/>
                  </a:lnTo>
                  <a:lnTo>
                    <a:pt x="711" y="152"/>
                  </a:lnTo>
                  <a:lnTo>
                    <a:pt x="708" y="152"/>
                  </a:lnTo>
                  <a:lnTo>
                    <a:pt x="706" y="153"/>
                  </a:lnTo>
                  <a:lnTo>
                    <a:pt x="703" y="154"/>
                  </a:lnTo>
                  <a:lnTo>
                    <a:pt x="700" y="154"/>
                  </a:lnTo>
                  <a:lnTo>
                    <a:pt x="700" y="154"/>
                  </a:lnTo>
                  <a:lnTo>
                    <a:pt x="700" y="154"/>
                  </a:lnTo>
                  <a:close/>
                  <a:moveTo>
                    <a:pt x="871" y="73"/>
                  </a:moveTo>
                  <a:lnTo>
                    <a:pt x="867" y="74"/>
                  </a:lnTo>
                  <a:lnTo>
                    <a:pt x="871" y="73"/>
                  </a:lnTo>
                  <a:lnTo>
                    <a:pt x="871" y="73"/>
                  </a:lnTo>
                  <a:lnTo>
                    <a:pt x="871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9" name="Freeform 209">
              <a:extLst>
                <a:ext uri="{FF2B5EF4-FFF2-40B4-BE49-F238E27FC236}">
                  <a16:creationId xmlns:a16="http://schemas.microsoft.com/office/drawing/2014/main" id="{0C101803-4D1A-4137-B686-6F779CCB90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84438" y="3016250"/>
              <a:ext cx="534987" cy="109538"/>
            </a:xfrm>
            <a:custGeom>
              <a:avLst/>
              <a:gdLst>
                <a:gd name="T0" fmla="*/ 22 w 337"/>
                <a:gd name="T1" fmla="*/ 23 h 69"/>
                <a:gd name="T2" fmla="*/ 27 w 337"/>
                <a:gd name="T3" fmla="*/ 21 h 69"/>
                <a:gd name="T4" fmla="*/ 27 w 337"/>
                <a:gd name="T5" fmla="*/ 17 h 69"/>
                <a:gd name="T6" fmla="*/ 27 w 337"/>
                <a:gd name="T7" fmla="*/ 17 h 69"/>
                <a:gd name="T8" fmla="*/ 33 w 337"/>
                <a:gd name="T9" fmla="*/ 18 h 69"/>
                <a:gd name="T10" fmla="*/ 33 w 337"/>
                <a:gd name="T11" fmla="*/ 15 h 69"/>
                <a:gd name="T12" fmla="*/ 32 w 337"/>
                <a:gd name="T13" fmla="*/ 9 h 69"/>
                <a:gd name="T14" fmla="*/ 26 w 337"/>
                <a:gd name="T15" fmla="*/ 11 h 69"/>
                <a:gd name="T16" fmla="*/ 21 w 337"/>
                <a:gd name="T17" fmla="*/ 7 h 69"/>
                <a:gd name="T18" fmla="*/ 22 w 337"/>
                <a:gd name="T19" fmla="*/ 13 h 69"/>
                <a:gd name="T20" fmla="*/ 18 w 337"/>
                <a:gd name="T21" fmla="*/ 13 h 69"/>
                <a:gd name="T22" fmla="*/ 14 w 337"/>
                <a:gd name="T23" fmla="*/ 9 h 69"/>
                <a:gd name="T24" fmla="*/ 14 w 337"/>
                <a:gd name="T25" fmla="*/ 13 h 69"/>
                <a:gd name="T26" fmla="*/ 13 w 337"/>
                <a:gd name="T27" fmla="*/ 18 h 69"/>
                <a:gd name="T28" fmla="*/ 13 w 337"/>
                <a:gd name="T29" fmla="*/ 20 h 69"/>
                <a:gd name="T30" fmla="*/ 10 w 337"/>
                <a:gd name="T31" fmla="*/ 14 h 69"/>
                <a:gd name="T32" fmla="*/ 3 w 337"/>
                <a:gd name="T33" fmla="*/ 17 h 69"/>
                <a:gd name="T34" fmla="*/ 3 w 337"/>
                <a:gd name="T35" fmla="*/ 22 h 69"/>
                <a:gd name="T36" fmla="*/ 6 w 337"/>
                <a:gd name="T37" fmla="*/ 28 h 69"/>
                <a:gd name="T38" fmla="*/ 9 w 337"/>
                <a:gd name="T39" fmla="*/ 25 h 69"/>
                <a:gd name="T40" fmla="*/ 9 w 337"/>
                <a:gd name="T41" fmla="*/ 24 h 69"/>
                <a:gd name="T42" fmla="*/ 12 w 337"/>
                <a:gd name="T43" fmla="*/ 25 h 69"/>
                <a:gd name="T44" fmla="*/ 12 w 337"/>
                <a:gd name="T45" fmla="*/ 26 h 69"/>
                <a:gd name="T46" fmla="*/ 8 w 337"/>
                <a:gd name="T47" fmla="*/ 32 h 69"/>
                <a:gd name="T48" fmla="*/ 14 w 337"/>
                <a:gd name="T49" fmla="*/ 30 h 69"/>
                <a:gd name="T50" fmla="*/ 14 w 337"/>
                <a:gd name="T51" fmla="*/ 26 h 69"/>
                <a:gd name="T52" fmla="*/ 19 w 337"/>
                <a:gd name="T53" fmla="*/ 24 h 69"/>
                <a:gd name="T54" fmla="*/ 278 w 337"/>
                <a:gd name="T55" fmla="*/ 0 h 69"/>
                <a:gd name="T56" fmla="*/ 278 w 337"/>
                <a:gd name="T57" fmla="*/ 3 h 69"/>
                <a:gd name="T58" fmla="*/ 278 w 337"/>
                <a:gd name="T59" fmla="*/ 0 h 69"/>
                <a:gd name="T60" fmla="*/ 252 w 337"/>
                <a:gd name="T61" fmla="*/ 8 h 69"/>
                <a:gd name="T62" fmla="*/ 251 w 337"/>
                <a:gd name="T63" fmla="*/ 5 h 69"/>
                <a:gd name="T64" fmla="*/ 302 w 337"/>
                <a:gd name="T65" fmla="*/ 31 h 69"/>
                <a:gd name="T66" fmla="*/ 303 w 337"/>
                <a:gd name="T67" fmla="*/ 37 h 69"/>
                <a:gd name="T68" fmla="*/ 299 w 337"/>
                <a:gd name="T69" fmla="*/ 33 h 69"/>
                <a:gd name="T70" fmla="*/ 302 w 337"/>
                <a:gd name="T71" fmla="*/ 31 h 69"/>
                <a:gd name="T72" fmla="*/ 303 w 337"/>
                <a:gd name="T73" fmla="*/ 38 h 69"/>
                <a:gd name="T74" fmla="*/ 300 w 337"/>
                <a:gd name="T75" fmla="*/ 42 h 69"/>
                <a:gd name="T76" fmla="*/ 300 w 337"/>
                <a:gd name="T77" fmla="*/ 38 h 69"/>
                <a:gd name="T78" fmla="*/ 303 w 337"/>
                <a:gd name="T79" fmla="*/ 38 h 69"/>
                <a:gd name="T80" fmla="*/ 311 w 337"/>
                <a:gd name="T81" fmla="*/ 40 h 69"/>
                <a:gd name="T82" fmla="*/ 309 w 337"/>
                <a:gd name="T83" fmla="*/ 43 h 69"/>
                <a:gd name="T84" fmla="*/ 307 w 337"/>
                <a:gd name="T85" fmla="*/ 39 h 69"/>
                <a:gd name="T86" fmla="*/ 307 w 337"/>
                <a:gd name="T87" fmla="*/ 37 h 69"/>
                <a:gd name="T88" fmla="*/ 305 w 337"/>
                <a:gd name="T89" fmla="*/ 42 h 69"/>
                <a:gd name="T90" fmla="*/ 309 w 337"/>
                <a:gd name="T91" fmla="*/ 46 h 69"/>
                <a:gd name="T92" fmla="*/ 304 w 337"/>
                <a:gd name="T93" fmla="*/ 45 h 69"/>
                <a:gd name="T94" fmla="*/ 305 w 337"/>
                <a:gd name="T95" fmla="*/ 40 h 69"/>
                <a:gd name="T96" fmla="*/ 307 w 337"/>
                <a:gd name="T97" fmla="*/ 40 h 69"/>
                <a:gd name="T98" fmla="*/ 337 w 337"/>
                <a:gd name="T99" fmla="*/ 68 h 69"/>
                <a:gd name="T100" fmla="*/ 336 w 337"/>
                <a:gd name="T101" fmla="*/ 67 h 69"/>
                <a:gd name="T102" fmla="*/ 337 w 337"/>
                <a:gd name="T103" fmla="*/ 65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37" h="69">
                  <a:moveTo>
                    <a:pt x="19" y="24"/>
                  </a:moveTo>
                  <a:lnTo>
                    <a:pt x="22" y="23"/>
                  </a:lnTo>
                  <a:lnTo>
                    <a:pt x="25" y="22"/>
                  </a:lnTo>
                  <a:lnTo>
                    <a:pt x="27" y="21"/>
                  </a:lnTo>
                  <a:lnTo>
                    <a:pt x="30" y="20"/>
                  </a:lnTo>
                  <a:lnTo>
                    <a:pt x="27" y="17"/>
                  </a:lnTo>
                  <a:lnTo>
                    <a:pt x="25" y="18"/>
                  </a:lnTo>
                  <a:lnTo>
                    <a:pt x="27" y="17"/>
                  </a:lnTo>
                  <a:lnTo>
                    <a:pt x="30" y="17"/>
                  </a:lnTo>
                  <a:lnTo>
                    <a:pt x="33" y="18"/>
                  </a:lnTo>
                  <a:lnTo>
                    <a:pt x="35" y="16"/>
                  </a:lnTo>
                  <a:lnTo>
                    <a:pt x="33" y="15"/>
                  </a:lnTo>
                  <a:lnTo>
                    <a:pt x="32" y="12"/>
                  </a:lnTo>
                  <a:lnTo>
                    <a:pt x="32" y="9"/>
                  </a:lnTo>
                  <a:lnTo>
                    <a:pt x="30" y="9"/>
                  </a:lnTo>
                  <a:lnTo>
                    <a:pt x="26" y="11"/>
                  </a:lnTo>
                  <a:lnTo>
                    <a:pt x="24" y="8"/>
                  </a:lnTo>
                  <a:lnTo>
                    <a:pt x="21" y="7"/>
                  </a:lnTo>
                  <a:lnTo>
                    <a:pt x="23" y="9"/>
                  </a:lnTo>
                  <a:lnTo>
                    <a:pt x="22" y="13"/>
                  </a:lnTo>
                  <a:lnTo>
                    <a:pt x="19" y="11"/>
                  </a:lnTo>
                  <a:lnTo>
                    <a:pt x="18" y="13"/>
                  </a:lnTo>
                  <a:lnTo>
                    <a:pt x="17" y="11"/>
                  </a:lnTo>
                  <a:lnTo>
                    <a:pt x="14" y="9"/>
                  </a:lnTo>
                  <a:lnTo>
                    <a:pt x="12" y="12"/>
                  </a:lnTo>
                  <a:lnTo>
                    <a:pt x="14" y="13"/>
                  </a:lnTo>
                  <a:lnTo>
                    <a:pt x="15" y="16"/>
                  </a:lnTo>
                  <a:lnTo>
                    <a:pt x="13" y="18"/>
                  </a:lnTo>
                  <a:lnTo>
                    <a:pt x="16" y="21"/>
                  </a:lnTo>
                  <a:lnTo>
                    <a:pt x="13" y="20"/>
                  </a:lnTo>
                  <a:lnTo>
                    <a:pt x="12" y="16"/>
                  </a:lnTo>
                  <a:lnTo>
                    <a:pt x="10" y="14"/>
                  </a:lnTo>
                  <a:lnTo>
                    <a:pt x="7" y="14"/>
                  </a:lnTo>
                  <a:lnTo>
                    <a:pt x="3" y="17"/>
                  </a:lnTo>
                  <a:lnTo>
                    <a:pt x="0" y="20"/>
                  </a:lnTo>
                  <a:lnTo>
                    <a:pt x="3" y="22"/>
                  </a:lnTo>
                  <a:lnTo>
                    <a:pt x="4" y="25"/>
                  </a:lnTo>
                  <a:lnTo>
                    <a:pt x="6" y="28"/>
                  </a:lnTo>
                  <a:lnTo>
                    <a:pt x="8" y="28"/>
                  </a:lnTo>
                  <a:lnTo>
                    <a:pt x="9" y="25"/>
                  </a:lnTo>
                  <a:lnTo>
                    <a:pt x="7" y="24"/>
                  </a:lnTo>
                  <a:lnTo>
                    <a:pt x="9" y="24"/>
                  </a:lnTo>
                  <a:lnTo>
                    <a:pt x="9" y="26"/>
                  </a:lnTo>
                  <a:lnTo>
                    <a:pt x="12" y="25"/>
                  </a:lnTo>
                  <a:lnTo>
                    <a:pt x="14" y="24"/>
                  </a:lnTo>
                  <a:lnTo>
                    <a:pt x="12" y="26"/>
                  </a:lnTo>
                  <a:lnTo>
                    <a:pt x="10" y="29"/>
                  </a:lnTo>
                  <a:lnTo>
                    <a:pt x="8" y="32"/>
                  </a:lnTo>
                  <a:lnTo>
                    <a:pt x="12" y="32"/>
                  </a:lnTo>
                  <a:lnTo>
                    <a:pt x="14" y="30"/>
                  </a:lnTo>
                  <a:lnTo>
                    <a:pt x="17" y="28"/>
                  </a:lnTo>
                  <a:lnTo>
                    <a:pt x="14" y="26"/>
                  </a:lnTo>
                  <a:lnTo>
                    <a:pt x="17" y="25"/>
                  </a:lnTo>
                  <a:lnTo>
                    <a:pt x="19" y="24"/>
                  </a:lnTo>
                  <a:lnTo>
                    <a:pt x="19" y="24"/>
                  </a:lnTo>
                  <a:close/>
                  <a:moveTo>
                    <a:pt x="278" y="0"/>
                  </a:moveTo>
                  <a:lnTo>
                    <a:pt x="280" y="3"/>
                  </a:lnTo>
                  <a:lnTo>
                    <a:pt x="278" y="3"/>
                  </a:lnTo>
                  <a:lnTo>
                    <a:pt x="278" y="0"/>
                  </a:lnTo>
                  <a:lnTo>
                    <a:pt x="278" y="0"/>
                  </a:lnTo>
                  <a:close/>
                  <a:moveTo>
                    <a:pt x="251" y="5"/>
                  </a:moveTo>
                  <a:lnTo>
                    <a:pt x="252" y="8"/>
                  </a:lnTo>
                  <a:lnTo>
                    <a:pt x="251" y="5"/>
                  </a:lnTo>
                  <a:lnTo>
                    <a:pt x="251" y="5"/>
                  </a:lnTo>
                  <a:lnTo>
                    <a:pt x="251" y="5"/>
                  </a:lnTo>
                  <a:close/>
                  <a:moveTo>
                    <a:pt x="302" y="31"/>
                  </a:moveTo>
                  <a:lnTo>
                    <a:pt x="304" y="33"/>
                  </a:lnTo>
                  <a:lnTo>
                    <a:pt x="303" y="37"/>
                  </a:lnTo>
                  <a:lnTo>
                    <a:pt x="299" y="37"/>
                  </a:lnTo>
                  <a:lnTo>
                    <a:pt x="299" y="33"/>
                  </a:lnTo>
                  <a:lnTo>
                    <a:pt x="299" y="31"/>
                  </a:lnTo>
                  <a:lnTo>
                    <a:pt x="302" y="31"/>
                  </a:lnTo>
                  <a:lnTo>
                    <a:pt x="302" y="31"/>
                  </a:lnTo>
                  <a:close/>
                  <a:moveTo>
                    <a:pt x="303" y="38"/>
                  </a:moveTo>
                  <a:lnTo>
                    <a:pt x="304" y="40"/>
                  </a:lnTo>
                  <a:lnTo>
                    <a:pt x="300" y="42"/>
                  </a:lnTo>
                  <a:lnTo>
                    <a:pt x="298" y="40"/>
                  </a:lnTo>
                  <a:lnTo>
                    <a:pt x="300" y="38"/>
                  </a:lnTo>
                  <a:lnTo>
                    <a:pt x="303" y="38"/>
                  </a:lnTo>
                  <a:lnTo>
                    <a:pt x="303" y="38"/>
                  </a:lnTo>
                  <a:close/>
                  <a:moveTo>
                    <a:pt x="307" y="37"/>
                  </a:moveTo>
                  <a:lnTo>
                    <a:pt x="311" y="40"/>
                  </a:lnTo>
                  <a:lnTo>
                    <a:pt x="313" y="42"/>
                  </a:lnTo>
                  <a:lnTo>
                    <a:pt x="309" y="43"/>
                  </a:lnTo>
                  <a:lnTo>
                    <a:pt x="307" y="41"/>
                  </a:lnTo>
                  <a:lnTo>
                    <a:pt x="307" y="39"/>
                  </a:lnTo>
                  <a:lnTo>
                    <a:pt x="307" y="37"/>
                  </a:lnTo>
                  <a:lnTo>
                    <a:pt x="307" y="37"/>
                  </a:lnTo>
                  <a:close/>
                  <a:moveTo>
                    <a:pt x="307" y="40"/>
                  </a:moveTo>
                  <a:lnTo>
                    <a:pt x="305" y="42"/>
                  </a:lnTo>
                  <a:lnTo>
                    <a:pt x="308" y="42"/>
                  </a:lnTo>
                  <a:lnTo>
                    <a:pt x="309" y="46"/>
                  </a:lnTo>
                  <a:lnTo>
                    <a:pt x="307" y="47"/>
                  </a:lnTo>
                  <a:lnTo>
                    <a:pt x="304" y="45"/>
                  </a:lnTo>
                  <a:lnTo>
                    <a:pt x="303" y="42"/>
                  </a:lnTo>
                  <a:lnTo>
                    <a:pt x="305" y="40"/>
                  </a:lnTo>
                  <a:lnTo>
                    <a:pt x="307" y="40"/>
                  </a:lnTo>
                  <a:lnTo>
                    <a:pt x="307" y="40"/>
                  </a:lnTo>
                  <a:close/>
                  <a:moveTo>
                    <a:pt x="337" y="65"/>
                  </a:moveTo>
                  <a:lnTo>
                    <a:pt x="337" y="68"/>
                  </a:lnTo>
                  <a:lnTo>
                    <a:pt x="333" y="69"/>
                  </a:lnTo>
                  <a:lnTo>
                    <a:pt x="336" y="67"/>
                  </a:lnTo>
                  <a:lnTo>
                    <a:pt x="337" y="65"/>
                  </a:lnTo>
                  <a:lnTo>
                    <a:pt x="337" y="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10" name="Freeform 210">
              <a:extLst>
                <a:ext uri="{FF2B5EF4-FFF2-40B4-BE49-F238E27FC236}">
                  <a16:creationId xmlns:a16="http://schemas.microsoft.com/office/drawing/2014/main" id="{5B336565-924E-4550-9E60-A2D00953E6E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46325" y="2619375"/>
              <a:ext cx="2997200" cy="390525"/>
            </a:xfrm>
            <a:custGeom>
              <a:avLst/>
              <a:gdLst>
                <a:gd name="T0" fmla="*/ 1622 w 1888"/>
                <a:gd name="T1" fmla="*/ 198 h 246"/>
                <a:gd name="T2" fmla="*/ 1619 w 1888"/>
                <a:gd name="T3" fmla="*/ 198 h 246"/>
                <a:gd name="T4" fmla="*/ 1575 w 1888"/>
                <a:gd name="T5" fmla="*/ 198 h 246"/>
                <a:gd name="T6" fmla="*/ 1569 w 1888"/>
                <a:gd name="T7" fmla="*/ 201 h 246"/>
                <a:gd name="T8" fmla="*/ 1569 w 1888"/>
                <a:gd name="T9" fmla="*/ 199 h 246"/>
                <a:gd name="T10" fmla="*/ 1575 w 1888"/>
                <a:gd name="T11" fmla="*/ 197 h 246"/>
                <a:gd name="T12" fmla="*/ 1575 w 1888"/>
                <a:gd name="T13" fmla="*/ 198 h 246"/>
                <a:gd name="T14" fmla="*/ 1550 w 1888"/>
                <a:gd name="T15" fmla="*/ 203 h 246"/>
                <a:gd name="T16" fmla="*/ 1550 w 1888"/>
                <a:gd name="T17" fmla="*/ 199 h 246"/>
                <a:gd name="T18" fmla="*/ 1553 w 1888"/>
                <a:gd name="T19" fmla="*/ 201 h 246"/>
                <a:gd name="T20" fmla="*/ 1570 w 1888"/>
                <a:gd name="T21" fmla="*/ 203 h 246"/>
                <a:gd name="T22" fmla="*/ 1573 w 1888"/>
                <a:gd name="T23" fmla="*/ 201 h 246"/>
                <a:gd name="T24" fmla="*/ 1575 w 1888"/>
                <a:gd name="T25" fmla="*/ 204 h 246"/>
                <a:gd name="T26" fmla="*/ 1578 w 1888"/>
                <a:gd name="T27" fmla="*/ 203 h 246"/>
                <a:gd name="T28" fmla="*/ 1577 w 1888"/>
                <a:gd name="T29" fmla="*/ 204 h 246"/>
                <a:gd name="T30" fmla="*/ 1579 w 1888"/>
                <a:gd name="T31" fmla="*/ 203 h 246"/>
                <a:gd name="T32" fmla="*/ 1587 w 1888"/>
                <a:gd name="T33" fmla="*/ 212 h 246"/>
                <a:gd name="T34" fmla="*/ 1588 w 1888"/>
                <a:gd name="T35" fmla="*/ 210 h 246"/>
                <a:gd name="T36" fmla="*/ 1704 w 1888"/>
                <a:gd name="T37" fmla="*/ 93 h 246"/>
                <a:gd name="T38" fmla="*/ 1706 w 1888"/>
                <a:gd name="T39" fmla="*/ 88 h 246"/>
                <a:gd name="T40" fmla="*/ 1704 w 1888"/>
                <a:gd name="T41" fmla="*/ 93 h 246"/>
                <a:gd name="T42" fmla="*/ 1703 w 1888"/>
                <a:gd name="T43" fmla="*/ 94 h 246"/>
                <a:gd name="T44" fmla="*/ 1703 w 1888"/>
                <a:gd name="T45" fmla="*/ 94 h 246"/>
                <a:gd name="T46" fmla="*/ 1700 w 1888"/>
                <a:gd name="T47" fmla="*/ 97 h 246"/>
                <a:gd name="T48" fmla="*/ 1700 w 1888"/>
                <a:gd name="T49" fmla="*/ 95 h 246"/>
                <a:gd name="T50" fmla="*/ 1700 w 1888"/>
                <a:gd name="T51" fmla="*/ 97 h 246"/>
                <a:gd name="T52" fmla="*/ 1687 w 1888"/>
                <a:gd name="T53" fmla="*/ 96 h 246"/>
                <a:gd name="T54" fmla="*/ 1688 w 1888"/>
                <a:gd name="T55" fmla="*/ 92 h 246"/>
                <a:gd name="T56" fmla="*/ 1693 w 1888"/>
                <a:gd name="T57" fmla="*/ 92 h 246"/>
                <a:gd name="T58" fmla="*/ 1690 w 1888"/>
                <a:gd name="T59" fmla="*/ 95 h 246"/>
                <a:gd name="T60" fmla="*/ 1690 w 1888"/>
                <a:gd name="T61" fmla="*/ 97 h 246"/>
                <a:gd name="T62" fmla="*/ 1662 w 1888"/>
                <a:gd name="T63" fmla="*/ 103 h 246"/>
                <a:gd name="T64" fmla="*/ 1664 w 1888"/>
                <a:gd name="T65" fmla="*/ 104 h 246"/>
                <a:gd name="T66" fmla="*/ 1888 w 1888"/>
                <a:gd name="T67" fmla="*/ 0 h 246"/>
                <a:gd name="T68" fmla="*/ 1888 w 1888"/>
                <a:gd name="T69" fmla="*/ 0 h 246"/>
                <a:gd name="T70" fmla="*/ 1888 w 1888"/>
                <a:gd name="T71" fmla="*/ 0 h 246"/>
                <a:gd name="T72" fmla="*/ 3 w 1888"/>
                <a:gd name="T73" fmla="*/ 242 h 246"/>
                <a:gd name="T74" fmla="*/ 5 w 1888"/>
                <a:gd name="T75" fmla="*/ 244 h 246"/>
                <a:gd name="T76" fmla="*/ 0 w 1888"/>
                <a:gd name="T77" fmla="*/ 244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888" h="246">
                  <a:moveTo>
                    <a:pt x="1619" y="198"/>
                  </a:moveTo>
                  <a:lnTo>
                    <a:pt x="1622" y="198"/>
                  </a:lnTo>
                  <a:lnTo>
                    <a:pt x="1619" y="199"/>
                  </a:lnTo>
                  <a:lnTo>
                    <a:pt x="1619" y="198"/>
                  </a:lnTo>
                  <a:lnTo>
                    <a:pt x="1619" y="198"/>
                  </a:lnTo>
                  <a:close/>
                  <a:moveTo>
                    <a:pt x="1575" y="198"/>
                  </a:moveTo>
                  <a:lnTo>
                    <a:pt x="1571" y="199"/>
                  </a:lnTo>
                  <a:lnTo>
                    <a:pt x="1569" y="201"/>
                  </a:lnTo>
                  <a:lnTo>
                    <a:pt x="1565" y="202"/>
                  </a:lnTo>
                  <a:lnTo>
                    <a:pt x="1569" y="199"/>
                  </a:lnTo>
                  <a:lnTo>
                    <a:pt x="1571" y="198"/>
                  </a:lnTo>
                  <a:lnTo>
                    <a:pt x="1575" y="197"/>
                  </a:lnTo>
                  <a:lnTo>
                    <a:pt x="1575" y="198"/>
                  </a:lnTo>
                  <a:lnTo>
                    <a:pt x="1575" y="198"/>
                  </a:lnTo>
                  <a:close/>
                  <a:moveTo>
                    <a:pt x="1553" y="201"/>
                  </a:moveTo>
                  <a:lnTo>
                    <a:pt x="1550" y="203"/>
                  </a:lnTo>
                  <a:lnTo>
                    <a:pt x="1547" y="202"/>
                  </a:lnTo>
                  <a:lnTo>
                    <a:pt x="1550" y="199"/>
                  </a:lnTo>
                  <a:lnTo>
                    <a:pt x="1553" y="201"/>
                  </a:lnTo>
                  <a:lnTo>
                    <a:pt x="1553" y="201"/>
                  </a:lnTo>
                  <a:close/>
                  <a:moveTo>
                    <a:pt x="1573" y="201"/>
                  </a:moveTo>
                  <a:lnTo>
                    <a:pt x="1570" y="203"/>
                  </a:lnTo>
                  <a:lnTo>
                    <a:pt x="1573" y="201"/>
                  </a:lnTo>
                  <a:lnTo>
                    <a:pt x="1573" y="201"/>
                  </a:lnTo>
                  <a:close/>
                  <a:moveTo>
                    <a:pt x="1578" y="203"/>
                  </a:moveTo>
                  <a:lnTo>
                    <a:pt x="1575" y="204"/>
                  </a:lnTo>
                  <a:lnTo>
                    <a:pt x="1578" y="203"/>
                  </a:lnTo>
                  <a:lnTo>
                    <a:pt x="1578" y="203"/>
                  </a:lnTo>
                  <a:close/>
                  <a:moveTo>
                    <a:pt x="1579" y="203"/>
                  </a:moveTo>
                  <a:lnTo>
                    <a:pt x="1577" y="204"/>
                  </a:lnTo>
                  <a:lnTo>
                    <a:pt x="1579" y="203"/>
                  </a:lnTo>
                  <a:lnTo>
                    <a:pt x="1579" y="203"/>
                  </a:lnTo>
                  <a:close/>
                  <a:moveTo>
                    <a:pt x="1588" y="210"/>
                  </a:moveTo>
                  <a:lnTo>
                    <a:pt x="1587" y="212"/>
                  </a:lnTo>
                  <a:lnTo>
                    <a:pt x="1586" y="210"/>
                  </a:lnTo>
                  <a:lnTo>
                    <a:pt x="1588" y="210"/>
                  </a:lnTo>
                  <a:lnTo>
                    <a:pt x="1588" y="210"/>
                  </a:lnTo>
                  <a:close/>
                  <a:moveTo>
                    <a:pt x="1704" y="93"/>
                  </a:moveTo>
                  <a:lnTo>
                    <a:pt x="1704" y="90"/>
                  </a:lnTo>
                  <a:lnTo>
                    <a:pt x="1706" y="88"/>
                  </a:lnTo>
                  <a:lnTo>
                    <a:pt x="1706" y="92"/>
                  </a:lnTo>
                  <a:lnTo>
                    <a:pt x="1704" y="93"/>
                  </a:lnTo>
                  <a:lnTo>
                    <a:pt x="1704" y="93"/>
                  </a:lnTo>
                  <a:close/>
                  <a:moveTo>
                    <a:pt x="1703" y="94"/>
                  </a:moveTo>
                  <a:lnTo>
                    <a:pt x="1701" y="91"/>
                  </a:lnTo>
                  <a:lnTo>
                    <a:pt x="1703" y="94"/>
                  </a:lnTo>
                  <a:lnTo>
                    <a:pt x="1703" y="94"/>
                  </a:lnTo>
                  <a:close/>
                  <a:moveTo>
                    <a:pt x="1700" y="97"/>
                  </a:moveTo>
                  <a:lnTo>
                    <a:pt x="1698" y="94"/>
                  </a:lnTo>
                  <a:lnTo>
                    <a:pt x="1700" y="95"/>
                  </a:lnTo>
                  <a:lnTo>
                    <a:pt x="1700" y="97"/>
                  </a:lnTo>
                  <a:lnTo>
                    <a:pt x="1700" y="97"/>
                  </a:lnTo>
                  <a:close/>
                  <a:moveTo>
                    <a:pt x="1690" y="97"/>
                  </a:moveTo>
                  <a:lnTo>
                    <a:pt x="1687" y="96"/>
                  </a:lnTo>
                  <a:lnTo>
                    <a:pt x="1687" y="94"/>
                  </a:lnTo>
                  <a:lnTo>
                    <a:pt x="1688" y="92"/>
                  </a:lnTo>
                  <a:lnTo>
                    <a:pt x="1691" y="90"/>
                  </a:lnTo>
                  <a:lnTo>
                    <a:pt x="1693" y="92"/>
                  </a:lnTo>
                  <a:lnTo>
                    <a:pt x="1693" y="94"/>
                  </a:lnTo>
                  <a:lnTo>
                    <a:pt x="1690" y="95"/>
                  </a:lnTo>
                  <a:lnTo>
                    <a:pt x="1690" y="97"/>
                  </a:lnTo>
                  <a:lnTo>
                    <a:pt x="1690" y="97"/>
                  </a:lnTo>
                  <a:close/>
                  <a:moveTo>
                    <a:pt x="1664" y="104"/>
                  </a:moveTo>
                  <a:lnTo>
                    <a:pt x="1662" y="103"/>
                  </a:lnTo>
                  <a:lnTo>
                    <a:pt x="1664" y="103"/>
                  </a:lnTo>
                  <a:lnTo>
                    <a:pt x="1664" y="104"/>
                  </a:lnTo>
                  <a:lnTo>
                    <a:pt x="1664" y="104"/>
                  </a:lnTo>
                  <a:close/>
                  <a:moveTo>
                    <a:pt x="1888" y="0"/>
                  </a:moveTo>
                  <a:lnTo>
                    <a:pt x="1885" y="2"/>
                  </a:lnTo>
                  <a:lnTo>
                    <a:pt x="1888" y="0"/>
                  </a:lnTo>
                  <a:lnTo>
                    <a:pt x="1888" y="0"/>
                  </a:lnTo>
                  <a:lnTo>
                    <a:pt x="1888" y="0"/>
                  </a:lnTo>
                  <a:close/>
                  <a:moveTo>
                    <a:pt x="0" y="244"/>
                  </a:moveTo>
                  <a:lnTo>
                    <a:pt x="3" y="242"/>
                  </a:lnTo>
                  <a:lnTo>
                    <a:pt x="6" y="241"/>
                  </a:lnTo>
                  <a:lnTo>
                    <a:pt x="5" y="244"/>
                  </a:lnTo>
                  <a:lnTo>
                    <a:pt x="2" y="246"/>
                  </a:lnTo>
                  <a:lnTo>
                    <a:pt x="0" y="244"/>
                  </a:lnTo>
                  <a:lnTo>
                    <a:pt x="0" y="2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11" name="Freeform 211">
              <a:extLst>
                <a:ext uri="{FF2B5EF4-FFF2-40B4-BE49-F238E27FC236}">
                  <a16:creationId xmlns:a16="http://schemas.microsoft.com/office/drawing/2014/main" id="{0823EA6E-69D3-4AD5-90CC-291E0409C2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65600" y="2620963"/>
              <a:ext cx="331787" cy="258763"/>
            </a:xfrm>
            <a:custGeom>
              <a:avLst/>
              <a:gdLst>
                <a:gd name="T0" fmla="*/ 8 w 209"/>
                <a:gd name="T1" fmla="*/ 139 h 163"/>
                <a:gd name="T2" fmla="*/ 3 w 209"/>
                <a:gd name="T3" fmla="*/ 138 h 163"/>
                <a:gd name="T4" fmla="*/ 3 w 209"/>
                <a:gd name="T5" fmla="*/ 141 h 163"/>
                <a:gd name="T6" fmla="*/ 7 w 209"/>
                <a:gd name="T7" fmla="*/ 144 h 163"/>
                <a:gd name="T8" fmla="*/ 11 w 209"/>
                <a:gd name="T9" fmla="*/ 143 h 163"/>
                <a:gd name="T10" fmla="*/ 33 w 209"/>
                <a:gd name="T11" fmla="*/ 33 h 163"/>
                <a:gd name="T12" fmla="*/ 29 w 209"/>
                <a:gd name="T13" fmla="*/ 29 h 163"/>
                <a:gd name="T14" fmla="*/ 31 w 209"/>
                <a:gd name="T15" fmla="*/ 24 h 163"/>
                <a:gd name="T16" fmla="*/ 34 w 209"/>
                <a:gd name="T17" fmla="*/ 27 h 163"/>
                <a:gd name="T18" fmla="*/ 37 w 209"/>
                <a:gd name="T19" fmla="*/ 33 h 163"/>
                <a:gd name="T20" fmla="*/ 33 w 209"/>
                <a:gd name="T21" fmla="*/ 33 h 163"/>
                <a:gd name="T22" fmla="*/ 97 w 209"/>
                <a:gd name="T23" fmla="*/ 159 h 163"/>
                <a:gd name="T24" fmla="*/ 97 w 209"/>
                <a:gd name="T25" fmla="*/ 163 h 163"/>
                <a:gd name="T26" fmla="*/ 91 w 209"/>
                <a:gd name="T27" fmla="*/ 161 h 163"/>
                <a:gd name="T28" fmla="*/ 88 w 209"/>
                <a:gd name="T29" fmla="*/ 158 h 163"/>
                <a:gd name="T30" fmla="*/ 93 w 209"/>
                <a:gd name="T31" fmla="*/ 156 h 163"/>
                <a:gd name="T32" fmla="*/ 94 w 209"/>
                <a:gd name="T33" fmla="*/ 158 h 163"/>
                <a:gd name="T34" fmla="*/ 49 w 209"/>
                <a:gd name="T35" fmla="*/ 40 h 163"/>
                <a:gd name="T36" fmla="*/ 43 w 209"/>
                <a:gd name="T37" fmla="*/ 39 h 163"/>
                <a:gd name="T38" fmla="*/ 40 w 209"/>
                <a:gd name="T39" fmla="*/ 39 h 163"/>
                <a:gd name="T40" fmla="*/ 37 w 209"/>
                <a:gd name="T41" fmla="*/ 42 h 163"/>
                <a:gd name="T42" fmla="*/ 41 w 209"/>
                <a:gd name="T43" fmla="*/ 46 h 163"/>
                <a:gd name="T44" fmla="*/ 47 w 209"/>
                <a:gd name="T45" fmla="*/ 46 h 163"/>
                <a:gd name="T46" fmla="*/ 52 w 209"/>
                <a:gd name="T47" fmla="*/ 46 h 163"/>
                <a:gd name="T48" fmla="*/ 56 w 209"/>
                <a:gd name="T49" fmla="*/ 43 h 163"/>
                <a:gd name="T50" fmla="*/ 52 w 209"/>
                <a:gd name="T51" fmla="*/ 41 h 163"/>
                <a:gd name="T52" fmla="*/ 132 w 209"/>
                <a:gd name="T53" fmla="*/ 0 h 163"/>
                <a:gd name="T54" fmla="*/ 128 w 209"/>
                <a:gd name="T55" fmla="*/ 4 h 163"/>
                <a:gd name="T56" fmla="*/ 128 w 209"/>
                <a:gd name="T57" fmla="*/ 0 h 163"/>
                <a:gd name="T58" fmla="*/ 132 w 209"/>
                <a:gd name="T59" fmla="*/ 0 h 163"/>
                <a:gd name="T60" fmla="*/ 124 w 209"/>
                <a:gd name="T61" fmla="*/ 22 h 163"/>
                <a:gd name="T62" fmla="*/ 132 w 209"/>
                <a:gd name="T63" fmla="*/ 23 h 163"/>
                <a:gd name="T64" fmla="*/ 126 w 209"/>
                <a:gd name="T65" fmla="*/ 23 h 163"/>
                <a:gd name="T66" fmla="*/ 124 w 209"/>
                <a:gd name="T67" fmla="*/ 22 h 163"/>
                <a:gd name="T68" fmla="*/ 185 w 209"/>
                <a:gd name="T69" fmla="*/ 49 h 163"/>
                <a:gd name="T70" fmla="*/ 185 w 209"/>
                <a:gd name="T71" fmla="*/ 52 h 163"/>
                <a:gd name="T72" fmla="*/ 185 w 209"/>
                <a:gd name="T73" fmla="*/ 49 h 163"/>
                <a:gd name="T74" fmla="*/ 192 w 209"/>
                <a:gd name="T75" fmla="*/ 58 h 163"/>
                <a:gd name="T76" fmla="*/ 192 w 209"/>
                <a:gd name="T77" fmla="*/ 56 h 163"/>
                <a:gd name="T78" fmla="*/ 192 w 209"/>
                <a:gd name="T79" fmla="*/ 58 h 163"/>
                <a:gd name="T80" fmla="*/ 202 w 209"/>
                <a:gd name="T81" fmla="*/ 61 h 163"/>
                <a:gd name="T82" fmla="*/ 203 w 209"/>
                <a:gd name="T83" fmla="*/ 62 h 163"/>
                <a:gd name="T84" fmla="*/ 200 w 209"/>
                <a:gd name="T85" fmla="*/ 62 h 163"/>
                <a:gd name="T86" fmla="*/ 208 w 209"/>
                <a:gd name="T87" fmla="*/ 93 h 163"/>
                <a:gd name="T88" fmla="*/ 207 w 209"/>
                <a:gd name="T89" fmla="*/ 94 h 163"/>
                <a:gd name="T90" fmla="*/ 208 w 209"/>
                <a:gd name="T91" fmla="*/ 93 h 163"/>
                <a:gd name="T92" fmla="*/ 166 w 209"/>
                <a:gd name="T93" fmla="*/ 119 h 163"/>
                <a:gd name="T94" fmla="*/ 163 w 209"/>
                <a:gd name="T95" fmla="*/ 117 h 163"/>
                <a:gd name="T96" fmla="*/ 167 w 209"/>
                <a:gd name="T97" fmla="*/ 116 h 163"/>
                <a:gd name="T98" fmla="*/ 179 w 209"/>
                <a:gd name="T99" fmla="*/ 139 h 163"/>
                <a:gd name="T100" fmla="*/ 182 w 209"/>
                <a:gd name="T101" fmla="*/ 145 h 163"/>
                <a:gd name="T102" fmla="*/ 177 w 209"/>
                <a:gd name="T103" fmla="*/ 139 h 163"/>
                <a:gd name="T104" fmla="*/ 179 w 209"/>
                <a:gd name="T105" fmla="*/ 139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09" h="163">
                  <a:moveTo>
                    <a:pt x="11" y="143"/>
                  </a:moveTo>
                  <a:lnTo>
                    <a:pt x="8" y="139"/>
                  </a:lnTo>
                  <a:lnTo>
                    <a:pt x="6" y="138"/>
                  </a:lnTo>
                  <a:lnTo>
                    <a:pt x="3" y="138"/>
                  </a:lnTo>
                  <a:lnTo>
                    <a:pt x="0" y="138"/>
                  </a:lnTo>
                  <a:lnTo>
                    <a:pt x="3" y="141"/>
                  </a:lnTo>
                  <a:lnTo>
                    <a:pt x="5" y="143"/>
                  </a:lnTo>
                  <a:lnTo>
                    <a:pt x="7" y="144"/>
                  </a:lnTo>
                  <a:lnTo>
                    <a:pt x="11" y="145"/>
                  </a:lnTo>
                  <a:lnTo>
                    <a:pt x="11" y="143"/>
                  </a:lnTo>
                  <a:lnTo>
                    <a:pt x="11" y="143"/>
                  </a:lnTo>
                  <a:close/>
                  <a:moveTo>
                    <a:pt x="33" y="33"/>
                  </a:moveTo>
                  <a:lnTo>
                    <a:pt x="31" y="31"/>
                  </a:lnTo>
                  <a:lnTo>
                    <a:pt x="29" y="29"/>
                  </a:lnTo>
                  <a:lnTo>
                    <a:pt x="29" y="26"/>
                  </a:lnTo>
                  <a:lnTo>
                    <a:pt x="31" y="24"/>
                  </a:lnTo>
                  <a:lnTo>
                    <a:pt x="33" y="25"/>
                  </a:lnTo>
                  <a:lnTo>
                    <a:pt x="34" y="27"/>
                  </a:lnTo>
                  <a:lnTo>
                    <a:pt x="35" y="30"/>
                  </a:lnTo>
                  <a:lnTo>
                    <a:pt x="37" y="33"/>
                  </a:lnTo>
                  <a:lnTo>
                    <a:pt x="33" y="33"/>
                  </a:lnTo>
                  <a:lnTo>
                    <a:pt x="33" y="33"/>
                  </a:lnTo>
                  <a:close/>
                  <a:moveTo>
                    <a:pt x="94" y="158"/>
                  </a:moveTo>
                  <a:lnTo>
                    <a:pt x="97" y="159"/>
                  </a:lnTo>
                  <a:lnTo>
                    <a:pt x="99" y="161"/>
                  </a:lnTo>
                  <a:lnTo>
                    <a:pt x="97" y="163"/>
                  </a:lnTo>
                  <a:lnTo>
                    <a:pt x="93" y="162"/>
                  </a:lnTo>
                  <a:lnTo>
                    <a:pt x="91" y="161"/>
                  </a:lnTo>
                  <a:lnTo>
                    <a:pt x="90" y="159"/>
                  </a:lnTo>
                  <a:lnTo>
                    <a:pt x="88" y="158"/>
                  </a:lnTo>
                  <a:lnTo>
                    <a:pt x="90" y="156"/>
                  </a:lnTo>
                  <a:lnTo>
                    <a:pt x="93" y="156"/>
                  </a:lnTo>
                  <a:lnTo>
                    <a:pt x="94" y="158"/>
                  </a:lnTo>
                  <a:lnTo>
                    <a:pt x="94" y="158"/>
                  </a:lnTo>
                  <a:close/>
                  <a:moveTo>
                    <a:pt x="52" y="41"/>
                  </a:moveTo>
                  <a:lnTo>
                    <a:pt x="49" y="40"/>
                  </a:lnTo>
                  <a:lnTo>
                    <a:pt x="47" y="40"/>
                  </a:lnTo>
                  <a:lnTo>
                    <a:pt x="43" y="39"/>
                  </a:lnTo>
                  <a:lnTo>
                    <a:pt x="42" y="36"/>
                  </a:lnTo>
                  <a:lnTo>
                    <a:pt x="40" y="39"/>
                  </a:lnTo>
                  <a:lnTo>
                    <a:pt x="38" y="39"/>
                  </a:lnTo>
                  <a:lnTo>
                    <a:pt x="37" y="42"/>
                  </a:lnTo>
                  <a:lnTo>
                    <a:pt x="39" y="44"/>
                  </a:lnTo>
                  <a:lnTo>
                    <a:pt x="41" y="46"/>
                  </a:lnTo>
                  <a:lnTo>
                    <a:pt x="45" y="46"/>
                  </a:lnTo>
                  <a:lnTo>
                    <a:pt x="47" y="46"/>
                  </a:lnTo>
                  <a:lnTo>
                    <a:pt x="50" y="46"/>
                  </a:lnTo>
                  <a:lnTo>
                    <a:pt x="52" y="46"/>
                  </a:lnTo>
                  <a:lnTo>
                    <a:pt x="55" y="47"/>
                  </a:lnTo>
                  <a:lnTo>
                    <a:pt x="56" y="43"/>
                  </a:lnTo>
                  <a:lnTo>
                    <a:pt x="55" y="41"/>
                  </a:lnTo>
                  <a:lnTo>
                    <a:pt x="52" y="41"/>
                  </a:lnTo>
                  <a:lnTo>
                    <a:pt x="52" y="41"/>
                  </a:lnTo>
                  <a:close/>
                  <a:moveTo>
                    <a:pt x="132" y="0"/>
                  </a:moveTo>
                  <a:lnTo>
                    <a:pt x="132" y="2"/>
                  </a:lnTo>
                  <a:lnTo>
                    <a:pt x="128" y="4"/>
                  </a:lnTo>
                  <a:lnTo>
                    <a:pt x="126" y="4"/>
                  </a:lnTo>
                  <a:lnTo>
                    <a:pt x="128" y="0"/>
                  </a:lnTo>
                  <a:lnTo>
                    <a:pt x="132" y="1"/>
                  </a:lnTo>
                  <a:lnTo>
                    <a:pt x="132" y="0"/>
                  </a:lnTo>
                  <a:lnTo>
                    <a:pt x="132" y="0"/>
                  </a:lnTo>
                  <a:close/>
                  <a:moveTo>
                    <a:pt x="124" y="22"/>
                  </a:moveTo>
                  <a:lnTo>
                    <a:pt x="126" y="22"/>
                  </a:lnTo>
                  <a:lnTo>
                    <a:pt x="132" y="23"/>
                  </a:lnTo>
                  <a:lnTo>
                    <a:pt x="129" y="23"/>
                  </a:lnTo>
                  <a:lnTo>
                    <a:pt x="126" y="23"/>
                  </a:lnTo>
                  <a:lnTo>
                    <a:pt x="124" y="22"/>
                  </a:lnTo>
                  <a:lnTo>
                    <a:pt x="124" y="22"/>
                  </a:lnTo>
                  <a:lnTo>
                    <a:pt x="124" y="22"/>
                  </a:lnTo>
                  <a:close/>
                  <a:moveTo>
                    <a:pt x="185" y="49"/>
                  </a:moveTo>
                  <a:lnTo>
                    <a:pt x="187" y="52"/>
                  </a:lnTo>
                  <a:lnTo>
                    <a:pt x="185" y="52"/>
                  </a:lnTo>
                  <a:lnTo>
                    <a:pt x="185" y="50"/>
                  </a:lnTo>
                  <a:lnTo>
                    <a:pt x="185" y="49"/>
                  </a:lnTo>
                  <a:lnTo>
                    <a:pt x="185" y="49"/>
                  </a:lnTo>
                  <a:close/>
                  <a:moveTo>
                    <a:pt x="192" y="58"/>
                  </a:moveTo>
                  <a:lnTo>
                    <a:pt x="190" y="58"/>
                  </a:lnTo>
                  <a:lnTo>
                    <a:pt x="192" y="56"/>
                  </a:lnTo>
                  <a:lnTo>
                    <a:pt x="192" y="58"/>
                  </a:lnTo>
                  <a:lnTo>
                    <a:pt x="192" y="58"/>
                  </a:lnTo>
                  <a:close/>
                  <a:moveTo>
                    <a:pt x="200" y="62"/>
                  </a:moveTo>
                  <a:lnTo>
                    <a:pt x="202" y="61"/>
                  </a:lnTo>
                  <a:lnTo>
                    <a:pt x="204" y="60"/>
                  </a:lnTo>
                  <a:lnTo>
                    <a:pt x="203" y="62"/>
                  </a:lnTo>
                  <a:lnTo>
                    <a:pt x="200" y="64"/>
                  </a:lnTo>
                  <a:lnTo>
                    <a:pt x="200" y="62"/>
                  </a:lnTo>
                  <a:lnTo>
                    <a:pt x="200" y="62"/>
                  </a:lnTo>
                  <a:close/>
                  <a:moveTo>
                    <a:pt x="208" y="93"/>
                  </a:moveTo>
                  <a:lnTo>
                    <a:pt x="209" y="95"/>
                  </a:lnTo>
                  <a:lnTo>
                    <a:pt x="207" y="94"/>
                  </a:lnTo>
                  <a:lnTo>
                    <a:pt x="208" y="93"/>
                  </a:lnTo>
                  <a:lnTo>
                    <a:pt x="208" y="93"/>
                  </a:lnTo>
                  <a:close/>
                  <a:moveTo>
                    <a:pt x="167" y="116"/>
                  </a:moveTo>
                  <a:lnTo>
                    <a:pt x="166" y="119"/>
                  </a:lnTo>
                  <a:lnTo>
                    <a:pt x="163" y="120"/>
                  </a:lnTo>
                  <a:lnTo>
                    <a:pt x="163" y="117"/>
                  </a:lnTo>
                  <a:lnTo>
                    <a:pt x="166" y="116"/>
                  </a:lnTo>
                  <a:lnTo>
                    <a:pt x="167" y="116"/>
                  </a:lnTo>
                  <a:lnTo>
                    <a:pt x="167" y="116"/>
                  </a:lnTo>
                  <a:close/>
                  <a:moveTo>
                    <a:pt x="179" y="139"/>
                  </a:moveTo>
                  <a:lnTo>
                    <a:pt x="180" y="142"/>
                  </a:lnTo>
                  <a:lnTo>
                    <a:pt x="182" y="145"/>
                  </a:lnTo>
                  <a:lnTo>
                    <a:pt x="178" y="143"/>
                  </a:lnTo>
                  <a:lnTo>
                    <a:pt x="177" y="139"/>
                  </a:lnTo>
                  <a:lnTo>
                    <a:pt x="179" y="139"/>
                  </a:lnTo>
                  <a:lnTo>
                    <a:pt x="179" y="1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12" name="Freeform 212">
              <a:extLst>
                <a:ext uri="{FF2B5EF4-FFF2-40B4-BE49-F238E27FC236}">
                  <a16:creationId xmlns:a16="http://schemas.microsoft.com/office/drawing/2014/main" id="{A2BF80C5-77D7-4B29-ABE7-2EB04025FA3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86175" y="2614613"/>
              <a:ext cx="381000" cy="269875"/>
            </a:xfrm>
            <a:custGeom>
              <a:avLst/>
              <a:gdLst>
                <a:gd name="T0" fmla="*/ 58 w 240"/>
                <a:gd name="T1" fmla="*/ 62 h 170"/>
                <a:gd name="T2" fmla="*/ 120 w 240"/>
                <a:gd name="T3" fmla="*/ 146 h 170"/>
                <a:gd name="T4" fmla="*/ 120 w 240"/>
                <a:gd name="T5" fmla="*/ 146 h 170"/>
                <a:gd name="T6" fmla="*/ 117 w 240"/>
                <a:gd name="T7" fmla="*/ 164 h 170"/>
                <a:gd name="T8" fmla="*/ 101 w 240"/>
                <a:gd name="T9" fmla="*/ 170 h 170"/>
                <a:gd name="T10" fmla="*/ 101 w 240"/>
                <a:gd name="T11" fmla="*/ 170 h 170"/>
                <a:gd name="T12" fmla="*/ 43 w 240"/>
                <a:gd name="T13" fmla="*/ 34 h 170"/>
                <a:gd name="T14" fmla="*/ 51 w 240"/>
                <a:gd name="T15" fmla="*/ 27 h 170"/>
                <a:gd name="T16" fmla="*/ 59 w 240"/>
                <a:gd name="T17" fmla="*/ 25 h 170"/>
                <a:gd name="T18" fmla="*/ 50 w 240"/>
                <a:gd name="T19" fmla="*/ 23 h 170"/>
                <a:gd name="T20" fmla="*/ 47 w 240"/>
                <a:gd name="T21" fmla="*/ 16 h 170"/>
                <a:gd name="T22" fmla="*/ 44 w 240"/>
                <a:gd name="T23" fmla="*/ 13 h 170"/>
                <a:gd name="T24" fmla="*/ 36 w 240"/>
                <a:gd name="T25" fmla="*/ 9 h 170"/>
                <a:gd name="T26" fmla="*/ 28 w 240"/>
                <a:gd name="T27" fmla="*/ 5 h 170"/>
                <a:gd name="T28" fmla="*/ 23 w 240"/>
                <a:gd name="T29" fmla="*/ 0 h 170"/>
                <a:gd name="T30" fmla="*/ 16 w 240"/>
                <a:gd name="T31" fmla="*/ 4 h 170"/>
                <a:gd name="T32" fmla="*/ 17 w 240"/>
                <a:gd name="T33" fmla="*/ 9 h 170"/>
                <a:gd name="T34" fmla="*/ 15 w 240"/>
                <a:gd name="T35" fmla="*/ 12 h 170"/>
                <a:gd name="T36" fmla="*/ 8 w 240"/>
                <a:gd name="T37" fmla="*/ 17 h 170"/>
                <a:gd name="T38" fmla="*/ 0 w 240"/>
                <a:gd name="T39" fmla="*/ 19 h 170"/>
                <a:gd name="T40" fmla="*/ 6 w 240"/>
                <a:gd name="T41" fmla="*/ 25 h 170"/>
                <a:gd name="T42" fmla="*/ 11 w 240"/>
                <a:gd name="T43" fmla="*/ 26 h 170"/>
                <a:gd name="T44" fmla="*/ 17 w 240"/>
                <a:gd name="T45" fmla="*/ 27 h 170"/>
                <a:gd name="T46" fmla="*/ 25 w 240"/>
                <a:gd name="T47" fmla="*/ 30 h 170"/>
                <a:gd name="T48" fmla="*/ 33 w 240"/>
                <a:gd name="T49" fmla="*/ 31 h 170"/>
                <a:gd name="T50" fmla="*/ 41 w 240"/>
                <a:gd name="T51" fmla="*/ 34 h 170"/>
                <a:gd name="T52" fmla="*/ 234 w 240"/>
                <a:gd name="T53" fmla="*/ 1 h 170"/>
                <a:gd name="T54" fmla="*/ 231 w 240"/>
                <a:gd name="T55" fmla="*/ 0 h 170"/>
                <a:gd name="T56" fmla="*/ 219 w 240"/>
                <a:gd name="T57" fmla="*/ 2 h 170"/>
                <a:gd name="T58" fmla="*/ 240 w 240"/>
                <a:gd name="T59" fmla="*/ 37 h 170"/>
                <a:gd name="T60" fmla="*/ 240 w 240"/>
                <a:gd name="T61" fmla="*/ 37 h 170"/>
                <a:gd name="T62" fmla="*/ 179 w 240"/>
                <a:gd name="T63" fmla="*/ 44 h 170"/>
                <a:gd name="T64" fmla="*/ 177 w 240"/>
                <a:gd name="T65" fmla="*/ 51 h 170"/>
                <a:gd name="T66" fmla="*/ 173 w 240"/>
                <a:gd name="T67" fmla="*/ 44 h 170"/>
                <a:gd name="T68" fmla="*/ 177 w 240"/>
                <a:gd name="T69" fmla="*/ 38 h 170"/>
                <a:gd name="T70" fmla="*/ 179 w 240"/>
                <a:gd name="T71" fmla="*/ 40 h 170"/>
                <a:gd name="T72" fmla="*/ 222 w 240"/>
                <a:gd name="T73" fmla="*/ 83 h 170"/>
                <a:gd name="T74" fmla="*/ 226 w 240"/>
                <a:gd name="T75" fmla="*/ 85 h 170"/>
                <a:gd name="T76" fmla="*/ 222 w 240"/>
                <a:gd name="T77" fmla="*/ 94 h 170"/>
                <a:gd name="T78" fmla="*/ 213 w 240"/>
                <a:gd name="T79" fmla="*/ 90 h 170"/>
                <a:gd name="T80" fmla="*/ 219 w 240"/>
                <a:gd name="T81" fmla="*/ 96 h 170"/>
                <a:gd name="T82" fmla="*/ 215 w 240"/>
                <a:gd name="T83" fmla="*/ 98 h 170"/>
                <a:gd name="T84" fmla="*/ 211 w 240"/>
                <a:gd name="T85" fmla="*/ 94 h 170"/>
                <a:gd name="T86" fmla="*/ 206 w 240"/>
                <a:gd name="T87" fmla="*/ 88 h 170"/>
                <a:gd name="T88" fmla="*/ 213 w 240"/>
                <a:gd name="T89" fmla="*/ 9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40" h="170">
                  <a:moveTo>
                    <a:pt x="58" y="62"/>
                  </a:moveTo>
                  <a:lnTo>
                    <a:pt x="54" y="63"/>
                  </a:lnTo>
                  <a:lnTo>
                    <a:pt x="58" y="62"/>
                  </a:lnTo>
                  <a:lnTo>
                    <a:pt x="58" y="62"/>
                  </a:lnTo>
                  <a:lnTo>
                    <a:pt x="58" y="62"/>
                  </a:lnTo>
                  <a:close/>
                  <a:moveTo>
                    <a:pt x="120" y="146"/>
                  </a:moveTo>
                  <a:lnTo>
                    <a:pt x="118" y="146"/>
                  </a:lnTo>
                  <a:lnTo>
                    <a:pt x="120" y="146"/>
                  </a:lnTo>
                  <a:lnTo>
                    <a:pt x="120" y="146"/>
                  </a:lnTo>
                  <a:close/>
                  <a:moveTo>
                    <a:pt x="117" y="164"/>
                  </a:moveTo>
                  <a:lnTo>
                    <a:pt x="113" y="164"/>
                  </a:lnTo>
                  <a:lnTo>
                    <a:pt x="117" y="164"/>
                  </a:lnTo>
                  <a:lnTo>
                    <a:pt x="117" y="164"/>
                  </a:lnTo>
                  <a:lnTo>
                    <a:pt x="117" y="164"/>
                  </a:lnTo>
                  <a:close/>
                  <a:moveTo>
                    <a:pt x="101" y="170"/>
                  </a:moveTo>
                  <a:lnTo>
                    <a:pt x="97" y="170"/>
                  </a:lnTo>
                  <a:lnTo>
                    <a:pt x="101" y="170"/>
                  </a:lnTo>
                  <a:lnTo>
                    <a:pt x="101" y="170"/>
                  </a:lnTo>
                  <a:lnTo>
                    <a:pt x="101" y="170"/>
                  </a:lnTo>
                  <a:close/>
                  <a:moveTo>
                    <a:pt x="41" y="34"/>
                  </a:moveTo>
                  <a:lnTo>
                    <a:pt x="43" y="34"/>
                  </a:lnTo>
                  <a:lnTo>
                    <a:pt x="46" y="31"/>
                  </a:lnTo>
                  <a:lnTo>
                    <a:pt x="49" y="30"/>
                  </a:lnTo>
                  <a:lnTo>
                    <a:pt x="51" y="27"/>
                  </a:lnTo>
                  <a:lnTo>
                    <a:pt x="53" y="27"/>
                  </a:lnTo>
                  <a:lnTo>
                    <a:pt x="57" y="27"/>
                  </a:lnTo>
                  <a:lnTo>
                    <a:pt x="59" y="25"/>
                  </a:lnTo>
                  <a:lnTo>
                    <a:pt x="55" y="23"/>
                  </a:lnTo>
                  <a:lnTo>
                    <a:pt x="53" y="25"/>
                  </a:lnTo>
                  <a:lnTo>
                    <a:pt x="50" y="23"/>
                  </a:lnTo>
                  <a:lnTo>
                    <a:pt x="49" y="21"/>
                  </a:lnTo>
                  <a:lnTo>
                    <a:pt x="49" y="19"/>
                  </a:lnTo>
                  <a:lnTo>
                    <a:pt x="47" y="16"/>
                  </a:lnTo>
                  <a:lnTo>
                    <a:pt x="46" y="19"/>
                  </a:lnTo>
                  <a:lnTo>
                    <a:pt x="45" y="16"/>
                  </a:lnTo>
                  <a:lnTo>
                    <a:pt x="44" y="13"/>
                  </a:lnTo>
                  <a:lnTo>
                    <a:pt x="42" y="11"/>
                  </a:lnTo>
                  <a:lnTo>
                    <a:pt x="38" y="10"/>
                  </a:lnTo>
                  <a:lnTo>
                    <a:pt x="36" y="9"/>
                  </a:lnTo>
                  <a:lnTo>
                    <a:pt x="33" y="6"/>
                  </a:lnTo>
                  <a:lnTo>
                    <a:pt x="30" y="4"/>
                  </a:lnTo>
                  <a:lnTo>
                    <a:pt x="28" y="5"/>
                  </a:lnTo>
                  <a:lnTo>
                    <a:pt x="28" y="3"/>
                  </a:lnTo>
                  <a:lnTo>
                    <a:pt x="26" y="2"/>
                  </a:lnTo>
                  <a:lnTo>
                    <a:pt x="23" y="0"/>
                  </a:lnTo>
                  <a:lnTo>
                    <a:pt x="20" y="0"/>
                  </a:lnTo>
                  <a:lnTo>
                    <a:pt x="17" y="2"/>
                  </a:lnTo>
                  <a:lnTo>
                    <a:pt x="16" y="4"/>
                  </a:lnTo>
                  <a:lnTo>
                    <a:pt x="17" y="8"/>
                  </a:lnTo>
                  <a:lnTo>
                    <a:pt x="20" y="10"/>
                  </a:lnTo>
                  <a:lnTo>
                    <a:pt x="17" y="9"/>
                  </a:lnTo>
                  <a:lnTo>
                    <a:pt x="15" y="6"/>
                  </a:lnTo>
                  <a:lnTo>
                    <a:pt x="15" y="10"/>
                  </a:lnTo>
                  <a:lnTo>
                    <a:pt x="15" y="12"/>
                  </a:lnTo>
                  <a:lnTo>
                    <a:pt x="12" y="13"/>
                  </a:lnTo>
                  <a:lnTo>
                    <a:pt x="10" y="17"/>
                  </a:lnTo>
                  <a:lnTo>
                    <a:pt x="8" y="17"/>
                  </a:lnTo>
                  <a:lnTo>
                    <a:pt x="6" y="18"/>
                  </a:lnTo>
                  <a:lnTo>
                    <a:pt x="2" y="17"/>
                  </a:lnTo>
                  <a:lnTo>
                    <a:pt x="0" y="19"/>
                  </a:lnTo>
                  <a:lnTo>
                    <a:pt x="0" y="21"/>
                  </a:lnTo>
                  <a:lnTo>
                    <a:pt x="3" y="25"/>
                  </a:lnTo>
                  <a:lnTo>
                    <a:pt x="6" y="25"/>
                  </a:lnTo>
                  <a:lnTo>
                    <a:pt x="8" y="22"/>
                  </a:lnTo>
                  <a:lnTo>
                    <a:pt x="9" y="25"/>
                  </a:lnTo>
                  <a:lnTo>
                    <a:pt x="11" y="26"/>
                  </a:lnTo>
                  <a:lnTo>
                    <a:pt x="15" y="27"/>
                  </a:lnTo>
                  <a:lnTo>
                    <a:pt x="16" y="25"/>
                  </a:lnTo>
                  <a:lnTo>
                    <a:pt x="17" y="27"/>
                  </a:lnTo>
                  <a:lnTo>
                    <a:pt x="19" y="29"/>
                  </a:lnTo>
                  <a:lnTo>
                    <a:pt x="23" y="29"/>
                  </a:lnTo>
                  <a:lnTo>
                    <a:pt x="25" y="30"/>
                  </a:lnTo>
                  <a:lnTo>
                    <a:pt x="28" y="33"/>
                  </a:lnTo>
                  <a:lnTo>
                    <a:pt x="30" y="33"/>
                  </a:lnTo>
                  <a:lnTo>
                    <a:pt x="33" y="31"/>
                  </a:lnTo>
                  <a:lnTo>
                    <a:pt x="36" y="33"/>
                  </a:lnTo>
                  <a:lnTo>
                    <a:pt x="38" y="34"/>
                  </a:lnTo>
                  <a:lnTo>
                    <a:pt x="41" y="34"/>
                  </a:lnTo>
                  <a:lnTo>
                    <a:pt x="41" y="34"/>
                  </a:lnTo>
                  <a:close/>
                  <a:moveTo>
                    <a:pt x="231" y="0"/>
                  </a:moveTo>
                  <a:lnTo>
                    <a:pt x="234" y="1"/>
                  </a:lnTo>
                  <a:lnTo>
                    <a:pt x="231" y="1"/>
                  </a:lnTo>
                  <a:lnTo>
                    <a:pt x="231" y="0"/>
                  </a:lnTo>
                  <a:lnTo>
                    <a:pt x="231" y="0"/>
                  </a:lnTo>
                  <a:close/>
                  <a:moveTo>
                    <a:pt x="219" y="2"/>
                  </a:moveTo>
                  <a:lnTo>
                    <a:pt x="215" y="3"/>
                  </a:lnTo>
                  <a:lnTo>
                    <a:pt x="219" y="2"/>
                  </a:lnTo>
                  <a:lnTo>
                    <a:pt x="219" y="2"/>
                  </a:lnTo>
                  <a:lnTo>
                    <a:pt x="219" y="2"/>
                  </a:lnTo>
                  <a:close/>
                  <a:moveTo>
                    <a:pt x="240" y="37"/>
                  </a:moveTo>
                  <a:lnTo>
                    <a:pt x="237" y="37"/>
                  </a:lnTo>
                  <a:lnTo>
                    <a:pt x="239" y="36"/>
                  </a:lnTo>
                  <a:lnTo>
                    <a:pt x="240" y="37"/>
                  </a:lnTo>
                  <a:lnTo>
                    <a:pt x="240" y="37"/>
                  </a:lnTo>
                  <a:close/>
                  <a:moveTo>
                    <a:pt x="179" y="40"/>
                  </a:moveTo>
                  <a:lnTo>
                    <a:pt x="179" y="44"/>
                  </a:lnTo>
                  <a:lnTo>
                    <a:pt x="180" y="46"/>
                  </a:lnTo>
                  <a:lnTo>
                    <a:pt x="179" y="50"/>
                  </a:lnTo>
                  <a:lnTo>
                    <a:pt x="177" y="51"/>
                  </a:lnTo>
                  <a:lnTo>
                    <a:pt x="173" y="50"/>
                  </a:lnTo>
                  <a:lnTo>
                    <a:pt x="172" y="47"/>
                  </a:lnTo>
                  <a:lnTo>
                    <a:pt x="173" y="44"/>
                  </a:lnTo>
                  <a:lnTo>
                    <a:pt x="173" y="42"/>
                  </a:lnTo>
                  <a:lnTo>
                    <a:pt x="174" y="38"/>
                  </a:lnTo>
                  <a:lnTo>
                    <a:pt x="177" y="38"/>
                  </a:lnTo>
                  <a:lnTo>
                    <a:pt x="179" y="40"/>
                  </a:lnTo>
                  <a:lnTo>
                    <a:pt x="179" y="40"/>
                  </a:lnTo>
                  <a:lnTo>
                    <a:pt x="179" y="40"/>
                  </a:lnTo>
                  <a:close/>
                  <a:moveTo>
                    <a:pt x="226" y="85"/>
                  </a:moveTo>
                  <a:lnTo>
                    <a:pt x="224" y="86"/>
                  </a:lnTo>
                  <a:lnTo>
                    <a:pt x="222" y="83"/>
                  </a:lnTo>
                  <a:lnTo>
                    <a:pt x="225" y="85"/>
                  </a:lnTo>
                  <a:lnTo>
                    <a:pt x="226" y="85"/>
                  </a:lnTo>
                  <a:lnTo>
                    <a:pt x="226" y="85"/>
                  </a:lnTo>
                  <a:close/>
                  <a:moveTo>
                    <a:pt x="222" y="95"/>
                  </a:moveTo>
                  <a:lnTo>
                    <a:pt x="219" y="95"/>
                  </a:lnTo>
                  <a:lnTo>
                    <a:pt x="222" y="94"/>
                  </a:lnTo>
                  <a:lnTo>
                    <a:pt x="222" y="95"/>
                  </a:lnTo>
                  <a:lnTo>
                    <a:pt x="222" y="95"/>
                  </a:lnTo>
                  <a:close/>
                  <a:moveTo>
                    <a:pt x="213" y="90"/>
                  </a:moveTo>
                  <a:lnTo>
                    <a:pt x="216" y="93"/>
                  </a:lnTo>
                  <a:lnTo>
                    <a:pt x="215" y="95"/>
                  </a:lnTo>
                  <a:lnTo>
                    <a:pt x="219" y="96"/>
                  </a:lnTo>
                  <a:lnTo>
                    <a:pt x="221" y="97"/>
                  </a:lnTo>
                  <a:lnTo>
                    <a:pt x="219" y="98"/>
                  </a:lnTo>
                  <a:lnTo>
                    <a:pt x="215" y="98"/>
                  </a:lnTo>
                  <a:lnTo>
                    <a:pt x="215" y="96"/>
                  </a:lnTo>
                  <a:lnTo>
                    <a:pt x="213" y="97"/>
                  </a:lnTo>
                  <a:lnTo>
                    <a:pt x="211" y="94"/>
                  </a:lnTo>
                  <a:lnTo>
                    <a:pt x="209" y="91"/>
                  </a:lnTo>
                  <a:lnTo>
                    <a:pt x="207" y="90"/>
                  </a:lnTo>
                  <a:lnTo>
                    <a:pt x="206" y="88"/>
                  </a:lnTo>
                  <a:lnTo>
                    <a:pt x="208" y="88"/>
                  </a:lnTo>
                  <a:lnTo>
                    <a:pt x="212" y="89"/>
                  </a:lnTo>
                  <a:lnTo>
                    <a:pt x="213" y="90"/>
                  </a:lnTo>
                  <a:lnTo>
                    <a:pt x="213" y="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13" name="Freeform 213">
              <a:extLst>
                <a:ext uri="{FF2B5EF4-FFF2-40B4-BE49-F238E27FC236}">
                  <a16:creationId xmlns:a16="http://schemas.microsoft.com/office/drawing/2014/main" id="{A2579010-E89C-4064-964A-3989EF74F9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08350" y="2622550"/>
              <a:ext cx="468312" cy="306388"/>
            </a:xfrm>
            <a:custGeom>
              <a:avLst/>
              <a:gdLst>
                <a:gd name="T0" fmla="*/ 65 w 295"/>
                <a:gd name="T1" fmla="*/ 175 h 193"/>
                <a:gd name="T2" fmla="*/ 59 w 295"/>
                <a:gd name="T3" fmla="*/ 178 h 193"/>
                <a:gd name="T4" fmla="*/ 59 w 295"/>
                <a:gd name="T5" fmla="*/ 177 h 193"/>
                <a:gd name="T6" fmla="*/ 65 w 295"/>
                <a:gd name="T7" fmla="*/ 174 h 193"/>
                <a:gd name="T8" fmla="*/ 68 w 295"/>
                <a:gd name="T9" fmla="*/ 174 h 193"/>
                <a:gd name="T10" fmla="*/ 60 w 295"/>
                <a:gd name="T11" fmla="*/ 178 h 193"/>
                <a:gd name="T12" fmla="*/ 60 w 295"/>
                <a:gd name="T13" fmla="*/ 178 h 193"/>
                <a:gd name="T14" fmla="*/ 63 w 295"/>
                <a:gd name="T15" fmla="*/ 177 h 193"/>
                <a:gd name="T16" fmla="*/ 59 w 295"/>
                <a:gd name="T17" fmla="*/ 182 h 193"/>
                <a:gd name="T18" fmla="*/ 63 w 295"/>
                <a:gd name="T19" fmla="*/ 178 h 193"/>
                <a:gd name="T20" fmla="*/ 63 w 295"/>
                <a:gd name="T21" fmla="*/ 177 h 193"/>
                <a:gd name="T22" fmla="*/ 6 w 295"/>
                <a:gd name="T23" fmla="*/ 192 h 193"/>
                <a:gd name="T24" fmla="*/ 0 w 295"/>
                <a:gd name="T25" fmla="*/ 192 h 193"/>
                <a:gd name="T26" fmla="*/ 3 w 295"/>
                <a:gd name="T27" fmla="*/ 191 h 193"/>
                <a:gd name="T28" fmla="*/ 227 w 295"/>
                <a:gd name="T29" fmla="*/ 16 h 193"/>
                <a:gd name="T30" fmla="*/ 228 w 295"/>
                <a:gd name="T31" fmla="*/ 21 h 193"/>
                <a:gd name="T32" fmla="*/ 223 w 295"/>
                <a:gd name="T33" fmla="*/ 22 h 193"/>
                <a:gd name="T34" fmla="*/ 225 w 295"/>
                <a:gd name="T35" fmla="*/ 15 h 193"/>
                <a:gd name="T36" fmla="*/ 227 w 295"/>
                <a:gd name="T37" fmla="*/ 16 h 193"/>
                <a:gd name="T38" fmla="*/ 208 w 295"/>
                <a:gd name="T39" fmla="*/ 24 h 193"/>
                <a:gd name="T40" fmla="*/ 203 w 295"/>
                <a:gd name="T41" fmla="*/ 25 h 193"/>
                <a:gd name="T42" fmla="*/ 203 w 295"/>
                <a:gd name="T43" fmla="*/ 22 h 193"/>
                <a:gd name="T44" fmla="*/ 208 w 295"/>
                <a:gd name="T45" fmla="*/ 22 h 193"/>
                <a:gd name="T46" fmla="*/ 168 w 295"/>
                <a:gd name="T47" fmla="*/ 26 h 193"/>
                <a:gd name="T48" fmla="*/ 169 w 295"/>
                <a:gd name="T49" fmla="*/ 30 h 193"/>
                <a:gd name="T50" fmla="*/ 164 w 295"/>
                <a:gd name="T51" fmla="*/ 29 h 193"/>
                <a:gd name="T52" fmla="*/ 168 w 295"/>
                <a:gd name="T53" fmla="*/ 26 h 193"/>
                <a:gd name="T54" fmla="*/ 293 w 295"/>
                <a:gd name="T55" fmla="*/ 3 h 193"/>
                <a:gd name="T56" fmla="*/ 293 w 295"/>
                <a:gd name="T57" fmla="*/ 7 h 193"/>
                <a:gd name="T58" fmla="*/ 290 w 295"/>
                <a:gd name="T59" fmla="*/ 6 h 193"/>
                <a:gd name="T60" fmla="*/ 289 w 295"/>
                <a:gd name="T61" fmla="*/ 5 h 193"/>
                <a:gd name="T62" fmla="*/ 287 w 295"/>
                <a:gd name="T63" fmla="*/ 3 h 193"/>
                <a:gd name="T64" fmla="*/ 292 w 295"/>
                <a:gd name="T65" fmla="*/ 3 h 193"/>
                <a:gd name="T66" fmla="*/ 293 w 295"/>
                <a:gd name="T67" fmla="*/ 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95" h="193">
                  <a:moveTo>
                    <a:pt x="68" y="174"/>
                  </a:moveTo>
                  <a:lnTo>
                    <a:pt x="65" y="175"/>
                  </a:lnTo>
                  <a:lnTo>
                    <a:pt x="62" y="177"/>
                  </a:lnTo>
                  <a:lnTo>
                    <a:pt x="59" y="178"/>
                  </a:lnTo>
                  <a:lnTo>
                    <a:pt x="57" y="178"/>
                  </a:lnTo>
                  <a:lnTo>
                    <a:pt x="59" y="177"/>
                  </a:lnTo>
                  <a:lnTo>
                    <a:pt x="62" y="175"/>
                  </a:lnTo>
                  <a:lnTo>
                    <a:pt x="65" y="174"/>
                  </a:lnTo>
                  <a:lnTo>
                    <a:pt x="68" y="174"/>
                  </a:lnTo>
                  <a:lnTo>
                    <a:pt x="68" y="174"/>
                  </a:lnTo>
                  <a:lnTo>
                    <a:pt x="68" y="174"/>
                  </a:lnTo>
                  <a:close/>
                  <a:moveTo>
                    <a:pt x="60" y="178"/>
                  </a:moveTo>
                  <a:lnTo>
                    <a:pt x="58" y="180"/>
                  </a:lnTo>
                  <a:lnTo>
                    <a:pt x="60" y="178"/>
                  </a:lnTo>
                  <a:lnTo>
                    <a:pt x="60" y="178"/>
                  </a:lnTo>
                  <a:close/>
                  <a:moveTo>
                    <a:pt x="63" y="177"/>
                  </a:moveTo>
                  <a:lnTo>
                    <a:pt x="62" y="180"/>
                  </a:lnTo>
                  <a:lnTo>
                    <a:pt x="59" y="182"/>
                  </a:lnTo>
                  <a:lnTo>
                    <a:pt x="60" y="179"/>
                  </a:lnTo>
                  <a:lnTo>
                    <a:pt x="63" y="178"/>
                  </a:lnTo>
                  <a:lnTo>
                    <a:pt x="63" y="177"/>
                  </a:lnTo>
                  <a:lnTo>
                    <a:pt x="63" y="177"/>
                  </a:lnTo>
                  <a:close/>
                  <a:moveTo>
                    <a:pt x="3" y="191"/>
                  </a:moveTo>
                  <a:lnTo>
                    <a:pt x="6" y="192"/>
                  </a:lnTo>
                  <a:lnTo>
                    <a:pt x="3" y="193"/>
                  </a:lnTo>
                  <a:lnTo>
                    <a:pt x="0" y="192"/>
                  </a:lnTo>
                  <a:lnTo>
                    <a:pt x="3" y="191"/>
                  </a:lnTo>
                  <a:lnTo>
                    <a:pt x="3" y="191"/>
                  </a:lnTo>
                  <a:lnTo>
                    <a:pt x="3" y="191"/>
                  </a:lnTo>
                  <a:close/>
                  <a:moveTo>
                    <a:pt x="227" y="16"/>
                  </a:moveTo>
                  <a:lnTo>
                    <a:pt x="229" y="18"/>
                  </a:lnTo>
                  <a:lnTo>
                    <a:pt x="228" y="21"/>
                  </a:lnTo>
                  <a:lnTo>
                    <a:pt x="225" y="23"/>
                  </a:lnTo>
                  <a:lnTo>
                    <a:pt x="223" y="22"/>
                  </a:lnTo>
                  <a:lnTo>
                    <a:pt x="223" y="16"/>
                  </a:lnTo>
                  <a:lnTo>
                    <a:pt x="225" y="15"/>
                  </a:lnTo>
                  <a:lnTo>
                    <a:pt x="227" y="16"/>
                  </a:lnTo>
                  <a:lnTo>
                    <a:pt x="227" y="16"/>
                  </a:lnTo>
                  <a:close/>
                  <a:moveTo>
                    <a:pt x="208" y="22"/>
                  </a:moveTo>
                  <a:lnTo>
                    <a:pt x="208" y="24"/>
                  </a:lnTo>
                  <a:lnTo>
                    <a:pt x="205" y="26"/>
                  </a:lnTo>
                  <a:lnTo>
                    <a:pt x="203" y="25"/>
                  </a:lnTo>
                  <a:lnTo>
                    <a:pt x="199" y="24"/>
                  </a:lnTo>
                  <a:lnTo>
                    <a:pt x="203" y="22"/>
                  </a:lnTo>
                  <a:lnTo>
                    <a:pt x="205" y="21"/>
                  </a:lnTo>
                  <a:lnTo>
                    <a:pt x="208" y="22"/>
                  </a:lnTo>
                  <a:lnTo>
                    <a:pt x="208" y="22"/>
                  </a:lnTo>
                  <a:close/>
                  <a:moveTo>
                    <a:pt x="168" y="26"/>
                  </a:moveTo>
                  <a:lnTo>
                    <a:pt x="170" y="28"/>
                  </a:lnTo>
                  <a:lnTo>
                    <a:pt x="169" y="30"/>
                  </a:lnTo>
                  <a:lnTo>
                    <a:pt x="167" y="30"/>
                  </a:lnTo>
                  <a:lnTo>
                    <a:pt x="164" y="29"/>
                  </a:lnTo>
                  <a:lnTo>
                    <a:pt x="163" y="26"/>
                  </a:lnTo>
                  <a:lnTo>
                    <a:pt x="168" y="26"/>
                  </a:lnTo>
                  <a:lnTo>
                    <a:pt x="168" y="26"/>
                  </a:lnTo>
                  <a:close/>
                  <a:moveTo>
                    <a:pt x="293" y="3"/>
                  </a:moveTo>
                  <a:lnTo>
                    <a:pt x="295" y="5"/>
                  </a:lnTo>
                  <a:lnTo>
                    <a:pt x="293" y="7"/>
                  </a:lnTo>
                  <a:lnTo>
                    <a:pt x="290" y="8"/>
                  </a:lnTo>
                  <a:lnTo>
                    <a:pt x="290" y="6"/>
                  </a:lnTo>
                  <a:lnTo>
                    <a:pt x="290" y="3"/>
                  </a:lnTo>
                  <a:lnTo>
                    <a:pt x="289" y="5"/>
                  </a:lnTo>
                  <a:lnTo>
                    <a:pt x="285" y="5"/>
                  </a:lnTo>
                  <a:lnTo>
                    <a:pt x="287" y="3"/>
                  </a:lnTo>
                  <a:lnTo>
                    <a:pt x="290" y="0"/>
                  </a:lnTo>
                  <a:lnTo>
                    <a:pt x="292" y="3"/>
                  </a:lnTo>
                  <a:lnTo>
                    <a:pt x="293" y="3"/>
                  </a:lnTo>
                  <a:lnTo>
                    <a:pt x="293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14" name="Freeform 214">
              <a:extLst>
                <a:ext uri="{FF2B5EF4-FFF2-40B4-BE49-F238E27FC236}">
                  <a16:creationId xmlns:a16="http://schemas.microsoft.com/office/drawing/2014/main" id="{458904B7-FB9B-487B-A761-A7031ADCE58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46688" y="2574925"/>
              <a:ext cx="36512" cy="15875"/>
            </a:xfrm>
            <a:custGeom>
              <a:avLst/>
              <a:gdLst>
                <a:gd name="T0" fmla="*/ 6 w 23"/>
                <a:gd name="T1" fmla="*/ 0 h 10"/>
                <a:gd name="T2" fmla="*/ 4 w 23"/>
                <a:gd name="T3" fmla="*/ 2 h 10"/>
                <a:gd name="T4" fmla="*/ 0 w 23"/>
                <a:gd name="T5" fmla="*/ 3 h 10"/>
                <a:gd name="T6" fmla="*/ 0 w 23"/>
                <a:gd name="T7" fmla="*/ 1 h 10"/>
                <a:gd name="T8" fmla="*/ 2 w 23"/>
                <a:gd name="T9" fmla="*/ 0 h 10"/>
                <a:gd name="T10" fmla="*/ 5 w 23"/>
                <a:gd name="T11" fmla="*/ 0 h 10"/>
                <a:gd name="T12" fmla="*/ 6 w 23"/>
                <a:gd name="T13" fmla="*/ 0 h 10"/>
                <a:gd name="T14" fmla="*/ 6 w 23"/>
                <a:gd name="T15" fmla="*/ 0 h 10"/>
                <a:gd name="T16" fmla="*/ 23 w 23"/>
                <a:gd name="T17" fmla="*/ 9 h 10"/>
                <a:gd name="T18" fmla="*/ 19 w 23"/>
                <a:gd name="T19" fmla="*/ 10 h 10"/>
                <a:gd name="T20" fmla="*/ 22 w 23"/>
                <a:gd name="T21" fmla="*/ 9 h 10"/>
                <a:gd name="T22" fmla="*/ 23 w 23"/>
                <a:gd name="T23" fmla="*/ 9 h 10"/>
                <a:gd name="T24" fmla="*/ 23 w 23"/>
                <a:gd name="T25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" h="10">
                  <a:moveTo>
                    <a:pt x="6" y="0"/>
                  </a:moveTo>
                  <a:lnTo>
                    <a:pt x="4" y="2"/>
                  </a:lnTo>
                  <a:lnTo>
                    <a:pt x="0" y="3"/>
                  </a:lnTo>
                  <a:lnTo>
                    <a:pt x="0" y="1"/>
                  </a:lnTo>
                  <a:lnTo>
                    <a:pt x="2" y="0"/>
                  </a:lnTo>
                  <a:lnTo>
                    <a:pt x="5" y="0"/>
                  </a:lnTo>
                  <a:lnTo>
                    <a:pt x="6" y="0"/>
                  </a:lnTo>
                  <a:lnTo>
                    <a:pt x="6" y="0"/>
                  </a:lnTo>
                  <a:close/>
                  <a:moveTo>
                    <a:pt x="23" y="9"/>
                  </a:moveTo>
                  <a:lnTo>
                    <a:pt x="19" y="10"/>
                  </a:lnTo>
                  <a:lnTo>
                    <a:pt x="22" y="9"/>
                  </a:lnTo>
                  <a:lnTo>
                    <a:pt x="23" y="9"/>
                  </a:lnTo>
                  <a:lnTo>
                    <a:pt x="23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15" name="Freeform 215">
              <a:extLst>
                <a:ext uri="{FF2B5EF4-FFF2-40B4-BE49-F238E27FC236}">
                  <a16:creationId xmlns:a16="http://schemas.microsoft.com/office/drawing/2014/main" id="{1DCD93EB-88A5-4C54-B6AD-55B91DFCD12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2550" y="2454275"/>
              <a:ext cx="623887" cy="447675"/>
            </a:xfrm>
            <a:custGeom>
              <a:avLst/>
              <a:gdLst>
                <a:gd name="T0" fmla="*/ 17 w 393"/>
                <a:gd name="T1" fmla="*/ 72 h 282"/>
                <a:gd name="T2" fmla="*/ 43 w 393"/>
                <a:gd name="T3" fmla="*/ 88 h 282"/>
                <a:gd name="T4" fmla="*/ 79 w 393"/>
                <a:gd name="T5" fmla="*/ 98 h 282"/>
                <a:gd name="T6" fmla="*/ 108 w 393"/>
                <a:gd name="T7" fmla="*/ 95 h 282"/>
                <a:gd name="T8" fmla="*/ 139 w 393"/>
                <a:gd name="T9" fmla="*/ 100 h 282"/>
                <a:gd name="T10" fmla="*/ 159 w 393"/>
                <a:gd name="T11" fmla="*/ 89 h 282"/>
                <a:gd name="T12" fmla="*/ 185 w 393"/>
                <a:gd name="T13" fmla="*/ 110 h 282"/>
                <a:gd name="T14" fmla="*/ 207 w 393"/>
                <a:gd name="T15" fmla="*/ 120 h 282"/>
                <a:gd name="T16" fmla="*/ 234 w 393"/>
                <a:gd name="T17" fmla="*/ 144 h 282"/>
                <a:gd name="T18" fmla="*/ 258 w 393"/>
                <a:gd name="T19" fmla="*/ 169 h 282"/>
                <a:gd name="T20" fmla="*/ 265 w 393"/>
                <a:gd name="T21" fmla="*/ 184 h 282"/>
                <a:gd name="T22" fmla="*/ 227 w 393"/>
                <a:gd name="T23" fmla="*/ 180 h 282"/>
                <a:gd name="T24" fmla="*/ 195 w 393"/>
                <a:gd name="T25" fmla="*/ 209 h 282"/>
                <a:gd name="T26" fmla="*/ 168 w 393"/>
                <a:gd name="T27" fmla="*/ 212 h 282"/>
                <a:gd name="T28" fmla="*/ 203 w 393"/>
                <a:gd name="T29" fmla="*/ 226 h 282"/>
                <a:gd name="T30" fmla="*/ 229 w 393"/>
                <a:gd name="T31" fmla="*/ 224 h 282"/>
                <a:gd name="T32" fmla="*/ 249 w 393"/>
                <a:gd name="T33" fmla="*/ 252 h 282"/>
                <a:gd name="T34" fmla="*/ 301 w 393"/>
                <a:gd name="T35" fmla="*/ 275 h 282"/>
                <a:gd name="T36" fmla="*/ 312 w 393"/>
                <a:gd name="T37" fmla="*/ 261 h 282"/>
                <a:gd name="T38" fmla="*/ 306 w 393"/>
                <a:gd name="T39" fmla="*/ 246 h 282"/>
                <a:gd name="T40" fmla="*/ 340 w 393"/>
                <a:gd name="T41" fmla="*/ 267 h 282"/>
                <a:gd name="T42" fmla="*/ 349 w 393"/>
                <a:gd name="T43" fmla="*/ 249 h 282"/>
                <a:gd name="T44" fmla="*/ 331 w 393"/>
                <a:gd name="T45" fmla="*/ 220 h 282"/>
                <a:gd name="T46" fmla="*/ 303 w 393"/>
                <a:gd name="T47" fmla="*/ 201 h 282"/>
                <a:gd name="T48" fmla="*/ 305 w 393"/>
                <a:gd name="T49" fmla="*/ 184 h 282"/>
                <a:gd name="T50" fmla="*/ 329 w 393"/>
                <a:gd name="T51" fmla="*/ 189 h 282"/>
                <a:gd name="T52" fmla="*/ 339 w 393"/>
                <a:gd name="T53" fmla="*/ 194 h 282"/>
                <a:gd name="T54" fmla="*/ 350 w 393"/>
                <a:gd name="T55" fmla="*/ 208 h 282"/>
                <a:gd name="T56" fmla="*/ 369 w 393"/>
                <a:gd name="T57" fmla="*/ 200 h 282"/>
                <a:gd name="T58" fmla="*/ 379 w 393"/>
                <a:gd name="T59" fmla="*/ 186 h 282"/>
                <a:gd name="T60" fmla="*/ 386 w 393"/>
                <a:gd name="T61" fmla="*/ 172 h 282"/>
                <a:gd name="T62" fmla="*/ 363 w 393"/>
                <a:gd name="T63" fmla="*/ 171 h 282"/>
                <a:gd name="T64" fmla="*/ 350 w 393"/>
                <a:gd name="T65" fmla="*/ 164 h 282"/>
                <a:gd name="T66" fmla="*/ 342 w 393"/>
                <a:gd name="T67" fmla="*/ 152 h 282"/>
                <a:gd name="T68" fmla="*/ 320 w 393"/>
                <a:gd name="T69" fmla="*/ 148 h 282"/>
                <a:gd name="T70" fmla="*/ 312 w 393"/>
                <a:gd name="T71" fmla="*/ 136 h 282"/>
                <a:gd name="T72" fmla="*/ 297 w 393"/>
                <a:gd name="T73" fmla="*/ 129 h 282"/>
                <a:gd name="T74" fmla="*/ 300 w 393"/>
                <a:gd name="T75" fmla="*/ 119 h 282"/>
                <a:gd name="T76" fmla="*/ 291 w 393"/>
                <a:gd name="T77" fmla="*/ 114 h 282"/>
                <a:gd name="T78" fmla="*/ 289 w 393"/>
                <a:gd name="T79" fmla="*/ 109 h 282"/>
                <a:gd name="T80" fmla="*/ 312 w 393"/>
                <a:gd name="T81" fmla="*/ 100 h 282"/>
                <a:gd name="T82" fmla="*/ 284 w 393"/>
                <a:gd name="T83" fmla="*/ 100 h 282"/>
                <a:gd name="T84" fmla="*/ 282 w 393"/>
                <a:gd name="T85" fmla="*/ 92 h 282"/>
                <a:gd name="T86" fmla="*/ 274 w 393"/>
                <a:gd name="T87" fmla="*/ 77 h 282"/>
                <a:gd name="T88" fmla="*/ 253 w 393"/>
                <a:gd name="T89" fmla="*/ 84 h 282"/>
                <a:gd name="T90" fmla="*/ 238 w 393"/>
                <a:gd name="T91" fmla="*/ 78 h 282"/>
                <a:gd name="T92" fmla="*/ 228 w 393"/>
                <a:gd name="T93" fmla="*/ 73 h 282"/>
                <a:gd name="T94" fmla="*/ 220 w 393"/>
                <a:gd name="T95" fmla="*/ 59 h 282"/>
                <a:gd name="T96" fmla="*/ 205 w 393"/>
                <a:gd name="T97" fmla="*/ 57 h 282"/>
                <a:gd name="T98" fmla="*/ 201 w 393"/>
                <a:gd name="T99" fmla="*/ 45 h 282"/>
                <a:gd name="T100" fmla="*/ 184 w 393"/>
                <a:gd name="T101" fmla="*/ 32 h 282"/>
                <a:gd name="T102" fmla="*/ 166 w 393"/>
                <a:gd name="T103" fmla="*/ 41 h 282"/>
                <a:gd name="T104" fmla="*/ 156 w 393"/>
                <a:gd name="T105" fmla="*/ 44 h 282"/>
                <a:gd name="T106" fmla="*/ 137 w 393"/>
                <a:gd name="T107" fmla="*/ 43 h 282"/>
                <a:gd name="T108" fmla="*/ 127 w 393"/>
                <a:gd name="T109" fmla="*/ 34 h 282"/>
                <a:gd name="T110" fmla="*/ 95 w 393"/>
                <a:gd name="T111" fmla="*/ 4 h 282"/>
                <a:gd name="T112" fmla="*/ 83 w 393"/>
                <a:gd name="T113" fmla="*/ 20 h 282"/>
                <a:gd name="T114" fmla="*/ 67 w 393"/>
                <a:gd name="T115" fmla="*/ 24 h 282"/>
                <a:gd name="T116" fmla="*/ 69 w 393"/>
                <a:gd name="T117" fmla="*/ 42 h 282"/>
                <a:gd name="T118" fmla="*/ 69 w 393"/>
                <a:gd name="T119" fmla="*/ 72 h 282"/>
                <a:gd name="T120" fmla="*/ 64 w 393"/>
                <a:gd name="T121" fmla="*/ 61 h 282"/>
                <a:gd name="T122" fmla="*/ 70 w 393"/>
                <a:gd name="T123" fmla="*/ 2 h 282"/>
                <a:gd name="T124" fmla="*/ 9 w 393"/>
                <a:gd name="T125" fmla="*/ 23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93" h="282">
                  <a:moveTo>
                    <a:pt x="0" y="61"/>
                  </a:moveTo>
                  <a:lnTo>
                    <a:pt x="1" y="64"/>
                  </a:lnTo>
                  <a:lnTo>
                    <a:pt x="5" y="66"/>
                  </a:lnTo>
                  <a:lnTo>
                    <a:pt x="7" y="66"/>
                  </a:lnTo>
                  <a:lnTo>
                    <a:pt x="10" y="66"/>
                  </a:lnTo>
                  <a:lnTo>
                    <a:pt x="18" y="67"/>
                  </a:lnTo>
                  <a:lnTo>
                    <a:pt x="21" y="67"/>
                  </a:lnTo>
                  <a:lnTo>
                    <a:pt x="24" y="67"/>
                  </a:lnTo>
                  <a:lnTo>
                    <a:pt x="26" y="68"/>
                  </a:lnTo>
                  <a:lnTo>
                    <a:pt x="30" y="67"/>
                  </a:lnTo>
                  <a:lnTo>
                    <a:pt x="31" y="69"/>
                  </a:lnTo>
                  <a:lnTo>
                    <a:pt x="33" y="70"/>
                  </a:lnTo>
                  <a:lnTo>
                    <a:pt x="36" y="72"/>
                  </a:lnTo>
                  <a:lnTo>
                    <a:pt x="39" y="72"/>
                  </a:lnTo>
                  <a:lnTo>
                    <a:pt x="36" y="75"/>
                  </a:lnTo>
                  <a:lnTo>
                    <a:pt x="33" y="75"/>
                  </a:lnTo>
                  <a:lnTo>
                    <a:pt x="31" y="73"/>
                  </a:lnTo>
                  <a:lnTo>
                    <a:pt x="27" y="75"/>
                  </a:lnTo>
                  <a:lnTo>
                    <a:pt x="25" y="75"/>
                  </a:lnTo>
                  <a:lnTo>
                    <a:pt x="22" y="72"/>
                  </a:lnTo>
                  <a:lnTo>
                    <a:pt x="19" y="72"/>
                  </a:lnTo>
                  <a:lnTo>
                    <a:pt x="17" y="72"/>
                  </a:lnTo>
                  <a:lnTo>
                    <a:pt x="14" y="72"/>
                  </a:lnTo>
                  <a:lnTo>
                    <a:pt x="11" y="72"/>
                  </a:lnTo>
                  <a:lnTo>
                    <a:pt x="8" y="71"/>
                  </a:lnTo>
                  <a:lnTo>
                    <a:pt x="10" y="73"/>
                  </a:lnTo>
                  <a:lnTo>
                    <a:pt x="8" y="75"/>
                  </a:lnTo>
                  <a:lnTo>
                    <a:pt x="9" y="78"/>
                  </a:lnTo>
                  <a:lnTo>
                    <a:pt x="11" y="80"/>
                  </a:lnTo>
                  <a:lnTo>
                    <a:pt x="14" y="83"/>
                  </a:lnTo>
                  <a:lnTo>
                    <a:pt x="16" y="85"/>
                  </a:lnTo>
                  <a:lnTo>
                    <a:pt x="18" y="87"/>
                  </a:lnTo>
                  <a:lnTo>
                    <a:pt x="22" y="87"/>
                  </a:lnTo>
                  <a:lnTo>
                    <a:pt x="24" y="87"/>
                  </a:lnTo>
                  <a:lnTo>
                    <a:pt x="27" y="89"/>
                  </a:lnTo>
                  <a:lnTo>
                    <a:pt x="24" y="89"/>
                  </a:lnTo>
                  <a:lnTo>
                    <a:pt x="27" y="90"/>
                  </a:lnTo>
                  <a:lnTo>
                    <a:pt x="30" y="92"/>
                  </a:lnTo>
                  <a:lnTo>
                    <a:pt x="35" y="89"/>
                  </a:lnTo>
                  <a:lnTo>
                    <a:pt x="38" y="90"/>
                  </a:lnTo>
                  <a:lnTo>
                    <a:pt x="41" y="90"/>
                  </a:lnTo>
                  <a:lnTo>
                    <a:pt x="39" y="88"/>
                  </a:lnTo>
                  <a:lnTo>
                    <a:pt x="41" y="86"/>
                  </a:lnTo>
                  <a:lnTo>
                    <a:pt x="43" y="88"/>
                  </a:lnTo>
                  <a:lnTo>
                    <a:pt x="47" y="88"/>
                  </a:lnTo>
                  <a:lnTo>
                    <a:pt x="49" y="86"/>
                  </a:lnTo>
                  <a:lnTo>
                    <a:pt x="48" y="89"/>
                  </a:lnTo>
                  <a:lnTo>
                    <a:pt x="48" y="92"/>
                  </a:lnTo>
                  <a:lnTo>
                    <a:pt x="50" y="94"/>
                  </a:lnTo>
                  <a:lnTo>
                    <a:pt x="53" y="96"/>
                  </a:lnTo>
                  <a:lnTo>
                    <a:pt x="57" y="97"/>
                  </a:lnTo>
                  <a:lnTo>
                    <a:pt x="59" y="97"/>
                  </a:lnTo>
                  <a:lnTo>
                    <a:pt x="62" y="97"/>
                  </a:lnTo>
                  <a:lnTo>
                    <a:pt x="62" y="97"/>
                  </a:lnTo>
                  <a:lnTo>
                    <a:pt x="65" y="97"/>
                  </a:lnTo>
                  <a:lnTo>
                    <a:pt x="62" y="96"/>
                  </a:lnTo>
                  <a:lnTo>
                    <a:pt x="59" y="96"/>
                  </a:lnTo>
                  <a:lnTo>
                    <a:pt x="57" y="96"/>
                  </a:lnTo>
                  <a:lnTo>
                    <a:pt x="59" y="95"/>
                  </a:lnTo>
                  <a:lnTo>
                    <a:pt x="62" y="95"/>
                  </a:lnTo>
                  <a:lnTo>
                    <a:pt x="65" y="95"/>
                  </a:lnTo>
                  <a:lnTo>
                    <a:pt x="68" y="96"/>
                  </a:lnTo>
                  <a:lnTo>
                    <a:pt x="70" y="95"/>
                  </a:lnTo>
                  <a:lnTo>
                    <a:pt x="74" y="97"/>
                  </a:lnTo>
                  <a:lnTo>
                    <a:pt x="76" y="97"/>
                  </a:lnTo>
                  <a:lnTo>
                    <a:pt x="79" y="98"/>
                  </a:lnTo>
                  <a:lnTo>
                    <a:pt x="82" y="98"/>
                  </a:lnTo>
                  <a:lnTo>
                    <a:pt x="85" y="98"/>
                  </a:lnTo>
                  <a:lnTo>
                    <a:pt x="87" y="100"/>
                  </a:lnTo>
                  <a:lnTo>
                    <a:pt x="90" y="98"/>
                  </a:lnTo>
                  <a:lnTo>
                    <a:pt x="92" y="97"/>
                  </a:lnTo>
                  <a:lnTo>
                    <a:pt x="95" y="97"/>
                  </a:lnTo>
                  <a:lnTo>
                    <a:pt x="99" y="100"/>
                  </a:lnTo>
                  <a:lnTo>
                    <a:pt x="101" y="100"/>
                  </a:lnTo>
                  <a:lnTo>
                    <a:pt x="103" y="102"/>
                  </a:lnTo>
                  <a:lnTo>
                    <a:pt x="107" y="102"/>
                  </a:lnTo>
                  <a:lnTo>
                    <a:pt x="109" y="101"/>
                  </a:lnTo>
                  <a:lnTo>
                    <a:pt x="112" y="101"/>
                  </a:lnTo>
                  <a:lnTo>
                    <a:pt x="111" y="98"/>
                  </a:lnTo>
                  <a:lnTo>
                    <a:pt x="110" y="97"/>
                  </a:lnTo>
                  <a:lnTo>
                    <a:pt x="108" y="96"/>
                  </a:lnTo>
                  <a:lnTo>
                    <a:pt x="102" y="94"/>
                  </a:lnTo>
                  <a:lnTo>
                    <a:pt x="99" y="93"/>
                  </a:lnTo>
                  <a:lnTo>
                    <a:pt x="96" y="90"/>
                  </a:lnTo>
                  <a:lnTo>
                    <a:pt x="99" y="92"/>
                  </a:lnTo>
                  <a:lnTo>
                    <a:pt x="102" y="93"/>
                  </a:lnTo>
                  <a:lnTo>
                    <a:pt x="104" y="94"/>
                  </a:lnTo>
                  <a:lnTo>
                    <a:pt x="108" y="95"/>
                  </a:lnTo>
                  <a:lnTo>
                    <a:pt x="110" y="96"/>
                  </a:lnTo>
                  <a:lnTo>
                    <a:pt x="112" y="97"/>
                  </a:lnTo>
                  <a:lnTo>
                    <a:pt x="115" y="98"/>
                  </a:lnTo>
                  <a:lnTo>
                    <a:pt x="118" y="100"/>
                  </a:lnTo>
                  <a:lnTo>
                    <a:pt x="120" y="102"/>
                  </a:lnTo>
                  <a:lnTo>
                    <a:pt x="124" y="104"/>
                  </a:lnTo>
                  <a:lnTo>
                    <a:pt x="126" y="104"/>
                  </a:lnTo>
                  <a:lnTo>
                    <a:pt x="125" y="101"/>
                  </a:lnTo>
                  <a:lnTo>
                    <a:pt x="123" y="100"/>
                  </a:lnTo>
                  <a:lnTo>
                    <a:pt x="120" y="97"/>
                  </a:lnTo>
                  <a:lnTo>
                    <a:pt x="118" y="97"/>
                  </a:lnTo>
                  <a:lnTo>
                    <a:pt x="115" y="96"/>
                  </a:lnTo>
                  <a:lnTo>
                    <a:pt x="118" y="95"/>
                  </a:lnTo>
                  <a:lnTo>
                    <a:pt x="120" y="95"/>
                  </a:lnTo>
                  <a:lnTo>
                    <a:pt x="123" y="96"/>
                  </a:lnTo>
                  <a:lnTo>
                    <a:pt x="126" y="96"/>
                  </a:lnTo>
                  <a:lnTo>
                    <a:pt x="128" y="96"/>
                  </a:lnTo>
                  <a:lnTo>
                    <a:pt x="132" y="97"/>
                  </a:lnTo>
                  <a:lnTo>
                    <a:pt x="132" y="97"/>
                  </a:lnTo>
                  <a:lnTo>
                    <a:pt x="135" y="97"/>
                  </a:lnTo>
                  <a:lnTo>
                    <a:pt x="137" y="100"/>
                  </a:lnTo>
                  <a:lnTo>
                    <a:pt x="139" y="100"/>
                  </a:lnTo>
                  <a:lnTo>
                    <a:pt x="143" y="102"/>
                  </a:lnTo>
                  <a:lnTo>
                    <a:pt x="145" y="101"/>
                  </a:lnTo>
                  <a:lnTo>
                    <a:pt x="151" y="101"/>
                  </a:lnTo>
                  <a:lnTo>
                    <a:pt x="153" y="101"/>
                  </a:lnTo>
                  <a:lnTo>
                    <a:pt x="155" y="98"/>
                  </a:lnTo>
                  <a:lnTo>
                    <a:pt x="155" y="97"/>
                  </a:lnTo>
                  <a:lnTo>
                    <a:pt x="154" y="95"/>
                  </a:lnTo>
                  <a:lnTo>
                    <a:pt x="153" y="92"/>
                  </a:lnTo>
                  <a:lnTo>
                    <a:pt x="151" y="89"/>
                  </a:lnTo>
                  <a:lnTo>
                    <a:pt x="147" y="90"/>
                  </a:lnTo>
                  <a:lnTo>
                    <a:pt x="145" y="88"/>
                  </a:lnTo>
                  <a:lnTo>
                    <a:pt x="145" y="86"/>
                  </a:lnTo>
                  <a:lnTo>
                    <a:pt x="147" y="87"/>
                  </a:lnTo>
                  <a:lnTo>
                    <a:pt x="149" y="85"/>
                  </a:lnTo>
                  <a:lnTo>
                    <a:pt x="149" y="81"/>
                  </a:lnTo>
                  <a:lnTo>
                    <a:pt x="152" y="83"/>
                  </a:lnTo>
                  <a:lnTo>
                    <a:pt x="154" y="84"/>
                  </a:lnTo>
                  <a:lnTo>
                    <a:pt x="152" y="84"/>
                  </a:lnTo>
                  <a:lnTo>
                    <a:pt x="150" y="86"/>
                  </a:lnTo>
                  <a:lnTo>
                    <a:pt x="153" y="86"/>
                  </a:lnTo>
                  <a:lnTo>
                    <a:pt x="155" y="88"/>
                  </a:lnTo>
                  <a:lnTo>
                    <a:pt x="159" y="89"/>
                  </a:lnTo>
                  <a:lnTo>
                    <a:pt x="159" y="92"/>
                  </a:lnTo>
                  <a:lnTo>
                    <a:pt x="162" y="93"/>
                  </a:lnTo>
                  <a:lnTo>
                    <a:pt x="164" y="92"/>
                  </a:lnTo>
                  <a:lnTo>
                    <a:pt x="167" y="92"/>
                  </a:lnTo>
                  <a:lnTo>
                    <a:pt x="169" y="95"/>
                  </a:lnTo>
                  <a:lnTo>
                    <a:pt x="169" y="97"/>
                  </a:lnTo>
                  <a:lnTo>
                    <a:pt x="169" y="101"/>
                  </a:lnTo>
                  <a:lnTo>
                    <a:pt x="169" y="103"/>
                  </a:lnTo>
                  <a:lnTo>
                    <a:pt x="172" y="103"/>
                  </a:lnTo>
                  <a:lnTo>
                    <a:pt x="175" y="101"/>
                  </a:lnTo>
                  <a:lnTo>
                    <a:pt x="178" y="100"/>
                  </a:lnTo>
                  <a:lnTo>
                    <a:pt x="175" y="101"/>
                  </a:lnTo>
                  <a:lnTo>
                    <a:pt x="178" y="101"/>
                  </a:lnTo>
                  <a:lnTo>
                    <a:pt x="180" y="102"/>
                  </a:lnTo>
                  <a:lnTo>
                    <a:pt x="180" y="105"/>
                  </a:lnTo>
                  <a:lnTo>
                    <a:pt x="178" y="105"/>
                  </a:lnTo>
                  <a:lnTo>
                    <a:pt x="178" y="107"/>
                  </a:lnTo>
                  <a:lnTo>
                    <a:pt x="181" y="109"/>
                  </a:lnTo>
                  <a:lnTo>
                    <a:pt x="184" y="107"/>
                  </a:lnTo>
                  <a:lnTo>
                    <a:pt x="187" y="105"/>
                  </a:lnTo>
                  <a:lnTo>
                    <a:pt x="184" y="107"/>
                  </a:lnTo>
                  <a:lnTo>
                    <a:pt x="185" y="110"/>
                  </a:lnTo>
                  <a:lnTo>
                    <a:pt x="188" y="112"/>
                  </a:lnTo>
                  <a:lnTo>
                    <a:pt x="190" y="113"/>
                  </a:lnTo>
                  <a:lnTo>
                    <a:pt x="193" y="113"/>
                  </a:lnTo>
                  <a:lnTo>
                    <a:pt x="196" y="115"/>
                  </a:lnTo>
                  <a:lnTo>
                    <a:pt x="197" y="118"/>
                  </a:lnTo>
                  <a:lnTo>
                    <a:pt x="193" y="121"/>
                  </a:lnTo>
                  <a:lnTo>
                    <a:pt x="189" y="121"/>
                  </a:lnTo>
                  <a:lnTo>
                    <a:pt x="187" y="121"/>
                  </a:lnTo>
                  <a:lnTo>
                    <a:pt x="184" y="121"/>
                  </a:lnTo>
                  <a:lnTo>
                    <a:pt x="184" y="123"/>
                  </a:lnTo>
                  <a:lnTo>
                    <a:pt x="184" y="127"/>
                  </a:lnTo>
                  <a:lnTo>
                    <a:pt x="184" y="129"/>
                  </a:lnTo>
                  <a:lnTo>
                    <a:pt x="186" y="130"/>
                  </a:lnTo>
                  <a:lnTo>
                    <a:pt x="188" y="129"/>
                  </a:lnTo>
                  <a:lnTo>
                    <a:pt x="192" y="128"/>
                  </a:lnTo>
                  <a:lnTo>
                    <a:pt x="194" y="126"/>
                  </a:lnTo>
                  <a:lnTo>
                    <a:pt x="197" y="124"/>
                  </a:lnTo>
                  <a:lnTo>
                    <a:pt x="197" y="122"/>
                  </a:lnTo>
                  <a:lnTo>
                    <a:pt x="201" y="122"/>
                  </a:lnTo>
                  <a:lnTo>
                    <a:pt x="203" y="124"/>
                  </a:lnTo>
                  <a:lnTo>
                    <a:pt x="205" y="122"/>
                  </a:lnTo>
                  <a:lnTo>
                    <a:pt x="207" y="120"/>
                  </a:lnTo>
                  <a:lnTo>
                    <a:pt x="211" y="121"/>
                  </a:lnTo>
                  <a:lnTo>
                    <a:pt x="207" y="121"/>
                  </a:lnTo>
                  <a:lnTo>
                    <a:pt x="210" y="124"/>
                  </a:lnTo>
                  <a:lnTo>
                    <a:pt x="207" y="126"/>
                  </a:lnTo>
                  <a:lnTo>
                    <a:pt x="210" y="127"/>
                  </a:lnTo>
                  <a:lnTo>
                    <a:pt x="211" y="130"/>
                  </a:lnTo>
                  <a:lnTo>
                    <a:pt x="213" y="132"/>
                  </a:lnTo>
                  <a:lnTo>
                    <a:pt x="217" y="134"/>
                  </a:lnTo>
                  <a:lnTo>
                    <a:pt x="219" y="134"/>
                  </a:lnTo>
                  <a:lnTo>
                    <a:pt x="219" y="130"/>
                  </a:lnTo>
                  <a:lnTo>
                    <a:pt x="222" y="129"/>
                  </a:lnTo>
                  <a:lnTo>
                    <a:pt x="222" y="132"/>
                  </a:lnTo>
                  <a:lnTo>
                    <a:pt x="221" y="135"/>
                  </a:lnTo>
                  <a:lnTo>
                    <a:pt x="221" y="137"/>
                  </a:lnTo>
                  <a:lnTo>
                    <a:pt x="224" y="138"/>
                  </a:lnTo>
                  <a:lnTo>
                    <a:pt x="224" y="139"/>
                  </a:lnTo>
                  <a:lnTo>
                    <a:pt x="227" y="139"/>
                  </a:lnTo>
                  <a:lnTo>
                    <a:pt x="229" y="137"/>
                  </a:lnTo>
                  <a:lnTo>
                    <a:pt x="228" y="139"/>
                  </a:lnTo>
                  <a:lnTo>
                    <a:pt x="230" y="140"/>
                  </a:lnTo>
                  <a:lnTo>
                    <a:pt x="234" y="141"/>
                  </a:lnTo>
                  <a:lnTo>
                    <a:pt x="234" y="144"/>
                  </a:lnTo>
                  <a:lnTo>
                    <a:pt x="235" y="146"/>
                  </a:lnTo>
                  <a:lnTo>
                    <a:pt x="236" y="149"/>
                  </a:lnTo>
                  <a:lnTo>
                    <a:pt x="238" y="151"/>
                  </a:lnTo>
                  <a:lnTo>
                    <a:pt x="238" y="153"/>
                  </a:lnTo>
                  <a:lnTo>
                    <a:pt x="240" y="156"/>
                  </a:lnTo>
                  <a:lnTo>
                    <a:pt x="240" y="158"/>
                  </a:lnTo>
                  <a:lnTo>
                    <a:pt x="241" y="161"/>
                  </a:lnTo>
                  <a:lnTo>
                    <a:pt x="243" y="164"/>
                  </a:lnTo>
                  <a:lnTo>
                    <a:pt x="240" y="166"/>
                  </a:lnTo>
                  <a:lnTo>
                    <a:pt x="238" y="167"/>
                  </a:lnTo>
                  <a:lnTo>
                    <a:pt x="236" y="170"/>
                  </a:lnTo>
                  <a:lnTo>
                    <a:pt x="234" y="172"/>
                  </a:lnTo>
                  <a:lnTo>
                    <a:pt x="234" y="174"/>
                  </a:lnTo>
                  <a:lnTo>
                    <a:pt x="236" y="175"/>
                  </a:lnTo>
                  <a:lnTo>
                    <a:pt x="241" y="175"/>
                  </a:lnTo>
                  <a:lnTo>
                    <a:pt x="247" y="177"/>
                  </a:lnTo>
                  <a:lnTo>
                    <a:pt x="249" y="177"/>
                  </a:lnTo>
                  <a:lnTo>
                    <a:pt x="253" y="178"/>
                  </a:lnTo>
                  <a:lnTo>
                    <a:pt x="255" y="177"/>
                  </a:lnTo>
                  <a:lnTo>
                    <a:pt x="256" y="174"/>
                  </a:lnTo>
                  <a:lnTo>
                    <a:pt x="258" y="171"/>
                  </a:lnTo>
                  <a:lnTo>
                    <a:pt x="258" y="169"/>
                  </a:lnTo>
                  <a:lnTo>
                    <a:pt x="261" y="170"/>
                  </a:lnTo>
                  <a:lnTo>
                    <a:pt x="264" y="171"/>
                  </a:lnTo>
                  <a:lnTo>
                    <a:pt x="265" y="173"/>
                  </a:lnTo>
                  <a:lnTo>
                    <a:pt x="269" y="174"/>
                  </a:lnTo>
                  <a:lnTo>
                    <a:pt x="271" y="175"/>
                  </a:lnTo>
                  <a:lnTo>
                    <a:pt x="274" y="175"/>
                  </a:lnTo>
                  <a:lnTo>
                    <a:pt x="277" y="177"/>
                  </a:lnTo>
                  <a:lnTo>
                    <a:pt x="279" y="178"/>
                  </a:lnTo>
                  <a:lnTo>
                    <a:pt x="282" y="180"/>
                  </a:lnTo>
                  <a:lnTo>
                    <a:pt x="284" y="179"/>
                  </a:lnTo>
                  <a:lnTo>
                    <a:pt x="282" y="180"/>
                  </a:lnTo>
                  <a:lnTo>
                    <a:pt x="279" y="182"/>
                  </a:lnTo>
                  <a:lnTo>
                    <a:pt x="282" y="181"/>
                  </a:lnTo>
                  <a:lnTo>
                    <a:pt x="284" y="183"/>
                  </a:lnTo>
                  <a:lnTo>
                    <a:pt x="282" y="184"/>
                  </a:lnTo>
                  <a:lnTo>
                    <a:pt x="279" y="187"/>
                  </a:lnTo>
                  <a:lnTo>
                    <a:pt x="277" y="187"/>
                  </a:lnTo>
                  <a:lnTo>
                    <a:pt x="274" y="186"/>
                  </a:lnTo>
                  <a:lnTo>
                    <a:pt x="274" y="186"/>
                  </a:lnTo>
                  <a:lnTo>
                    <a:pt x="271" y="187"/>
                  </a:lnTo>
                  <a:lnTo>
                    <a:pt x="269" y="187"/>
                  </a:lnTo>
                  <a:lnTo>
                    <a:pt x="265" y="184"/>
                  </a:lnTo>
                  <a:lnTo>
                    <a:pt x="264" y="187"/>
                  </a:lnTo>
                  <a:lnTo>
                    <a:pt x="262" y="189"/>
                  </a:lnTo>
                  <a:lnTo>
                    <a:pt x="260" y="191"/>
                  </a:lnTo>
                  <a:lnTo>
                    <a:pt x="256" y="192"/>
                  </a:lnTo>
                  <a:lnTo>
                    <a:pt x="256" y="191"/>
                  </a:lnTo>
                  <a:lnTo>
                    <a:pt x="260" y="190"/>
                  </a:lnTo>
                  <a:lnTo>
                    <a:pt x="256" y="190"/>
                  </a:lnTo>
                  <a:lnTo>
                    <a:pt x="258" y="187"/>
                  </a:lnTo>
                  <a:lnTo>
                    <a:pt x="258" y="184"/>
                  </a:lnTo>
                  <a:lnTo>
                    <a:pt x="257" y="182"/>
                  </a:lnTo>
                  <a:lnTo>
                    <a:pt x="256" y="179"/>
                  </a:lnTo>
                  <a:lnTo>
                    <a:pt x="253" y="179"/>
                  </a:lnTo>
                  <a:lnTo>
                    <a:pt x="251" y="178"/>
                  </a:lnTo>
                  <a:lnTo>
                    <a:pt x="247" y="177"/>
                  </a:lnTo>
                  <a:lnTo>
                    <a:pt x="245" y="177"/>
                  </a:lnTo>
                  <a:lnTo>
                    <a:pt x="241" y="177"/>
                  </a:lnTo>
                  <a:lnTo>
                    <a:pt x="239" y="177"/>
                  </a:lnTo>
                  <a:lnTo>
                    <a:pt x="237" y="177"/>
                  </a:lnTo>
                  <a:lnTo>
                    <a:pt x="234" y="175"/>
                  </a:lnTo>
                  <a:lnTo>
                    <a:pt x="231" y="175"/>
                  </a:lnTo>
                  <a:lnTo>
                    <a:pt x="228" y="177"/>
                  </a:lnTo>
                  <a:lnTo>
                    <a:pt x="227" y="180"/>
                  </a:lnTo>
                  <a:lnTo>
                    <a:pt x="223" y="181"/>
                  </a:lnTo>
                  <a:lnTo>
                    <a:pt x="218" y="184"/>
                  </a:lnTo>
                  <a:lnTo>
                    <a:pt x="215" y="187"/>
                  </a:lnTo>
                  <a:lnTo>
                    <a:pt x="213" y="189"/>
                  </a:lnTo>
                  <a:lnTo>
                    <a:pt x="215" y="191"/>
                  </a:lnTo>
                  <a:lnTo>
                    <a:pt x="218" y="194"/>
                  </a:lnTo>
                  <a:lnTo>
                    <a:pt x="221" y="196"/>
                  </a:lnTo>
                  <a:lnTo>
                    <a:pt x="223" y="198"/>
                  </a:lnTo>
                  <a:lnTo>
                    <a:pt x="224" y="201"/>
                  </a:lnTo>
                  <a:lnTo>
                    <a:pt x="224" y="204"/>
                  </a:lnTo>
                  <a:lnTo>
                    <a:pt x="222" y="203"/>
                  </a:lnTo>
                  <a:lnTo>
                    <a:pt x="219" y="203"/>
                  </a:lnTo>
                  <a:lnTo>
                    <a:pt x="217" y="204"/>
                  </a:lnTo>
                  <a:lnTo>
                    <a:pt x="213" y="206"/>
                  </a:lnTo>
                  <a:lnTo>
                    <a:pt x="211" y="207"/>
                  </a:lnTo>
                  <a:lnTo>
                    <a:pt x="209" y="206"/>
                  </a:lnTo>
                  <a:lnTo>
                    <a:pt x="205" y="206"/>
                  </a:lnTo>
                  <a:lnTo>
                    <a:pt x="204" y="206"/>
                  </a:lnTo>
                  <a:lnTo>
                    <a:pt x="203" y="208"/>
                  </a:lnTo>
                  <a:lnTo>
                    <a:pt x="201" y="208"/>
                  </a:lnTo>
                  <a:lnTo>
                    <a:pt x="197" y="208"/>
                  </a:lnTo>
                  <a:lnTo>
                    <a:pt x="195" y="209"/>
                  </a:lnTo>
                  <a:lnTo>
                    <a:pt x="197" y="211"/>
                  </a:lnTo>
                  <a:lnTo>
                    <a:pt x="201" y="213"/>
                  </a:lnTo>
                  <a:lnTo>
                    <a:pt x="203" y="213"/>
                  </a:lnTo>
                  <a:lnTo>
                    <a:pt x="202" y="215"/>
                  </a:lnTo>
                  <a:lnTo>
                    <a:pt x="200" y="217"/>
                  </a:lnTo>
                  <a:lnTo>
                    <a:pt x="200" y="218"/>
                  </a:lnTo>
                  <a:lnTo>
                    <a:pt x="197" y="215"/>
                  </a:lnTo>
                  <a:lnTo>
                    <a:pt x="200" y="214"/>
                  </a:lnTo>
                  <a:lnTo>
                    <a:pt x="198" y="212"/>
                  </a:lnTo>
                  <a:lnTo>
                    <a:pt x="196" y="211"/>
                  </a:lnTo>
                  <a:lnTo>
                    <a:pt x="193" y="208"/>
                  </a:lnTo>
                  <a:lnTo>
                    <a:pt x="190" y="208"/>
                  </a:lnTo>
                  <a:lnTo>
                    <a:pt x="187" y="207"/>
                  </a:lnTo>
                  <a:lnTo>
                    <a:pt x="185" y="206"/>
                  </a:lnTo>
                  <a:lnTo>
                    <a:pt x="183" y="205"/>
                  </a:lnTo>
                  <a:lnTo>
                    <a:pt x="179" y="205"/>
                  </a:lnTo>
                  <a:lnTo>
                    <a:pt x="177" y="205"/>
                  </a:lnTo>
                  <a:lnTo>
                    <a:pt x="176" y="204"/>
                  </a:lnTo>
                  <a:lnTo>
                    <a:pt x="173" y="205"/>
                  </a:lnTo>
                  <a:lnTo>
                    <a:pt x="171" y="208"/>
                  </a:lnTo>
                  <a:lnTo>
                    <a:pt x="173" y="211"/>
                  </a:lnTo>
                  <a:lnTo>
                    <a:pt x="168" y="212"/>
                  </a:lnTo>
                  <a:lnTo>
                    <a:pt x="166" y="213"/>
                  </a:lnTo>
                  <a:lnTo>
                    <a:pt x="162" y="215"/>
                  </a:lnTo>
                  <a:lnTo>
                    <a:pt x="163" y="217"/>
                  </a:lnTo>
                  <a:lnTo>
                    <a:pt x="161" y="221"/>
                  </a:lnTo>
                  <a:lnTo>
                    <a:pt x="162" y="223"/>
                  </a:lnTo>
                  <a:lnTo>
                    <a:pt x="164" y="225"/>
                  </a:lnTo>
                  <a:lnTo>
                    <a:pt x="167" y="229"/>
                  </a:lnTo>
                  <a:lnTo>
                    <a:pt x="169" y="228"/>
                  </a:lnTo>
                  <a:lnTo>
                    <a:pt x="172" y="230"/>
                  </a:lnTo>
                  <a:lnTo>
                    <a:pt x="175" y="231"/>
                  </a:lnTo>
                  <a:lnTo>
                    <a:pt x="177" y="231"/>
                  </a:lnTo>
                  <a:lnTo>
                    <a:pt x="180" y="231"/>
                  </a:lnTo>
                  <a:lnTo>
                    <a:pt x="183" y="230"/>
                  </a:lnTo>
                  <a:lnTo>
                    <a:pt x="186" y="230"/>
                  </a:lnTo>
                  <a:lnTo>
                    <a:pt x="188" y="230"/>
                  </a:lnTo>
                  <a:lnTo>
                    <a:pt x="190" y="229"/>
                  </a:lnTo>
                  <a:lnTo>
                    <a:pt x="194" y="228"/>
                  </a:lnTo>
                  <a:lnTo>
                    <a:pt x="196" y="226"/>
                  </a:lnTo>
                  <a:lnTo>
                    <a:pt x="195" y="224"/>
                  </a:lnTo>
                  <a:lnTo>
                    <a:pt x="197" y="224"/>
                  </a:lnTo>
                  <a:lnTo>
                    <a:pt x="201" y="225"/>
                  </a:lnTo>
                  <a:lnTo>
                    <a:pt x="203" y="226"/>
                  </a:lnTo>
                  <a:lnTo>
                    <a:pt x="205" y="226"/>
                  </a:lnTo>
                  <a:lnTo>
                    <a:pt x="209" y="228"/>
                  </a:lnTo>
                  <a:lnTo>
                    <a:pt x="211" y="226"/>
                  </a:lnTo>
                  <a:lnTo>
                    <a:pt x="213" y="224"/>
                  </a:lnTo>
                  <a:lnTo>
                    <a:pt x="210" y="222"/>
                  </a:lnTo>
                  <a:lnTo>
                    <a:pt x="207" y="220"/>
                  </a:lnTo>
                  <a:lnTo>
                    <a:pt x="210" y="217"/>
                  </a:lnTo>
                  <a:lnTo>
                    <a:pt x="210" y="220"/>
                  </a:lnTo>
                  <a:lnTo>
                    <a:pt x="212" y="223"/>
                  </a:lnTo>
                  <a:lnTo>
                    <a:pt x="214" y="222"/>
                  </a:lnTo>
                  <a:lnTo>
                    <a:pt x="218" y="222"/>
                  </a:lnTo>
                  <a:lnTo>
                    <a:pt x="218" y="224"/>
                  </a:lnTo>
                  <a:lnTo>
                    <a:pt x="220" y="225"/>
                  </a:lnTo>
                  <a:lnTo>
                    <a:pt x="218" y="226"/>
                  </a:lnTo>
                  <a:lnTo>
                    <a:pt x="218" y="229"/>
                  </a:lnTo>
                  <a:lnTo>
                    <a:pt x="220" y="226"/>
                  </a:lnTo>
                  <a:lnTo>
                    <a:pt x="220" y="223"/>
                  </a:lnTo>
                  <a:lnTo>
                    <a:pt x="223" y="224"/>
                  </a:lnTo>
                  <a:lnTo>
                    <a:pt x="226" y="223"/>
                  </a:lnTo>
                  <a:lnTo>
                    <a:pt x="228" y="225"/>
                  </a:lnTo>
                  <a:lnTo>
                    <a:pt x="229" y="222"/>
                  </a:lnTo>
                  <a:lnTo>
                    <a:pt x="229" y="224"/>
                  </a:lnTo>
                  <a:lnTo>
                    <a:pt x="227" y="226"/>
                  </a:lnTo>
                  <a:lnTo>
                    <a:pt x="229" y="229"/>
                  </a:lnTo>
                  <a:lnTo>
                    <a:pt x="231" y="231"/>
                  </a:lnTo>
                  <a:lnTo>
                    <a:pt x="235" y="233"/>
                  </a:lnTo>
                  <a:lnTo>
                    <a:pt x="235" y="235"/>
                  </a:lnTo>
                  <a:lnTo>
                    <a:pt x="238" y="237"/>
                  </a:lnTo>
                  <a:lnTo>
                    <a:pt x="238" y="239"/>
                  </a:lnTo>
                  <a:lnTo>
                    <a:pt x="240" y="240"/>
                  </a:lnTo>
                  <a:lnTo>
                    <a:pt x="244" y="239"/>
                  </a:lnTo>
                  <a:lnTo>
                    <a:pt x="241" y="241"/>
                  </a:lnTo>
                  <a:lnTo>
                    <a:pt x="244" y="242"/>
                  </a:lnTo>
                  <a:lnTo>
                    <a:pt x="247" y="242"/>
                  </a:lnTo>
                  <a:lnTo>
                    <a:pt x="249" y="242"/>
                  </a:lnTo>
                  <a:lnTo>
                    <a:pt x="253" y="243"/>
                  </a:lnTo>
                  <a:lnTo>
                    <a:pt x="255" y="244"/>
                  </a:lnTo>
                  <a:lnTo>
                    <a:pt x="257" y="244"/>
                  </a:lnTo>
                  <a:lnTo>
                    <a:pt x="255" y="248"/>
                  </a:lnTo>
                  <a:lnTo>
                    <a:pt x="252" y="249"/>
                  </a:lnTo>
                  <a:lnTo>
                    <a:pt x="249" y="249"/>
                  </a:lnTo>
                  <a:lnTo>
                    <a:pt x="247" y="248"/>
                  </a:lnTo>
                  <a:lnTo>
                    <a:pt x="249" y="250"/>
                  </a:lnTo>
                  <a:lnTo>
                    <a:pt x="249" y="252"/>
                  </a:lnTo>
                  <a:lnTo>
                    <a:pt x="253" y="255"/>
                  </a:lnTo>
                  <a:lnTo>
                    <a:pt x="255" y="256"/>
                  </a:lnTo>
                  <a:lnTo>
                    <a:pt x="257" y="257"/>
                  </a:lnTo>
                  <a:lnTo>
                    <a:pt x="257" y="257"/>
                  </a:lnTo>
                  <a:lnTo>
                    <a:pt x="261" y="256"/>
                  </a:lnTo>
                  <a:lnTo>
                    <a:pt x="261" y="258"/>
                  </a:lnTo>
                  <a:lnTo>
                    <a:pt x="264" y="260"/>
                  </a:lnTo>
                  <a:lnTo>
                    <a:pt x="266" y="260"/>
                  </a:lnTo>
                  <a:lnTo>
                    <a:pt x="270" y="263"/>
                  </a:lnTo>
                  <a:lnTo>
                    <a:pt x="272" y="264"/>
                  </a:lnTo>
                  <a:lnTo>
                    <a:pt x="274" y="263"/>
                  </a:lnTo>
                  <a:lnTo>
                    <a:pt x="277" y="264"/>
                  </a:lnTo>
                  <a:lnTo>
                    <a:pt x="279" y="263"/>
                  </a:lnTo>
                  <a:lnTo>
                    <a:pt x="282" y="263"/>
                  </a:lnTo>
                  <a:lnTo>
                    <a:pt x="280" y="266"/>
                  </a:lnTo>
                  <a:lnTo>
                    <a:pt x="283" y="268"/>
                  </a:lnTo>
                  <a:lnTo>
                    <a:pt x="286" y="271"/>
                  </a:lnTo>
                  <a:lnTo>
                    <a:pt x="288" y="271"/>
                  </a:lnTo>
                  <a:lnTo>
                    <a:pt x="291" y="273"/>
                  </a:lnTo>
                  <a:lnTo>
                    <a:pt x="294" y="274"/>
                  </a:lnTo>
                  <a:lnTo>
                    <a:pt x="296" y="274"/>
                  </a:lnTo>
                  <a:lnTo>
                    <a:pt x="301" y="275"/>
                  </a:lnTo>
                  <a:lnTo>
                    <a:pt x="305" y="276"/>
                  </a:lnTo>
                  <a:lnTo>
                    <a:pt x="307" y="275"/>
                  </a:lnTo>
                  <a:lnTo>
                    <a:pt x="309" y="276"/>
                  </a:lnTo>
                  <a:lnTo>
                    <a:pt x="313" y="277"/>
                  </a:lnTo>
                  <a:lnTo>
                    <a:pt x="315" y="278"/>
                  </a:lnTo>
                  <a:lnTo>
                    <a:pt x="318" y="278"/>
                  </a:lnTo>
                  <a:lnTo>
                    <a:pt x="321" y="281"/>
                  </a:lnTo>
                  <a:lnTo>
                    <a:pt x="323" y="282"/>
                  </a:lnTo>
                  <a:lnTo>
                    <a:pt x="324" y="282"/>
                  </a:lnTo>
                  <a:lnTo>
                    <a:pt x="328" y="282"/>
                  </a:lnTo>
                  <a:lnTo>
                    <a:pt x="328" y="280"/>
                  </a:lnTo>
                  <a:lnTo>
                    <a:pt x="326" y="276"/>
                  </a:lnTo>
                  <a:lnTo>
                    <a:pt x="329" y="275"/>
                  </a:lnTo>
                  <a:lnTo>
                    <a:pt x="326" y="274"/>
                  </a:lnTo>
                  <a:lnTo>
                    <a:pt x="323" y="273"/>
                  </a:lnTo>
                  <a:lnTo>
                    <a:pt x="323" y="271"/>
                  </a:lnTo>
                  <a:lnTo>
                    <a:pt x="322" y="271"/>
                  </a:lnTo>
                  <a:lnTo>
                    <a:pt x="322" y="268"/>
                  </a:lnTo>
                  <a:lnTo>
                    <a:pt x="318" y="266"/>
                  </a:lnTo>
                  <a:lnTo>
                    <a:pt x="316" y="265"/>
                  </a:lnTo>
                  <a:lnTo>
                    <a:pt x="314" y="263"/>
                  </a:lnTo>
                  <a:lnTo>
                    <a:pt x="312" y="261"/>
                  </a:lnTo>
                  <a:lnTo>
                    <a:pt x="309" y="258"/>
                  </a:lnTo>
                  <a:lnTo>
                    <a:pt x="306" y="259"/>
                  </a:lnTo>
                  <a:lnTo>
                    <a:pt x="307" y="257"/>
                  </a:lnTo>
                  <a:lnTo>
                    <a:pt x="305" y="259"/>
                  </a:lnTo>
                  <a:lnTo>
                    <a:pt x="307" y="256"/>
                  </a:lnTo>
                  <a:lnTo>
                    <a:pt x="305" y="256"/>
                  </a:lnTo>
                  <a:lnTo>
                    <a:pt x="301" y="255"/>
                  </a:lnTo>
                  <a:lnTo>
                    <a:pt x="299" y="254"/>
                  </a:lnTo>
                  <a:lnTo>
                    <a:pt x="297" y="251"/>
                  </a:lnTo>
                  <a:lnTo>
                    <a:pt x="296" y="248"/>
                  </a:lnTo>
                  <a:lnTo>
                    <a:pt x="292" y="247"/>
                  </a:lnTo>
                  <a:lnTo>
                    <a:pt x="290" y="244"/>
                  </a:lnTo>
                  <a:lnTo>
                    <a:pt x="288" y="242"/>
                  </a:lnTo>
                  <a:lnTo>
                    <a:pt x="291" y="242"/>
                  </a:lnTo>
                  <a:lnTo>
                    <a:pt x="294" y="242"/>
                  </a:lnTo>
                  <a:lnTo>
                    <a:pt x="296" y="243"/>
                  </a:lnTo>
                  <a:lnTo>
                    <a:pt x="299" y="244"/>
                  </a:lnTo>
                  <a:lnTo>
                    <a:pt x="301" y="247"/>
                  </a:lnTo>
                  <a:lnTo>
                    <a:pt x="304" y="249"/>
                  </a:lnTo>
                  <a:lnTo>
                    <a:pt x="305" y="247"/>
                  </a:lnTo>
                  <a:lnTo>
                    <a:pt x="304" y="243"/>
                  </a:lnTo>
                  <a:lnTo>
                    <a:pt x="306" y="246"/>
                  </a:lnTo>
                  <a:lnTo>
                    <a:pt x="308" y="249"/>
                  </a:lnTo>
                  <a:lnTo>
                    <a:pt x="312" y="250"/>
                  </a:lnTo>
                  <a:lnTo>
                    <a:pt x="314" y="252"/>
                  </a:lnTo>
                  <a:lnTo>
                    <a:pt x="315" y="249"/>
                  </a:lnTo>
                  <a:lnTo>
                    <a:pt x="315" y="252"/>
                  </a:lnTo>
                  <a:lnTo>
                    <a:pt x="316" y="255"/>
                  </a:lnTo>
                  <a:lnTo>
                    <a:pt x="320" y="257"/>
                  </a:lnTo>
                  <a:lnTo>
                    <a:pt x="321" y="255"/>
                  </a:lnTo>
                  <a:lnTo>
                    <a:pt x="318" y="251"/>
                  </a:lnTo>
                  <a:lnTo>
                    <a:pt x="321" y="254"/>
                  </a:lnTo>
                  <a:lnTo>
                    <a:pt x="322" y="257"/>
                  </a:lnTo>
                  <a:lnTo>
                    <a:pt x="325" y="258"/>
                  </a:lnTo>
                  <a:lnTo>
                    <a:pt x="326" y="259"/>
                  </a:lnTo>
                  <a:lnTo>
                    <a:pt x="326" y="257"/>
                  </a:lnTo>
                  <a:lnTo>
                    <a:pt x="329" y="258"/>
                  </a:lnTo>
                  <a:lnTo>
                    <a:pt x="331" y="260"/>
                  </a:lnTo>
                  <a:lnTo>
                    <a:pt x="332" y="258"/>
                  </a:lnTo>
                  <a:lnTo>
                    <a:pt x="333" y="260"/>
                  </a:lnTo>
                  <a:lnTo>
                    <a:pt x="337" y="261"/>
                  </a:lnTo>
                  <a:lnTo>
                    <a:pt x="339" y="261"/>
                  </a:lnTo>
                  <a:lnTo>
                    <a:pt x="338" y="264"/>
                  </a:lnTo>
                  <a:lnTo>
                    <a:pt x="340" y="267"/>
                  </a:lnTo>
                  <a:lnTo>
                    <a:pt x="342" y="266"/>
                  </a:lnTo>
                  <a:lnTo>
                    <a:pt x="342" y="264"/>
                  </a:lnTo>
                  <a:lnTo>
                    <a:pt x="340" y="261"/>
                  </a:lnTo>
                  <a:lnTo>
                    <a:pt x="339" y="258"/>
                  </a:lnTo>
                  <a:lnTo>
                    <a:pt x="341" y="259"/>
                  </a:lnTo>
                  <a:lnTo>
                    <a:pt x="345" y="260"/>
                  </a:lnTo>
                  <a:lnTo>
                    <a:pt x="347" y="260"/>
                  </a:lnTo>
                  <a:lnTo>
                    <a:pt x="346" y="257"/>
                  </a:lnTo>
                  <a:lnTo>
                    <a:pt x="345" y="255"/>
                  </a:lnTo>
                  <a:lnTo>
                    <a:pt x="341" y="252"/>
                  </a:lnTo>
                  <a:lnTo>
                    <a:pt x="345" y="252"/>
                  </a:lnTo>
                  <a:lnTo>
                    <a:pt x="343" y="250"/>
                  </a:lnTo>
                  <a:lnTo>
                    <a:pt x="341" y="248"/>
                  </a:lnTo>
                  <a:lnTo>
                    <a:pt x="342" y="244"/>
                  </a:lnTo>
                  <a:lnTo>
                    <a:pt x="340" y="242"/>
                  </a:lnTo>
                  <a:lnTo>
                    <a:pt x="342" y="243"/>
                  </a:lnTo>
                  <a:lnTo>
                    <a:pt x="345" y="247"/>
                  </a:lnTo>
                  <a:lnTo>
                    <a:pt x="346" y="249"/>
                  </a:lnTo>
                  <a:lnTo>
                    <a:pt x="347" y="252"/>
                  </a:lnTo>
                  <a:lnTo>
                    <a:pt x="349" y="252"/>
                  </a:lnTo>
                  <a:lnTo>
                    <a:pt x="349" y="251"/>
                  </a:lnTo>
                  <a:lnTo>
                    <a:pt x="349" y="249"/>
                  </a:lnTo>
                  <a:lnTo>
                    <a:pt x="349" y="246"/>
                  </a:lnTo>
                  <a:lnTo>
                    <a:pt x="349" y="243"/>
                  </a:lnTo>
                  <a:lnTo>
                    <a:pt x="347" y="242"/>
                  </a:lnTo>
                  <a:lnTo>
                    <a:pt x="343" y="241"/>
                  </a:lnTo>
                  <a:lnTo>
                    <a:pt x="345" y="239"/>
                  </a:lnTo>
                  <a:lnTo>
                    <a:pt x="347" y="237"/>
                  </a:lnTo>
                  <a:lnTo>
                    <a:pt x="345" y="237"/>
                  </a:lnTo>
                  <a:lnTo>
                    <a:pt x="341" y="235"/>
                  </a:lnTo>
                  <a:lnTo>
                    <a:pt x="340" y="233"/>
                  </a:lnTo>
                  <a:lnTo>
                    <a:pt x="338" y="233"/>
                  </a:lnTo>
                  <a:lnTo>
                    <a:pt x="338" y="231"/>
                  </a:lnTo>
                  <a:lnTo>
                    <a:pt x="335" y="231"/>
                  </a:lnTo>
                  <a:lnTo>
                    <a:pt x="338" y="230"/>
                  </a:lnTo>
                  <a:lnTo>
                    <a:pt x="340" y="228"/>
                  </a:lnTo>
                  <a:lnTo>
                    <a:pt x="340" y="225"/>
                  </a:lnTo>
                  <a:lnTo>
                    <a:pt x="337" y="226"/>
                  </a:lnTo>
                  <a:lnTo>
                    <a:pt x="334" y="225"/>
                  </a:lnTo>
                  <a:lnTo>
                    <a:pt x="334" y="223"/>
                  </a:lnTo>
                  <a:lnTo>
                    <a:pt x="334" y="220"/>
                  </a:lnTo>
                  <a:lnTo>
                    <a:pt x="332" y="218"/>
                  </a:lnTo>
                  <a:lnTo>
                    <a:pt x="330" y="217"/>
                  </a:lnTo>
                  <a:lnTo>
                    <a:pt x="331" y="220"/>
                  </a:lnTo>
                  <a:lnTo>
                    <a:pt x="331" y="222"/>
                  </a:lnTo>
                  <a:lnTo>
                    <a:pt x="330" y="220"/>
                  </a:lnTo>
                  <a:lnTo>
                    <a:pt x="326" y="221"/>
                  </a:lnTo>
                  <a:lnTo>
                    <a:pt x="326" y="222"/>
                  </a:lnTo>
                  <a:lnTo>
                    <a:pt x="326" y="218"/>
                  </a:lnTo>
                  <a:lnTo>
                    <a:pt x="324" y="216"/>
                  </a:lnTo>
                  <a:lnTo>
                    <a:pt x="322" y="215"/>
                  </a:lnTo>
                  <a:lnTo>
                    <a:pt x="320" y="217"/>
                  </a:lnTo>
                  <a:lnTo>
                    <a:pt x="318" y="215"/>
                  </a:lnTo>
                  <a:lnTo>
                    <a:pt x="316" y="213"/>
                  </a:lnTo>
                  <a:lnTo>
                    <a:pt x="318" y="211"/>
                  </a:lnTo>
                  <a:lnTo>
                    <a:pt x="316" y="213"/>
                  </a:lnTo>
                  <a:lnTo>
                    <a:pt x="316" y="211"/>
                  </a:lnTo>
                  <a:lnTo>
                    <a:pt x="313" y="209"/>
                  </a:lnTo>
                  <a:lnTo>
                    <a:pt x="312" y="206"/>
                  </a:lnTo>
                  <a:lnTo>
                    <a:pt x="314" y="205"/>
                  </a:lnTo>
                  <a:lnTo>
                    <a:pt x="314" y="204"/>
                  </a:lnTo>
                  <a:lnTo>
                    <a:pt x="312" y="204"/>
                  </a:lnTo>
                  <a:lnTo>
                    <a:pt x="311" y="201"/>
                  </a:lnTo>
                  <a:lnTo>
                    <a:pt x="308" y="200"/>
                  </a:lnTo>
                  <a:lnTo>
                    <a:pt x="305" y="200"/>
                  </a:lnTo>
                  <a:lnTo>
                    <a:pt x="303" y="201"/>
                  </a:lnTo>
                  <a:lnTo>
                    <a:pt x="303" y="199"/>
                  </a:lnTo>
                  <a:lnTo>
                    <a:pt x="304" y="197"/>
                  </a:lnTo>
                  <a:lnTo>
                    <a:pt x="300" y="197"/>
                  </a:lnTo>
                  <a:lnTo>
                    <a:pt x="299" y="195"/>
                  </a:lnTo>
                  <a:lnTo>
                    <a:pt x="297" y="191"/>
                  </a:lnTo>
                  <a:lnTo>
                    <a:pt x="299" y="192"/>
                  </a:lnTo>
                  <a:lnTo>
                    <a:pt x="300" y="190"/>
                  </a:lnTo>
                  <a:lnTo>
                    <a:pt x="297" y="190"/>
                  </a:lnTo>
                  <a:lnTo>
                    <a:pt x="295" y="188"/>
                  </a:lnTo>
                  <a:lnTo>
                    <a:pt x="292" y="188"/>
                  </a:lnTo>
                  <a:lnTo>
                    <a:pt x="295" y="187"/>
                  </a:lnTo>
                  <a:lnTo>
                    <a:pt x="297" y="187"/>
                  </a:lnTo>
                  <a:lnTo>
                    <a:pt x="300" y="189"/>
                  </a:lnTo>
                  <a:lnTo>
                    <a:pt x="301" y="191"/>
                  </a:lnTo>
                  <a:lnTo>
                    <a:pt x="304" y="195"/>
                  </a:lnTo>
                  <a:lnTo>
                    <a:pt x="306" y="194"/>
                  </a:lnTo>
                  <a:lnTo>
                    <a:pt x="309" y="194"/>
                  </a:lnTo>
                  <a:lnTo>
                    <a:pt x="312" y="194"/>
                  </a:lnTo>
                  <a:lnTo>
                    <a:pt x="313" y="191"/>
                  </a:lnTo>
                  <a:lnTo>
                    <a:pt x="311" y="189"/>
                  </a:lnTo>
                  <a:lnTo>
                    <a:pt x="307" y="188"/>
                  </a:lnTo>
                  <a:lnTo>
                    <a:pt x="305" y="184"/>
                  </a:lnTo>
                  <a:lnTo>
                    <a:pt x="304" y="182"/>
                  </a:lnTo>
                  <a:lnTo>
                    <a:pt x="306" y="182"/>
                  </a:lnTo>
                  <a:lnTo>
                    <a:pt x="307" y="182"/>
                  </a:lnTo>
                  <a:lnTo>
                    <a:pt x="309" y="186"/>
                  </a:lnTo>
                  <a:lnTo>
                    <a:pt x="313" y="184"/>
                  </a:lnTo>
                  <a:lnTo>
                    <a:pt x="309" y="182"/>
                  </a:lnTo>
                  <a:lnTo>
                    <a:pt x="313" y="183"/>
                  </a:lnTo>
                  <a:lnTo>
                    <a:pt x="312" y="181"/>
                  </a:lnTo>
                  <a:lnTo>
                    <a:pt x="309" y="179"/>
                  </a:lnTo>
                  <a:lnTo>
                    <a:pt x="306" y="179"/>
                  </a:lnTo>
                  <a:lnTo>
                    <a:pt x="309" y="179"/>
                  </a:lnTo>
                  <a:lnTo>
                    <a:pt x="312" y="179"/>
                  </a:lnTo>
                  <a:lnTo>
                    <a:pt x="314" y="180"/>
                  </a:lnTo>
                  <a:lnTo>
                    <a:pt x="314" y="178"/>
                  </a:lnTo>
                  <a:lnTo>
                    <a:pt x="316" y="179"/>
                  </a:lnTo>
                  <a:lnTo>
                    <a:pt x="318" y="181"/>
                  </a:lnTo>
                  <a:lnTo>
                    <a:pt x="321" y="183"/>
                  </a:lnTo>
                  <a:lnTo>
                    <a:pt x="322" y="186"/>
                  </a:lnTo>
                  <a:lnTo>
                    <a:pt x="324" y="186"/>
                  </a:lnTo>
                  <a:lnTo>
                    <a:pt x="326" y="186"/>
                  </a:lnTo>
                  <a:lnTo>
                    <a:pt x="326" y="188"/>
                  </a:lnTo>
                  <a:lnTo>
                    <a:pt x="329" y="189"/>
                  </a:lnTo>
                  <a:lnTo>
                    <a:pt x="332" y="188"/>
                  </a:lnTo>
                  <a:lnTo>
                    <a:pt x="334" y="186"/>
                  </a:lnTo>
                  <a:lnTo>
                    <a:pt x="335" y="183"/>
                  </a:lnTo>
                  <a:lnTo>
                    <a:pt x="335" y="183"/>
                  </a:lnTo>
                  <a:lnTo>
                    <a:pt x="335" y="186"/>
                  </a:lnTo>
                  <a:lnTo>
                    <a:pt x="333" y="188"/>
                  </a:lnTo>
                  <a:lnTo>
                    <a:pt x="330" y="190"/>
                  </a:lnTo>
                  <a:lnTo>
                    <a:pt x="330" y="192"/>
                  </a:lnTo>
                  <a:lnTo>
                    <a:pt x="331" y="192"/>
                  </a:lnTo>
                  <a:lnTo>
                    <a:pt x="333" y="192"/>
                  </a:lnTo>
                  <a:lnTo>
                    <a:pt x="335" y="192"/>
                  </a:lnTo>
                  <a:lnTo>
                    <a:pt x="339" y="191"/>
                  </a:lnTo>
                  <a:lnTo>
                    <a:pt x="341" y="191"/>
                  </a:lnTo>
                  <a:lnTo>
                    <a:pt x="345" y="189"/>
                  </a:lnTo>
                  <a:lnTo>
                    <a:pt x="346" y="187"/>
                  </a:lnTo>
                  <a:lnTo>
                    <a:pt x="348" y="184"/>
                  </a:lnTo>
                  <a:lnTo>
                    <a:pt x="350" y="184"/>
                  </a:lnTo>
                  <a:lnTo>
                    <a:pt x="348" y="186"/>
                  </a:lnTo>
                  <a:lnTo>
                    <a:pt x="346" y="189"/>
                  </a:lnTo>
                  <a:lnTo>
                    <a:pt x="345" y="191"/>
                  </a:lnTo>
                  <a:lnTo>
                    <a:pt x="342" y="192"/>
                  </a:lnTo>
                  <a:lnTo>
                    <a:pt x="339" y="194"/>
                  </a:lnTo>
                  <a:lnTo>
                    <a:pt x="337" y="196"/>
                  </a:lnTo>
                  <a:lnTo>
                    <a:pt x="337" y="198"/>
                  </a:lnTo>
                  <a:lnTo>
                    <a:pt x="340" y="199"/>
                  </a:lnTo>
                  <a:lnTo>
                    <a:pt x="342" y="198"/>
                  </a:lnTo>
                  <a:lnTo>
                    <a:pt x="346" y="198"/>
                  </a:lnTo>
                  <a:lnTo>
                    <a:pt x="342" y="198"/>
                  </a:lnTo>
                  <a:lnTo>
                    <a:pt x="340" y="200"/>
                  </a:lnTo>
                  <a:lnTo>
                    <a:pt x="342" y="201"/>
                  </a:lnTo>
                  <a:lnTo>
                    <a:pt x="346" y="199"/>
                  </a:lnTo>
                  <a:lnTo>
                    <a:pt x="343" y="203"/>
                  </a:lnTo>
                  <a:lnTo>
                    <a:pt x="341" y="203"/>
                  </a:lnTo>
                  <a:lnTo>
                    <a:pt x="341" y="205"/>
                  </a:lnTo>
                  <a:lnTo>
                    <a:pt x="345" y="205"/>
                  </a:lnTo>
                  <a:lnTo>
                    <a:pt x="347" y="205"/>
                  </a:lnTo>
                  <a:lnTo>
                    <a:pt x="349" y="204"/>
                  </a:lnTo>
                  <a:lnTo>
                    <a:pt x="347" y="206"/>
                  </a:lnTo>
                  <a:lnTo>
                    <a:pt x="345" y="206"/>
                  </a:lnTo>
                  <a:lnTo>
                    <a:pt x="347" y="207"/>
                  </a:lnTo>
                  <a:lnTo>
                    <a:pt x="345" y="207"/>
                  </a:lnTo>
                  <a:lnTo>
                    <a:pt x="347" y="208"/>
                  </a:lnTo>
                  <a:lnTo>
                    <a:pt x="348" y="212"/>
                  </a:lnTo>
                  <a:lnTo>
                    <a:pt x="350" y="208"/>
                  </a:lnTo>
                  <a:lnTo>
                    <a:pt x="351" y="206"/>
                  </a:lnTo>
                  <a:lnTo>
                    <a:pt x="351" y="208"/>
                  </a:lnTo>
                  <a:lnTo>
                    <a:pt x="354" y="209"/>
                  </a:lnTo>
                  <a:lnTo>
                    <a:pt x="354" y="213"/>
                  </a:lnTo>
                  <a:lnTo>
                    <a:pt x="357" y="212"/>
                  </a:lnTo>
                  <a:lnTo>
                    <a:pt x="359" y="213"/>
                  </a:lnTo>
                  <a:lnTo>
                    <a:pt x="362" y="216"/>
                  </a:lnTo>
                  <a:lnTo>
                    <a:pt x="364" y="214"/>
                  </a:lnTo>
                  <a:lnTo>
                    <a:pt x="364" y="211"/>
                  </a:lnTo>
                  <a:lnTo>
                    <a:pt x="365" y="208"/>
                  </a:lnTo>
                  <a:lnTo>
                    <a:pt x="364" y="206"/>
                  </a:lnTo>
                  <a:lnTo>
                    <a:pt x="366" y="205"/>
                  </a:lnTo>
                  <a:lnTo>
                    <a:pt x="364" y="204"/>
                  </a:lnTo>
                  <a:lnTo>
                    <a:pt x="366" y="200"/>
                  </a:lnTo>
                  <a:lnTo>
                    <a:pt x="363" y="200"/>
                  </a:lnTo>
                  <a:lnTo>
                    <a:pt x="360" y="199"/>
                  </a:lnTo>
                  <a:lnTo>
                    <a:pt x="363" y="199"/>
                  </a:lnTo>
                  <a:lnTo>
                    <a:pt x="364" y="196"/>
                  </a:lnTo>
                  <a:lnTo>
                    <a:pt x="363" y="194"/>
                  </a:lnTo>
                  <a:lnTo>
                    <a:pt x="365" y="196"/>
                  </a:lnTo>
                  <a:lnTo>
                    <a:pt x="367" y="199"/>
                  </a:lnTo>
                  <a:lnTo>
                    <a:pt x="369" y="200"/>
                  </a:lnTo>
                  <a:lnTo>
                    <a:pt x="371" y="201"/>
                  </a:lnTo>
                  <a:lnTo>
                    <a:pt x="371" y="198"/>
                  </a:lnTo>
                  <a:lnTo>
                    <a:pt x="374" y="200"/>
                  </a:lnTo>
                  <a:lnTo>
                    <a:pt x="372" y="197"/>
                  </a:lnTo>
                  <a:lnTo>
                    <a:pt x="375" y="198"/>
                  </a:lnTo>
                  <a:lnTo>
                    <a:pt x="373" y="196"/>
                  </a:lnTo>
                  <a:lnTo>
                    <a:pt x="375" y="196"/>
                  </a:lnTo>
                  <a:lnTo>
                    <a:pt x="379" y="196"/>
                  </a:lnTo>
                  <a:lnTo>
                    <a:pt x="377" y="194"/>
                  </a:lnTo>
                  <a:lnTo>
                    <a:pt x="375" y="191"/>
                  </a:lnTo>
                  <a:lnTo>
                    <a:pt x="372" y="191"/>
                  </a:lnTo>
                  <a:lnTo>
                    <a:pt x="371" y="189"/>
                  </a:lnTo>
                  <a:lnTo>
                    <a:pt x="374" y="191"/>
                  </a:lnTo>
                  <a:lnTo>
                    <a:pt x="376" y="191"/>
                  </a:lnTo>
                  <a:lnTo>
                    <a:pt x="379" y="192"/>
                  </a:lnTo>
                  <a:lnTo>
                    <a:pt x="382" y="191"/>
                  </a:lnTo>
                  <a:lnTo>
                    <a:pt x="382" y="189"/>
                  </a:lnTo>
                  <a:lnTo>
                    <a:pt x="379" y="188"/>
                  </a:lnTo>
                  <a:lnTo>
                    <a:pt x="376" y="187"/>
                  </a:lnTo>
                  <a:lnTo>
                    <a:pt x="373" y="187"/>
                  </a:lnTo>
                  <a:lnTo>
                    <a:pt x="376" y="187"/>
                  </a:lnTo>
                  <a:lnTo>
                    <a:pt x="379" y="186"/>
                  </a:lnTo>
                  <a:lnTo>
                    <a:pt x="377" y="182"/>
                  </a:lnTo>
                  <a:lnTo>
                    <a:pt x="374" y="182"/>
                  </a:lnTo>
                  <a:lnTo>
                    <a:pt x="377" y="182"/>
                  </a:lnTo>
                  <a:lnTo>
                    <a:pt x="379" y="182"/>
                  </a:lnTo>
                  <a:lnTo>
                    <a:pt x="382" y="184"/>
                  </a:lnTo>
                  <a:lnTo>
                    <a:pt x="384" y="186"/>
                  </a:lnTo>
                  <a:lnTo>
                    <a:pt x="388" y="184"/>
                  </a:lnTo>
                  <a:lnTo>
                    <a:pt x="390" y="183"/>
                  </a:lnTo>
                  <a:lnTo>
                    <a:pt x="388" y="182"/>
                  </a:lnTo>
                  <a:lnTo>
                    <a:pt x="384" y="182"/>
                  </a:lnTo>
                  <a:lnTo>
                    <a:pt x="388" y="181"/>
                  </a:lnTo>
                  <a:lnTo>
                    <a:pt x="388" y="179"/>
                  </a:lnTo>
                  <a:lnTo>
                    <a:pt x="384" y="178"/>
                  </a:lnTo>
                  <a:lnTo>
                    <a:pt x="382" y="178"/>
                  </a:lnTo>
                  <a:lnTo>
                    <a:pt x="384" y="177"/>
                  </a:lnTo>
                  <a:lnTo>
                    <a:pt x="388" y="177"/>
                  </a:lnTo>
                  <a:lnTo>
                    <a:pt x="390" y="179"/>
                  </a:lnTo>
                  <a:lnTo>
                    <a:pt x="392" y="179"/>
                  </a:lnTo>
                  <a:lnTo>
                    <a:pt x="393" y="178"/>
                  </a:lnTo>
                  <a:lnTo>
                    <a:pt x="392" y="175"/>
                  </a:lnTo>
                  <a:lnTo>
                    <a:pt x="389" y="173"/>
                  </a:lnTo>
                  <a:lnTo>
                    <a:pt x="386" y="172"/>
                  </a:lnTo>
                  <a:lnTo>
                    <a:pt x="383" y="172"/>
                  </a:lnTo>
                  <a:lnTo>
                    <a:pt x="386" y="171"/>
                  </a:lnTo>
                  <a:lnTo>
                    <a:pt x="383" y="171"/>
                  </a:lnTo>
                  <a:lnTo>
                    <a:pt x="383" y="167"/>
                  </a:lnTo>
                  <a:lnTo>
                    <a:pt x="381" y="169"/>
                  </a:lnTo>
                  <a:lnTo>
                    <a:pt x="377" y="171"/>
                  </a:lnTo>
                  <a:lnTo>
                    <a:pt x="379" y="173"/>
                  </a:lnTo>
                  <a:lnTo>
                    <a:pt x="376" y="171"/>
                  </a:lnTo>
                  <a:lnTo>
                    <a:pt x="374" y="170"/>
                  </a:lnTo>
                  <a:lnTo>
                    <a:pt x="373" y="173"/>
                  </a:lnTo>
                  <a:lnTo>
                    <a:pt x="372" y="175"/>
                  </a:lnTo>
                  <a:lnTo>
                    <a:pt x="372" y="177"/>
                  </a:lnTo>
                  <a:lnTo>
                    <a:pt x="372" y="174"/>
                  </a:lnTo>
                  <a:lnTo>
                    <a:pt x="372" y="171"/>
                  </a:lnTo>
                  <a:lnTo>
                    <a:pt x="369" y="170"/>
                  </a:lnTo>
                  <a:lnTo>
                    <a:pt x="366" y="171"/>
                  </a:lnTo>
                  <a:lnTo>
                    <a:pt x="365" y="174"/>
                  </a:lnTo>
                  <a:lnTo>
                    <a:pt x="364" y="171"/>
                  </a:lnTo>
                  <a:lnTo>
                    <a:pt x="362" y="173"/>
                  </a:lnTo>
                  <a:lnTo>
                    <a:pt x="358" y="173"/>
                  </a:lnTo>
                  <a:lnTo>
                    <a:pt x="362" y="173"/>
                  </a:lnTo>
                  <a:lnTo>
                    <a:pt x="363" y="171"/>
                  </a:lnTo>
                  <a:lnTo>
                    <a:pt x="366" y="170"/>
                  </a:lnTo>
                  <a:lnTo>
                    <a:pt x="366" y="167"/>
                  </a:lnTo>
                  <a:lnTo>
                    <a:pt x="369" y="165"/>
                  </a:lnTo>
                  <a:lnTo>
                    <a:pt x="371" y="162"/>
                  </a:lnTo>
                  <a:lnTo>
                    <a:pt x="367" y="162"/>
                  </a:lnTo>
                  <a:lnTo>
                    <a:pt x="365" y="164"/>
                  </a:lnTo>
                  <a:lnTo>
                    <a:pt x="364" y="166"/>
                  </a:lnTo>
                  <a:lnTo>
                    <a:pt x="362" y="167"/>
                  </a:lnTo>
                  <a:lnTo>
                    <a:pt x="364" y="165"/>
                  </a:lnTo>
                  <a:lnTo>
                    <a:pt x="360" y="164"/>
                  </a:lnTo>
                  <a:lnTo>
                    <a:pt x="358" y="164"/>
                  </a:lnTo>
                  <a:lnTo>
                    <a:pt x="356" y="165"/>
                  </a:lnTo>
                  <a:lnTo>
                    <a:pt x="352" y="165"/>
                  </a:lnTo>
                  <a:lnTo>
                    <a:pt x="350" y="165"/>
                  </a:lnTo>
                  <a:lnTo>
                    <a:pt x="348" y="169"/>
                  </a:lnTo>
                  <a:lnTo>
                    <a:pt x="347" y="169"/>
                  </a:lnTo>
                  <a:lnTo>
                    <a:pt x="348" y="166"/>
                  </a:lnTo>
                  <a:lnTo>
                    <a:pt x="350" y="165"/>
                  </a:lnTo>
                  <a:lnTo>
                    <a:pt x="352" y="164"/>
                  </a:lnTo>
                  <a:lnTo>
                    <a:pt x="356" y="164"/>
                  </a:lnTo>
                  <a:lnTo>
                    <a:pt x="352" y="163"/>
                  </a:lnTo>
                  <a:lnTo>
                    <a:pt x="350" y="164"/>
                  </a:lnTo>
                  <a:lnTo>
                    <a:pt x="347" y="164"/>
                  </a:lnTo>
                  <a:lnTo>
                    <a:pt x="350" y="163"/>
                  </a:lnTo>
                  <a:lnTo>
                    <a:pt x="352" y="163"/>
                  </a:lnTo>
                  <a:lnTo>
                    <a:pt x="350" y="162"/>
                  </a:lnTo>
                  <a:lnTo>
                    <a:pt x="347" y="161"/>
                  </a:lnTo>
                  <a:lnTo>
                    <a:pt x="350" y="161"/>
                  </a:lnTo>
                  <a:lnTo>
                    <a:pt x="356" y="162"/>
                  </a:lnTo>
                  <a:lnTo>
                    <a:pt x="357" y="160"/>
                  </a:lnTo>
                  <a:lnTo>
                    <a:pt x="354" y="158"/>
                  </a:lnTo>
                  <a:lnTo>
                    <a:pt x="351" y="158"/>
                  </a:lnTo>
                  <a:lnTo>
                    <a:pt x="354" y="157"/>
                  </a:lnTo>
                  <a:lnTo>
                    <a:pt x="355" y="155"/>
                  </a:lnTo>
                  <a:lnTo>
                    <a:pt x="356" y="155"/>
                  </a:lnTo>
                  <a:lnTo>
                    <a:pt x="352" y="155"/>
                  </a:lnTo>
                  <a:lnTo>
                    <a:pt x="352" y="152"/>
                  </a:lnTo>
                  <a:lnTo>
                    <a:pt x="349" y="153"/>
                  </a:lnTo>
                  <a:lnTo>
                    <a:pt x="349" y="151"/>
                  </a:lnTo>
                  <a:lnTo>
                    <a:pt x="347" y="151"/>
                  </a:lnTo>
                  <a:lnTo>
                    <a:pt x="346" y="153"/>
                  </a:lnTo>
                  <a:lnTo>
                    <a:pt x="343" y="152"/>
                  </a:lnTo>
                  <a:lnTo>
                    <a:pt x="340" y="154"/>
                  </a:lnTo>
                  <a:lnTo>
                    <a:pt x="342" y="152"/>
                  </a:lnTo>
                  <a:lnTo>
                    <a:pt x="342" y="148"/>
                  </a:lnTo>
                  <a:lnTo>
                    <a:pt x="346" y="147"/>
                  </a:lnTo>
                  <a:lnTo>
                    <a:pt x="342" y="145"/>
                  </a:lnTo>
                  <a:lnTo>
                    <a:pt x="340" y="147"/>
                  </a:lnTo>
                  <a:lnTo>
                    <a:pt x="338" y="147"/>
                  </a:lnTo>
                  <a:lnTo>
                    <a:pt x="335" y="151"/>
                  </a:lnTo>
                  <a:lnTo>
                    <a:pt x="338" y="153"/>
                  </a:lnTo>
                  <a:lnTo>
                    <a:pt x="335" y="152"/>
                  </a:lnTo>
                  <a:lnTo>
                    <a:pt x="335" y="148"/>
                  </a:lnTo>
                  <a:lnTo>
                    <a:pt x="337" y="146"/>
                  </a:lnTo>
                  <a:lnTo>
                    <a:pt x="334" y="146"/>
                  </a:lnTo>
                  <a:lnTo>
                    <a:pt x="330" y="152"/>
                  </a:lnTo>
                  <a:lnTo>
                    <a:pt x="329" y="154"/>
                  </a:lnTo>
                  <a:lnTo>
                    <a:pt x="329" y="152"/>
                  </a:lnTo>
                  <a:lnTo>
                    <a:pt x="330" y="148"/>
                  </a:lnTo>
                  <a:lnTo>
                    <a:pt x="329" y="147"/>
                  </a:lnTo>
                  <a:lnTo>
                    <a:pt x="331" y="144"/>
                  </a:lnTo>
                  <a:lnTo>
                    <a:pt x="328" y="145"/>
                  </a:lnTo>
                  <a:lnTo>
                    <a:pt x="325" y="147"/>
                  </a:lnTo>
                  <a:lnTo>
                    <a:pt x="324" y="149"/>
                  </a:lnTo>
                  <a:lnTo>
                    <a:pt x="322" y="149"/>
                  </a:lnTo>
                  <a:lnTo>
                    <a:pt x="320" y="148"/>
                  </a:lnTo>
                  <a:lnTo>
                    <a:pt x="322" y="149"/>
                  </a:lnTo>
                  <a:lnTo>
                    <a:pt x="324" y="146"/>
                  </a:lnTo>
                  <a:lnTo>
                    <a:pt x="325" y="144"/>
                  </a:lnTo>
                  <a:lnTo>
                    <a:pt x="322" y="144"/>
                  </a:lnTo>
                  <a:lnTo>
                    <a:pt x="320" y="146"/>
                  </a:lnTo>
                  <a:lnTo>
                    <a:pt x="320" y="143"/>
                  </a:lnTo>
                  <a:lnTo>
                    <a:pt x="317" y="144"/>
                  </a:lnTo>
                  <a:lnTo>
                    <a:pt x="317" y="141"/>
                  </a:lnTo>
                  <a:lnTo>
                    <a:pt x="315" y="139"/>
                  </a:lnTo>
                  <a:lnTo>
                    <a:pt x="313" y="139"/>
                  </a:lnTo>
                  <a:lnTo>
                    <a:pt x="311" y="143"/>
                  </a:lnTo>
                  <a:lnTo>
                    <a:pt x="308" y="143"/>
                  </a:lnTo>
                  <a:lnTo>
                    <a:pt x="311" y="141"/>
                  </a:lnTo>
                  <a:lnTo>
                    <a:pt x="312" y="139"/>
                  </a:lnTo>
                  <a:lnTo>
                    <a:pt x="314" y="138"/>
                  </a:lnTo>
                  <a:lnTo>
                    <a:pt x="312" y="137"/>
                  </a:lnTo>
                  <a:lnTo>
                    <a:pt x="309" y="138"/>
                  </a:lnTo>
                  <a:lnTo>
                    <a:pt x="306" y="140"/>
                  </a:lnTo>
                  <a:lnTo>
                    <a:pt x="304" y="139"/>
                  </a:lnTo>
                  <a:lnTo>
                    <a:pt x="306" y="138"/>
                  </a:lnTo>
                  <a:lnTo>
                    <a:pt x="309" y="137"/>
                  </a:lnTo>
                  <a:lnTo>
                    <a:pt x="312" y="136"/>
                  </a:lnTo>
                  <a:lnTo>
                    <a:pt x="314" y="137"/>
                  </a:lnTo>
                  <a:lnTo>
                    <a:pt x="317" y="136"/>
                  </a:lnTo>
                  <a:lnTo>
                    <a:pt x="314" y="135"/>
                  </a:lnTo>
                  <a:lnTo>
                    <a:pt x="312" y="136"/>
                  </a:lnTo>
                  <a:lnTo>
                    <a:pt x="309" y="135"/>
                  </a:lnTo>
                  <a:lnTo>
                    <a:pt x="307" y="137"/>
                  </a:lnTo>
                  <a:lnTo>
                    <a:pt x="306" y="134"/>
                  </a:lnTo>
                  <a:lnTo>
                    <a:pt x="304" y="132"/>
                  </a:lnTo>
                  <a:lnTo>
                    <a:pt x="303" y="136"/>
                  </a:lnTo>
                  <a:lnTo>
                    <a:pt x="303" y="132"/>
                  </a:lnTo>
                  <a:lnTo>
                    <a:pt x="300" y="134"/>
                  </a:lnTo>
                  <a:lnTo>
                    <a:pt x="297" y="131"/>
                  </a:lnTo>
                  <a:lnTo>
                    <a:pt x="295" y="132"/>
                  </a:lnTo>
                  <a:lnTo>
                    <a:pt x="292" y="132"/>
                  </a:lnTo>
                  <a:lnTo>
                    <a:pt x="295" y="131"/>
                  </a:lnTo>
                  <a:lnTo>
                    <a:pt x="292" y="131"/>
                  </a:lnTo>
                  <a:lnTo>
                    <a:pt x="289" y="131"/>
                  </a:lnTo>
                  <a:lnTo>
                    <a:pt x="292" y="130"/>
                  </a:lnTo>
                  <a:lnTo>
                    <a:pt x="295" y="130"/>
                  </a:lnTo>
                  <a:lnTo>
                    <a:pt x="297" y="130"/>
                  </a:lnTo>
                  <a:lnTo>
                    <a:pt x="300" y="130"/>
                  </a:lnTo>
                  <a:lnTo>
                    <a:pt x="297" y="129"/>
                  </a:lnTo>
                  <a:lnTo>
                    <a:pt x="292" y="128"/>
                  </a:lnTo>
                  <a:lnTo>
                    <a:pt x="289" y="128"/>
                  </a:lnTo>
                  <a:lnTo>
                    <a:pt x="287" y="127"/>
                  </a:lnTo>
                  <a:lnTo>
                    <a:pt x="283" y="127"/>
                  </a:lnTo>
                  <a:lnTo>
                    <a:pt x="287" y="126"/>
                  </a:lnTo>
                  <a:lnTo>
                    <a:pt x="289" y="127"/>
                  </a:lnTo>
                  <a:lnTo>
                    <a:pt x="295" y="127"/>
                  </a:lnTo>
                  <a:lnTo>
                    <a:pt x="297" y="126"/>
                  </a:lnTo>
                  <a:lnTo>
                    <a:pt x="300" y="127"/>
                  </a:lnTo>
                  <a:lnTo>
                    <a:pt x="303" y="127"/>
                  </a:lnTo>
                  <a:lnTo>
                    <a:pt x="304" y="127"/>
                  </a:lnTo>
                  <a:lnTo>
                    <a:pt x="300" y="126"/>
                  </a:lnTo>
                  <a:lnTo>
                    <a:pt x="298" y="124"/>
                  </a:lnTo>
                  <a:lnTo>
                    <a:pt x="295" y="124"/>
                  </a:lnTo>
                  <a:lnTo>
                    <a:pt x="298" y="124"/>
                  </a:lnTo>
                  <a:lnTo>
                    <a:pt x="300" y="126"/>
                  </a:lnTo>
                  <a:lnTo>
                    <a:pt x="298" y="122"/>
                  </a:lnTo>
                  <a:lnTo>
                    <a:pt x="295" y="122"/>
                  </a:lnTo>
                  <a:lnTo>
                    <a:pt x="298" y="122"/>
                  </a:lnTo>
                  <a:lnTo>
                    <a:pt x="300" y="122"/>
                  </a:lnTo>
                  <a:lnTo>
                    <a:pt x="304" y="121"/>
                  </a:lnTo>
                  <a:lnTo>
                    <a:pt x="300" y="119"/>
                  </a:lnTo>
                  <a:lnTo>
                    <a:pt x="298" y="118"/>
                  </a:lnTo>
                  <a:lnTo>
                    <a:pt x="296" y="118"/>
                  </a:lnTo>
                  <a:lnTo>
                    <a:pt x="292" y="119"/>
                  </a:lnTo>
                  <a:lnTo>
                    <a:pt x="290" y="120"/>
                  </a:lnTo>
                  <a:lnTo>
                    <a:pt x="288" y="122"/>
                  </a:lnTo>
                  <a:lnTo>
                    <a:pt x="289" y="120"/>
                  </a:lnTo>
                  <a:lnTo>
                    <a:pt x="291" y="119"/>
                  </a:lnTo>
                  <a:lnTo>
                    <a:pt x="295" y="118"/>
                  </a:lnTo>
                  <a:lnTo>
                    <a:pt x="291" y="117"/>
                  </a:lnTo>
                  <a:lnTo>
                    <a:pt x="289" y="117"/>
                  </a:lnTo>
                  <a:lnTo>
                    <a:pt x="288" y="117"/>
                  </a:lnTo>
                  <a:lnTo>
                    <a:pt x="291" y="117"/>
                  </a:lnTo>
                  <a:lnTo>
                    <a:pt x="294" y="117"/>
                  </a:lnTo>
                  <a:lnTo>
                    <a:pt x="297" y="117"/>
                  </a:lnTo>
                  <a:lnTo>
                    <a:pt x="299" y="118"/>
                  </a:lnTo>
                  <a:lnTo>
                    <a:pt x="297" y="115"/>
                  </a:lnTo>
                  <a:lnTo>
                    <a:pt x="294" y="115"/>
                  </a:lnTo>
                  <a:lnTo>
                    <a:pt x="291" y="114"/>
                  </a:lnTo>
                  <a:lnTo>
                    <a:pt x="288" y="114"/>
                  </a:lnTo>
                  <a:lnTo>
                    <a:pt x="286" y="114"/>
                  </a:lnTo>
                  <a:lnTo>
                    <a:pt x="288" y="113"/>
                  </a:lnTo>
                  <a:lnTo>
                    <a:pt x="291" y="114"/>
                  </a:lnTo>
                  <a:lnTo>
                    <a:pt x="294" y="114"/>
                  </a:lnTo>
                  <a:lnTo>
                    <a:pt x="297" y="114"/>
                  </a:lnTo>
                  <a:lnTo>
                    <a:pt x="299" y="114"/>
                  </a:lnTo>
                  <a:lnTo>
                    <a:pt x="303" y="117"/>
                  </a:lnTo>
                  <a:lnTo>
                    <a:pt x="305" y="118"/>
                  </a:lnTo>
                  <a:lnTo>
                    <a:pt x="308" y="118"/>
                  </a:lnTo>
                  <a:lnTo>
                    <a:pt x="311" y="118"/>
                  </a:lnTo>
                  <a:lnTo>
                    <a:pt x="314" y="118"/>
                  </a:lnTo>
                  <a:lnTo>
                    <a:pt x="316" y="118"/>
                  </a:lnTo>
                  <a:lnTo>
                    <a:pt x="318" y="119"/>
                  </a:lnTo>
                  <a:lnTo>
                    <a:pt x="320" y="115"/>
                  </a:lnTo>
                  <a:lnTo>
                    <a:pt x="317" y="113"/>
                  </a:lnTo>
                  <a:lnTo>
                    <a:pt x="314" y="112"/>
                  </a:lnTo>
                  <a:lnTo>
                    <a:pt x="312" y="111"/>
                  </a:lnTo>
                  <a:lnTo>
                    <a:pt x="308" y="111"/>
                  </a:lnTo>
                  <a:lnTo>
                    <a:pt x="306" y="110"/>
                  </a:lnTo>
                  <a:lnTo>
                    <a:pt x="303" y="111"/>
                  </a:lnTo>
                  <a:lnTo>
                    <a:pt x="300" y="110"/>
                  </a:lnTo>
                  <a:lnTo>
                    <a:pt x="297" y="109"/>
                  </a:lnTo>
                  <a:lnTo>
                    <a:pt x="295" y="109"/>
                  </a:lnTo>
                  <a:lnTo>
                    <a:pt x="292" y="107"/>
                  </a:lnTo>
                  <a:lnTo>
                    <a:pt x="289" y="109"/>
                  </a:lnTo>
                  <a:lnTo>
                    <a:pt x="287" y="109"/>
                  </a:lnTo>
                  <a:lnTo>
                    <a:pt x="283" y="110"/>
                  </a:lnTo>
                  <a:lnTo>
                    <a:pt x="280" y="109"/>
                  </a:lnTo>
                  <a:lnTo>
                    <a:pt x="278" y="109"/>
                  </a:lnTo>
                  <a:lnTo>
                    <a:pt x="275" y="110"/>
                  </a:lnTo>
                  <a:lnTo>
                    <a:pt x="274" y="110"/>
                  </a:lnTo>
                  <a:lnTo>
                    <a:pt x="274" y="109"/>
                  </a:lnTo>
                  <a:lnTo>
                    <a:pt x="277" y="109"/>
                  </a:lnTo>
                  <a:lnTo>
                    <a:pt x="280" y="109"/>
                  </a:lnTo>
                  <a:lnTo>
                    <a:pt x="282" y="109"/>
                  </a:lnTo>
                  <a:lnTo>
                    <a:pt x="284" y="109"/>
                  </a:lnTo>
                  <a:lnTo>
                    <a:pt x="290" y="106"/>
                  </a:lnTo>
                  <a:lnTo>
                    <a:pt x="294" y="106"/>
                  </a:lnTo>
                  <a:lnTo>
                    <a:pt x="296" y="106"/>
                  </a:lnTo>
                  <a:lnTo>
                    <a:pt x="298" y="104"/>
                  </a:lnTo>
                  <a:lnTo>
                    <a:pt x="301" y="103"/>
                  </a:lnTo>
                  <a:lnTo>
                    <a:pt x="304" y="103"/>
                  </a:lnTo>
                  <a:lnTo>
                    <a:pt x="307" y="104"/>
                  </a:lnTo>
                  <a:lnTo>
                    <a:pt x="309" y="104"/>
                  </a:lnTo>
                  <a:lnTo>
                    <a:pt x="313" y="104"/>
                  </a:lnTo>
                  <a:lnTo>
                    <a:pt x="313" y="102"/>
                  </a:lnTo>
                  <a:lnTo>
                    <a:pt x="312" y="100"/>
                  </a:lnTo>
                  <a:lnTo>
                    <a:pt x="311" y="97"/>
                  </a:lnTo>
                  <a:lnTo>
                    <a:pt x="308" y="95"/>
                  </a:lnTo>
                  <a:lnTo>
                    <a:pt x="306" y="93"/>
                  </a:lnTo>
                  <a:lnTo>
                    <a:pt x="303" y="90"/>
                  </a:lnTo>
                  <a:lnTo>
                    <a:pt x="300" y="89"/>
                  </a:lnTo>
                  <a:lnTo>
                    <a:pt x="297" y="92"/>
                  </a:lnTo>
                  <a:lnTo>
                    <a:pt x="299" y="95"/>
                  </a:lnTo>
                  <a:lnTo>
                    <a:pt x="296" y="96"/>
                  </a:lnTo>
                  <a:lnTo>
                    <a:pt x="294" y="97"/>
                  </a:lnTo>
                  <a:lnTo>
                    <a:pt x="290" y="98"/>
                  </a:lnTo>
                  <a:lnTo>
                    <a:pt x="288" y="100"/>
                  </a:lnTo>
                  <a:lnTo>
                    <a:pt x="284" y="101"/>
                  </a:lnTo>
                  <a:lnTo>
                    <a:pt x="282" y="103"/>
                  </a:lnTo>
                  <a:lnTo>
                    <a:pt x="280" y="102"/>
                  </a:lnTo>
                  <a:lnTo>
                    <a:pt x="277" y="103"/>
                  </a:lnTo>
                  <a:lnTo>
                    <a:pt x="274" y="105"/>
                  </a:lnTo>
                  <a:lnTo>
                    <a:pt x="274" y="107"/>
                  </a:lnTo>
                  <a:lnTo>
                    <a:pt x="274" y="106"/>
                  </a:lnTo>
                  <a:lnTo>
                    <a:pt x="275" y="103"/>
                  </a:lnTo>
                  <a:lnTo>
                    <a:pt x="279" y="102"/>
                  </a:lnTo>
                  <a:lnTo>
                    <a:pt x="281" y="102"/>
                  </a:lnTo>
                  <a:lnTo>
                    <a:pt x="284" y="100"/>
                  </a:lnTo>
                  <a:lnTo>
                    <a:pt x="287" y="98"/>
                  </a:lnTo>
                  <a:lnTo>
                    <a:pt x="288" y="97"/>
                  </a:lnTo>
                  <a:lnTo>
                    <a:pt x="291" y="96"/>
                  </a:lnTo>
                  <a:lnTo>
                    <a:pt x="292" y="94"/>
                  </a:lnTo>
                  <a:lnTo>
                    <a:pt x="290" y="93"/>
                  </a:lnTo>
                  <a:lnTo>
                    <a:pt x="287" y="93"/>
                  </a:lnTo>
                  <a:lnTo>
                    <a:pt x="284" y="93"/>
                  </a:lnTo>
                  <a:lnTo>
                    <a:pt x="281" y="94"/>
                  </a:lnTo>
                  <a:lnTo>
                    <a:pt x="279" y="94"/>
                  </a:lnTo>
                  <a:lnTo>
                    <a:pt x="277" y="97"/>
                  </a:lnTo>
                  <a:lnTo>
                    <a:pt x="278" y="97"/>
                  </a:lnTo>
                  <a:lnTo>
                    <a:pt x="274" y="98"/>
                  </a:lnTo>
                  <a:lnTo>
                    <a:pt x="274" y="98"/>
                  </a:lnTo>
                  <a:lnTo>
                    <a:pt x="269" y="102"/>
                  </a:lnTo>
                  <a:lnTo>
                    <a:pt x="271" y="98"/>
                  </a:lnTo>
                  <a:lnTo>
                    <a:pt x="274" y="98"/>
                  </a:lnTo>
                  <a:lnTo>
                    <a:pt x="277" y="97"/>
                  </a:lnTo>
                  <a:lnTo>
                    <a:pt x="274" y="96"/>
                  </a:lnTo>
                  <a:lnTo>
                    <a:pt x="274" y="96"/>
                  </a:lnTo>
                  <a:lnTo>
                    <a:pt x="277" y="94"/>
                  </a:lnTo>
                  <a:lnTo>
                    <a:pt x="280" y="93"/>
                  </a:lnTo>
                  <a:lnTo>
                    <a:pt x="282" y="92"/>
                  </a:lnTo>
                  <a:lnTo>
                    <a:pt x="288" y="90"/>
                  </a:lnTo>
                  <a:lnTo>
                    <a:pt x="291" y="90"/>
                  </a:lnTo>
                  <a:lnTo>
                    <a:pt x="292" y="87"/>
                  </a:lnTo>
                  <a:lnTo>
                    <a:pt x="295" y="88"/>
                  </a:lnTo>
                  <a:lnTo>
                    <a:pt x="297" y="86"/>
                  </a:lnTo>
                  <a:lnTo>
                    <a:pt x="296" y="83"/>
                  </a:lnTo>
                  <a:lnTo>
                    <a:pt x="290" y="81"/>
                  </a:lnTo>
                  <a:lnTo>
                    <a:pt x="288" y="80"/>
                  </a:lnTo>
                  <a:lnTo>
                    <a:pt x="286" y="79"/>
                  </a:lnTo>
                  <a:lnTo>
                    <a:pt x="282" y="78"/>
                  </a:lnTo>
                  <a:lnTo>
                    <a:pt x="280" y="79"/>
                  </a:lnTo>
                  <a:lnTo>
                    <a:pt x="277" y="80"/>
                  </a:lnTo>
                  <a:lnTo>
                    <a:pt x="274" y="83"/>
                  </a:lnTo>
                  <a:lnTo>
                    <a:pt x="271" y="83"/>
                  </a:lnTo>
                  <a:lnTo>
                    <a:pt x="269" y="83"/>
                  </a:lnTo>
                  <a:lnTo>
                    <a:pt x="270" y="86"/>
                  </a:lnTo>
                  <a:lnTo>
                    <a:pt x="267" y="83"/>
                  </a:lnTo>
                  <a:lnTo>
                    <a:pt x="270" y="83"/>
                  </a:lnTo>
                  <a:lnTo>
                    <a:pt x="273" y="80"/>
                  </a:lnTo>
                  <a:lnTo>
                    <a:pt x="274" y="80"/>
                  </a:lnTo>
                  <a:lnTo>
                    <a:pt x="277" y="78"/>
                  </a:lnTo>
                  <a:lnTo>
                    <a:pt x="274" y="77"/>
                  </a:lnTo>
                  <a:lnTo>
                    <a:pt x="271" y="78"/>
                  </a:lnTo>
                  <a:lnTo>
                    <a:pt x="269" y="78"/>
                  </a:lnTo>
                  <a:lnTo>
                    <a:pt x="265" y="79"/>
                  </a:lnTo>
                  <a:lnTo>
                    <a:pt x="263" y="81"/>
                  </a:lnTo>
                  <a:lnTo>
                    <a:pt x="261" y="83"/>
                  </a:lnTo>
                  <a:lnTo>
                    <a:pt x="260" y="85"/>
                  </a:lnTo>
                  <a:lnTo>
                    <a:pt x="258" y="87"/>
                  </a:lnTo>
                  <a:lnTo>
                    <a:pt x="257" y="90"/>
                  </a:lnTo>
                  <a:lnTo>
                    <a:pt x="256" y="93"/>
                  </a:lnTo>
                  <a:lnTo>
                    <a:pt x="255" y="95"/>
                  </a:lnTo>
                  <a:lnTo>
                    <a:pt x="256" y="93"/>
                  </a:lnTo>
                  <a:lnTo>
                    <a:pt x="256" y="89"/>
                  </a:lnTo>
                  <a:lnTo>
                    <a:pt x="257" y="87"/>
                  </a:lnTo>
                  <a:lnTo>
                    <a:pt x="258" y="85"/>
                  </a:lnTo>
                  <a:lnTo>
                    <a:pt x="255" y="84"/>
                  </a:lnTo>
                  <a:lnTo>
                    <a:pt x="253" y="86"/>
                  </a:lnTo>
                  <a:lnTo>
                    <a:pt x="252" y="88"/>
                  </a:lnTo>
                  <a:lnTo>
                    <a:pt x="249" y="90"/>
                  </a:lnTo>
                  <a:lnTo>
                    <a:pt x="251" y="87"/>
                  </a:lnTo>
                  <a:lnTo>
                    <a:pt x="247" y="87"/>
                  </a:lnTo>
                  <a:lnTo>
                    <a:pt x="251" y="87"/>
                  </a:lnTo>
                  <a:lnTo>
                    <a:pt x="253" y="84"/>
                  </a:lnTo>
                  <a:lnTo>
                    <a:pt x="255" y="83"/>
                  </a:lnTo>
                  <a:lnTo>
                    <a:pt x="258" y="84"/>
                  </a:lnTo>
                  <a:lnTo>
                    <a:pt x="261" y="81"/>
                  </a:lnTo>
                  <a:lnTo>
                    <a:pt x="263" y="79"/>
                  </a:lnTo>
                  <a:lnTo>
                    <a:pt x="265" y="77"/>
                  </a:lnTo>
                  <a:lnTo>
                    <a:pt x="266" y="73"/>
                  </a:lnTo>
                  <a:lnTo>
                    <a:pt x="265" y="71"/>
                  </a:lnTo>
                  <a:lnTo>
                    <a:pt x="263" y="70"/>
                  </a:lnTo>
                  <a:lnTo>
                    <a:pt x="261" y="71"/>
                  </a:lnTo>
                  <a:lnTo>
                    <a:pt x="257" y="72"/>
                  </a:lnTo>
                  <a:lnTo>
                    <a:pt x="257" y="76"/>
                  </a:lnTo>
                  <a:lnTo>
                    <a:pt x="254" y="76"/>
                  </a:lnTo>
                  <a:lnTo>
                    <a:pt x="252" y="77"/>
                  </a:lnTo>
                  <a:lnTo>
                    <a:pt x="248" y="78"/>
                  </a:lnTo>
                  <a:lnTo>
                    <a:pt x="246" y="78"/>
                  </a:lnTo>
                  <a:lnTo>
                    <a:pt x="243" y="80"/>
                  </a:lnTo>
                  <a:lnTo>
                    <a:pt x="240" y="83"/>
                  </a:lnTo>
                  <a:lnTo>
                    <a:pt x="238" y="83"/>
                  </a:lnTo>
                  <a:lnTo>
                    <a:pt x="240" y="81"/>
                  </a:lnTo>
                  <a:lnTo>
                    <a:pt x="243" y="78"/>
                  </a:lnTo>
                  <a:lnTo>
                    <a:pt x="240" y="77"/>
                  </a:lnTo>
                  <a:lnTo>
                    <a:pt x="238" y="78"/>
                  </a:lnTo>
                  <a:lnTo>
                    <a:pt x="240" y="77"/>
                  </a:lnTo>
                  <a:lnTo>
                    <a:pt x="244" y="73"/>
                  </a:lnTo>
                  <a:lnTo>
                    <a:pt x="246" y="71"/>
                  </a:lnTo>
                  <a:lnTo>
                    <a:pt x="248" y="70"/>
                  </a:lnTo>
                  <a:lnTo>
                    <a:pt x="251" y="71"/>
                  </a:lnTo>
                  <a:lnTo>
                    <a:pt x="254" y="71"/>
                  </a:lnTo>
                  <a:lnTo>
                    <a:pt x="256" y="69"/>
                  </a:lnTo>
                  <a:lnTo>
                    <a:pt x="258" y="67"/>
                  </a:lnTo>
                  <a:lnTo>
                    <a:pt x="257" y="64"/>
                  </a:lnTo>
                  <a:lnTo>
                    <a:pt x="254" y="61"/>
                  </a:lnTo>
                  <a:lnTo>
                    <a:pt x="252" y="60"/>
                  </a:lnTo>
                  <a:lnTo>
                    <a:pt x="248" y="59"/>
                  </a:lnTo>
                  <a:lnTo>
                    <a:pt x="246" y="59"/>
                  </a:lnTo>
                  <a:lnTo>
                    <a:pt x="244" y="58"/>
                  </a:lnTo>
                  <a:lnTo>
                    <a:pt x="240" y="57"/>
                  </a:lnTo>
                  <a:lnTo>
                    <a:pt x="238" y="59"/>
                  </a:lnTo>
                  <a:lnTo>
                    <a:pt x="236" y="60"/>
                  </a:lnTo>
                  <a:lnTo>
                    <a:pt x="234" y="63"/>
                  </a:lnTo>
                  <a:lnTo>
                    <a:pt x="234" y="66"/>
                  </a:lnTo>
                  <a:lnTo>
                    <a:pt x="231" y="68"/>
                  </a:lnTo>
                  <a:lnTo>
                    <a:pt x="230" y="70"/>
                  </a:lnTo>
                  <a:lnTo>
                    <a:pt x="228" y="73"/>
                  </a:lnTo>
                  <a:lnTo>
                    <a:pt x="229" y="70"/>
                  </a:lnTo>
                  <a:lnTo>
                    <a:pt x="229" y="68"/>
                  </a:lnTo>
                  <a:lnTo>
                    <a:pt x="232" y="67"/>
                  </a:lnTo>
                  <a:lnTo>
                    <a:pt x="229" y="64"/>
                  </a:lnTo>
                  <a:lnTo>
                    <a:pt x="227" y="66"/>
                  </a:lnTo>
                  <a:lnTo>
                    <a:pt x="224" y="68"/>
                  </a:lnTo>
                  <a:lnTo>
                    <a:pt x="223" y="71"/>
                  </a:lnTo>
                  <a:lnTo>
                    <a:pt x="221" y="71"/>
                  </a:lnTo>
                  <a:lnTo>
                    <a:pt x="223" y="69"/>
                  </a:lnTo>
                  <a:lnTo>
                    <a:pt x="224" y="66"/>
                  </a:lnTo>
                  <a:lnTo>
                    <a:pt x="227" y="63"/>
                  </a:lnTo>
                  <a:lnTo>
                    <a:pt x="224" y="61"/>
                  </a:lnTo>
                  <a:lnTo>
                    <a:pt x="224" y="58"/>
                  </a:lnTo>
                  <a:lnTo>
                    <a:pt x="221" y="60"/>
                  </a:lnTo>
                  <a:lnTo>
                    <a:pt x="220" y="62"/>
                  </a:lnTo>
                  <a:lnTo>
                    <a:pt x="219" y="64"/>
                  </a:lnTo>
                  <a:lnTo>
                    <a:pt x="217" y="68"/>
                  </a:lnTo>
                  <a:lnTo>
                    <a:pt x="218" y="64"/>
                  </a:lnTo>
                  <a:lnTo>
                    <a:pt x="219" y="62"/>
                  </a:lnTo>
                  <a:lnTo>
                    <a:pt x="217" y="62"/>
                  </a:lnTo>
                  <a:lnTo>
                    <a:pt x="219" y="61"/>
                  </a:lnTo>
                  <a:lnTo>
                    <a:pt x="220" y="59"/>
                  </a:lnTo>
                  <a:lnTo>
                    <a:pt x="222" y="57"/>
                  </a:lnTo>
                  <a:lnTo>
                    <a:pt x="223" y="53"/>
                  </a:lnTo>
                  <a:lnTo>
                    <a:pt x="220" y="53"/>
                  </a:lnTo>
                  <a:lnTo>
                    <a:pt x="218" y="57"/>
                  </a:lnTo>
                  <a:lnTo>
                    <a:pt x="218" y="59"/>
                  </a:lnTo>
                  <a:lnTo>
                    <a:pt x="218" y="57"/>
                  </a:lnTo>
                  <a:lnTo>
                    <a:pt x="214" y="55"/>
                  </a:lnTo>
                  <a:lnTo>
                    <a:pt x="212" y="57"/>
                  </a:lnTo>
                  <a:lnTo>
                    <a:pt x="210" y="60"/>
                  </a:lnTo>
                  <a:lnTo>
                    <a:pt x="211" y="62"/>
                  </a:lnTo>
                  <a:lnTo>
                    <a:pt x="209" y="66"/>
                  </a:lnTo>
                  <a:lnTo>
                    <a:pt x="206" y="68"/>
                  </a:lnTo>
                  <a:lnTo>
                    <a:pt x="209" y="64"/>
                  </a:lnTo>
                  <a:lnTo>
                    <a:pt x="209" y="62"/>
                  </a:lnTo>
                  <a:lnTo>
                    <a:pt x="206" y="60"/>
                  </a:lnTo>
                  <a:lnTo>
                    <a:pt x="205" y="60"/>
                  </a:lnTo>
                  <a:lnTo>
                    <a:pt x="209" y="59"/>
                  </a:lnTo>
                  <a:lnTo>
                    <a:pt x="211" y="57"/>
                  </a:lnTo>
                  <a:lnTo>
                    <a:pt x="209" y="57"/>
                  </a:lnTo>
                  <a:lnTo>
                    <a:pt x="205" y="58"/>
                  </a:lnTo>
                  <a:lnTo>
                    <a:pt x="203" y="59"/>
                  </a:lnTo>
                  <a:lnTo>
                    <a:pt x="205" y="57"/>
                  </a:lnTo>
                  <a:lnTo>
                    <a:pt x="203" y="55"/>
                  </a:lnTo>
                  <a:lnTo>
                    <a:pt x="205" y="55"/>
                  </a:lnTo>
                  <a:lnTo>
                    <a:pt x="209" y="54"/>
                  </a:lnTo>
                  <a:lnTo>
                    <a:pt x="211" y="53"/>
                  </a:lnTo>
                  <a:lnTo>
                    <a:pt x="213" y="52"/>
                  </a:lnTo>
                  <a:lnTo>
                    <a:pt x="217" y="52"/>
                  </a:lnTo>
                  <a:lnTo>
                    <a:pt x="218" y="49"/>
                  </a:lnTo>
                  <a:lnTo>
                    <a:pt x="217" y="46"/>
                  </a:lnTo>
                  <a:lnTo>
                    <a:pt x="213" y="45"/>
                  </a:lnTo>
                  <a:lnTo>
                    <a:pt x="211" y="45"/>
                  </a:lnTo>
                  <a:lnTo>
                    <a:pt x="209" y="45"/>
                  </a:lnTo>
                  <a:lnTo>
                    <a:pt x="205" y="44"/>
                  </a:lnTo>
                  <a:lnTo>
                    <a:pt x="203" y="47"/>
                  </a:lnTo>
                  <a:lnTo>
                    <a:pt x="201" y="47"/>
                  </a:lnTo>
                  <a:lnTo>
                    <a:pt x="197" y="49"/>
                  </a:lnTo>
                  <a:lnTo>
                    <a:pt x="197" y="52"/>
                  </a:lnTo>
                  <a:lnTo>
                    <a:pt x="195" y="54"/>
                  </a:lnTo>
                  <a:lnTo>
                    <a:pt x="192" y="55"/>
                  </a:lnTo>
                  <a:lnTo>
                    <a:pt x="195" y="53"/>
                  </a:lnTo>
                  <a:lnTo>
                    <a:pt x="196" y="51"/>
                  </a:lnTo>
                  <a:lnTo>
                    <a:pt x="197" y="47"/>
                  </a:lnTo>
                  <a:lnTo>
                    <a:pt x="201" y="45"/>
                  </a:lnTo>
                  <a:lnTo>
                    <a:pt x="197" y="44"/>
                  </a:lnTo>
                  <a:lnTo>
                    <a:pt x="195" y="45"/>
                  </a:lnTo>
                  <a:lnTo>
                    <a:pt x="192" y="46"/>
                  </a:lnTo>
                  <a:lnTo>
                    <a:pt x="189" y="49"/>
                  </a:lnTo>
                  <a:lnTo>
                    <a:pt x="187" y="51"/>
                  </a:lnTo>
                  <a:lnTo>
                    <a:pt x="189" y="47"/>
                  </a:lnTo>
                  <a:lnTo>
                    <a:pt x="192" y="45"/>
                  </a:lnTo>
                  <a:lnTo>
                    <a:pt x="195" y="44"/>
                  </a:lnTo>
                  <a:lnTo>
                    <a:pt x="197" y="44"/>
                  </a:lnTo>
                  <a:lnTo>
                    <a:pt x="201" y="44"/>
                  </a:lnTo>
                  <a:lnTo>
                    <a:pt x="203" y="44"/>
                  </a:lnTo>
                  <a:lnTo>
                    <a:pt x="205" y="42"/>
                  </a:lnTo>
                  <a:lnTo>
                    <a:pt x="205" y="38"/>
                  </a:lnTo>
                  <a:lnTo>
                    <a:pt x="203" y="36"/>
                  </a:lnTo>
                  <a:lnTo>
                    <a:pt x="201" y="35"/>
                  </a:lnTo>
                  <a:lnTo>
                    <a:pt x="197" y="34"/>
                  </a:lnTo>
                  <a:lnTo>
                    <a:pt x="195" y="33"/>
                  </a:lnTo>
                  <a:lnTo>
                    <a:pt x="192" y="33"/>
                  </a:lnTo>
                  <a:lnTo>
                    <a:pt x="192" y="35"/>
                  </a:lnTo>
                  <a:lnTo>
                    <a:pt x="189" y="33"/>
                  </a:lnTo>
                  <a:lnTo>
                    <a:pt x="187" y="32"/>
                  </a:lnTo>
                  <a:lnTo>
                    <a:pt x="184" y="32"/>
                  </a:lnTo>
                  <a:lnTo>
                    <a:pt x="181" y="29"/>
                  </a:lnTo>
                  <a:lnTo>
                    <a:pt x="178" y="28"/>
                  </a:lnTo>
                  <a:lnTo>
                    <a:pt x="173" y="28"/>
                  </a:lnTo>
                  <a:lnTo>
                    <a:pt x="170" y="28"/>
                  </a:lnTo>
                  <a:lnTo>
                    <a:pt x="168" y="29"/>
                  </a:lnTo>
                  <a:lnTo>
                    <a:pt x="164" y="29"/>
                  </a:lnTo>
                  <a:lnTo>
                    <a:pt x="162" y="30"/>
                  </a:lnTo>
                  <a:lnTo>
                    <a:pt x="159" y="33"/>
                  </a:lnTo>
                  <a:lnTo>
                    <a:pt x="156" y="35"/>
                  </a:lnTo>
                  <a:lnTo>
                    <a:pt x="159" y="38"/>
                  </a:lnTo>
                  <a:lnTo>
                    <a:pt x="162" y="38"/>
                  </a:lnTo>
                  <a:lnTo>
                    <a:pt x="164" y="40"/>
                  </a:lnTo>
                  <a:lnTo>
                    <a:pt x="167" y="41"/>
                  </a:lnTo>
                  <a:lnTo>
                    <a:pt x="170" y="42"/>
                  </a:lnTo>
                  <a:lnTo>
                    <a:pt x="172" y="43"/>
                  </a:lnTo>
                  <a:lnTo>
                    <a:pt x="176" y="43"/>
                  </a:lnTo>
                  <a:lnTo>
                    <a:pt x="178" y="44"/>
                  </a:lnTo>
                  <a:lnTo>
                    <a:pt x="176" y="44"/>
                  </a:lnTo>
                  <a:lnTo>
                    <a:pt x="173" y="43"/>
                  </a:lnTo>
                  <a:lnTo>
                    <a:pt x="171" y="43"/>
                  </a:lnTo>
                  <a:lnTo>
                    <a:pt x="168" y="42"/>
                  </a:lnTo>
                  <a:lnTo>
                    <a:pt x="166" y="41"/>
                  </a:lnTo>
                  <a:lnTo>
                    <a:pt x="162" y="41"/>
                  </a:lnTo>
                  <a:lnTo>
                    <a:pt x="160" y="40"/>
                  </a:lnTo>
                  <a:lnTo>
                    <a:pt x="159" y="42"/>
                  </a:lnTo>
                  <a:lnTo>
                    <a:pt x="158" y="40"/>
                  </a:lnTo>
                  <a:lnTo>
                    <a:pt x="154" y="40"/>
                  </a:lnTo>
                  <a:lnTo>
                    <a:pt x="152" y="42"/>
                  </a:lnTo>
                  <a:lnTo>
                    <a:pt x="155" y="44"/>
                  </a:lnTo>
                  <a:lnTo>
                    <a:pt x="159" y="44"/>
                  </a:lnTo>
                  <a:lnTo>
                    <a:pt x="160" y="47"/>
                  </a:lnTo>
                  <a:lnTo>
                    <a:pt x="162" y="49"/>
                  </a:lnTo>
                  <a:lnTo>
                    <a:pt x="166" y="51"/>
                  </a:lnTo>
                  <a:lnTo>
                    <a:pt x="168" y="52"/>
                  </a:lnTo>
                  <a:lnTo>
                    <a:pt x="166" y="52"/>
                  </a:lnTo>
                  <a:lnTo>
                    <a:pt x="163" y="50"/>
                  </a:lnTo>
                  <a:lnTo>
                    <a:pt x="160" y="50"/>
                  </a:lnTo>
                  <a:lnTo>
                    <a:pt x="162" y="52"/>
                  </a:lnTo>
                  <a:lnTo>
                    <a:pt x="166" y="53"/>
                  </a:lnTo>
                  <a:lnTo>
                    <a:pt x="162" y="52"/>
                  </a:lnTo>
                  <a:lnTo>
                    <a:pt x="162" y="52"/>
                  </a:lnTo>
                  <a:lnTo>
                    <a:pt x="160" y="50"/>
                  </a:lnTo>
                  <a:lnTo>
                    <a:pt x="159" y="47"/>
                  </a:lnTo>
                  <a:lnTo>
                    <a:pt x="156" y="44"/>
                  </a:lnTo>
                  <a:lnTo>
                    <a:pt x="153" y="44"/>
                  </a:lnTo>
                  <a:lnTo>
                    <a:pt x="152" y="46"/>
                  </a:lnTo>
                  <a:lnTo>
                    <a:pt x="155" y="49"/>
                  </a:lnTo>
                  <a:lnTo>
                    <a:pt x="158" y="51"/>
                  </a:lnTo>
                  <a:lnTo>
                    <a:pt x="154" y="50"/>
                  </a:lnTo>
                  <a:lnTo>
                    <a:pt x="152" y="49"/>
                  </a:lnTo>
                  <a:lnTo>
                    <a:pt x="149" y="49"/>
                  </a:lnTo>
                  <a:lnTo>
                    <a:pt x="150" y="46"/>
                  </a:lnTo>
                  <a:lnTo>
                    <a:pt x="151" y="43"/>
                  </a:lnTo>
                  <a:lnTo>
                    <a:pt x="152" y="41"/>
                  </a:lnTo>
                  <a:lnTo>
                    <a:pt x="149" y="38"/>
                  </a:lnTo>
                  <a:lnTo>
                    <a:pt x="146" y="37"/>
                  </a:lnTo>
                  <a:lnTo>
                    <a:pt x="144" y="40"/>
                  </a:lnTo>
                  <a:lnTo>
                    <a:pt x="141" y="42"/>
                  </a:lnTo>
                  <a:lnTo>
                    <a:pt x="143" y="38"/>
                  </a:lnTo>
                  <a:lnTo>
                    <a:pt x="141" y="36"/>
                  </a:lnTo>
                  <a:lnTo>
                    <a:pt x="138" y="37"/>
                  </a:lnTo>
                  <a:lnTo>
                    <a:pt x="137" y="37"/>
                  </a:lnTo>
                  <a:lnTo>
                    <a:pt x="135" y="40"/>
                  </a:lnTo>
                  <a:lnTo>
                    <a:pt x="137" y="42"/>
                  </a:lnTo>
                  <a:lnTo>
                    <a:pt x="139" y="44"/>
                  </a:lnTo>
                  <a:lnTo>
                    <a:pt x="137" y="43"/>
                  </a:lnTo>
                  <a:lnTo>
                    <a:pt x="137" y="43"/>
                  </a:lnTo>
                  <a:lnTo>
                    <a:pt x="135" y="41"/>
                  </a:lnTo>
                  <a:lnTo>
                    <a:pt x="133" y="43"/>
                  </a:lnTo>
                  <a:lnTo>
                    <a:pt x="133" y="45"/>
                  </a:lnTo>
                  <a:lnTo>
                    <a:pt x="129" y="47"/>
                  </a:lnTo>
                  <a:lnTo>
                    <a:pt x="127" y="47"/>
                  </a:lnTo>
                  <a:lnTo>
                    <a:pt x="124" y="51"/>
                  </a:lnTo>
                  <a:lnTo>
                    <a:pt x="126" y="47"/>
                  </a:lnTo>
                  <a:lnTo>
                    <a:pt x="123" y="46"/>
                  </a:lnTo>
                  <a:lnTo>
                    <a:pt x="126" y="45"/>
                  </a:lnTo>
                  <a:lnTo>
                    <a:pt x="128" y="46"/>
                  </a:lnTo>
                  <a:lnTo>
                    <a:pt x="126" y="44"/>
                  </a:lnTo>
                  <a:lnTo>
                    <a:pt x="126" y="41"/>
                  </a:lnTo>
                  <a:lnTo>
                    <a:pt x="128" y="38"/>
                  </a:lnTo>
                  <a:lnTo>
                    <a:pt x="130" y="36"/>
                  </a:lnTo>
                  <a:lnTo>
                    <a:pt x="127" y="35"/>
                  </a:lnTo>
                  <a:lnTo>
                    <a:pt x="125" y="37"/>
                  </a:lnTo>
                  <a:lnTo>
                    <a:pt x="123" y="40"/>
                  </a:lnTo>
                  <a:lnTo>
                    <a:pt x="119" y="42"/>
                  </a:lnTo>
                  <a:lnTo>
                    <a:pt x="123" y="38"/>
                  </a:lnTo>
                  <a:lnTo>
                    <a:pt x="125" y="36"/>
                  </a:lnTo>
                  <a:lnTo>
                    <a:pt x="127" y="34"/>
                  </a:lnTo>
                  <a:lnTo>
                    <a:pt x="130" y="33"/>
                  </a:lnTo>
                  <a:lnTo>
                    <a:pt x="132" y="30"/>
                  </a:lnTo>
                  <a:lnTo>
                    <a:pt x="133" y="27"/>
                  </a:lnTo>
                  <a:lnTo>
                    <a:pt x="130" y="26"/>
                  </a:lnTo>
                  <a:lnTo>
                    <a:pt x="128" y="24"/>
                  </a:lnTo>
                  <a:lnTo>
                    <a:pt x="129" y="21"/>
                  </a:lnTo>
                  <a:lnTo>
                    <a:pt x="129" y="18"/>
                  </a:lnTo>
                  <a:lnTo>
                    <a:pt x="126" y="17"/>
                  </a:lnTo>
                  <a:lnTo>
                    <a:pt x="124" y="16"/>
                  </a:lnTo>
                  <a:lnTo>
                    <a:pt x="120" y="15"/>
                  </a:lnTo>
                  <a:lnTo>
                    <a:pt x="121" y="12"/>
                  </a:lnTo>
                  <a:lnTo>
                    <a:pt x="120" y="9"/>
                  </a:lnTo>
                  <a:lnTo>
                    <a:pt x="119" y="7"/>
                  </a:lnTo>
                  <a:lnTo>
                    <a:pt x="117" y="4"/>
                  </a:lnTo>
                  <a:lnTo>
                    <a:pt x="115" y="3"/>
                  </a:lnTo>
                  <a:lnTo>
                    <a:pt x="111" y="3"/>
                  </a:lnTo>
                  <a:lnTo>
                    <a:pt x="109" y="2"/>
                  </a:lnTo>
                  <a:lnTo>
                    <a:pt x="106" y="3"/>
                  </a:lnTo>
                  <a:lnTo>
                    <a:pt x="103" y="3"/>
                  </a:lnTo>
                  <a:lnTo>
                    <a:pt x="100" y="2"/>
                  </a:lnTo>
                  <a:lnTo>
                    <a:pt x="98" y="3"/>
                  </a:lnTo>
                  <a:lnTo>
                    <a:pt x="95" y="4"/>
                  </a:lnTo>
                  <a:lnTo>
                    <a:pt x="92" y="4"/>
                  </a:lnTo>
                  <a:lnTo>
                    <a:pt x="90" y="6"/>
                  </a:lnTo>
                  <a:lnTo>
                    <a:pt x="86" y="7"/>
                  </a:lnTo>
                  <a:lnTo>
                    <a:pt x="84" y="8"/>
                  </a:lnTo>
                  <a:lnTo>
                    <a:pt x="86" y="10"/>
                  </a:lnTo>
                  <a:lnTo>
                    <a:pt x="87" y="12"/>
                  </a:lnTo>
                  <a:lnTo>
                    <a:pt x="84" y="10"/>
                  </a:lnTo>
                  <a:lnTo>
                    <a:pt x="82" y="10"/>
                  </a:lnTo>
                  <a:lnTo>
                    <a:pt x="78" y="10"/>
                  </a:lnTo>
                  <a:lnTo>
                    <a:pt x="76" y="10"/>
                  </a:lnTo>
                  <a:lnTo>
                    <a:pt x="74" y="13"/>
                  </a:lnTo>
                  <a:lnTo>
                    <a:pt x="77" y="16"/>
                  </a:lnTo>
                  <a:lnTo>
                    <a:pt x="74" y="15"/>
                  </a:lnTo>
                  <a:lnTo>
                    <a:pt x="72" y="11"/>
                  </a:lnTo>
                  <a:lnTo>
                    <a:pt x="68" y="12"/>
                  </a:lnTo>
                  <a:lnTo>
                    <a:pt x="66" y="16"/>
                  </a:lnTo>
                  <a:lnTo>
                    <a:pt x="69" y="17"/>
                  </a:lnTo>
                  <a:lnTo>
                    <a:pt x="72" y="18"/>
                  </a:lnTo>
                  <a:lnTo>
                    <a:pt x="75" y="19"/>
                  </a:lnTo>
                  <a:lnTo>
                    <a:pt x="77" y="19"/>
                  </a:lnTo>
                  <a:lnTo>
                    <a:pt x="81" y="20"/>
                  </a:lnTo>
                  <a:lnTo>
                    <a:pt x="83" y="20"/>
                  </a:lnTo>
                  <a:lnTo>
                    <a:pt x="86" y="21"/>
                  </a:lnTo>
                  <a:lnTo>
                    <a:pt x="83" y="21"/>
                  </a:lnTo>
                  <a:lnTo>
                    <a:pt x="79" y="21"/>
                  </a:lnTo>
                  <a:lnTo>
                    <a:pt x="77" y="20"/>
                  </a:lnTo>
                  <a:lnTo>
                    <a:pt x="74" y="20"/>
                  </a:lnTo>
                  <a:lnTo>
                    <a:pt x="72" y="19"/>
                  </a:lnTo>
                  <a:lnTo>
                    <a:pt x="69" y="19"/>
                  </a:lnTo>
                  <a:lnTo>
                    <a:pt x="66" y="18"/>
                  </a:lnTo>
                  <a:lnTo>
                    <a:pt x="64" y="18"/>
                  </a:lnTo>
                  <a:lnTo>
                    <a:pt x="61" y="21"/>
                  </a:lnTo>
                  <a:lnTo>
                    <a:pt x="65" y="21"/>
                  </a:lnTo>
                  <a:lnTo>
                    <a:pt x="67" y="21"/>
                  </a:lnTo>
                  <a:lnTo>
                    <a:pt x="69" y="23"/>
                  </a:lnTo>
                  <a:lnTo>
                    <a:pt x="73" y="25"/>
                  </a:lnTo>
                  <a:lnTo>
                    <a:pt x="75" y="25"/>
                  </a:lnTo>
                  <a:lnTo>
                    <a:pt x="78" y="26"/>
                  </a:lnTo>
                  <a:lnTo>
                    <a:pt x="81" y="27"/>
                  </a:lnTo>
                  <a:lnTo>
                    <a:pt x="78" y="27"/>
                  </a:lnTo>
                  <a:lnTo>
                    <a:pt x="75" y="26"/>
                  </a:lnTo>
                  <a:lnTo>
                    <a:pt x="73" y="25"/>
                  </a:lnTo>
                  <a:lnTo>
                    <a:pt x="69" y="25"/>
                  </a:lnTo>
                  <a:lnTo>
                    <a:pt x="67" y="24"/>
                  </a:lnTo>
                  <a:lnTo>
                    <a:pt x="65" y="23"/>
                  </a:lnTo>
                  <a:lnTo>
                    <a:pt x="61" y="23"/>
                  </a:lnTo>
                  <a:lnTo>
                    <a:pt x="60" y="25"/>
                  </a:lnTo>
                  <a:lnTo>
                    <a:pt x="59" y="28"/>
                  </a:lnTo>
                  <a:lnTo>
                    <a:pt x="59" y="30"/>
                  </a:lnTo>
                  <a:lnTo>
                    <a:pt x="61" y="33"/>
                  </a:lnTo>
                  <a:lnTo>
                    <a:pt x="61" y="35"/>
                  </a:lnTo>
                  <a:lnTo>
                    <a:pt x="64" y="37"/>
                  </a:lnTo>
                  <a:lnTo>
                    <a:pt x="67" y="37"/>
                  </a:lnTo>
                  <a:lnTo>
                    <a:pt x="69" y="37"/>
                  </a:lnTo>
                  <a:lnTo>
                    <a:pt x="73" y="38"/>
                  </a:lnTo>
                  <a:lnTo>
                    <a:pt x="75" y="38"/>
                  </a:lnTo>
                  <a:lnTo>
                    <a:pt x="73" y="38"/>
                  </a:lnTo>
                  <a:lnTo>
                    <a:pt x="69" y="40"/>
                  </a:lnTo>
                  <a:lnTo>
                    <a:pt x="73" y="42"/>
                  </a:lnTo>
                  <a:lnTo>
                    <a:pt x="75" y="44"/>
                  </a:lnTo>
                  <a:lnTo>
                    <a:pt x="78" y="46"/>
                  </a:lnTo>
                  <a:lnTo>
                    <a:pt x="79" y="49"/>
                  </a:lnTo>
                  <a:lnTo>
                    <a:pt x="77" y="46"/>
                  </a:lnTo>
                  <a:lnTo>
                    <a:pt x="74" y="44"/>
                  </a:lnTo>
                  <a:lnTo>
                    <a:pt x="72" y="43"/>
                  </a:lnTo>
                  <a:lnTo>
                    <a:pt x="69" y="42"/>
                  </a:lnTo>
                  <a:lnTo>
                    <a:pt x="66" y="41"/>
                  </a:lnTo>
                  <a:lnTo>
                    <a:pt x="64" y="41"/>
                  </a:lnTo>
                  <a:lnTo>
                    <a:pt x="62" y="44"/>
                  </a:lnTo>
                  <a:lnTo>
                    <a:pt x="60" y="46"/>
                  </a:lnTo>
                  <a:lnTo>
                    <a:pt x="58" y="47"/>
                  </a:lnTo>
                  <a:lnTo>
                    <a:pt x="55" y="47"/>
                  </a:lnTo>
                  <a:lnTo>
                    <a:pt x="58" y="49"/>
                  </a:lnTo>
                  <a:lnTo>
                    <a:pt x="60" y="50"/>
                  </a:lnTo>
                  <a:lnTo>
                    <a:pt x="62" y="53"/>
                  </a:lnTo>
                  <a:lnTo>
                    <a:pt x="64" y="55"/>
                  </a:lnTo>
                  <a:lnTo>
                    <a:pt x="67" y="57"/>
                  </a:lnTo>
                  <a:lnTo>
                    <a:pt x="69" y="57"/>
                  </a:lnTo>
                  <a:lnTo>
                    <a:pt x="73" y="57"/>
                  </a:lnTo>
                  <a:lnTo>
                    <a:pt x="74" y="59"/>
                  </a:lnTo>
                  <a:lnTo>
                    <a:pt x="75" y="61"/>
                  </a:lnTo>
                  <a:lnTo>
                    <a:pt x="73" y="62"/>
                  </a:lnTo>
                  <a:lnTo>
                    <a:pt x="72" y="66"/>
                  </a:lnTo>
                  <a:lnTo>
                    <a:pt x="73" y="68"/>
                  </a:lnTo>
                  <a:lnTo>
                    <a:pt x="72" y="70"/>
                  </a:lnTo>
                  <a:lnTo>
                    <a:pt x="72" y="73"/>
                  </a:lnTo>
                  <a:lnTo>
                    <a:pt x="69" y="75"/>
                  </a:lnTo>
                  <a:lnTo>
                    <a:pt x="69" y="72"/>
                  </a:lnTo>
                  <a:lnTo>
                    <a:pt x="67" y="70"/>
                  </a:lnTo>
                  <a:lnTo>
                    <a:pt x="68" y="69"/>
                  </a:lnTo>
                  <a:lnTo>
                    <a:pt x="66" y="69"/>
                  </a:lnTo>
                  <a:lnTo>
                    <a:pt x="62" y="69"/>
                  </a:lnTo>
                  <a:lnTo>
                    <a:pt x="60" y="69"/>
                  </a:lnTo>
                  <a:lnTo>
                    <a:pt x="57" y="70"/>
                  </a:lnTo>
                  <a:lnTo>
                    <a:pt x="55" y="71"/>
                  </a:lnTo>
                  <a:lnTo>
                    <a:pt x="51" y="72"/>
                  </a:lnTo>
                  <a:lnTo>
                    <a:pt x="49" y="73"/>
                  </a:lnTo>
                  <a:lnTo>
                    <a:pt x="45" y="72"/>
                  </a:lnTo>
                  <a:lnTo>
                    <a:pt x="49" y="72"/>
                  </a:lnTo>
                  <a:lnTo>
                    <a:pt x="51" y="71"/>
                  </a:lnTo>
                  <a:lnTo>
                    <a:pt x="55" y="69"/>
                  </a:lnTo>
                  <a:lnTo>
                    <a:pt x="57" y="68"/>
                  </a:lnTo>
                  <a:lnTo>
                    <a:pt x="60" y="68"/>
                  </a:lnTo>
                  <a:lnTo>
                    <a:pt x="62" y="67"/>
                  </a:lnTo>
                  <a:lnTo>
                    <a:pt x="65" y="66"/>
                  </a:lnTo>
                  <a:lnTo>
                    <a:pt x="68" y="66"/>
                  </a:lnTo>
                  <a:lnTo>
                    <a:pt x="70" y="64"/>
                  </a:lnTo>
                  <a:lnTo>
                    <a:pt x="68" y="62"/>
                  </a:lnTo>
                  <a:lnTo>
                    <a:pt x="66" y="62"/>
                  </a:lnTo>
                  <a:lnTo>
                    <a:pt x="64" y="61"/>
                  </a:lnTo>
                  <a:lnTo>
                    <a:pt x="60" y="59"/>
                  </a:lnTo>
                  <a:lnTo>
                    <a:pt x="58" y="57"/>
                  </a:lnTo>
                  <a:lnTo>
                    <a:pt x="56" y="54"/>
                  </a:lnTo>
                  <a:lnTo>
                    <a:pt x="52" y="52"/>
                  </a:lnTo>
                  <a:lnTo>
                    <a:pt x="50" y="49"/>
                  </a:lnTo>
                  <a:lnTo>
                    <a:pt x="49" y="46"/>
                  </a:lnTo>
                  <a:lnTo>
                    <a:pt x="49" y="41"/>
                  </a:lnTo>
                  <a:lnTo>
                    <a:pt x="51" y="38"/>
                  </a:lnTo>
                  <a:lnTo>
                    <a:pt x="51" y="35"/>
                  </a:lnTo>
                  <a:lnTo>
                    <a:pt x="48" y="33"/>
                  </a:lnTo>
                  <a:lnTo>
                    <a:pt x="45" y="30"/>
                  </a:lnTo>
                  <a:lnTo>
                    <a:pt x="45" y="28"/>
                  </a:lnTo>
                  <a:lnTo>
                    <a:pt x="47" y="25"/>
                  </a:lnTo>
                  <a:lnTo>
                    <a:pt x="49" y="23"/>
                  </a:lnTo>
                  <a:lnTo>
                    <a:pt x="51" y="20"/>
                  </a:lnTo>
                  <a:lnTo>
                    <a:pt x="52" y="17"/>
                  </a:lnTo>
                  <a:lnTo>
                    <a:pt x="55" y="15"/>
                  </a:lnTo>
                  <a:lnTo>
                    <a:pt x="57" y="11"/>
                  </a:lnTo>
                  <a:lnTo>
                    <a:pt x="62" y="8"/>
                  </a:lnTo>
                  <a:lnTo>
                    <a:pt x="66" y="7"/>
                  </a:lnTo>
                  <a:lnTo>
                    <a:pt x="68" y="4"/>
                  </a:lnTo>
                  <a:lnTo>
                    <a:pt x="70" y="2"/>
                  </a:lnTo>
                  <a:lnTo>
                    <a:pt x="68" y="1"/>
                  </a:lnTo>
                  <a:lnTo>
                    <a:pt x="66" y="0"/>
                  </a:lnTo>
                  <a:lnTo>
                    <a:pt x="62" y="0"/>
                  </a:lnTo>
                  <a:lnTo>
                    <a:pt x="57" y="0"/>
                  </a:lnTo>
                  <a:lnTo>
                    <a:pt x="53" y="0"/>
                  </a:lnTo>
                  <a:lnTo>
                    <a:pt x="51" y="0"/>
                  </a:lnTo>
                  <a:lnTo>
                    <a:pt x="48" y="0"/>
                  </a:lnTo>
                  <a:lnTo>
                    <a:pt x="45" y="0"/>
                  </a:lnTo>
                  <a:lnTo>
                    <a:pt x="40" y="1"/>
                  </a:lnTo>
                  <a:lnTo>
                    <a:pt x="38" y="1"/>
                  </a:lnTo>
                  <a:lnTo>
                    <a:pt x="34" y="2"/>
                  </a:lnTo>
                  <a:lnTo>
                    <a:pt x="32" y="3"/>
                  </a:lnTo>
                  <a:lnTo>
                    <a:pt x="28" y="4"/>
                  </a:lnTo>
                  <a:lnTo>
                    <a:pt x="26" y="6"/>
                  </a:lnTo>
                  <a:lnTo>
                    <a:pt x="23" y="8"/>
                  </a:lnTo>
                  <a:lnTo>
                    <a:pt x="21" y="10"/>
                  </a:lnTo>
                  <a:lnTo>
                    <a:pt x="17" y="11"/>
                  </a:lnTo>
                  <a:lnTo>
                    <a:pt x="17" y="15"/>
                  </a:lnTo>
                  <a:lnTo>
                    <a:pt x="15" y="17"/>
                  </a:lnTo>
                  <a:lnTo>
                    <a:pt x="11" y="17"/>
                  </a:lnTo>
                  <a:lnTo>
                    <a:pt x="10" y="20"/>
                  </a:lnTo>
                  <a:lnTo>
                    <a:pt x="9" y="23"/>
                  </a:lnTo>
                  <a:lnTo>
                    <a:pt x="9" y="26"/>
                  </a:lnTo>
                  <a:lnTo>
                    <a:pt x="9" y="28"/>
                  </a:lnTo>
                  <a:lnTo>
                    <a:pt x="6" y="29"/>
                  </a:lnTo>
                  <a:lnTo>
                    <a:pt x="6" y="32"/>
                  </a:lnTo>
                  <a:lnTo>
                    <a:pt x="4" y="33"/>
                  </a:lnTo>
                  <a:lnTo>
                    <a:pt x="4" y="35"/>
                  </a:lnTo>
                  <a:lnTo>
                    <a:pt x="1" y="38"/>
                  </a:lnTo>
                  <a:lnTo>
                    <a:pt x="1" y="41"/>
                  </a:lnTo>
                  <a:lnTo>
                    <a:pt x="2" y="44"/>
                  </a:lnTo>
                  <a:lnTo>
                    <a:pt x="6" y="44"/>
                  </a:lnTo>
                  <a:lnTo>
                    <a:pt x="4" y="45"/>
                  </a:lnTo>
                  <a:lnTo>
                    <a:pt x="0" y="46"/>
                  </a:lnTo>
                  <a:lnTo>
                    <a:pt x="0" y="51"/>
                  </a:lnTo>
                  <a:lnTo>
                    <a:pt x="2" y="54"/>
                  </a:lnTo>
                  <a:lnTo>
                    <a:pt x="0" y="57"/>
                  </a:lnTo>
                  <a:lnTo>
                    <a:pt x="0" y="57"/>
                  </a:lnTo>
                  <a:lnTo>
                    <a:pt x="0" y="61"/>
                  </a:lnTo>
                  <a:lnTo>
                    <a:pt x="0" y="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16" name="Freeform 216">
              <a:extLst>
                <a:ext uri="{FF2B5EF4-FFF2-40B4-BE49-F238E27FC236}">
                  <a16:creationId xmlns:a16="http://schemas.microsoft.com/office/drawing/2014/main" id="{35A96843-D6B8-4483-9589-84800230C52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90938" y="2228850"/>
              <a:ext cx="128587" cy="311150"/>
            </a:xfrm>
            <a:custGeom>
              <a:avLst/>
              <a:gdLst>
                <a:gd name="T0" fmla="*/ 55 w 81"/>
                <a:gd name="T1" fmla="*/ 196 h 196"/>
                <a:gd name="T2" fmla="*/ 55 w 81"/>
                <a:gd name="T3" fmla="*/ 194 h 196"/>
                <a:gd name="T4" fmla="*/ 35 w 81"/>
                <a:gd name="T5" fmla="*/ 30 h 196"/>
                <a:gd name="T6" fmla="*/ 41 w 81"/>
                <a:gd name="T7" fmla="*/ 29 h 196"/>
                <a:gd name="T8" fmla="*/ 48 w 81"/>
                <a:gd name="T9" fmla="*/ 28 h 196"/>
                <a:gd name="T10" fmla="*/ 54 w 81"/>
                <a:gd name="T11" fmla="*/ 26 h 196"/>
                <a:gd name="T12" fmla="*/ 58 w 81"/>
                <a:gd name="T13" fmla="*/ 25 h 196"/>
                <a:gd name="T14" fmla="*/ 57 w 81"/>
                <a:gd name="T15" fmla="*/ 20 h 196"/>
                <a:gd name="T16" fmla="*/ 57 w 81"/>
                <a:gd name="T17" fmla="*/ 16 h 196"/>
                <a:gd name="T18" fmla="*/ 59 w 81"/>
                <a:gd name="T19" fmla="*/ 13 h 196"/>
                <a:gd name="T20" fmla="*/ 54 w 81"/>
                <a:gd name="T21" fmla="*/ 11 h 196"/>
                <a:gd name="T22" fmla="*/ 48 w 81"/>
                <a:gd name="T23" fmla="*/ 11 h 196"/>
                <a:gd name="T24" fmla="*/ 42 w 81"/>
                <a:gd name="T25" fmla="*/ 9 h 196"/>
                <a:gd name="T26" fmla="*/ 40 w 81"/>
                <a:gd name="T27" fmla="*/ 6 h 196"/>
                <a:gd name="T28" fmla="*/ 34 w 81"/>
                <a:gd name="T29" fmla="*/ 5 h 196"/>
                <a:gd name="T30" fmla="*/ 29 w 81"/>
                <a:gd name="T31" fmla="*/ 3 h 196"/>
                <a:gd name="T32" fmla="*/ 23 w 81"/>
                <a:gd name="T33" fmla="*/ 1 h 196"/>
                <a:gd name="T34" fmla="*/ 17 w 81"/>
                <a:gd name="T35" fmla="*/ 0 h 196"/>
                <a:gd name="T36" fmla="*/ 13 w 81"/>
                <a:gd name="T37" fmla="*/ 4 h 196"/>
                <a:gd name="T38" fmla="*/ 17 w 81"/>
                <a:gd name="T39" fmla="*/ 8 h 196"/>
                <a:gd name="T40" fmla="*/ 13 w 81"/>
                <a:gd name="T41" fmla="*/ 12 h 196"/>
                <a:gd name="T42" fmla="*/ 16 w 81"/>
                <a:gd name="T43" fmla="*/ 16 h 196"/>
                <a:gd name="T44" fmla="*/ 22 w 81"/>
                <a:gd name="T45" fmla="*/ 18 h 196"/>
                <a:gd name="T46" fmla="*/ 27 w 81"/>
                <a:gd name="T47" fmla="*/ 20 h 196"/>
                <a:gd name="T48" fmla="*/ 33 w 81"/>
                <a:gd name="T49" fmla="*/ 22 h 196"/>
                <a:gd name="T50" fmla="*/ 27 w 81"/>
                <a:gd name="T51" fmla="*/ 23 h 196"/>
                <a:gd name="T52" fmla="*/ 22 w 81"/>
                <a:gd name="T53" fmla="*/ 24 h 196"/>
                <a:gd name="T54" fmla="*/ 27 w 81"/>
                <a:gd name="T55" fmla="*/ 26 h 196"/>
                <a:gd name="T56" fmla="*/ 30 w 81"/>
                <a:gd name="T57" fmla="*/ 30 h 196"/>
                <a:gd name="T58" fmla="*/ 33 w 81"/>
                <a:gd name="T59" fmla="*/ 31 h 196"/>
                <a:gd name="T60" fmla="*/ 57 w 81"/>
                <a:gd name="T61" fmla="*/ 93 h 196"/>
                <a:gd name="T62" fmla="*/ 52 w 81"/>
                <a:gd name="T63" fmla="*/ 94 h 196"/>
                <a:gd name="T64" fmla="*/ 49 w 81"/>
                <a:gd name="T65" fmla="*/ 99 h 196"/>
                <a:gd name="T66" fmla="*/ 44 w 81"/>
                <a:gd name="T67" fmla="*/ 99 h 196"/>
                <a:gd name="T68" fmla="*/ 44 w 81"/>
                <a:gd name="T69" fmla="*/ 102 h 196"/>
                <a:gd name="T70" fmla="*/ 39 w 81"/>
                <a:gd name="T71" fmla="*/ 106 h 196"/>
                <a:gd name="T72" fmla="*/ 40 w 81"/>
                <a:gd name="T73" fmla="*/ 110 h 196"/>
                <a:gd name="T74" fmla="*/ 43 w 81"/>
                <a:gd name="T75" fmla="*/ 110 h 196"/>
                <a:gd name="T76" fmla="*/ 47 w 81"/>
                <a:gd name="T77" fmla="*/ 115 h 196"/>
                <a:gd name="T78" fmla="*/ 52 w 81"/>
                <a:gd name="T79" fmla="*/ 117 h 196"/>
                <a:gd name="T80" fmla="*/ 58 w 81"/>
                <a:gd name="T81" fmla="*/ 117 h 196"/>
                <a:gd name="T82" fmla="*/ 64 w 81"/>
                <a:gd name="T83" fmla="*/ 120 h 196"/>
                <a:gd name="T84" fmla="*/ 68 w 81"/>
                <a:gd name="T85" fmla="*/ 120 h 196"/>
                <a:gd name="T86" fmla="*/ 75 w 81"/>
                <a:gd name="T87" fmla="*/ 120 h 196"/>
                <a:gd name="T88" fmla="*/ 80 w 81"/>
                <a:gd name="T89" fmla="*/ 117 h 196"/>
                <a:gd name="T90" fmla="*/ 80 w 81"/>
                <a:gd name="T91" fmla="*/ 111 h 196"/>
                <a:gd name="T92" fmla="*/ 80 w 81"/>
                <a:gd name="T93" fmla="*/ 107 h 196"/>
                <a:gd name="T94" fmla="*/ 76 w 81"/>
                <a:gd name="T95" fmla="*/ 102 h 196"/>
                <a:gd name="T96" fmla="*/ 72 w 81"/>
                <a:gd name="T97" fmla="*/ 97 h 196"/>
                <a:gd name="T98" fmla="*/ 66 w 81"/>
                <a:gd name="T99" fmla="*/ 93 h 196"/>
                <a:gd name="T100" fmla="*/ 60 w 81"/>
                <a:gd name="T101" fmla="*/ 93 h 196"/>
                <a:gd name="T102" fmla="*/ 23 w 81"/>
                <a:gd name="T103" fmla="*/ 135 h 196"/>
                <a:gd name="T104" fmla="*/ 17 w 81"/>
                <a:gd name="T105" fmla="*/ 135 h 196"/>
                <a:gd name="T106" fmla="*/ 10 w 81"/>
                <a:gd name="T107" fmla="*/ 136 h 196"/>
                <a:gd name="T108" fmla="*/ 5 w 81"/>
                <a:gd name="T109" fmla="*/ 137 h 196"/>
                <a:gd name="T110" fmla="*/ 0 w 81"/>
                <a:gd name="T111" fmla="*/ 138 h 196"/>
                <a:gd name="T112" fmla="*/ 5 w 81"/>
                <a:gd name="T113" fmla="*/ 142 h 196"/>
                <a:gd name="T114" fmla="*/ 5 w 81"/>
                <a:gd name="T115" fmla="*/ 142 h 196"/>
                <a:gd name="T116" fmla="*/ 10 w 81"/>
                <a:gd name="T117" fmla="*/ 142 h 196"/>
                <a:gd name="T118" fmla="*/ 16 w 81"/>
                <a:gd name="T119" fmla="*/ 141 h 196"/>
                <a:gd name="T120" fmla="*/ 22 w 81"/>
                <a:gd name="T121" fmla="*/ 137 h 196"/>
                <a:gd name="T122" fmla="*/ 23 w 81"/>
                <a:gd name="T123" fmla="*/ 135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81" h="196">
                  <a:moveTo>
                    <a:pt x="55" y="194"/>
                  </a:moveTo>
                  <a:lnTo>
                    <a:pt x="55" y="196"/>
                  </a:lnTo>
                  <a:lnTo>
                    <a:pt x="55" y="194"/>
                  </a:lnTo>
                  <a:lnTo>
                    <a:pt x="55" y="194"/>
                  </a:lnTo>
                  <a:close/>
                  <a:moveTo>
                    <a:pt x="33" y="31"/>
                  </a:moveTo>
                  <a:lnTo>
                    <a:pt x="35" y="30"/>
                  </a:lnTo>
                  <a:lnTo>
                    <a:pt x="39" y="28"/>
                  </a:lnTo>
                  <a:lnTo>
                    <a:pt x="41" y="29"/>
                  </a:lnTo>
                  <a:lnTo>
                    <a:pt x="44" y="29"/>
                  </a:lnTo>
                  <a:lnTo>
                    <a:pt x="48" y="28"/>
                  </a:lnTo>
                  <a:lnTo>
                    <a:pt x="50" y="28"/>
                  </a:lnTo>
                  <a:lnTo>
                    <a:pt x="54" y="26"/>
                  </a:lnTo>
                  <a:lnTo>
                    <a:pt x="56" y="26"/>
                  </a:lnTo>
                  <a:lnTo>
                    <a:pt x="58" y="25"/>
                  </a:lnTo>
                  <a:lnTo>
                    <a:pt x="59" y="23"/>
                  </a:lnTo>
                  <a:lnTo>
                    <a:pt x="57" y="20"/>
                  </a:lnTo>
                  <a:lnTo>
                    <a:pt x="55" y="18"/>
                  </a:lnTo>
                  <a:lnTo>
                    <a:pt x="57" y="16"/>
                  </a:lnTo>
                  <a:lnTo>
                    <a:pt x="60" y="15"/>
                  </a:lnTo>
                  <a:lnTo>
                    <a:pt x="59" y="13"/>
                  </a:lnTo>
                  <a:lnTo>
                    <a:pt x="56" y="12"/>
                  </a:lnTo>
                  <a:lnTo>
                    <a:pt x="54" y="11"/>
                  </a:lnTo>
                  <a:lnTo>
                    <a:pt x="50" y="9"/>
                  </a:lnTo>
                  <a:lnTo>
                    <a:pt x="48" y="11"/>
                  </a:lnTo>
                  <a:lnTo>
                    <a:pt x="44" y="11"/>
                  </a:lnTo>
                  <a:lnTo>
                    <a:pt x="42" y="9"/>
                  </a:lnTo>
                  <a:lnTo>
                    <a:pt x="43" y="7"/>
                  </a:lnTo>
                  <a:lnTo>
                    <a:pt x="40" y="6"/>
                  </a:lnTo>
                  <a:lnTo>
                    <a:pt x="38" y="5"/>
                  </a:lnTo>
                  <a:lnTo>
                    <a:pt x="34" y="5"/>
                  </a:lnTo>
                  <a:lnTo>
                    <a:pt x="32" y="3"/>
                  </a:lnTo>
                  <a:lnTo>
                    <a:pt x="29" y="3"/>
                  </a:lnTo>
                  <a:lnTo>
                    <a:pt x="26" y="1"/>
                  </a:lnTo>
                  <a:lnTo>
                    <a:pt x="23" y="1"/>
                  </a:lnTo>
                  <a:lnTo>
                    <a:pt x="21" y="0"/>
                  </a:lnTo>
                  <a:lnTo>
                    <a:pt x="17" y="0"/>
                  </a:lnTo>
                  <a:lnTo>
                    <a:pt x="15" y="1"/>
                  </a:lnTo>
                  <a:lnTo>
                    <a:pt x="13" y="4"/>
                  </a:lnTo>
                  <a:lnTo>
                    <a:pt x="14" y="6"/>
                  </a:lnTo>
                  <a:lnTo>
                    <a:pt x="17" y="8"/>
                  </a:lnTo>
                  <a:lnTo>
                    <a:pt x="14" y="9"/>
                  </a:lnTo>
                  <a:lnTo>
                    <a:pt x="13" y="12"/>
                  </a:lnTo>
                  <a:lnTo>
                    <a:pt x="15" y="13"/>
                  </a:lnTo>
                  <a:lnTo>
                    <a:pt x="16" y="16"/>
                  </a:lnTo>
                  <a:lnTo>
                    <a:pt x="20" y="16"/>
                  </a:lnTo>
                  <a:lnTo>
                    <a:pt x="22" y="18"/>
                  </a:lnTo>
                  <a:lnTo>
                    <a:pt x="25" y="18"/>
                  </a:lnTo>
                  <a:lnTo>
                    <a:pt x="27" y="20"/>
                  </a:lnTo>
                  <a:lnTo>
                    <a:pt x="31" y="21"/>
                  </a:lnTo>
                  <a:lnTo>
                    <a:pt x="33" y="22"/>
                  </a:lnTo>
                  <a:lnTo>
                    <a:pt x="31" y="23"/>
                  </a:lnTo>
                  <a:lnTo>
                    <a:pt x="27" y="23"/>
                  </a:lnTo>
                  <a:lnTo>
                    <a:pt x="24" y="23"/>
                  </a:lnTo>
                  <a:lnTo>
                    <a:pt x="22" y="24"/>
                  </a:lnTo>
                  <a:lnTo>
                    <a:pt x="24" y="25"/>
                  </a:lnTo>
                  <a:lnTo>
                    <a:pt x="27" y="26"/>
                  </a:lnTo>
                  <a:lnTo>
                    <a:pt x="30" y="28"/>
                  </a:lnTo>
                  <a:lnTo>
                    <a:pt x="30" y="30"/>
                  </a:lnTo>
                  <a:lnTo>
                    <a:pt x="33" y="31"/>
                  </a:lnTo>
                  <a:lnTo>
                    <a:pt x="33" y="31"/>
                  </a:lnTo>
                  <a:close/>
                  <a:moveTo>
                    <a:pt x="60" y="93"/>
                  </a:moveTo>
                  <a:lnTo>
                    <a:pt x="57" y="93"/>
                  </a:lnTo>
                  <a:lnTo>
                    <a:pt x="55" y="94"/>
                  </a:lnTo>
                  <a:lnTo>
                    <a:pt x="52" y="94"/>
                  </a:lnTo>
                  <a:lnTo>
                    <a:pt x="49" y="95"/>
                  </a:lnTo>
                  <a:lnTo>
                    <a:pt x="49" y="99"/>
                  </a:lnTo>
                  <a:lnTo>
                    <a:pt x="47" y="99"/>
                  </a:lnTo>
                  <a:lnTo>
                    <a:pt x="44" y="99"/>
                  </a:lnTo>
                  <a:lnTo>
                    <a:pt x="47" y="100"/>
                  </a:lnTo>
                  <a:lnTo>
                    <a:pt x="44" y="102"/>
                  </a:lnTo>
                  <a:lnTo>
                    <a:pt x="41" y="103"/>
                  </a:lnTo>
                  <a:lnTo>
                    <a:pt x="39" y="106"/>
                  </a:lnTo>
                  <a:lnTo>
                    <a:pt x="37" y="109"/>
                  </a:lnTo>
                  <a:lnTo>
                    <a:pt x="40" y="110"/>
                  </a:lnTo>
                  <a:lnTo>
                    <a:pt x="41" y="112"/>
                  </a:lnTo>
                  <a:lnTo>
                    <a:pt x="43" y="110"/>
                  </a:lnTo>
                  <a:lnTo>
                    <a:pt x="44" y="112"/>
                  </a:lnTo>
                  <a:lnTo>
                    <a:pt x="47" y="115"/>
                  </a:lnTo>
                  <a:lnTo>
                    <a:pt x="49" y="116"/>
                  </a:lnTo>
                  <a:lnTo>
                    <a:pt x="52" y="117"/>
                  </a:lnTo>
                  <a:lnTo>
                    <a:pt x="55" y="116"/>
                  </a:lnTo>
                  <a:lnTo>
                    <a:pt x="58" y="117"/>
                  </a:lnTo>
                  <a:lnTo>
                    <a:pt x="60" y="119"/>
                  </a:lnTo>
                  <a:lnTo>
                    <a:pt x="64" y="120"/>
                  </a:lnTo>
                  <a:lnTo>
                    <a:pt x="66" y="120"/>
                  </a:lnTo>
                  <a:lnTo>
                    <a:pt x="68" y="120"/>
                  </a:lnTo>
                  <a:lnTo>
                    <a:pt x="72" y="120"/>
                  </a:lnTo>
                  <a:lnTo>
                    <a:pt x="75" y="120"/>
                  </a:lnTo>
                  <a:lnTo>
                    <a:pt x="77" y="120"/>
                  </a:lnTo>
                  <a:lnTo>
                    <a:pt x="80" y="117"/>
                  </a:lnTo>
                  <a:lnTo>
                    <a:pt x="81" y="115"/>
                  </a:lnTo>
                  <a:lnTo>
                    <a:pt x="80" y="111"/>
                  </a:lnTo>
                  <a:lnTo>
                    <a:pt x="77" y="109"/>
                  </a:lnTo>
                  <a:lnTo>
                    <a:pt x="80" y="107"/>
                  </a:lnTo>
                  <a:lnTo>
                    <a:pt x="80" y="103"/>
                  </a:lnTo>
                  <a:lnTo>
                    <a:pt x="76" y="102"/>
                  </a:lnTo>
                  <a:lnTo>
                    <a:pt x="74" y="99"/>
                  </a:lnTo>
                  <a:lnTo>
                    <a:pt x="72" y="97"/>
                  </a:lnTo>
                  <a:lnTo>
                    <a:pt x="68" y="94"/>
                  </a:lnTo>
                  <a:lnTo>
                    <a:pt x="66" y="93"/>
                  </a:lnTo>
                  <a:lnTo>
                    <a:pt x="63" y="93"/>
                  </a:lnTo>
                  <a:lnTo>
                    <a:pt x="60" y="93"/>
                  </a:lnTo>
                  <a:lnTo>
                    <a:pt x="60" y="93"/>
                  </a:lnTo>
                  <a:close/>
                  <a:moveTo>
                    <a:pt x="23" y="135"/>
                  </a:moveTo>
                  <a:lnTo>
                    <a:pt x="20" y="134"/>
                  </a:lnTo>
                  <a:lnTo>
                    <a:pt x="17" y="135"/>
                  </a:lnTo>
                  <a:lnTo>
                    <a:pt x="14" y="135"/>
                  </a:lnTo>
                  <a:lnTo>
                    <a:pt x="10" y="136"/>
                  </a:lnTo>
                  <a:lnTo>
                    <a:pt x="8" y="136"/>
                  </a:lnTo>
                  <a:lnTo>
                    <a:pt x="5" y="137"/>
                  </a:lnTo>
                  <a:lnTo>
                    <a:pt x="3" y="138"/>
                  </a:lnTo>
                  <a:lnTo>
                    <a:pt x="0" y="138"/>
                  </a:lnTo>
                  <a:lnTo>
                    <a:pt x="3" y="142"/>
                  </a:lnTo>
                  <a:lnTo>
                    <a:pt x="5" y="142"/>
                  </a:lnTo>
                  <a:lnTo>
                    <a:pt x="3" y="142"/>
                  </a:lnTo>
                  <a:lnTo>
                    <a:pt x="5" y="142"/>
                  </a:lnTo>
                  <a:lnTo>
                    <a:pt x="8" y="142"/>
                  </a:lnTo>
                  <a:lnTo>
                    <a:pt x="10" y="142"/>
                  </a:lnTo>
                  <a:lnTo>
                    <a:pt x="14" y="141"/>
                  </a:lnTo>
                  <a:lnTo>
                    <a:pt x="16" y="141"/>
                  </a:lnTo>
                  <a:lnTo>
                    <a:pt x="18" y="138"/>
                  </a:lnTo>
                  <a:lnTo>
                    <a:pt x="22" y="137"/>
                  </a:lnTo>
                  <a:lnTo>
                    <a:pt x="23" y="135"/>
                  </a:lnTo>
                  <a:lnTo>
                    <a:pt x="23" y="1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17" name="Freeform 217">
              <a:extLst>
                <a:ext uri="{FF2B5EF4-FFF2-40B4-BE49-F238E27FC236}">
                  <a16:creationId xmlns:a16="http://schemas.microsoft.com/office/drawing/2014/main" id="{F9EAAFFA-9246-4AC8-BF31-01A1F48A5A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1088" y="2274888"/>
              <a:ext cx="203200" cy="104775"/>
            </a:xfrm>
            <a:custGeom>
              <a:avLst/>
              <a:gdLst>
                <a:gd name="T0" fmla="*/ 27 w 128"/>
                <a:gd name="T1" fmla="*/ 66 h 66"/>
                <a:gd name="T2" fmla="*/ 25 w 128"/>
                <a:gd name="T3" fmla="*/ 65 h 66"/>
                <a:gd name="T4" fmla="*/ 22 w 128"/>
                <a:gd name="T5" fmla="*/ 66 h 66"/>
                <a:gd name="T6" fmla="*/ 25 w 128"/>
                <a:gd name="T7" fmla="*/ 65 h 66"/>
                <a:gd name="T8" fmla="*/ 27 w 128"/>
                <a:gd name="T9" fmla="*/ 64 h 66"/>
                <a:gd name="T10" fmla="*/ 31 w 128"/>
                <a:gd name="T11" fmla="*/ 64 h 66"/>
                <a:gd name="T12" fmla="*/ 27 w 128"/>
                <a:gd name="T13" fmla="*/ 66 h 66"/>
                <a:gd name="T14" fmla="*/ 27 w 128"/>
                <a:gd name="T15" fmla="*/ 66 h 66"/>
                <a:gd name="T16" fmla="*/ 11 w 128"/>
                <a:gd name="T17" fmla="*/ 0 h 66"/>
                <a:gd name="T18" fmla="*/ 6 w 128"/>
                <a:gd name="T19" fmla="*/ 0 h 66"/>
                <a:gd name="T20" fmla="*/ 2 w 128"/>
                <a:gd name="T21" fmla="*/ 0 h 66"/>
                <a:gd name="T22" fmla="*/ 0 w 128"/>
                <a:gd name="T23" fmla="*/ 0 h 66"/>
                <a:gd name="T24" fmla="*/ 1 w 128"/>
                <a:gd name="T25" fmla="*/ 3 h 66"/>
                <a:gd name="T26" fmla="*/ 4 w 128"/>
                <a:gd name="T27" fmla="*/ 4 h 66"/>
                <a:gd name="T28" fmla="*/ 6 w 128"/>
                <a:gd name="T29" fmla="*/ 5 h 66"/>
                <a:gd name="T30" fmla="*/ 9 w 128"/>
                <a:gd name="T31" fmla="*/ 5 h 66"/>
                <a:gd name="T32" fmla="*/ 11 w 128"/>
                <a:gd name="T33" fmla="*/ 5 h 66"/>
                <a:gd name="T34" fmla="*/ 15 w 128"/>
                <a:gd name="T35" fmla="*/ 4 h 66"/>
                <a:gd name="T36" fmla="*/ 17 w 128"/>
                <a:gd name="T37" fmla="*/ 4 h 66"/>
                <a:gd name="T38" fmla="*/ 21 w 128"/>
                <a:gd name="T39" fmla="*/ 4 h 66"/>
                <a:gd name="T40" fmla="*/ 18 w 128"/>
                <a:gd name="T41" fmla="*/ 1 h 66"/>
                <a:gd name="T42" fmla="*/ 16 w 128"/>
                <a:gd name="T43" fmla="*/ 0 h 66"/>
                <a:gd name="T44" fmla="*/ 13 w 128"/>
                <a:gd name="T45" fmla="*/ 0 h 66"/>
                <a:gd name="T46" fmla="*/ 11 w 128"/>
                <a:gd name="T47" fmla="*/ 0 h 66"/>
                <a:gd name="T48" fmla="*/ 11 w 128"/>
                <a:gd name="T49" fmla="*/ 0 h 66"/>
                <a:gd name="T50" fmla="*/ 128 w 128"/>
                <a:gd name="T51" fmla="*/ 4 h 66"/>
                <a:gd name="T52" fmla="*/ 125 w 128"/>
                <a:gd name="T53" fmla="*/ 6 h 66"/>
                <a:gd name="T54" fmla="*/ 124 w 128"/>
                <a:gd name="T55" fmla="*/ 10 h 66"/>
                <a:gd name="T56" fmla="*/ 122 w 128"/>
                <a:gd name="T57" fmla="*/ 12 h 66"/>
                <a:gd name="T58" fmla="*/ 119 w 128"/>
                <a:gd name="T59" fmla="*/ 12 h 66"/>
                <a:gd name="T60" fmla="*/ 115 w 128"/>
                <a:gd name="T61" fmla="*/ 12 h 66"/>
                <a:gd name="T62" fmla="*/ 111 w 128"/>
                <a:gd name="T63" fmla="*/ 11 h 66"/>
                <a:gd name="T64" fmla="*/ 103 w 128"/>
                <a:gd name="T65" fmla="*/ 11 h 66"/>
                <a:gd name="T66" fmla="*/ 100 w 128"/>
                <a:gd name="T67" fmla="*/ 12 h 66"/>
                <a:gd name="T68" fmla="*/ 98 w 128"/>
                <a:gd name="T69" fmla="*/ 12 h 66"/>
                <a:gd name="T70" fmla="*/ 92 w 128"/>
                <a:gd name="T71" fmla="*/ 12 h 66"/>
                <a:gd name="T72" fmla="*/ 88 w 128"/>
                <a:gd name="T73" fmla="*/ 11 h 66"/>
                <a:gd name="T74" fmla="*/ 86 w 128"/>
                <a:gd name="T75" fmla="*/ 9 h 66"/>
                <a:gd name="T76" fmla="*/ 85 w 128"/>
                <a:gd name="T77" fmla="*/ 6 h 66"/>
                <a:gd name="T78" fmla="*/ 87 w 128"/>
                <a:gd name="T79" fmla="*/ 4 h 66"/>
                <a:gd name="T80" fmla="*/ 91 w 128"/>
                <a:gd name="T81" fmla="*/ 3 h 66"/>
                <a:gd name="T82" fmla="*/ 93 w 128"/>
                <a:gd name="T83" fmla="*/ 3 h 66"/>
                <a:gd name="T84" fmla="*/ 96 w 128"/>
                <a:gd name="T85" fmla="*/ 2 h 66"/>
                <a:gd name="T86" fmla="*/ 99 w 128"/>
                <a:gd name="T87" fmla="*/ 3 h 66"/>
                <a:gd name="T88" fmla="*/ 102 w 128"/>
                <a:gd name="T89" fmla="*/ 3 h 66"/>
                <a:gd name="T90" fmla="*/ 105 w 128"/>
                <a:gd name="T91" fmla="*/ 3 h 66"/>
                <a:gd name="T92" fmla="*/ 108 w 128"/>
                <a:gd name="T93" fmla="*/ 2 h 66"/>
                <a:gd name="T94" fmla="*/ 110 w 128"/>
                <a:gd name="T95" fmla="*/ 3 h 66"/>
                <a:gd name="T96" fmla="*/ 113 w 128"/>
                <a:gd name="T97" fmla="*/ 3 h 66"/>
                <a:gd name="T98" fmla="*/ 116 w 128"/>
                <a:gd name="T99" fmla="*/ 3 h 66"/>
                <a:gd name="T100" fmla="*/ 119 w 128"/>
                <a:gd name="T101" fmla="*/ 4 h 66"/>
                <a:gd name="T102" fmla="*/ 122 w 128"/>
                <a:gd name="T103" fmla="*/ 3 h 66"/>
                <a:gd name="T104" fmla="*/ 125 w 128"/>
                <a:gd name="T105" fmla="*/ 3 h 66"/>
                <a:gd name="T106" fmla="*/ 127 w 128"/>
                <a:gd name="T107" fmla="*/ 4 h 66"/>
                <a:gd name="T108" fmla="*/ 128 w 128"/>
                <a:gd name="T109" fmla="*/ 4 h 66"/>
                <a:gd name="T110" fmla="*/ 128 w 128"/>
                <a:gd name="T111" fmla="*/ 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8" h="66">
                  <a:moveTo>
                    <a:pt x="27" y="66"/>
                  </a:moveTo>
                  <a:lnTo>
                    <a:pt x="25" y="65"/>
                  </a:lnTo>
                  <a:lnTo>
                    <a:pt x="22" y="66"/>
                  </a:lnTo>
                  <a:lnTo>
                    <a:pt x="25" y="65"/>
                  </a:lnTo>
                  <a:lnTo>
                    <a:pt x="27" y="64"/>
                  </a:lnTo>
                  <a:lnTo>
                    <a:pt x="31" y="64"/>
                  </a:lnTo>
                  <a:lnTo>
                    <a:pt x="27" y="66"/>
                  </a:lnTo>
                  <a:lnTo>
                    <a:pt x="27" y="66"/>
                  </a:lnTo>
                  <a:close/>
                  <a:moveTo>
                    <a:pt x="11" y="0"/>
                  </a:moveTo>
                  <a:lnTo>
                    <a:pt x="6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1" y="3"/>
                  </a:lnTo>
                  <a:lnTo>
                    <a:pt x="4" y="4"/>
                  </a:lnTo>
                  <a:lnTo>
                    <a:pt x="6" y="5"/>
                  </a:lnTo>
                  <a:lnTo>
                    <a:pt x="9" y="5"/>
                  </a:lnTo>
                  <a:lnTo>
                    <a:pt x="11" y="5"/>
                  </a:lnTo>
                  <a:lnTo>
                    <a:pt x="15" y="4"/>
                  </a:lnTo>
                  <a:lnTo>
                    <a:pt x="17" y="4"/>
                  </a:lnTo>
                  <a:lnTo>
                    <a:pt x="21" y="4"/>
                  </a:lnTo>
                  <a:lnTo>
                    <a:pt x="18" y="1"/>
                  </a:lnTo>
                  <a:lnTo>
                    <a:pt x="16" y="0"/>
                  </a:lnTo>
                  <a:lnTo>
                    <a:pt x="13" y="0"/>
                  </a:lnTo>
                  <a:lnTo>
                    <a:pt x="11" y="0"/>
                  </a:lnTo>
                  <a:lnTo>
                    <a:pt x="11" y="0"/>
                  </a:lnTo>
                  <a:close/>
                  <a:moveTo>
                    <a:pt x="128" y="4"/>
                  </a:moveTo>
                  <a:lnTo>
                    <a:pt x="125" y="6"/>
                  </a:lnTo>
                  <a:lnTo>
                    <a:pt x="124" y="10"/>
                  </a:lnTo>
                  <a:lnTo>
                    <a:pt x="122" y="12"/>
                  </a:lnTo>
                  <a:lnTo>
                    <a:pt x="119" y="12"/>
                  </a:lnTo>
                  <a:lnTo>
                    <a:pt x="115" y="12"/>
                  </a:lnTo>
                  <a:lnTo>
                    <a:pt x="111" y="11"/>
                  </a:lnTo>
                  <a:lnTo>
                    <a:pt x="103" y="11"/>
                  </a:lnTo>
                  <a:lnTo>
                    <a:pt x="100" y="12"/>
                  </a:lnTo>
                  <a:lnTo>
                    <a:pt x="98" y="12"/>
                  </a:lnTo>
                  <a:lnTo>
                    <a:pt x="92" y="12"/>
                  </a:lnTo>
                  <a:lnTo>
                    <a:pt x="88" y="11"/>
                  </a:lnTo>
                  <a:lnTo>
                    <a:pt x="86" y="9"/>
                  </a:lnTo>
                  <a:lnTo>
                    <a:pt x="85" y="6"/>
                  </a:lnTo>
                  <a:lnTo>
                    <a:pt x="87" y="4"/>
                  </a:lnTo>
                  <a:lnTo>
                    <a:pt x="91" y="3"/>
                  </a:lnTo>
                  <a:lnTo>
                    <a:pt x="93" y="3"/>
                  </a:lnTo>
                  <a:lnTo>
                    <a:pt x="96" y="2"/>
                  </a:lnTo>
                  <a:lnTo>
                    <a:pt x="99" y="3"/>
                  </a:lnTo>
                  <a:lnTo>
                    <a:pt x="102" y="3"/>
                  </a:lnTo>
                  <a:lnTo>
                    <a:pt x="105" y="3"/>
                  </a:lnTo>
                  <a:lnTo>
                    <a:pt x="108" y="2"/>
                  </a:lnTo>
                  <a:lnTo>
                    <a:pt x="110" y="3"/>
                  </a:lnTo>
                  <a:lnTo>
                    <a:pt x="113" y="3"/>
                  </a:lnTo>
                  <a:lnTo>
                    <a:pt x="116" y="3"/>
                  </a:lnTo>
                  <a:lnTo>
                    <a:pt x="119" y="4"/>
                  </a:lnTo>
                  <a:lnTo>
                    <a:pt x="122" y="3"/>
                  </a:lnTo>
                  <a:lnTo>
                    <a:pt x="125" y="3"/>
                  </a:lnTo>
                  <a:lnTo>
                    <a:pt x="127" y="4"/>
                  </a:lnTo>
                  <a:lnTo>
                    <a:pt x="128" y="4"/>
                  </a:lnTo>
                  <a:lnTo>
                    <a:pt x="128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18" name="Freeform 218">
              <a:extLst>
                <a:ext uri="{FF2B5EF4-FFF2-40B4-BE49-F238E27FC236}">
                  <a16:creationId xmlns:a16="http://schemas.microsoft.com/office/drawing/2014/main" id="{695A1E9C-3242-419D-ADB1-86E45A8AAB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60850" y="1982788"/>
              <a:ext cx="1325562" cy="979488"/>
            </a:xfrm>
            <a:custGeom>
              <a:avLst/>
              <a:gdLst>
                <a:gd name="T0" fmla="*/ 711 w 835"/>
                <a:gd name="T1" fmla="*/ 101 h 617"/>
                <a:gd name="T2" fmla="*/ 827 w 835"/>
                <a:gd name="T3" fmla="*/ 64 h 617"/>
                <a:gd name="T4" fmla="*/ 721 w 835"/>
                <a:gd name="T5" fmla="*/ 67 h 617"/>
                <a:gd name="T6" fmla="*/ 682 w 835"/>
                <a:gd name="T7" fmla="*/ 53 h 617"/>
                <a:gd name="T8" fmla="*/ 597 w 835"/>
                <a:gd name="T9" fmla="*/ 57 h 617"/>
                <a:gd name="T10" fmla="*/ 612 w 835"/>
                <a:gd name="T11" fmla="*/ 49 h 617"/>
                <a:gd name="T12" fmla="*/ 648 w 835"/>
                <a:gd name="T13" fmla="*/ 30 h 617"/>
                <a:gd name="T14" fmla="*/ 537 w 835"/>
                <a:gd name="T15" fmla="*/ 26 h 617"/>
                <a:gd name="T16" fmla="*/ 637 w 835"/>
                <a:gd name="T17" fmla="*/ 15 h 617"/>
                <a:gd name="T18" fmla="*/ 527 w 835"/>
                <a:gd name="T19" fmla="*/ 2 h 617"/>
                <a:gd name="T20" fmla="*/ 483 w 835"/>
                <a:gd name="T21" fmla="*/ 21 h 617"/>
                <a:gd name="T22" fmla="*/ 380 w 835"/>
                <a:gd name="T23" fmla="*/ 17 h 617"/>
                <a:gd name="T24" fmla="*/ 423 w 835"/>
                <a:gd name="T25" fmla="*/ 26 h 617"/>
                <a:gd name="T26" fmla="*/ 392 w 835"/>
                <a:gd name="T27" fmla="*/ 39 h 617"/>
                <a:gd name="T28" fmla="*/ 344 w 835"/>
                <a:gd name="T29" fmla="*/ 45 h 617"/>
                <a:gd name="T30" fmla="*/ 285 w 835"/>
                <a:gd name="T31" fmla="*/ 56 h 617"/>
                <a:gd name="T32" fmla="*/ 199 w 835"/>
                <a:gd name="T33" fmla="*/ 51 h 617"/>
                <a:gd name="T34" fmla="*/ 166 w 835"/>
                <a:gd name="T35" fmla="*/ 83 h 617"/>
                <a:gd name="T36" fmla="*/ 84 w 835"/>
                <a:gd name="T37" fmla="*/ 118 h 617"/>
                <a:gd name="T38" fmla="*/ 49 w 835"/>
                <a:gd name="T39" fmla="*/ 156 h 617"/>
                <a:gd name="T40" fmla="*/ 39 w 835"/>
                <a:gd name="T41" fmla="*/ 193 h 617"/>
                <a:gd name="T42" fmla="*/ 89 w 835"/>
                <a:gd name="T43" fmla="*/ 205 h 617"/>
                <a:gd name="T44" fmla="*/ 65 w 835"/>
                <a:gd name="T45" fmla="*/ 219 h 617"/>
                <a:gd name="T46" fmla="*/ 122 w 835"/>
                <a:gd name="T47" fmla="*/ 230 h 617"/>
                <a:gd name="T48" fmla="*/ 221 w 835"/>
                <a:gd name="T49" fmla="*/ 270 h 617"/>
                <a:gd name="T50" fmla="*/ 252 w 835"/>
                <a:gd name="T51" fmla="*/ 321 h 617"/>
                <a:gd name="T52" fmla="*/ 262 w 835"/>
                <a:gd name="T53" fmla="*/ 354 h 617"/>
                <a:gd name="T54" fmla="*/ 282 w 835"/>
                <a:gd name="T55" fmla="*/ 364 h 617"/>
                <a:gd name="T56" fmla="*/ 277 w 835"/>
                <a:gd name="T57" fmla="*/ 376 h 617"/>
                <a:gd name="T58" fmla="*/ 307 w 835"/>
                <a:gd name="T59" fmla="*/ 407 h 617"/>
                <a:gd name="T60" fmla="*/ 280 w 835"/>
                <a:gd name="T61" fmla="*/ 436 h 617"/>
                <a:gd name="T62" fmla="*/ 286 w 835"/>
                <a:gd name="T63" fmla="*/ 444 h 617"/>
                <a:gd name="T64" fmla="*/ 311 w 835"/>
                <a:gd name="T65" fmla="*/ 449 h 617"/>
                <a:gd name="T66" fmla="*/ 311 w 835"/>
                <a:gd name="T67" fmla="*/ 461 h 617"/>
                <a:gd name="T68" fmla="*/ 277 w 835"/>
                <a:gd name="T69" fmla="*/ 476 h 617"/>
                <a:gd name="T70" fmla="*/ 288 w 835"/>
                <a:gd name="T71" fmla="*/ 477 h 617"/>
                <a:gd name="T72" fmla="*/ 298 w 835"/>
                <a:gd name="T73" fmla="*/ 494 h 617"/>
                <a:gd name="T74" fmla="*/ 315 w 835"/>
                <a:gd name="T75" fmla="*/ 514 h 617"/>
                <a:gd name="T76" fmla="*/ 297 w 835"/>
                <a:gd name="T77" fmla="*/ 537 h 617"/>
                <a:gd name="T78" fmla="*/ 318 w 835"/>
                <a:gd name="T79" fmla="*/ 569 h 617"/>
                <a:gd name="T80" fmla="*/ 340 w 835"/>
                <a:gd name="T81" fmla="*/ 602 h 617"/>
                <a:gd name="T82" fmla="*/ 380 w 835"/>
                <a:gd name="T83" fmla="*/ 607 h 617"/>
                <a:gd name="T84" fmla="*/ 413 w 835"/>
                <a:gd name="T85" fmla="*/ 600 h 617"/>
                <a:gd name="T86" fmla="*/ 413 w 835"/>
                <a:gd name="T87" fmla="*/ 562 h 617"/>
                <a:gd name="T88" fmla="*/ 442 w 835"/>
                <a:gd name="T89" fmla="*/ 530 h 617"/>
                <a:gd name="T90" fmla="*/ 483 w 835"/>
                <a:gd name="T91" fmla="*/ 480 h 617"/>
                <a:gd name="T92" fmla="*/ 551 w 835"/>
                <a:gd name="T93" fmla="*/ 449 h 617"/>
                <a:gd name="T94" fmla="*/ 631 w 835"/>
                <a:gd name="T95" fmla="*/ 427 h 617"/>
                <a:gd name="T96" fmla="*/ 668 w 835"/>
                <a:gd name="T97" fmla="*/ 390 h 617"/>
                <a:gd name="T98" fmla="*/ 611 w 835"/>
                <a:gd name="T99" fmla="*/ 382 h 617"/>
                <a:gd name="T100" fmla="*/ 617 w 835"/>
                <a:gd name="T101" fmla="*/ 355 h 617"/>
                <a:gd name="T102" fmla="*/ 694 w 835"/>
                <a:gd name="T103" fmla="*/ 381 h 617"/>
                <a:gd name="T104" fmla="*/ 668 w 835"/>
                <a:gd name="T105" fmla="*/ 337 h 617"/>
                <a:gd name="T106" fmla="*/ 653 w 835"/>
                <a:gd name="T107" fmla="*/ 316 h 617"/>
                <a:gd name="T108" fmla="*/ 668 w 835"/>
                <a:gd name="T109" fmla="*/ 299 h 617"/>
                <a:gd name="T110" fmla="*/ 700 w 835"/>
                <a:gd name="T111" fmla="*/ 295 h 617"/>
                <a:gd name="T112" fmla="*/ 717 w 835"/>
                <a:gd name="T113" fmla="*/ 267 h 617"/>
                <a:gd name="T114" fmla="*/ 730 w 835"/>
                <a:gd name="T115" fmla="*/ 262 h 617"/>
                <a:gd name="T116" fmla="*/ 704 w 835"/>
                <a:gd name="T117" fmla="*/ 228 h 617"/>
                <a:gd name="T118" fmla="*/ 748 w 835"/>
                <a:gd name="T119" fmla="*/ 214 h 617"/>
                <a:gd name="T120" fmla="*/ 724 w 835"/>
                <a:gd name="T121" fmla="*/ 184 h 617"/>
                <a:gd name="T122" fmla="*/ 732 w 835"/>
                <a:gd name="T123" fmla="*/ 141 h 6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835" h="617">
                  <a:moveTo>
                    <a:pt x="721" y="119"/>
                  </a:moveTo>
                  <a:lnTo>
                    <a:pt x="719" y="118"/>
                  </a:lnTo>
                  <a:lnTo>
                    <a:pt x="720" y="116"/>
                  </a:lnTo>
                  <a:lnTo>
                    <a:pt x="723" y="115"/>
                  </a:lnTo>
                  <a:lnTo>
                    <a:pt x="726" y="113"/>
                  </a:lnTo>
                  <a:lnTo>
                    <a:pt x="729" y="111"/>
                  </a:lnTo>
                  <a:lnTo>
                    <a:pt x="731" y="110"/>
                  </a:lnTo>
                  <a:lnTo>
                    <a:pt x="734" y="110"/>
                  </a:lnTo>
                  <a:lnTo>
                    <a:pt x="738" y="111"/>
                  </a:lnTo>
                  <a:lnTo>
                    <a:pt x="740" y="111"/>
                  </a:lnTo>
                  <a:lnTo>
                    <a:pt x="742" y="112"/>
                  </a:lnTo>
                  <a:lnTo>
                    <a:pt x="746" y="112"/>
                  </a:lnTo>
                  <a:lnTo>
                    <a:pt x="749" y="112"/>
                  </a:lnTo>
                  <a:lnTo>
                    <a:pt x="751" y="112"/>
                  </a:lnTo>
                  <a:lnTo>
                    <a:pt x="755" y="112"/>
                  </a:lnTo>
                  <a:lnTo>
                    <a:pt x="757" y="112"/>
                  </a:lnTo>
                  <a:lnTo>
                    <a:pt x="760" y="112"/>
                  </a:lnTo>
                  <a:lnTo>
                    <a:pt x="766" y="112"/>
                  </a:lnTo>
                  <a:lnTo>
                    <a:pt x="768" y="111"/>
                  </a:lnTo>
                  <a:lnTo>
                    <a:pt x="772" y="110"/>
                  </a:lnTo>
                  <a:lnTo>
                    <a:pt x="774" y="109"/>
                  </a:lnTo>
                  <a:lnTo>
                    <a:pt x="773" y="107"/>
                  </a:lnTo>
                  <a:lnTo>
                    <a:pt x="775" y="108"/>
                  </a:lnTo>
                  <a:lnTo>
                    <a:pt x="779" y="106"/>
                  </a:lnTo>
                  <a:lnTo>
                    <a:pt x="780" y="102"/>
                  </a:lnTo>
                  <a:lnTo>
                    <a:pt x="777" y="102"/>
                  </a:lnTo>
                  <a:lnTo>
                    <a:pt x="772" y="101"/>
                  </a:lnTo>
                  <a:lnTo>
                    <a:pt x="768" y="101"/>
                  </a:lnTo>
                  <a:lnTo>
                    <a:pt x="765" y="100"/>
                  </a:lnTo>
                  <a:lnTo>
                    <a:pt x="763" y="100"/>
                  </a:lnTo>
                  <a:lnTo>
                    <a:pt x="759" y="101"/>
                  </a:lnTo>
                  <a:lnTo>
                    <a:pt x="757" y="101"/>
                  </a:lnTo>
                  <a:lnTo>
                    <a:pt x="754" y="102"/>
                  </a:lnTo>
                  <a:lnTo>
                    <a:pt x="751" y="102"/>
                  </a:lnTo>
                  <a:lnTo>
                    <a:pt x="748" y="102"/>
                  </a:lnTo>
                  <a:lnTo>
                    <a:pt x="746" y="101"/>
                  </a:lnTo>
                  <a:lnTo>
                    <a:pt x="742" y="101"/>
                  </a:lnTo>
                  <a:lnTo>
                    <a:pt x="739" y="101"/>
                  </a:lnTo>
                  <a:lnTo>
                    <a:pt x="737" y="101"/>
                  </a:lnTo>
                  <a:lnTo>
                    <a:pt x="733" y="100"/>
                  </a:lnTo>
                  <a:lnTo>
                    <a:pt x="730" y="99"/>
                  </a:lnTo>
                  <a:lnTo>
                    <a:pt x="728" y="99"/>
                  </a:lnTo>
                  <a:lnTo>
                    <a:pt x="725" y="100"/>
                  </a:lnTo>
                  <a:lnTo>
                    <a:pt x="722" y="101"/>
                  </a:lnTo>
                  <a:lnTo>
                    <a:pt x="720" y="102"/>
                  </a:lnTo>
                  <a:lnTo>
                    <a:pt x="716" y="103"/>
                  </a:lnTo>
                  <a:lnTo>
                    <a:pt x="713" y="102"/>
                  </a:lnTo>
                  <a:lnTo>
                    <a:pt x="711" y="101"/>
                  </a:lnTo>
                  <a:lnTo>
                    <a:pt x="713" y="101"/>
                  </a:lnTo>
                  <a:lnTo>
                    <a:pt x="716" y="101"/>
                  </a:lnTo>
                  <a:lnTo>
                    <a:pt x="720" y="101"/>
                  </a:lnTo>
                  <a:lnTo>
                    <a:pt x="722" y="100"/>
                  </a:lnTo>
                  <a:lnTo>
                    <a:pt x="724" y="98"/>
                  </a:lnTo>
                  <a:lnTo>
                    <a:pt x="728" y="98"/>
                  </a:lnTo>
                  <a:lnTo>
                    <a:pt x="733" y="99"/>
                  </a:lnTo>
                  <a:lnTo>
                    <a:pt x="737" y="99"/>
                  </a:lnTo>
                  <a:lnTo>
                    <a:pt x="739" y="99"/>
                  </a:lnTo>
                  <a:lnTo>
                    <a:pt x="742" y="100"/>
                  </a:lnTo>
                  <a:lnTo>
                    <a:pt x="746" y="100"/>
                  </a:lnTo>
                  <a:lnTo>
                    <a:pt x="748" y="99"/>
                  </a:lnTo>
                  <a:lnTo>
                    <a:pt x="751" y="98"/>
                  </a:lnTo>
                  <a:lnTo>
                    <a:pt x="754" y="96"/>
                  </a:lnTo>
                  <a:lnTo>
                    <a:pt x="755" y="94"/>
                  </a:lnTo>
                  <a:lnTo>
                    <a:pt x="757" y="94"/>
                  </a:lnTo>
                  <a:lnTo>
                    <a:pt x="760" y="96"/>
                  </a:lnTo>
                  <a:lnTo>
                    <a:pt x="763" y="96"/>
                  </a:lnTo>
                  <a:lnTo>
                    <a:pt x="766" y="95"/>
                  </a:lnTo>
                  <a:lnTo>
                    <a:pt x="768" y="96"/>
                  </a:lnTo>
                  <a:lnTo>
                    <a:pt x="772" y="96"/>
                  </a:lnTo>
                  <a:lnTo>
                    <a:pt x="774" y="96"/>
                  </a:lnTo>
                  <a:lnTo>
                    <a:pt x="777" y="96"/>
                  </a:lnTo>
                  <a:lnTo>
                    <a:pt x="780" y="96"/>
                  </a:lnTo>
                  <a:lnTo>
                    <a:pt x="783" y="96"/>
                  </a:lnTo>
                  <a:lnTo>
                    <a:pt x="785" y="93"/>
                  </a:lnTo>
                  <a:lnTo>
                    <a:pt x="788" y="92"/>
                  </a:lnTo>
                  <a:lnTo>
                    <a:pt x="797" y="92"/>
                  </a:lnTo>
                  <a:lnTo>
                    <a:pt x="800" y="91"/>
                  </a:lnTo>
                  <a:lnTo>
                    <a:pt x="800" y="89"/>
                  </a:lnTo>
                  <a:lnTo>
                    <a:pt x="797" y="86"/>
                  </a:lnTo>
                  <a:lnTo>
                    <a:pt x="797" y="84"/>
                  </a:lnTo>
                  <a:lnTo>
                    <a:pt x="800" y="83"/>
                  </a:lnTo>
                  <a:lnTo>
                    <a:pt x="808" y="83"/>
                  </a:lnTo>
                  <a:lnTo>
                    <a:pt x="811" y="83"/>
                  </a:lnTo>
                  <a:lnTo>
                    <a:pt x="815" y="81"/>
                  </a:lnTo>
                  <a:lnTo>
                    <a:pt x="817" y="78"/>
                  </a:lnTo>
                  <a:lnTo>
                    <a:pt x="819" y="78"/>
                  </a:lnTo>
                  <a:lnTo>
                    <a:pt x="823" y="77"/>
                  </a:lnTo>
                  <a:lnTo>
                    <a:pt x="825" y="75"/>
                  </a:lnTo>
                  <a:lnTo>
                    <a:pt x="827" y="74"/>
                  </a:lnTo>
                  <a:lnTo>
                    <a:pt x="831" y="73"/>
                  </a:lnTo>
                  <a:lnTo>
                    <a:pt x="833" y="72"/>
                  </a:lnTo>
                  <a:lnTo>
                    <a:pt x="835" y="70"/>
                  </a:lnTo>
                  <a:lnTo>
                    <a:pt x="835" y="67"/>
                  </a:lnTo>
                  <a:lnTo>
                    <a:pt x="833" y="67"/>
                  </a:lnTo>
                  <a:lnTo>
                    <a:pt x="830" y="65"/>
                  </a:lnTo>
                  <a:lnTo>
                    <a:pt x="827" y="64"/>
                  </a:lnTo>
                  <a:lnTo>
                    <a:pt x="825" y="62"/>
                  </a:lnTo>
                  <a:lnTo>
                    <a:pt x="822" y="61"/>
                  </a:lnTo>
                  <a:lnTo>
                    <a:pt x="819" y="61"/>
                  </a:lnTo>
                  <a:lnTo>
                    <a:pt x="816" y="61"/>
                  </a:lnTo>
                  <a:lnTo>
                    <a:pt x="814" y="61"/>
                  </a:lnTo>
                  <a:lnTo>
                    <a:pt x="810" y="60"/>
                  </a:lnTo>
                  <a:lnTo>
                    <a:pt x="808" y="59"/>
                  </a:lnTo>
                  <a:lnTo>
                    <a:pt x="805" y="59"/>
                  </a:lnTo>
                  <a:lnTo>
                    <a:pt x="801" y="58"/>
                  </a:lnTo>
                  <a:lnTo>
                    <a:pt x="799" y="58"/>
                  </a:lnTo>
                  <a:lnTo>
                    <a:pt x="796" y="57"/>
                  </a:lnTo>
                  <a:lnTo>
                    <a:pt x="793" y="58"/>
                  </a:lnTo>
                  <a:lnTo>
                    <a:pt x="790" y="58"/>
                  </a:lnTo>
                  <a:lnTo>
                    <a:pt x="786" y="58"/>
                  </a:lnTo>
                  <a:lnTo>
                    <a:pt x="784" y="58"/>
                  </a:lnTo>
                  <a:lnTo>
                    <a:pt x="782" y="57"/>
                  </a:lnTo>
                  <a:lnTo>
                    <a:pt x="779" y="58"/>
                  </a:lnTo>
                  <a:lnTo>
                    <a:pt x="776" y="58"/>
                  </a:lnTo>
                  <a:lnTo>
                    <a:pt x="773" y="57"/>
                  </a:lnTo>
                  <a:lnTo>
                    <a:pt x="770" y="60"/>
                  </a:lnTo>
                  <a:lnTo>
                    <a:pt x="767" y="59"/>
                  </a:lnTo>
                  <a:lnTo>
                    <a:pt x="765" y="60"/>
                  </a:lnTo>
                  <a:lnTo>
                    <a:pt x="762" y="60"/>
                  </a:lnTo>
                  <a:lnTo>
                    <a:pt x="763" y="62"/>
                  </a:lnTo>
                  <a:lnTo>
                    <a:pt x="764" y="65"/>
                  </a:lnTo>
                  <a:lnTo>
                    <a:pt x="760" y="64"/>
                  </a:lnTo>
                  <a:lnTo>
                    <a:pt x="757" y="65"/>
                  </a:lnTo>
                  <a:lnTo>
                    <a:pt x="757" y="67"/>
                  </a:lnTo>
                  <a:lnTo>
                    <a:pt x="759" y="68"/>
                  </a:lnTo>
                  <a:lnTo>
                    <a:pt x="757" y="69"/>
                  </a:lnTo>
                  <a:lnTo>
                    <a:pt x="754" y="70"/>
                  </a:lnTo>
                  <a:lnTo>
                    <a:pt x="755" y="73"/>
                  </a:lnTo>
                  <a:lnTo>
                    <a:pt x="753" y="73"/>
                  </a:lnTo>
                  <a:lnTo>
                    <a:pt x="750" y="73"/>
                  </a:lnTo>
                  <a:lnTo>
                    <a:pt x="747" y="72"/>
                  </a:lnTo>
                  <a:lnTo>
                    <a:pt x="743" y="72"/>
                  </a:lnTo>
                  <a:lnTo>
                    <a:pt x="741" y="70"/>
                  </a:lnTo>
                  <a:lnTo>
                    <a:pt x="739" y="69"/>
                  </a:lnTo>
                  <a:lnTo>
                    <a:pt x="736" y="69"/>
                  </a:lnTo>
                  <a:lnTo>
                    <a:pt x="732" y="70"/>
                  </a:lnTo>
                  <a:lnTo>
                    <a:pt x="730" y="72"/>
                  </a:lnTo>
                  <a:lnTo>
                    <a:pt x="726" y="73"/>
                  </a:lnTo>
                  <a:lnTo>
                    <a:pt x="724" y="74"/>
                  </a:lnTo>
                  <a:lnTo>
                    <a:pt x="724" y="72"/>
                  </a:lnTo>
                  <a:lnTo>
                    <a:pt x="724" y="68"/>
                  </a:lnTo>
                  <a:lnTo>
                    <a:pt x="728" y="67"/>
                  </a:lnTo>
                  <a:lnTo>
                    <a:pt x="724" y="67"/>
                  </a:lnTo>
                  <a:lnTo>
                    <a:pt x="721" y="67"/>
                  </a:lnTo>
                  <a:lnTo>
                    <a:pt x="719" y="68"/>
                  </a:lnTo>
                  <a:lnTo>
                    <a:pt x="715" y="69"/>
                  </a:lnTo>
                  <a:lnTo>
                    <a:pt x="713" y="72"/>
                  </a:lnTo>
                  <a:lnTo>
                    <a:pt x="709" y="73"/>
                  </a:lnTo>
                  <a:lnTo>
                    <a:pt x="707" y="76"/>
                  </a:lnTo>
                  <a:lnTo>
                    <a:pt x="704" y="77"/>
                  </a:lnTo>
                  <a:lnTo>
                    <a:pt x="702" y="81"/>
                  </a:lnTo>
                  <a:lnTo>
                    <a:pt x="698" y="81"/>
                  </a:lnTo>
                  <a:lnTo>
                    <a:pt x="695" y="83"/>
                  </a:lnTo>
                  <a:lnTo>
                    <a:pt x="692" y="84"/>
                  </a:lnTo>
                  <a:lnTo>
                    <a:pt x="690" y="86"/>
                  </a:lnTo>
                  <a:lnTo>
                    <a:pt x="687" y="89"/>
                  </a:lnTo>
                  <a:lnTo>
                    <a:pt x="685" y="90"/>
                  </a:lnTo>
                  <a:lnTo>
                    <a:pt x="681" y="91"/>
                  </a:lnTo>
                  <a:lnTo>
                    <a:pt x="679" y="91"/>
                  </a:lnTo>
                  <a:lnTo>
                    <a:pt x="679" y="94"/>
                  </a:lnTo>
                  <a:lnTo>
                    <a:pt x="677" y="95"/>
                  </a:lnTo>
                  <a:lnTo>
                    <a:pt x="674" y="98"/>
                  </a:lnTo>
                  <a:lnTo>
                    <a:pt x="672" y="100"/>
                  </a:lnTo>
                  <a:lnTo>
                    <a:pt x="669" y="101"/>
                  </a:lnTo>
                  <a:lnTo>
                    <a:pt x="666" y="102"/>
                  </a:lnTo>
                  <a:lnTo>
                    <a:pt x="668" y="100"/>
                  </a:lnTo>
                  <a:lnTo>
                    <a:pt x="670" y="98"/>
                  </a:lnTo>
                  <a:lnTo>
                    <a:pt x="668" y="98"/>
                  </a:lnTo>
                  <a:lnTo>
                    <a:pt x="671" y="96"/>
                  </a:lnTo>
                  <a:lnTo>
                    <a:pt x="673" y="95"/>
                  </a:lnTo>
                  <a:lnTo>
                    <a:pt x="673" y="92"/>
                  </a:lnTo>
                  <a:lnTo>
                    <a:pt x="675" y="90"/>
                  </a:lnTo>
                  <a:lnTo>
                    <a:pt x="679" y="87"/>
                  </a:lnTo>
                  <a:lnTo>
                    <a:pt x="681" y="85"/>
                  </a:lnTo>
                  <a:lnTo>
                    <a:pt x="683" y="83"/>
                  </a:lnTo>
                  <a:lnTo>
                    <a:pt x="687" y="82"/>
                  </a:lnTo>
                  <a:lnTo>
                    <a:pt x="688" y="79"/>
                  </a:lnTo>
                  <a:lnTo>
                    <a:pt x="691" y="77"/>
                  </a:lnTo>
                  <a:lnTo>
                    <a:pt x="694" y="75"/>
                  </a:lnTo>
                  <a:lnTo>
                    <a:pt x="697" y="73"/>
                  </a:lnTo>
                  <a:lnTo>
                    <a:pt x="698" y="69"/>
                  </a:lnTo>
                  <a:lnTo>
                    <a:pt x="699" y="67"/>
                  </a:lnTo>
                  <a:lnTo>
                    <a:pt x="699" y="64"/>
                  </a:lnTo>
                  <a:lnTo>
                    <a:pt x="699" y="61"/>
                  </a:lnTo>
                  <a:lnTo>
                    <a:pt x="699" y="59"/>
                  </a:lnTo>
                  <a:lnTo>
                    <a:pt x="699" y="56"/>
                  </a:lnTo>
                  <a:lnTo>
                    <a:pt x="697" y="53"/>
                  </a:lnTo>
                  <a:lnTo>
                    <a:pt x="694" y="52"/>
                  </a:lnTo>
                  <a:lnTo>
                    <a:pt x="691" y="52"/>
                  </a:lnTo>
                  <a:lnTo>
                    <a:pt x="688" y="53"/>
                  </a:lnTo>
                  <a:lnTo>
                    <a:pt x="686" y="53"/>
                  </a:lnTo>
                  <a:lnTo>
                    <a:pt x="682" y="53"/>
                  </a:lnTo>
                  <a:lnTo>
                    <a:pt x="680" y="53"/>
                  </a:lnTo>
                  <a:lnTo>
                    <a:pt x="677" y="53"/>
                  </a:lnTo>
                  <a:lnTo>
                    <a:pt x="674" y="55"/>
                  </a:lnTo>
                  <a:lnTo>
                    <a:pt x="671" y="56"/>
                  </a:lnTo>
                  <a:lnTo>
                    <a:pt x="671" y="58"/>
                  </a:lnTo>
                  <a:lnTo>
                    <a:pt x="670" y="61"/>
                  </a:lnTo>
                  <a:lnTo>
                    <a:pt x="670" y="64"/>
                  </a:lnTo>
                  <a:lnTo>
                    <a:pt x="668" y="65"/>
                  </a:lnTo>
                  <a:lnTo>
                    <a:pt x="664" y="65"/>
                  </a:lnTo>
                  <a:lnTo>
                    <a:pt x="661" y="65"/>
                  </a:lnTo>
                  <a:lnTo>
                    <a:pt x="658" y="66"/>
                  </a:lnTo>
                  <a:lnTo>
                    <a:pt x="656" y="67"/>
                  </a:lnTo>
                  <a:lnTo>
                    <a:pt x="649" y="68"/>
                  </a:lnTo>
                  <a:lnTo>
                    <a:pt x="647" y="69"/>
                  </a:lnTo>
                  <a:lnTo>
                    <a:pt x="640" y="70"/>
                  </a:lnTo>
                  <a:lnTo>
                    <a:pt x="638" y="72"/>
                  </a:lnTo>
                  <a:lnTo>
                    <a:pt x="635" y="73"/>
                  </a:lnTo>
                  <a:lnTo>
                    <a:pt x="632" y="74"/>
                  </a:lnTo>
                  <a:lnTo>
                    <a:pt x="630" y="75"/>
                  </a:lnTo>
                  <a:lnTo>
                    <a:pt x="627" y="75"/>
                  </a:lnTo>
                  <a:lnTo>
                    <a:pt x="623" y="75"/>
                  </a:lnTo>
                  <a:lnTo>
                    <a:pt x="627" y="75"/>
                  </a:lnTo>
                  <a:lnTo>
                    <a:pt x="623" y="73"/>
                  </a:lnTo>
                  <a:lnTo>
                    <a:pt x="627" y="70"/>
                  </a:lnTo>
                  <a:lnTo>
                    <a:pt x="632" y="69"/>
                  </a:lnTo>
                  <a:lnTo>
                    <a:pt x="636" y="68"/>
                  </a:lnTo>
                  <a:lnTo>
                    <a:pt x="638" y="67"/>
                  </a:lnTo>
                  <a:lnTo>
                    <a:pt x="645" y="66"/>
                  </a:lnTo>
                  <a:lnTo>
                    <a:pt x="651" y="64"/>
                  </a:lnTo>
                  <a:lnTo>
                    <a:pt x="653" y="62"/>
                  </a:lnTo>
                  <a:lnTo>
                    <a:pt x="655" y="60"/>
                  </a:lnTo>
                  <a:lnTo>
                    <a:pt x="654" y="57"/>
                  </a:lnTo>
                  <a:lnTo>
                    <a:pt x="652" y="55"/>
                  </a:lnTo>
                  <a:lnTo>
                    <a:pt x="648" y="55"/>
                  </a:lnTo>
                  <a:lnTo>
                    <a:pt x="646" y="55"/>
                  </a:lnTo>
                  <a:lnTo>
                    <a:pt x="643" y="55"/>
                  </a:lnTo>
                  <a:lnTo>
                    <a:pt x="635" y="55"/>
                  </a:lnTo>
                  <a:lnTo>
                    <a:pt x="631" y="55"/>
                  </a:lnTo>
                  <a:lnTo>
                    <a:pt x="626" y="55"/>
                  </a:lnTo>
                  <a:lnTo>
                    <a:pt x="623" y="55"/>
                  </a:lnTo>
                  <a:lnTo>
                    <a:pt x="617" y="55"/>
                  </a:lnTo>
                  <a:lnTo>
                    <a:pt x="614" y="55"/>
                  </a:lnTo>
                  <a:lnTo>
                    <a:pt x="612" y="55"/>
                  </a:lnTo>
                  <a:lnTo>
                    <a:pt x="609" y="55"/>
                  </a:lnTo>
                  <a:lnTo>
                    <a:pt x="605" y="55"/>
                  </a:lnTo>
                  <a:lnTo>
                    <a:pt x="603" y="56"/>
                  </a:lnTo>
                  <a:lnTo>
                    <a:pt x="600" y="56"/>
                  </a:lnTo>
                  <a:lnTo>
                    <a:pt x="597" y="57"/>
                  </a:lnTo>
                  <a:lnTo>
                    <a:pt x="594" y="59"/>
                  </a:lnTo>
                  <a:lnTo>
                    <a:pt x="592" y="57"/>
                  </a:lnTo>
                  <a:lnTo>
                    <a:pt x="585" y="58"/>
                  </a:lnTo>
                  <a:lnTo>
                    <a:pt x="583" y="59"/>
                  </a:lnTo>
                  <a:lnTo>
                    <a:pt x="579" y="59"/>
                  </a:lnTo>
                  <a:lnTo>
                    <a:pt x="577" y="59"/>
                  </a:lnTo>
                  <a:lnTo>
                    <a:pt x="570" y="60"/>
                  </a:lnTo>
                  <a:lnTo>
                    <a:pt x="568" y="60"/>
                  </a:lnTo>
                  <a:lnTo>
                    <a:pt x="564" y="61"/>
                  </a:lnTo>
                  <a:lnTo>
                    <a:pt x="562" y="61"/>
                  </a:lnTo>
                  <a:lnTo>
                    <a:pt x="559" y="62"/>
                  </a:lnTo>
                  <a:lnTo>
                    <a:pt x="557" y="64"/>
                  </a:lnTo>
                  <a:lnTo>
                    <a:pt x="553" y="66"/>
                  </a:lnTo>
                  <a:lnTo>
                    <a:pt x="551" y="66"/>
                  </a:lnTo>
                  <a:lnTo>
                    <a:pt x="550" y="64"/>
                  </a:lnTo>
                  <a:lnTo>
                    <a:pt x="549" y="60"/>
                  </a:lnTo>
                  <a:lnTo>
                    <a:pt x="552" y="59"/>
                  </a:lnTo>
                  <a:lnTo>
                    <a:pt x="555" y="59"/>
                  </a:lnTo>
                  <a:lnTo>
                    <a:pt x="558" y="58"/>
                  </a:lnTo>
                  <a:lnTo>
                    <a:pt x="560" y="58"/>
                  </a:lnTo>
                  <a:lnTo>
                    <a:pt x="563" y="57"/>
                  </a:lnTo>
                  <a:lnTo>
                    <a:pt x="566" y="57"/>
                  </a:lnTo>
                  <a:lnTo>
                    <a:pt x="569" y="57"/>
                  </a:lnTo>
                  <a:lnTo>
                    <a:pt x="571" y="56"/>
                  </a:lnTo>
                  <a:lnTo>
                    <a:pt x="574" y="56"/>
                  </a:lnTo>
                  <a:lnTo>
                    <a:pt x="577" y="55"/>
                  </a:lnTo>
                  <a:lnTo>
                    <a:pt x="588" y="52"/>
                  </a:lnTo>
                  <a:lnTo>
                    <a:pt x="591" y="52"/>
                  </a:lnTo>
                  <a:lnTo>
                    <a:pt x="588" y="50"/>
                  </a:lnTo>
                  <a:lnTo>
                    <a:pt x="586" y="49"/>
                  </a:lnTo>
                  <a:lnTo>
                    <a:pt x="583" y="49"/>
                  </a:lnTo>
                  <a:lnTo>
                    <a:pt x="574" y="49"/>
                  </a:lnTo>
                  <a:lnTo>
                    <a:pt x="568" y="49"/>
                  </a:lnTo>
                  <a:lnTo>
                    <a:pt x="571" y="49"/>
                  </a:lnTo>
                  <a:lnTo>
                    <a:pt x="574" y="48"/>
                  </a:lnTo>
                  <a:lnTo>
                    <a:pt x="577" y="48"/>
                  </a:lnTo>
                  <a:lnTo>
                    <a:pt x="580" y="49"/>
                  </a:lnTo>
                  <a:lnTo>
                    <a:pt x="583" y="49"/>
                  </a:lnTo>
                  <a:lnTo>
                    <a:pt x="586" y="49"/>
                  </a:lnTo>
                  <a:lnTo>
                    <a:pt x="588" y="49"/>
                  </a:lnTo>
                  <a:lnTo>
                    <a:pt x="592" y="50"/>
                  </a:lnTo>
                  <a:lnTo>
                    <a:pt x="594" y="50"/>
                  </a:lnTo>
                  <a:lnTo>
                    <a:pt x="597" y="50"/>
                  </a:lnTo>
                  <a:lnTo>
                    <a:pt x="600" y="50"/>
                  </a:lnTo>
                  <a:lnTo>
                    <a:pt x="603" y="50"/>
                  </a:lnTo>
                  <a:lnTo>
                    <a:pt x="606" y="49"/>
                  </a:lnTo>
                  <a:lnTo>
                    <a:pt x="609" y="49"/>
                  </a:lnTo>
                  <a:lnTo>
                    <a:pt x="612" y="49"/>
                  </a:lnTo>
                  <a:lnTo>
                    <a:pt x="615" y="49"/>
                  </a:lnTo>
                  <a:lnTo>
                    <a:pt x="618" y="49"/>
                  </a:lnTo>
                  <a:lnTo>
                    <a:pt x="621" y="49"/>
                  </a:lnTo>
                  <a:lnTo>
                    <a:pt x="625" y="49"/>
                  </a:lnTo>
                  <a:lnTo>
                    <a:pt x="630" y="49"/>
                  </a:lnTo>
                  <a:lnTo>
                    <a:pt x="634" y="49"/>
                  </a:lnTo>
                  <a:lnTo>
                    <a:pt x="639" y="50"/>
                  </a:lnTo>
                  <a:lnTo>
                    <a:pt x="643" y="50"/>
                  </a:lnTo>
                  <a:lnTo>
                    <a:pt x="645" y="50"/>
                  </a:lnTo>
                  <a:lnTo>
                    <a:pt x="657" y="50"/>
                  </a:lnTo>
                  <a:lnTo>
                    <a:pt x="660" y="49"/>
                  </a:lnTo>
                  <a:lnTo>
                    <a:pt x="663" y="49"/>
                  </a:lnTo>
                  <a:lnTo>
                    <a:pt x="665" y="48"/>
                  </a:lnTo>
                  <a:lnTo>
                    <a:pt x="669" y="47"/>
                  </a:lnTo>
                  <a:lnTo>
                    <a:pt x="671" y="47"/>
                  </a:lnTo>
                  <a:lnTo>
                    <a:pt x="674" y="45"/>
                  </a:lnTo>
                  <a:lnTo>
                    <a:pt x="683" y="45"/>
                  </a:lnTo>
                  <a:lnTo>
                    <a:pt x="687" y="45"/>
                  </a:lnTo>
                  <a:lnTo>
                    <a:pt x="689" y="44"/>
                  </a:lnTo>
                  <a:lnTo>
                    <a:pt x="691" y="44"/>
                  </a:lnTo>
                  <a:lnTo>
                    <a:pt x="695" y="43"/>
                  </a:lnTo>
                  <a:lnTo>
                    <a:pt x="696" y="40"/>
                  </a:lnTo>
                  <a:lnTo>
                    <a:pt x="699" y="40"/>
                  </a:lnTo>
                  <a:lnTo>
                    <a:pt x="703" y="39"/>
                  </a:lnTo>
                  <a:lnTo>
                    <a:pt x="705" y="38"/>
                  </a:lnTo>
                  <a:lnTo>
                    <a:pt x="708" y="36"/>
                  </a:lnTo>
                  <a:lnTo>
                    <a:pt x="707" y="34"/>
                  </a:lnTo>
                  <a:lnTo>
                    <a:pt x="704" y="32"/>
                  </a:lnTo>
                  <a:lnTo>
                    <a:pt x="700" y="31"/>
                  </a:lnTo>
                  <a:lnTo>
                    <a:pt x="698" y="31"/>
                  </a:lnTo>
                  <a:lnTo>
                    <a:pt x="695" y="30"/>
                  </a:lnTo>
                  <a:lnTo>
                    <a:pt x="691" y="29"/>
                  </a:lnTo>
                  <a:lnTo>
                    <a:pt x="689" y="30"/>
                  </a:lnTo>
                  <a:lnTo>
                    <a:pt x="687" y="29"/>
                  </a:lnTo>
                  <a:lnTo>
                    <a:pt x="683" y="29"/>
                  </a:lnTo>
                  <a:lnTo>
                    <a:pt x="681" y="26"/>
                  </a:lnTo>
                  <a:lnTo>
                    <a:pt x="678" y="26"/>
                  </a:lnTo>
                  <a:lnTo>
                    <a:pt x="674" y="29"/>
                  </a:lnTo>
                  <a:lnTo>
                    <a:pt x="672" y="30"/>
                  </a:lnTo>
                  <a:lnTo>
                    <a:pt x="672" y="26"/>
                  </a:lnTo>
                  <a:lnTo>
                    <a:pt x="670" y="25"/>
                  </a:lnTo>
                  <a:lnTo>
                    <a:pt x="666" y="25"/>
                  </a:lnTo>
                  <a:lnTo>
                    <a:pt x="664" y="25"/>
                  </a:lnTo>
                  <a:lnTo>
                    <a:pt x="661" y="26"/>
                  </a:lnTo>
                  <a:lnTo>
                    <a:pt x="657" y="27"/>
                  </a:lnTo>
                  <a:lnTo>
                    <a:pt x="655" y="27"/>
                  </a:lnTo>
                  <a:lnTo>
                    <a:pt x="652" y="29"/>
                  </a:lnTo>
                  <a:lnTo>
                    <a:pt x="648" y="30"/>
                  </a:lnTo>
                  <a:lnTo>
                    <a:pt x="652" y="27"/>
                  </a:lnTo>
                  <a:lnTo>
                    <a:pt x="655" y="26"/>
                  </a:lnTo>
                  <a:lnTo>
                    <a:pt x="657" y="24"/>
                  </a:lnTo>
                  <a:lnTo>
                    <a:pt x="661" y="23"/>
                  </a:lnTo>
                  <a:lnTo>
                    <a:pt x="660" y="19"/>
                  </a:lnTo>
                  <a:lnTo>
                    <a:pt x="660" y="17"/>
                  </a:lnTo>
                  <a:lnTo>
                    <a:pt x="656" y="16"/>
                  </a:lnTo>
                  <a:lnTo>
                    <a:pt x="651" y="16"/>
                  </a:lnTo>
                  <a:lnTo>
                    <a:pt x="648" y="17"/>
                  </a:lnTo>
                  <a:lnTo>
                    <a:pt x="645" y="17"/>
                  </a:lnTo>
                  <a:lnTo>
                    <a:pt x="643" y="17"/>
                  </a:lnTo>
                  <a:lnTo>
                    <a:pt x="639" y="18"/>
                  </a:lnTo>
                  <a:lnTo>
                    <a:pt x="636" y="19"/>
                  </a:lnTo>
                  <a:lnTo>
                    <a:pt x="634" y="19"/>
                  </a:lnTo>
                  <a:lnTo>
                    <a:pt x="630" y="19"/>
                  </a:lnTo>
                  <a:lnTo>
                    <a:pt x="627" y="19"/>
                  </a:lnTo>
                  <a:lnTo>
                    <a:pt x="625" y="19"/>
                  </a:lnTo>
                  <a:lnTo>
                    <a:pt x="622" y="18"/>
                  </a:lnTo>
                  <a:lnTo>
                    <a:pt x="619" y="18"/>
                  </a:lnTo>
                  <a:lnTo>
                    <a:pt x="617" y="19"/>
                  </a:lnTo>
                  <a:lnTo>
                    <a:pt x="613" y="19"/>
                  </a:lnTo>
                  <a:lnTo>
                    <a:pt x="611" y="18"/>
                  </a:lnTo>
                  <a:lnTo>
                    <a:pt x="608" y="17"/>
                  </a:lnTo>
                  <a:lnTo>
                    <a:pt x="604" y="17"/>
                  </a:lnTo>
                  <a:lnTo>
                    <a:pt x="602" y="17"/>
                  </a:lnTo>
                  <a:lnTo>
                    <a:pt x="598" y="17"/>
                  </a:lnTo>
                  <a:lnTo>
                    <a:pt x="593" y="17"/>
                  </a:lnTo>
                  <a:lnTo>
                    <a:pt x="589" y="17"/>
                  </a:lnTo>
                  <a:lnTo>
                    <a:pt x="587" y="17"/>
                  </a:lnTo>
                  <a:lnTo>
                    <a:pt x="584" y="18"/>
                  </a:lnTo>
                  <a:lnTo>
                    <a:pt x="581" y="18"/>
                  </a:lnTo>
                  <a:lnTo>
                    <a:pt x="578" y="18"/>
                  </a:lnTo>
                  <a:lnTo>
                    <a:pt x="575" y="19"/>
                  </a:lnTo>
                  <a:lnTo>
                    <a:pt x="572" y="21"/>
                  </a:lnTo>
                  <a:lnTo>
                    <a:pt x="569" y="22"/>
                  </a:lnTo>
                  <a:lnTo>
                    <a:pt x="567" y="24"/>
                  </a:lnTo>
                  <a:lnTo>
                    <a:pt x="563" y="22"/>
                  </a:lnTo>
                  <a:lnTo>
                    <a:pt x="560" y="22"/>
                  </a:lnTo>
                  <a:lnTo>
                    <a:pt x="557" y="22"/>
                  </a:lnTo>
                  <a:lnTo>
                    <a:pt x="554" y="22"/>
                  </a:lnTo>
                  <a:lnTo>
                    <a:pt x="552" y="23"/>
                  </a:lnTo>
                  <a:lnTo>
                    <a:pt x="547" y="23"/>
                  </a:lnTo>
                  <a:lnTo>
                    <a:pt x="545" y="23"/>
                  </a:lnTo>
                  <a:lnTo>
                    <a:pt x="543" y="23"/>
                  </a:lnTo>
                  <a:lnTo>
                    <a:pt x="540" y="24"/>
                  </a:lnTo>
                  <a:lnTo>
                    <a:pt x="540" y="26"/>
                  </a:lnTo>
                  <a:lnTo>
                    <a:pt x="536" y="29"/>
                  </a:lnTo>
                  <a:lnTo>
                    <a:pt x="537" y="26"/>
                  </a:lnTo>
                  <a:lnTo>
                    <a:pt x="535" y="24"/>
                  </a:lnTo>
                  <a:lnTo>
                    <a:pt x="528" y="24"/>
                  </a:lnTo>
                  <a:lnTo>
                    <a:pt x="526" y="24"/>
                  </a:lnTo>
                  <a:lnTo>
                    <a:pt x="523" y="25"/>
                  </a:lnTo>
                  <a:lnTo>
                    <a:pt x="519" y="25"/>
                  </a:lnTo>
                  <a:lnTo>
                    <a:pt x="517" y="27"/>
                  </a:lnTo>
                  <a:lnTo>
                    <a:pt x="515" y="30"/>
                  </a:lnTo>
                  <a:lnTo>
                    <a:pt x="516" y="27"/>
                  </a:lnTo>
                  <a:lnTo>
                    <a:pt x="514" y="24"/>
                  </a:lnTo>
                  <a:lnTo>
                    <a:pt x="517" y="24"/>
                  </a:lnTo>
                  <a:lnTo>
                    <a:pt x="520" y="24"/>
                  </a:lnTo>
                  <a:lnTo>
                    <a:pt x="523" y="24"/>
                  </a:lnTo>
                  <a:lnTo>
                    <a:pt x="526" y="24"/>
                  </a:lnTo>
                  <a:lnTo>
                    <a:pt x="532" y="24"/>
                  </a:lnTo>
                  <a:lnTo>
                    <a:pt x="534" y="23"/>
                  </a:lnTo>
                  <a:lnTo>
                    <a:pt x="537" y="23"/>
                  </a:lnTo>
                  <a:lnTo>
                    <a:pt x="541" y="22"/>
                  </a:lnTo>
                  <a:lnTo>
                    <a:pt x="543" y="22"/>
                  </a:lnTo>
                  <a:lnTo>
                    <a:pt x="550" y="21"/>
                  </a:lnTo>
                  <a:lnTo>
                    <a:pt x="552" y="21"/>
                  </a:lnTo>
                  <a:lnTo>
                    <a:pt x="555" y="21"/>
                  </a:lnTo>
                  <a:lnTo>
                    <a:pt x="552" y="18"/>
                  </a:lnTo>
                  <a:lnTo>
                    <a:pt x="550" y="17"/>
                  </a:lnTo>
                  <a:lnTo>
                    <a:pt x="546" y="17"/>
                  </a:lnTo>
                  <a:lnTo>
                    <a:pt x="543" y="17"/>
                  </a:lnTo>
                  <a:lnTo>
                    <a:pt x="546" y="16"/>
                  </a:lnTo>
                  <a:lnTo>
                    <a:pt x="550" y="17"/>
                  </a:lnTo>
                  <a:lnTo>
                    <a:pt x="552" y="17"/>
                  </a:lnTo>
                  <a:lnTo>
                    <a:pt x="555" y="18"/>
                  </a:lnTo>
                  <a:lnTo>
                    <a:pt x="561" y="19"/>
                  </a:lnTo>
                  <a:lnTo>
                    <a:pt x="567" y="19"/>
                  </a:lnTo>
                  <a:lnTo>
                    <a:pt x="572" y="18"/>
                  </a:lnTo>
                  <a:lnTo>
                    <a:pt x="576" y="17"/>
                  </a:lnTo>
                  <a:lnTo>
                    <a:pt x="578" y="17"/>
                  </a:lnTo>
                  <a:lnTo>
                    <a:pt x="581" y="16"/>
                  </a:lnTo>
                  <a:lnTo>
                    <a:pt x="584" y="16"/>
                  </a:lnTo>
                  <a:lnTo>
                    <a:pt x="591" y="15"/>
                  </a:lnTo>
                  <a:lnTo>
                    <a:pt x="596" y="15"/>
                  </a:lnTo>
                  <a:lnTo>
                    <a:pt x="598" y="15"/>
                  </a:lnTo>
                  <a:lnTo>
                    <a:pt x="602" y="15"/>
                  </a:lnTo>
                  <a:lnTo>
                    <a:pt x="605" y="15"/>
                  </a:lnTo>
                  <a:lnTo>
                    <a:pt x="608" y="16"/>
                  </a:lnTo>
                  <a:lnTo>
                    <a:pt x="617" y="16"/>
                  </a:lnTo>
                  <a:lnTo>
                    <a:pt x="619" y="16"/>
                  </a:lnTo>
                  <a:lnTo>
                    <a:pt x="622" y="17"/>
                  </a:lnTo>
                  <a:lnTo>
                    <a:pt x="626" y="16"/>
                  </a:lnTo>
                  <a:lnTo>
                    <a:pt x="631" y="16"/>
                  </a:lnTo>
                  <a:lnTo>
                    <a:pt x="637" y="15"/>
                  </a:lnTo>
                  <a:lnTo>
                    <a:pt x="639" y="15"/>
                  </a:lnTo>
                  <a:lnTo>
                    <a:pt x="643" y="14"/>
                  </a:lnTo>
                  <a:lnTo>
                    <a:pt x="645" y="14"/>
                  </a:lnTo>
                  <a:lnTo>
                    <a:pt x="648" y="13"/>
                  </a:lnTo>
                  <a:lnTo>
                    <a:pt x="645" y="9"/>
                  </a:lnTo>
                  <a:lnTo>
                    <a:pt x="642" y="8"/>
                  </a:lnTo>
                  <a:lnTo>
                    <a:pt x="639" y="8"/>
                  </a:lnTo>
                  <a:lnTo>
                    <a:pt x="636" y="7"/>
                  </a:lnTo>
                  <a:lnTo>
                    <a:pt x="631" y="6"/>
                  </a:lnTo>
                  <a:lnTo>
                    <a:pt x="628" y="6"/>
                  </a:lnTo>
                  <a:lnTo>
                    <a:pt x="626" y="5"/>
                  </a:lnTo>
                  <a:lnTo>
                    <a:pt x="622" y="5"/>
                  </a:lnTo>
                  <a:lnTo>
                    <a:pt x="619" y="5"/>
                  </a:lnTo>
                  <a:lnTo>
                    <a:pt x="617" y="5"/>
                  </a:lnTo>
                  <a:lnTo>
                    <a:pt x="613" y="5"/>
                  </a:lnTo>
                  <a:lnTo>
                    <a:pt x="610" y="7"/>
                  </a:lnTo>
                  <a:lnTo>
                    <a:pt x="608" y="6"/>
                  </a:lnTo>
                  <a:lnTo>
                    <a:pt x="604" y="5"/>
                  </a:lnTo>
                  <a:lnTo>
                    <a:pt x="608" y="5"/>
                  </a:lnTo>
                  <a:lnTo>
                    <a:pt x="604" y="4"/>
                  </a:lnTo>
                  <a:lnTo>
                    <a:pt x="602" y="5"/>
                  </a:lnTo>
                  <a:lnTo>
                    <a:pt x="598" y="2"/>
                  </a:lnTo>
                  <a:lnTo>
                    <a:pt x="595" y="2"/>
                  </a:lnTo>
                  <a:lnTo>
                    <a:pt x="593" y="1"/>
                  </a:lnTo>
                  <a:lnTo>
                    <a:pt x="589" y="1"/>
                  </a:lnTo>
                  <a:lnTo>
                    <a:pt x="587" y="0"/>
                  </a:lnTo>
                  <a:lnTo>
                    <a:pt x="584" y="0"/>
                  </a:lnTo>
                  <a:lnTo>
                    <a:pt x="580" y="0"/>
                  </a:lnTo>
                  <a:lnTo>
                    <a:pt x="577" y="1"/>
                  </a:lnTo>
                  <a:lnTo>
                    <a:pt x="571" y="1"/>
                  </a:lnTo>
                  <a:lnTo>
                    <a:pt x="569" y="1"/>
                  </a:lnTo>
                  <a:lnTo>
                    <a:pt x="566" y="0"/>
                  </a:lnTo>
                  <a:lnTo>
                    <a:pt x="563" y="0"/>
                  </a:lnTo>
                  <a:lnTo>
                    <a:pt x="560" y="1"/>
                  </a:lnTo>
                  <a:lnTo>
                    <a:pt x="557" y="0"/>
                  </a:lnTo>
                  <a:lnTo>
                    <a:pt x="554" y="0"/>
                  </a:lnTo>
                  <a:lnTo>
                    <a:pt x="551" y="0"/>
                  </a:lnTo>
                  <a:lnTo>
                    <a:pt x="547" y="0"/>
                  </a:lnTo>
                  <a:lnTo>
                    <a:pt x="545" y="0"/>
                  </a:lnTo>
                  <a:lnTo>
                    <a:pt x="542" y="0"/>
                  </a:lnTo>
                  <a:lnTo>
                    <a:pt x="540" y="0"/>
                  </a:lnTo>
                  <a:lnTo>
                    <a:pt x="536" y="0"/>
                  </a:lnTo>
                  <a:lnTo>
                    <a:pt x="536" y="4"/>
                  </a:lnTo>
                  <a:lnTo>
                    <a:pt x="538" y="5"/>
                  </a:lnTo>
                  <a:lnTo>
                    <a:pt x="536" y="5"/>
                  </a:lnTo>
                  <a:lnTo>
                    <a:pt x="533" y="4"/>
                  </a:lnTo>
                  <a:lnTo>
                    <a:pt x="530" y="0"/>
                  </a:lnTo>
                  <a:lnTo>
                    <a:pt x="527" y="2"/>
                  </a:lnTo>
                  <a:lnTo>
                    <a:pt x="525" y="0"/>
                  </a:lnTo>
                  <a:lnTo>
                    <a:pt x="521" y="1"/>
                  </a:lnTo>
                  <a:lnTo>
                    <a:pt x="519" y="2"/>
                  </a:lnTo>
                  <a:lnTo>
                    <a:pt x="516" y="2"/>
                  </a:lnTo>
                  <a:lnTo>
                    <a:pt x="510" y="2"/>
                  </a:lnTo>
                  <a:lnTo>
                    <a:pt x="507" y="2"/>
                  </a:lnTo>
                  <a:lnTo>
                    <a:pt x="503" y="2"/>
                  </a:lnTo>
                  <a:lnTo>
                    <a:pt x="500" y="2"/>
                  </a:lnTo>
                  <a:lnTo>
                    <a:pt x="498" y="2"/>
                  </a:lnTo>
                  <a:lnTo>
                    <a:pt x="500" y="6"/>
                  </a:lnTo>
                  <a:lnTo>
                    <a:pt x="502" y="8"/>
                  </a:lnTo>
                  <a:lnTo>
                    <a:pt x="499" y="8"/>
                  </a:lnTo>
                  <a:lnTo>
                    <a:pt x="497" y="6"/>
                  </a:lnTo>
                  <a:lnTo>
                    <a:pt x="493" y="6"/>
                  </a:lnTo>
                  <a:lnTo>
                    <a:pt x="491" y="6"/>
                  </a:lnTo>
                  <a:lnTo>
                    <a:pt x="487" y="5"/>
                  </a:lnTo>
                  <a:lnTo>
                    <a:pt x="485" y="4"/>
                  </a:lnTo>
                  <a:lnTo>
                    <a:pt x="482" y="5"/>
                  </a:lnTo>
                  <a:lnTo>
                    <a:pt x="481" y="7"/>
                  </a:lnTo>
                  <a:lnTo>
                    <a:pt x="484" y="8"/>
                  </a:lnTo>
                  <a:lnTo>
                    <a:pt x="481" y="8"/>
                  </a:lnTo>
                  <a:lnTo>
                    <a:pt x="477" y="8"/>
                  </a:lnTo>
                  <a:lnTo>
                    <a:pt x="475" y="7"/>
                  </a:lnTo>
                  <a:lnTo>
                    <a:pt x="473" y="7"/>
                  </a:lnTo>
                  <a:lnTo>
                    <a:pt x="469" y="6"/>
                  </a:lnTo>
                  <a:lnTo>
                    <a:pt x="469" y="9"/>
                  </a:lnTo>
                  <a:lnTo>
                    <a:pt x="470" y="12"/>
                  </a:lnTo>
                  <a:lnTo>
                    <a:pt x="473" y="15"/>
                  </a:lnTo>
                  <a:lnTo>
                    <a:pt x="476" y="15"/>
                  </a:lnTo>
                  <a:lnTo>
                    <a:pt x="478" y="14"/>
                  </a:lnTo>
                  <a:lnTo>
                    <a:pt x="482" y="15"/>
                  </a:lnTo>
                  <a:lnTo>
                    <a:pt x="485" y="15"/>
                  </a:lnTo>
                  <a:lnTo>
                    <a:pt x="489" y="16"/>
                  </a:lnTo>
                  <a:lnTo>
                    <a:pt x="492" y="16"/>
                  </a:lnTo>
                  <a:lnTo>
                    <a:pt x="494" y="16"/>
                  </a:lnTo>
                  <a:lnTo>
                    <a:pt x="492" y="17"/>
                  </a:lnTo>
                  <a:lnTo>
                    <a:pt x="489" y="17"/>
                  </a:lnTo>
                  <a:lnTo>
                    <a:pt x="483" y="17"/>
                  </a:lnTo>
                  <a:lnTo>
                    <a:pt x="480" y="17"/>
                  </a:lnTo>
                  <a:lnTo>
                    <a:pt x="477" y="17"/>
                  </a:lnTo>
                  <a:lnTo>
                    <a:pt x="472" y="18"/>
                  </a:lnTo>
                  <a:lnTo>
                    <a:pt x="474" y="21"/>
                  </a:lnTo>
                  <a:lnTo>
                    <a:pt x="477" y="21"/>
                  </a:lnTo>
                  <a:lnTo>
                    <a:pt x="481" y="19"/>
                  </a:lnTo>
                  <a:lnTo>
                    <a:pt x="483" y="19"/>
                  </a:lnTo>
                  <a:lnTo>
                    <a:pt x="489" y="21"/>
                  </a:lnTo>
                  <a:lnTo>
                    <a:pt x="485" y="21"/>
                  </a:lnTo>
                  <a:lnTo>
                    <a:pt x="483" y="21"/>
                  </a:lnTo>
                  <a:lnTo>
                    <a:pt x="480" y="21"/>
                  </a:lnTo>
                  <a:lnTo>
                    <a:pt x="476" y="21"/>
                  </a:lnTo>
                  <a:lnTo>
                    <a:pt x="474" y="21"/>
                  </a:lnTo>
                  <a:lnTo>
                    <a:pt x="468" y="21"/>
                  </a:lnTo>
                  <a:lnTo>
                    <a:pt x="465" y="22"/>
                  </a:lnTo>
                  <a:lnTo>
                    <a:pt x="468" y="23"/>
                  </a:lnTo>
                  <a:lnTo>
                    <a:pt x="469" y="26"/>
                  </a:lnTo>
                  <a:lnTo>
                    <a:pt x="473" y="27"/>
                  </a:lnTo>
                  <a:lnTo>
                    <a:pt x="469" y="29"/>
                  </a:lnTo>
                  <a:lnTo>
                    <a:pt x="467" y="26"/>
                  </a:lnTo>
                  <a:lnTo>
                    <a:pt x="464" y="24"/>
                  </a:lnTo>
                  <a:lnTo>
                    <a:pt x="461" y="23"/>
                  </a:lnTo>
                  <a:lnTo>
                    <a:pt x="458" y="23"/>
                  </a:lnTo>
                  <a:lnTo>
                    <a:pt x="455" y="23"/>
                  </a:lnTo>
                  <a:lnTo>
                    <a:pt x="452" y="23"/>
                  </a:lnTo>
                  <a:lnTo>
                    <a:pt x="449" y="23"/>
                  </a:lnTo>
                  <a:lnTo>
                    <a:pt x="447" y="23"/>
                  </a:lnTo>
                  <a:lnTo>
                    <a:pt x="443" y="22"/>
                  </a:lnTo>
                  <a:lnTo>
                    <a:pt x="441" y="21"/>
                  </a:lnTo>
                  <a:lnTo>
                    <a:pt x="438" y="19"/>
                  </a:lnTo>
                  <a:lnTo>
                    <a:pt x="434" y="18"/>
                  </a:lnTo>
                  <a:lnTo>
                    <a:pt x="432" y="17"/>
                  </a:lnTo>
                  <a:lnTo>
                    <a:pt x="429" y="17"/>
                  </a:lnTo>
                  <a:lnTo>
                    <a:pt x="426" y="14"/>
                  </a:lnTo>
                  <a:lnTo>
                    <a:pt x="424" y="14"/>
                  </a:lnTo>
                  <a:lnTo>
                    <a:pt x="421" y="14"/>
                  </a:lnTo>
                  <a:lnTo>
                    <a:pt x="417" y="13"/>
                  </a:lnTo>
                  <a:lnTo>
                    <a:pt x="415" y="12"/>
                  </a:lnTo>
                  <a:lnTo>
                    <a:pt x="412" y="12"/>
                  </a:lnTo>
                  <a:lnTo>
                    <a:pt x="409" y="13"/>
                  </a:lnTo>
                  <a:lnTo>
                    <a:pt x="412" y="14"/>
                  </a:lnTo>
                  <a:lnTo>
                    <a:pt x="408" y="14"/>
                  </a:lnTo>
                  <a:lnTo>
                    <a:pt x="406" y="14"/>
                  </a:lnTo>
                  <a:lnTo>
                    <a:pt x="404" y="14"/>
                  </a:lnTo>
                  <a:lnTo>
                    <a:pt x="400" y="14"/>
                  </a:lnTo>
                  <a:lnTo>
                    <a:pt x="404" y="15"/>
                  </a:lnTo>
                  <a:lnTo>
                    <a:pt x="406" y="16"/>
                  </a:lnTo>
                  <a:lnTo>
                    <a:pt x="413" y="17"/>
                  </a:lnTo>
                  <a:lnTo>
                    <a:pt x="409" y="17"/>
                  </a:lnTo>
                  <a:lnTo>
                    <a:pt x="406" y="16"/>
                  </a:lnTo>
                  <a:lnTo>
                    <a:pt x="404" y="17"/>
                  </a:lnTo>
                  <a:lnTo>
                    <a:pt x="400" y="17"/>
                  </a:lnTo>
                  <a:lnTo>
                    <a:pt x="398" y="16"/>
                  </a:lnTo>
                  <a:lnTo>
                    <a:pt x="395" y="16"/>
                  </a:lnTo>
                  <a:lnTo>
                    <a:pt x="389" y="16"/>
                  </a:lnTo>
                  <a:lnTo>
                    <a:pt x="386" y="17"/>
                  </a:lnTo>
                  <a:lnTo>
                    <a:pt x="383" y="16"/>
                  </a:lnTo>
                  <a:lnTo>
                    <a:pt x="380" y="17"/>
                  </a:lnTo>
                  <a:lnTo>
                    <a:pt x="378" y="17"/>
                  </a:lnTo>
                  <a:lnTo>
                    <a:pt x="380" y="18"/>
                  </a:lnTo>
                  <a:lnTo>
                    <a:pt x="383" y="19"/>
                  </a:lnTo>
                  <a:lnTo>
                    <a:pt x="386" y="22"/>
                  </a:lnTo>
                  <a:lnTo>
                    <a:pt x="389" y="22"/>
                  </a:lnTo>
                  <a:lnTo>
                    <a:pt x="391" y="23"/>
                  </a:lnTo>
                  <a:lnTo>
                    <a:pt x="395" y="23"/>
                  </a:lnTo>
                  <a:lnTo>
                    <a:pt x="397" y="24"/>
                  </a:lnTo>
                  <a:lnTo>
                    <a:pt x="400" y="24"/>
                  </a:lnTo>
                  <a:lnTo>
                    <a:pt x="406" y="24"/>
                  </a:lnTo>
                  <a:lnTo>
                    <a:pt x="401" y="24"/>
                  </a:lnTo>
                  <a:lnTo>
                    <a:pt x="398" y="24"/>
                  </a:lnTo>
                  <a:lnTo>
                    <a:pt x="395" y="24"/>
                  </a:lnTo>
                  <a:lnTo>
                    <a:pt x="391" y="23"/>
                  </a:lnTo>
                  <a:lnTo>
                    <a:pt x="389" y="23"/>
                  </a:lnTo>
                  <a:lnTo>
                    <a:pt x="383" y="24"/>
                  </a:lnTo>
                  <a:lnTo>
                    <a:pt x="383" y="24"/>
                  </a:lnTo>
                  <a:lnTo>
                    <a:pt x="382" y="22"/>
                  </a:lnTo>
                  <a:lnTo>
                    <a:pt x="379" y="21"/>
                  </a:lnTo>
                  <a:lnTo>
                    <a:pt x="375" y="21"/>
                  </a:lnTo>
                  <a:lnTo>
                    <a:pt x="373" y="18"/>
                  </a:lnTo>
                  <a:lnTo>
                    <a:pt x="370" y="18"/>
                  </a:lnTo>
                  <a:lnTo>
                    <a:pt x="367" y="19"/>
                  </a:lnTo>
                  <a:lnTo>
                    <a:pt x="364" y="19"/>
                  </a:lnTo>
                  <a:lnTo>
                    <a:pt x="362" y="22"/>
                  </a:lnTo>
                  <a:lnTo>
                    <a:pt x="364" y="22"/>
                  </a:lnTo>
                  <a:lnTo>
                    <a:pt x="367" y="22"/>
                  </a:lnTo>
                  <a:lnTo>
                    <a:pt x="371" y="24"/>
                  </a:lnTo>
                  <a:lnTo>
                    <a:pt x="367" y="23"/>
                  </a:lnTo>
                  <a:lnTo>
                    <a:pt x="364" y="23"/>
                  </a:lnTo>
                  <a:lnTo>
                    <a:pt x="361" y="24"/>
                  </a:lnTo>
                  <a:lnTo>
                    <a:pt x="364" y="25"/>
                  </a:lnTo>
                  <a:lnTo>
                    <a:pt x="366" y="26"/>
                  </a:lnTo>
                  <a:lnTo>
                    <a:pt x="370" y="26"/>
                  </a:lnTo>
                  <a:lnTo>
                    <a:pt x="373" y="26"/>
                  </a:lnTo>
                  <a:lnTo>
                    <a:pt x="375" y="25"/>
                  </a:lnTo>
                  <a:lnTo>
                    <a:pt x="379" y="26"/>
                  </a:lnTo>
                  <a:lnTo>
                    <a:pt x="381" y="26"/>
                  </a:lnTo>
                  <a:lnTo>
                    <a:pt x="384" y="24"/>
                  </a:lnTo>
                  <a:lnTo>
                    <a:pt x="387" y="25"/>
                  </a:lnTo>
                  <a:lnTo>
                    <a:pt x="390" y="26"/>
                  </a:lnTo>
                  <a:lnTo>
                    <a:pt x="396" y="26"/>
                  </a:lnTo>
                  <a:lnTo>
                    <a:pt x="399" y="26"/>
                  </a:lnTo>
                  <a:lnTo>
                    <a:pt x="401" y="26"/>
                  </a:lnTo>
                  <a:lnTo>
                    <a:pt x="405" y="26"/>
                  </a:lnTo>
                  <a:lnTo>
                    <a:pt x="410" y="26"/>
                  </a:lnTo>
                  <a:lnTo>
                    <a:pt x="413" y="26"/>
                  </a:lnTo>
                  <a:lnTo>
                    <a:pt x="423" y="26"/>
                  </a:lnTo>
                  <a:lnTo>
                    <a:pt x="425" y="26"/>
                  </a:lnTo>
                  <a:lnTo>
                    <a:pt x="429" y="27"/>
                  </a:lnTo>
                  <a:lnTo>
                    <a:pt x="438" y="29"/>
                  </a:lnTo>
                  <a:lnTo>
                    <a:pt x="441" y="30"/>
                  </a:lnTo>
                  <a:lnTo>
                    <a:pt x="443" y="31"/>
                  </a:lnTo>
                  <a:lnTo>
                    <a:pt x="447" y="31"/>
                  </a:lnTo>
                  <a:lnTo>
                    <a:pt x="450" y="31"/>
                  </a:lnTo>
                  <a:lnTo>
                    <a:pt x="453" y="32"/>
                  </a:lnTo>
                  <a:lnTo>
                    <a:pt x="455" y="34"/>
                  </a:lnTo>
                  <a:lnTo>
                    <a:pt x="453" y="38"/>
                  </a:lnTo>
                  <a:lnTo>
                    <a:pt x="455" y="40"/>
                  </a:lnTo>
                  <a:lnTo>
                    <a:pt x="455" y="43"/>
                  </a:lnTo>
                  <a:lnTo>
                    <a:pt x="451" y="41"/>
                  </a:lnTo>
                  <a:lnTo>
                    <a:pt x="451" y="38"/>
                  </a:lnTo>
                  <a:lnTo>
                    <a:pt x="449" y="35"/>
                  </a:lnTo>
                  <a:lnTo>
                    <a:pt x="446" y="35"/>
                  </a:lnTo>
                  <a:lnTo>
                    <a:pt x="443" y="34"/>
                  </a:lnTo>
                  <a:lnTo>
                    <a:pt x="440" y="33"/>
                  </a:lnTo>
                  <a:lnTo>
                    <a:pt x="438" y="32"/>
                  </a:lnTo>
                  <a:lnTo>
                    <a:pt x="434" y="31"/>
                  </a:lnTo>
                  <a:lnTo>
                    <a:pt x="432" y="31"/>
                  </a:lnTo>
                  <a:lnTo>
                    <a:pt x="429" y="32"/>
                  </a:lnTo>
                  <a:lnTo>
                    <a:pt x="431" y="34"/>
                  </a:lnTo>
                  <a:lnTo>
                    <a:pt x="432" y="38"/>
                  </a:lnTo>
                  <a:lnTo>
                    <a:pt x="429" y="39"/>
                  </a:lnTo>
                  <a:lnTo>
                    <a:pt x="427" y="35"/>
                  </a:lnTo>
                  <a:lnTo>
                    <a:pt x="427" y="33"/>
                  </a:lnTo>
                  <a:lnTo>
                    <a:pt x="425" y="32"/>
                  </a:lnTo>
                  <a:lnTo>
                    <a:pt x="423" y="30"/>
                  </a:lnTo>
                  <a:lnTo>
                    <a:pt x="419" y="29"/>
                  </a:lnTo>
                  <a:lnTo>
                    <a:pt x="417" y="29"/>
                  </a:lnTo>
                  <a:lnTo>
                    <a:pt x="414" y="29"/>
                  </a:lnTo>
                  <a:lnTo>
                    <a:pt x="412" y="29"/>
                  </a:lnTo>
                  <a:lnTo>
                    <a:pt x="402" y="29"/>
                  </a:lnTo>
                  <a:lnTo>
                    <a:pt x="399" y="29"/>
                  </a:lnTo>
                  <a:lnTo>
                    <a:pt x="397" y="30"/>
                  </a:lnTo>
                  <a:lnTo>
                    <a:pt x="391" y="30"/>
                  </a:lnTo>
                  <a:lnTo>
                    <a:pt x="388" y="29"/>
                  </a:lnTo>
                  <a:lnTo>
                    <a:pt x="384" y="29"/>
                  </a:lnTo>
                  <a:lnTo>
                    <a:pt x="382" y="29"/>
                  </a:lnTo>
                  <a:lnTo>
                    <a:pt x="379" y="29"/>
                  </a:lnTo>
                  <a:lnTo>
                    <a:pt x="375" y="31"/>
                  </a:lnTo>
                  <a:lnTo>
                    <a:pt x="379" y="32"/>
                  </a:lnTo>
                  <a:lnTo>
                    <a:pt x="381" y="33"/>
                  </a:lnTo>
                  <a:lnTo>
                    <a:pt x="384" y="34"/>
                  </a:lnTo>
                  <a:lnTo>
                    <a:pt x="387" y="35"/>
                  </a:lnTo>
                  <a:lnTo>
                    <a:pt x="390" y="36"/>
                  </a:lnTo>
                  <a:lnTo>
                    <a:pt x="392" y="39"/>
                  </a:lnTo>
                  <a:lnTo>
                    <a:pt x="396" y="40"/>
                  </a:lnTo>
                  <a:lnTo>
                    <a:pt x="398" y="40"/>
                  </a:lnTo>
                  <a:lnTo>
                    <a:pt x="401" y="41"/>
                  </a:lnTo>
                  <a:lnTo>
                    <a:pt x="400" y="44"/>
                  </a:lnTo>
                  <a:lnTo>
                    <a:pt x="404" y="44"/>
                  </a:lnTo>
                  <a:lnTo>
                    <a:pt x="406" y="45"/>
                  </a:lnTo>
                  <a:lnTo>
                    <a:pt x="409" y="45"/>
                  </a:lnTo>
                  <a:lnTo>
                    <a:pt x="413" y="45"/>
                  </a:lnTo>
                  <a:lnTo>
                    <a:pt x="415" y="45"/>
                  </a:lnTo>
                  <a:lnTo>
                    <a:pt x="418" y="47"/>
                  </a:lnTo>
                  <a:lnTo>
                    <a:pt x="421" y="48"/>
                  </a:lnTo>
                  <a:lnTo>
                    <a:pt x="417" y="48"/>
                  </a:lnTo>
                  <a:lnTo>
                    <a:pt x="415" y="47"/>
                  </a:lnTo>
                  <a:lnTo>
                    <a:pt x="412" y="47"/>
                  </a:lnTo>
                  <a:lnTo>
                    <a:pt x="408" y="47"/>
                  </a:lnTo>
                  <a:lnTo>
                    <a:pt x="406" y="47"/>
                  </a:lnTo>
                  <a:lnTo>
                    <a:pt x="402" y="45"/>
                  </a:lnTo>
                  <a:lnTo>
                    <a:pt x="400" y="45"/>
                  </a:lnTo>
                  <a:lnTo>
                    <a:pt x="397" y="44"/>
                  </a:lnTo>
                  <a:lnTo>
                    <a:pt x="393" y="44"/>
                  </a:lnTo>
                  <a:lnTo>
                    <a:pt x="391" y="45"/>
                  </a:lnTo>
                  <a:lnTo>
                    <a:pt x="388" y="47"/>
                  </a:lnTo>
                  <a:lnTo>
                    <a:pt x="389" y="49"/>
                  </a:lnTo>
                  <a:lnTo>
                    <a:pt x="391" y="52"/>
                  </a:lnTo>
                  <a:lnTo>
                    <a:pt x="389" y="53"/>
                  </a:lnTo>
                  <a:lnTo>
                    <a:pt x="386" y="56"/>
                  </a:lnTo>
                  <a:lnTo>
                    <a:pt x="388" y="56"/>
                  </a:lnTo>
                  <a:lnTo>
                    <a:pt x="391" y="57"/>
                  </a:lnTo>
                  <a:lnTo>
                    <a:pt x="389" y="57"/>
                  </a:lnTo>
                  <a:lnTo>
                    <a:pt x="391" y="59"/>
                  </a:lnTo>
                  <a:lnTo>
                    <a:pt x="393" y="61"/>
                  </a:lnTo>
                  <a:lnTo>
                    <a:pt x="391" y="61"/>
                  </a:lnTo>
                  <a:lnTo>
                    <a:pt x="388" y="62"/>
                  </a:lnTo>
                  <a:lnTo>
                    <a:pt x="386" y="62"/>
                  </a:lnTo>
                  <a:lnTo>
                    <a:pt x="382" y="61"/>
                  </a:lnTo>
                  <a:lnTo>
                    <a:pt x="380" y="60"/>
                  </a:lnTo>
                  <a:lnTo>
                    <a:pt x="376" y="58"/>
                  </a:lnTo>
                  <a:lnTo>
                    <a:pt x="373" y="57"/>
                  </a:lnTo>
                  <a:lnTo>
                    <a:pt x="371" y="57"/>
                  </a:lnTo>
                  <a:lnTo>
                    <a:pt x="370" y="53"/>
                  </a:lnTo>
                  <a:lnTo>
                    <a:pt x="366" y="52"/>
                  </a:lnTo>
                  <a:lnTo>
                    <a:pt x="364" y="51"/>
                  </a:lnTo>
                  <a:lnTo>
                    <a:pt x="361" y="51"/>
                  </a:lnTo>
                  <a:lnTo>
                    <a:pt x="358" y="50"/>
                  </a:lnTo>
                  <a:lnTo>
                    <a:pt x="355" y="50"/>
                  </a:lnTo>
                  <a:lnTo>
                    <a:pt x="353" y="49"/>
                  </a:lnTo>
                  <a:lnTo>
                    <a:pt x="347" y="47"/>
                  </a:lnTo>
                  <a:lnTo>
                    <a:pt x="344" y="45"/>
                  </a:lnTo>
                  <a:lnTo>
                    <a:pt x="341" y="44"/>
                  </a:lnTo>
                  <a:lnTo>
                    <a:pt x="338" y="44"/>
                  </a:lnTo>
                  <a:lnTo>
                    <a:pt x="335" y="44"/>
                  </a:lnTo>
                  <a:lnTo>
                    <a:pt x="332" y="42"/>
                  </a:lnTo>
                  <a:lnTo>
                    <a:pt x="329" y="40"/>
                  </a:lnTo>
                  <a:lnTo>
                    <a:pt x="327" y="39"/>
                  </a:lnTo>
                  <a:lnTo>
                    <a:pt x="321" y="38"/>
                  </a:lnTo>
                  <a:lnTo>
                    <a:pt x="318" y="38"/>
                  </a:lnTo>
                  <a:lnTo>
                    <a:pt x="314" y="38"/>
                  </a:lnTo>
                  <a:lnTo>
                    <a:pt x="312" y="38"/>
                  </a:lnTo>
                  <a:lnTo>
                    <a:pt x="308" y="38"/>
                  </a:lnTo>
                  <a:lnTo>
                    <a:pt x="303" y="38"/>
                  </a:lnTo>
                  <a:lnTo>
                    <a:pt x="302" y="41"/>
                  </a:lnTo>
                  <a:lnTo>
                    <a:pt x="304" y="43"/>
                  </a:lnTo>
                  <a:lnTo>
                    <a:pt x="305" y="45"/>
                  </a:lnTo>
                  <a:lnTo>
                    <a:pt x="306" y="49"/>
                  </a:lnTo>
                  <a:lnTo>
                    <a:pt x="308" y="50"/>
                  </a:lnTo>
                  <a:lnTo>
                    <a:pt x="312" y="51"/>
                  </a:lnTo>
                  <a:lnTo>
                    <a:pt x="314" y="53"/>
                  </a:lnTo>
                  <a:lnTo>
                    <a:pt x="316" y="55"/>
                  </a:lnTo>
                  <a:lnTo>
                    <a:pt x="320" y="56"/>
                  </a:lnTo>
                  <a:lnTo>
                    <a:pt x="322" y="57"/>
                  </a:lnTo>
                  <a:lnTo>
                    <a:pt x="320" y="59"/>
                  </a:lnTo>
                  <a:lnTo>
                    <a:pt x="316" y="59"/>
                  </a:lnTo>
                  <a:lnTo>
                    <a:pt x="314" y="58"/>
                  </a:lnTo>
                  <a:lnTo>
                    <a:pt x="311" y="58"/>
                  </a:lnTo>
                  <a:lnTo>
                    <a:pt x="308" y="58"/>
                  </a:lnTo>
                  <a:lnTo>
                    <a:pt x="305" y="57"/>
                  </a:lnTo>
                  <a:lnTo>
                    <a:pt x="302" y="57"/>
                  </a:lnTo>
                  <a:lnTo>
                    <a:pt x="304" y="59"/>
                  </a:lnTo>
                  <a:lnTo>
                    <a:pt x="306" y="60"/>
                  </a:lnTo>
                  <a:lnTo>
                    <a:pt x="310" y="62"/>
                  </a:lnTo>
                  <a:lnTo>
                    <a:pt x="312" y="62"/>
                  </a:lnTo>
                  <a:lnTo>
                    <a:pt x="315" y="64"/>
                  </a:lnTo>
                  <a:lnTo>
                    <a:pt x="318" y="66"/>
                  </a:lnTo>
                  <a:lnTo>
                    <a:pt x="321" y="67"/>
                  </a:lnTo>
                  <a:lnTo>
                    <a:pt x="319" y="68"/>
                  </a:lnTo>
                  <a:lnTo>
                    <a:pt x="315" y="67"/>
                  </a:lnTo>
                  <a:lnTo>
                    <a:pt x="313" y="66"/>
                  </a:lnTo>
                  <a:lnTo>
                    <a:pt x="311" y="64"/>
                  </a:lnTo>
                  <a:lnTo>
                    <a:pt x="308" y="64"/>
                  </a:lnTo>
                  <a:lnTo>
                    <a:pt x="305" y="62"/>
                  </a:lnTo>
                  <a:lnTo>
                    <a:pt x="303" y="60"/>
                  </a:lnTo>
                  <a:lnTo>
                    <a:pt x="299" y="59"/>
                  </a:lnTo>
                  <a:lnTo>
                    <a:pt x="297" y="58"/>
                  </a:lnTo>
                  <a:lnTo>
                    <a:pt x="290" y="58"/>
                  </a:lnTo>
                  <a:lnTo>
                    <a:pt x="288" y="57"/>
                  </a:lnTo>
                  <a:lnTo>
                    <a:pt x="285" y="56"/>
                  </a:lnTo>
                  <a:lnTo>
                    <a:pt x="281" y="55"/>
                  </a:lnTo>
                  <a:lnTo>
                    <a:pt x="279" y="55"/>
                  </a:lnTo>
                  <a:lnTo>
                    <a:pt x="277" y="53"/>
                  </a:lnTo>
                  <a:lnTo>
                    <a:pt x="276" y="57"/>
                  </a:lnTo>
                  <a:lnTo>
                    <a:pt x="276" y="59"/>
                  </a:lnTo>
                  <a:lnTo>
                    <a:pt x="273" y="61"/>
                  </a:lnTo>
                  <a:lnTo>
                    <a:pt x="271" y="64"/>
                  </a:lnTo>
                  <a:lnTo>
                    <a:pt x="268" y="66"/>
                  </a:lnTo>
                  <a:lnTo>
                    <a:pt x="268" y="68"/>
                  </a:lnTo>
                  <a:lnTo>
                    <a:pt x="268" y="70"/>
                  </a:lnTo>
                  <a:lnTo>
                    <a:pt x="265" y="70"/>
                  </a:lnTo>
                  <a:lnTo>
                    <a:pt x="264" y="68"/>
                  </a:lnTo>
                  <a:lnTo>
                    <a:pt x="263" y="65"/>
                  </a:lnTo>
                  <a:lnTo>
                    <a:pt x="265" y="62"/>
                  </a:lnTo>
                  <a:lnTo>
                    <a:pt x="268" y="59"/>
                  </a:lnTo>
                  <a:lnTo>
                    <a:pt x="268" y="57"/>
                  </a:lnTo>
                  <a:lnTo>
                    <a:pt x="267" y="53"/>
                  </a:lnTo>
                  <a:lnTo>
                    <a:pt x="268" y="51"/>
                  </a:lnTo>
                  <a:lnTo>
                    <a:pt x="264" y="49"/>
                  </a:lnTo>
                  <a:lnTo>
                    <a:pt x="262" y="45"/>
                  </a:lnTo>
                  <a:lnTo>
                    <a:pt x="259" y="44"/>
                  </a:lnTo>
                  <a:lnTo>
                    <a:pt x="256" y="43"/>
                  </a:lnTo>
                  <a:lnTo>
                    <a:pt x="253" y="43"/>
                  </a:lnTo>
                  <a:lnTo>
                    <a:pt x="251" y="43"/>
                  </a:lnTo>
                  <a:lnTo>
                    <a:pt x="247" y="44"/>
                  </a:lnTo>
                  <a:lnTo>
                    <a:pt x="245" y="44"/>
                  </a:lnTo>
                  <a:lnTo>
                    <a:pt x="242" y="44"/>
                  </a:lnTo>
                  <a:lnTo>
                    <a:pt x="239" y="45"/>
                  </a:lnTo>
                  <a:lnTo>
                    <a:pt x="242" y="45"/>
                  </a:lnTo>
                  <a:lnTo>
                    <a:pt x="245" y="47"/>
                  </a:lnTo>
                  <a:lnTo>
                    <a:pt x="246" y="49"/>
                  </a:lnTo>
                  <a:lnTo>
                    <a:pt x="243" y="49"/>
                  </a:lnTo>
                  <a:lnTo>
                    <a:pt x="241" y="47"/>
                  </a:lnTo>
                  <a:lnTo>
                    <a:pt x="238" y="47"/>
                  </a:lnTo>
                  <a:lnTo>
                    <a:pt x="235" y="45"/>
                  </a:lnTo>
                  <a:lnTo>
                    <a:pt x="233" y="47"/>
                  </a:lnTo>
                  <a:lnTo>
                    <a:pt x="230" y="49"/>
                  </a:lnTo>
                  <a:lnTo>
                    <a:pt x="228" y="48"/>
                  </a:lnTo>
                  <a:lnTo>
                    <a:pt x="225" y="48"/>
                  </a:lnTo>
                  <a:lnTo>
                    <a:pt x="222" y="48"/>
                  </a:lnTo>
                  <a:lnTo>
                    <a:pt x="219" y="49"/>
                  </a:lnTo>
                  <a:lnTo>
                    <a:pt x="216" y="49"/>
                  </a:lnTo>
                  <a:lnTo>
                    <a:pt x="213" y="49"/>
                  </a:lnTo>
                  <a:lnTo>
                    <a:pt x="210" y="50"/>
                  </a:lnTo>
                  <a:lnTo>
                    <a:pt x="208" y="50"/>
                  </a:lnTo>
                  <a:lnTo>
                    <a:pt x="204" y="50"/>
                  </a:lnTo>
                  <a:lnTo>
                    <a:pt x="202" y="51"/>
                  </a:lnTo>
                  <a:lnTo>
                    <a:pt x="199" y="51"/>
                  </a:lnTo>
                  <a:lnTo>
                    <a:pt x="196" y="52"/>
                  </a:lnTo>
                  <a:lnTo>
                    <a:pt x="193" y="53"/>
                  </a:lnTo>
                  <a:lnTo>
                    <a:pt x="187" y="55"/>
                  </a:lnTo>
                  <a:lnTo>
                    <a:pt x="191" y="57"/>
                  </a:lnTo>
                  <a:lnTo>
                    <a:pt x="193" y="57"/>
                  </a:lnTo>
                  <a:lnTo>
                    <a:pt x="195" y="58"/>
                  </a:lnTo>
                  <a:lnTo>
                    <a:pt x="199" y="59"/>
                  </a:lnTo>
                  <a:lnTo>
                    <a:pt x="201" y="61"/>
                  </a:lnTo>
                  <a:lnTo>
                    <a:pt x="203" y="65"/>
                  </a:lnTo>
                  <a:lnTo>
                    <a:pt x="207" y="66"/>
                  </a:lnTo>
                  <a:lnTo>
                    <a:pt x="209" y="66"/>
                  </a:lnTo>
                  <a:lnTo>
                    <a:pt x="212" y="68"/>
                  </a:lnTo>
                  <a:lnTo>
                    <a:pt x="216" y="69"/>
                  </a:lnTo>
                  <a:lnTo>
                    <a:pt x="218" y="72"/>
                  </a:lnTo>
                  <a:lnTo>
                    <a:pt x="221" y="74"/>
                  </a:lnTo>
                  <a:lnTo>
                    <a:pt x="224" y="75"/>
                  </a:lnTo>
                  <a:lnTo>
                    <a:pt x="227" y="76"/>
                  </a:lnTo>
                  <a:lnTo>
                    <a:pt x="224" y="75"/>
                  </a:lnTo>
                  <a:lnTo>
                    <a:pt x="218" y="74"/>
                  </a:lnTo>
                  <a:lnTo>
                    <a:pt x="216" y="72"/>
                  </a:lnTo>
                  <a:lnTo>
                    <a:pt x="212" y="70"/>
                  </a:lnTo>
                  <a:lnTo>
                    <a:pt x="210" y="68"/>
                  </a:lnTo>
                  <a:lnTo>
                    <a:pt x="207" y="68"/>
                  </a:lnTo>
                  <a:lnTo>
                    <a:pt x="204" y="67"/>
                  </a:lnTo>
                  <a:lnTo>
                    <a:pt x="201" y="67"/>
                  </a:lnTo>
                  <a:lnTo>
                    <a:pt x="199" y="66"/>
                  </a:lnTo>
                  <a:lnTo>
                    <a:pt x="196" y="64"/>
                  </a:lnTo>
                  <a:lnTo>
                    <a:pt x="195" y="60"/>
                  </a:lnTo>
                  <a:lnTo>
                    <a:pt x="193" y="59"/>
                  </a:lnTo>
                  <a:lnTo>
                    <a:pt x="186" y="58"/>
                  </a:lnTo>
                  <a:lnTo>
                    <a:pt x="184" y="58"/>
                  </a:lnTo>
                  <a:lnTo>
                    <a:pt x="180" y="57"/>
                  </a:lnTo>
                  <a:lnTo>
                    <a:pt x="178" y="57"/>
                  </a:lnTo>
                  <a:lnTo>
                    <a:pt x="176" y="57"/>
                  </a:lnTo>
                  <a:lnTo>
                    <a:pt x="174" y="58"/>
                  </a:lnTo>
                  <a:lnTo>
                    <a:pt x="170" y="58"/>
                  </a:lnTo>
                  <a:lnTo>
                    <a:pt x="168" y="59"/>
                  </a:lnTo>
                  <a:lnTo>
                    <a:pt x="165" y="60"/>
                  </a:lnTo>
                  <a:lnTo>
                    <a:pt x="162" y="61"/>
                  </a:lnTo>
                  <a:lnTo>
                    <a:pt x="159" y="62"/>
                  </a:lnTo>
                  <a:lnTo>
                    <a:pt x="161" y="66"/>
                  </a:lnTo>
                  <a:lnTo>
                    <a:pt x="163" y="68"/>
                  </a:lnTo>
                  <a:lnTo>
                    <a:pt x="167" y="70"/>
                  </a:lnTo>
                  <a:lnTo>
                    <a:pt x="167" y="73"/>
                  </a:lnTo>
                  <a:lnTo>
                    <a:pt x="165" y="74"/>
                  </a:lnTo>
                  <a:lnTo>
                    <a:pt x="162" y="77"/>
                  </a:lnTo>
                  <a:lnTo>
                    <a:pt x="163" y="79"/>
                  </a:lnTo>
                  <a:lnTo>
                    <a:pt x="166" y="83"/>
                  </a:lnTo>
                  <a:lnTo>
                    <a:pt x="163" y="84"/>
                  </a:lnTo>
                  <a:lnTo>
                    <a:pt x="160" y="84"/>
                  </a:lnTo>
                  <a:lnTo>
                    <a:pt x="158" y="85"/>
                  </a:lnTo>
                  <a:lnTo>
                    <a:pt x="154" y="84"/>
                  </a:lnTo>
                  <a:lnTo>
                    <a:pt x="152" y="83"/>
                  </a:lnTo>
                  <a:lnTo>
                    <a:pt x="149" y="82"/>
                  </a:lnTo>
                  <a:lnTo>
                    <a:pt x="147" y="81"/>
                  </a:lnTo>
                  <a:lnTo>
                    <a:pt x="143" y="81"/>
                  </a:lnTo>
                  <a:lnTo>
                    <a:pt x="140" y="81"/>
                  </a:lnTo>
                  <a:lnTo>
                    <a:pt x="137" y="81"/>
                  </a:lnTo>
                  <a:lnTo>
                    <a:pt x="134" y="82"/>
                  </a:lnTo>
                  <a:lnTo>
                    <a:pt x="133" y="84"/>
                  </a:lnTo>
                  <a:lnTo>
                    <a:pt x="134" y="87"/>
                  </a:lnTo>
                  <a:lnTo>
                    <a:pt x="136" y="90"/>
                  </a:lnTo>
                  <a:lnTo>
                    <a:pt x="139" y="92"/>
                  </a:lnTo>
                  <a:lnTo>
                    <a:pt x="141" y="95"/>
                  </a:lnTo>
                  <a:lnTo>
                    <a:pt x="139" y="94"/>
                  </a:lnTo>
                  <a:lnTo>
                    <a:pt x="136" y="92"/>
                  </a:lnTo>
                  <a:lnTo>
                    <a:pt x="134" y="89"/>
                  </a:lnTo>
                  <a:lnTo>
                    <a:pt x="132" y="86"/>
                  </a:lnTo>
                  <a:lnTo>
                    <a:pt x="131" y="84"/>
                  </a:lnTo>
                  <a:lnTo>
                    <a:pt x="128" y="83"/>
                  </a:lnTo>
                  <a:lnTo>
                    <a:pt x="125" y="85"/>
                  </a:lnTo>
                  <a:lnTo>
                    <a:pt x="123" y="86"/>
                  </a:lnTo>
                  <a:lnTo>
                    <a:pt x="119" y="87"/>
                  </a:lnTo>
                  <a:lnTo>
                    <a:pt x="117" y="87"/>
                  </a:lnTo>
                  <a:lnTo>
                    <a:pt x="114" y="87"/>
                  </a:lnTo>
                  <a:lnTo>
                    <a:pt x="113" y="91"/>
                  </a:lnTo>
                  <a:lnTo>
                    <a:pt x="110" y="92"/>
                  </a:lnTo>
                  <a:lnTo>
                    <a:pt x="109" y="94"/>
                  </a:lnTo>
                  <a:lnTo>
                    <a:pt x="107" y="95"/>
                  </a:lnTo>
                  <a:lnTo>
                    <a:pt x="103" y="96"/>
                  </a:lnTo>
                  <a:lnTo>
                    <a:pt x="101" y="98"/>
                  </a:lnTo>
                  <a:lnTo>
                    <a:pt x="103" y="99"/>
                  </a:lnTo>
                  <a:lnTo>
                    <a:pt x="101" y="99"/>
                  </a:lnTo>
                  <a:lnTo>
                    <a:pt x="98" y="98"/>
                  </a:lnTo>
                  <a:lnTo>
                    <a:pt x="94" y="100"/>
                  </a:lnTo>
                  <a:lnTo>
                    <a:pt x="92" y="101"/>
                  </a:lnTo>
                  <a:lnTo>
                    <a:pt x="89" y="101"/>
                  </a:lnTo>
                  <a:lnTo>
                    <a:pt x="86" y="102"/>
                  </a:lnTo>
                  <a:lnTo>
                    <a:pt x="85" y="106"/>
                  </a:lnTo>
                  <a:lnTo>
                    <a:pt x="82" y="107"/>
                  </a:lnTo>
                  <a:lnTo>
                    <a:pt x="80" y="108"/>
                  </a:lnTo>
                  <a:lnTo>
                    <a:pt x="76" y="109"/>
                  </a:lnTo>
                  <a:lnTo>
                    <a:pt x="76" y="111"/>
                  </a:lnTo>
                  <a:lnTo>
                    <a:pt x="79" y="115"/>
                  </a:lnTo>
                  <a:lnTo>
                    <a:pt x="82" y="116"/>
                  </a:lnTo>
                  <a:lnTo>
                    <a:pt x="84" y="118"/>
                  </a:lnTo>
                  <a:lnTo>
                    <a:pt x="88" y="117"/>
                  </a:lnTo>
                  <a:lnTo>
                    <a:pt x="90" y="117"/>
                  </a:lnTo>
                  <a:lnTo>
                    <a:pt x="93" y="117"/>
                  </a:lnTo>
                  <a:lnTo>
                    <a:pt x="96" y="119"/>
                  </a:lnTo>
                  <a:lnTo>
                    <a:pt x="99" y="119"/>
                  </a:lnTo>
                  <a:lnTo>
                    <a:pt x="101" y="118"/>
                  </a:lnTo>
                  <a:lnTo>
                    <a:pt x="105" y="117"/>
                  </a:lnTo>
                  <a:lnTo>
                    <a:pt x="108" y="117"/>
                  </a:lnTo>
                  <a:lnTo>
                    <a:pt x="110" y="117"/>
                  </a:lnTo>
                  <a:lnTo>
                    <a:pt x="113" y="117"/>
                  </a:lnTo>
                  <a:lnTo>
                    <a:pt x="116" y="117"/>
                  </a:lnTo>
                  <a:lnTo>
                    <a:pt x="119" y="116"/>
                  </a:lnTo>
                  <a:lnTo>
                    <a:pt x="122" y="113"/>
                  </a:lnTo>
                  <a:lnTo>
                    <a:pt x="124" y="115"/>
                  </a:lnTo>
                  <a:lnTo>
                    <a:pt x="127" y="115"/>
                  </a:lnTo>
                  <a:lnTo>
                    <a:pt x="122" y="116"/>
                  </a:lnTo>
                  <a:lnTo>
                    <a:pt x="118" y="117"/>
                  </a:lnTo>
                  <a:lnTo>
                    <a:pt x="113" y="118"/>
                  </a:lnTo>
                  <a:lnTo>
                    <a:pt x="109" y="119"/>
                  </a:lnTo>
                  <a:lnTo>
                    <a:pt x="110" y="122"/>
                  </a:lnTo>
                  <a:lnTo>
                    <a:pt x="110" y="125"/>
                  </a:lnTo>
                  <a:lnTo>
                    <a:pt x="111" y="127"/>
                  </a:lnTo>
                  <a:lnTo>
                    <a:pt x="110" y="130"/>
                  </a:lnTo>
                  <a:lnTo>
                    <a:pt x="113" y="133"/>
                  </a:lnTo>
                  <a:lnTo>
                    <a:pt x="109" y="138"/>
                  </a:lnTo>
                  <a:lnTo>
                    <a:pt x="106" y="139"/>
                  </a:lnTo>
                  <a:lnTo>
                    <a:pt x="103" y="141"/>
                  </a:lnTo>
                  <a:lnTo>
                    <a:pt x="100" y="144"/>
                  </a:lnTo>
                  <a:lnTo>
                    <a:pt x="98" y="146"/>
                  </a:lnTo>
                  <a:lnTo>
                    <a:pt x="94" y="146"/>
                  </a:lnTo>
                  <a:lnTo>
                    <a:pt x="91" y="145"/>
                  </a:lnTo>
                  <a:lnTo>
                    <a:pt x="89" y="145"/>
                  </a:lnTo>
                  <a:lnTo>
                    <a:pt x="86" y="146"/>
                  </a:lnTo>
                  <a:lnTo>
                    <a:pt x="83" y="146"/>
                  </a:lnTo>
                  <a:lnTo>
                    <a:pt x="80" y="146"/>
                  </a:lnTo>
                  <a:lnTo>
                    <a:pt x="77" y="146"/>
                  </a:lnTo>
                  <a:lnTo>
                    <a:pt x="75" y="147"/>
                  </a:lnTo>
                  <a:lnTo>
                    <a:pt x="72" y="149"/>
                  </a:lnTo>
                  <a:lnTo>
                    <a:pt x="69" y="147"/>
                  </a:lnTo>
                  <a:lnTo>
                    <a:pt x="66" y="149"/>
                  </a:lnTo>
                  <a:lnTo>
                    <a:pt x="64" y="149"/>
                  </a:lnTo>
                  <a:lnTo>
                    <a:pt x="60" y="150"/>
                  </a:lnTo>
                  <a:lnTo>
                    <a:pt x="58" y="150"/>
                  </a:lnTo>
                  <a:lnTo>
                    <a:pt x="55" y="151"/>
                  </a:lnTo>
                  <a:lnTo>
                    <a:pt x="57" y="153"/>
                  </a:lnTo>
                  <a:lnTo>
                    <a:pt x="55" y="154"/>
                  </a:lnTo>
                  <a:lnTo>
                    <a:pt x="51" y="155"/>
                  </a:lnTo>
                  <a:lnTo>
                    <a:pt x="49" y="156"/>
                  </a:lnTo>
                  <a:lnTo>
                    <a:pt x="46" y="156"/>
                  </a:lnTo>
                  <a:lnTo>
                    <a:pt x="43" y="156"/>
                  </a:lnTo>
                  <a:lnTo>
                    <a:pt x="42" y="156"/>
                  </a:lnTo>
                  <a:lnTo>
                    <a:pt x="42" y="158"/>
                  </a:lnTo>
                  <a:lnTo>
                    <a:pt x="39" y="158"/>
                  </a:lnTo>
                  <a:lnTo>
                    <a:pt x="37" y="159"/>
                  </a:lnTo>
                  <a:lnTo>
                    <a:pt x="33" y="159"/>
                  </a:lnTo>
                  <a:lnTo>
                    <a:pt x="31" y="162"/>
                  </a:lnTo>
                  <a:lnTo>
                    <a:pt x="29" y="162"/>
                  </a:lnTo>
                  <a:lnTo>
                    <a:pt x="25" y="161"/>
                  </a:lnTo>
                  <a:lnTo>
                    <a:pt x="22" y="161"/>
                  </a:lnTo>
                  <a:lnTo>
                    <a:pt x="20" y="162"/>
                  </a:lnTo>
                  <a:lnTo>
                    <a:pt x="16" y="163"/>
                  </a:lnTo>
                  <a:lnTo>
                    <a:pt x="14" y="163"/>
                  </a:lnTo>
                  <a:lnTo>
                    <a:pt x="11" y="164"/>
                  </a:lnTo>
                  <a:lnTo>
                    <a:pt x="8" y="164"/>
                  </a:lnTo>
                  <a:lnTo>
                    <a:pt x="5" y="167"/>
                  </a:lnTo>
                  <a:lnTo>
                    <a:pt x="4" y="170"/>
                  </a:lnTo>
                  <a:lnTo>
                    <a:pt x="6" y="171"/>
                  </a:lnTo>
                  <a:lnTo>
                    <a:pt x="4" y="173"/>
                  </a:lnTo>
                  <a:lnTo>
                    <a:pt x="0" y="175"/>
                  </a:lnTo>
                  <a:lnTo>
                    <a:pt x="4" y="176"/>
                  </a:lnTo>
                  <a:lnTo>
                    <a:pt x="6" y="178"/>
                  </a:lnTo>
                  <a:lnTo>
                    <a:pt x="9" y="178"/>
                  </a:lnTo>
                  <a:lnTo>
                    <a:pt x="12" y="181"/>
                  </a:lnTo>
                  <a:lnTo>
                    <a:pt x="14" y="183"/>
                  </a:lnTo>
                  <a:lnTo>
                    <a:pt x="17" y="184"/>
                  </a:lnTo>
                  <a:lnTo>
                    <a:pt x="20" y="183"/>
                  </a:lnTo>
                  <a:lnTo>
                    <a:pt x="23" y="184"/>
                  </a:lnTo>
                  <a:lnTo>
                    <a:pt x="25" y="184"/>
                  </a:lnTo>
                  <a:lnTo>
                    <a:pt x="22" y="186"/>
                  </a:lnTo>
                  <a:lnTo>
                    <a:pt x="25" y="187"/>
                  </a:lnTo>
                  <a:lnTo>
                    <a:pt x="31" y="187"/>
                  </a:lnTo>
                  <a:lnTo>
                    <a:pt x="34" y="186"/>
                  </a:lnTo>
                  <a:lnTo>
                    <a:pt x="37" y="184"/>
                  </a:lnTo>
                  <a:lnTo>
                    <a:pt x="40" y="185"/>
                  </a:lnTo>
                  <a:lnTo>
                    <a:pt x="42" y="185"/>
                  </a:lnTo>
                  <a:lnTo>
                    <a:pt x="42" y="185"/>
                  </a:lnTo>
                  <a:lnTo>
                    <a:pt x="39" y="185"/>
                  </a:lnTo>
                  <a:lnTo>
                    <a:pt x="37" y="187"/>
                  </a:lnTo>
                  <a:lnTo>
                    <a:pt x="33" y="188"/>
                  </a:lnTo>
                  <a:lnTo>
                    <a:pt x="37" y="189"/>
                  </a:lnTo>
                  <a:lnTo>
                    <a:pt x="39" y="189"/>
                  </a:lnTo>
                  <a:lnTo>
                    <a:pt x="42" y="189"/>
                  </a:lnTo>
                  <a:lnTo>
                    <a:pt x="45" y="189"/>
                  </a:lnTo>
                  <a:lnTo>
                    <a:pt x="48" y="188"/>
                  </a:lnTo>
                  <a:lnTo>
                    <a:pt x="45" y="190"/>
                  </a:lnTo>
                  <a:lnTo>
                    <a:pt x="39" y="193"/>
                  </a:lnTo>
                  <a:lnTo>
                    <a:pt x="42" y="194"/>
                  </a:lnTo>
                  <a:lnTo>
                    <a:pt x="45" y="194"/>
                  </a:lnTo>
                  <a:lnTo>
                    <a:pt x="48" y="195"/>
                  </a:lnTo>
                  <a:lnTo>
                    <a:pt x="50" y="196"/>
                  </a:lnTo>
                  <a:lnTo>
                    <a:pt x="54" y="196"/>
                  </a:lnTo>
                  <a:lnTo>
                    <a:pt x="56" y="195"/>
                  </a:lnTo>
                  <a:lnTo>
                    <a:pt x="59" y="195"/>
                  </a:lnTo>
                  <a:lnTo>
                    <a:pt x="60" y="193"/>
                  </a:lnTo>
                  <a:lnTo>
                    <a:pt x="64" y="193"/>
                  </a:lnTo>
                  <a:lnTo>
                    <a:pt x="64" y="195"/>
                  </a:lnTo>
                  <a:lnTo>
                    <a:pt x="71" y="194"/>
                  </a:lnTo>
                  <a:lnTo>
                    <a:pt x="73" y="194"/>
                  </a:lnTo>
                  <a:lnTo>
                    <a:pt x="76" y="194"/>
                  </a:lnTo>
                  <a:lnTo>
                    <a:pt x="79" y="193"/>
                  </a:lnTo>
                  <a:lnTo>
                    <a:pt x="81" y="190"/>
                  </a:lnTo>
                  <a:lnTo>
                    <a:pt x="84" y="189"/>
                  </a:lnTo>
                  <a:lnTo>
                    <a:pt x="86" y="188"/>
                  </a:lnTo>
                  <a:lnTo>
                    <a:pt x="90" y="190"/>
                  </a:lnTo>
                  <a:lnTo>
                    <a:pt x="92" y="192"/>
                  </a:lnTo>
                  <a:lnTo>
                    <a:pt x="94" y="194"/>
                  </a:lnTo>
                  <a:lnTo>
                    <a:pt x="96" y="197"/>
                  </a:lnTo>
                  <a:lnTo>
                    <a:pt x="92" y="197"/>
                  </a:lnTo>
                  <a:lnTo>
                    <a:pt x="90" y="197"/>
                  </a:lnTo>
                  <a:lnTo>
                    <a:pt x="90" y="200"/>
                  </a:lnTo>
                  <a:lnTo>
                    <a:pt x="92" y="201"/>
                  </a:lnTo>
                  <a:lnTo>
                    <a:pt x="90" y="201"/>
                  </a:lnTo>
                  <a:lnTo>
                    <a:pt x="86" y="200"/>
                  </a:lnTo>
                  <a:lnTo>
                    <a:pt x="83" y="198"/>
                  </a:lnTo>
                  <a:lnTo>
                    <a:pt x="81" y="198"/>
                  </a:lnTo>
                  <a:lnTo>
                    <a:pt x="75" y="198"/>
                  </a:lnTo>
                  <a:lnTo>
                    <a:pt x="72" y="198"/>
                  </a:lnTo>
                  <a:lnTo>
                    <a:pt x="68" y="198"/>
                  </a:lnTo>
                  <a:lnTo>
                    <a:pt x="66" y="198"/>
                  </a:lnTo>
                  <a:lnTo>
                    <a:pt x="64" y="198"/>
                  </a:lnTo>
                  <a:lnTo>
                    <a:pt x="60" y="200"/>
                  </a:lnTo>
                  <a:lnTo>
                    <a:pt x="58" y="201"/>
                  </a:lnTo>
                  <a:lnTo>
                    <a:pt x="55" y="201"/>
                  </a:lnTo>
                  <a:lnTo>
                    <a:pt x="58" y="203"/>
                  </a:lnTo>
                  <a:lnTo>
                    <a:pt x="60" y="203"/>
                  </a:lnTo>
                  <a:lnTo>
                    <a:pt x="64" y="203"/>
                  </a:lnTo>
                  <a:lnTo>
                    <a:pt x="66" y="203"/>
                  </a:lnTo>
                  <a:lnTo>
                    <a:pt x="68" y="203"/>
                  </a:lnTo>
                  <a:lnTo>
                    <a:pt x="72" y="203"/>
                  </a:lnTo>
                  <a:lnTo>
                    <a:pt x="74" y="203"/>
                  </a:lnTo>
                  <a:lnTo>
                    <a:pt x="77" y="204"/>
                  </a:lnTo>
                  <a:lnTo>
                    <a:pt x="83" y="205"/>
                  </a:lnTo>
                  <a:lnTo>
                    <a:pt x="85" y="205"/>
                  </a:lnTo>
                  <a:lnTo>
                    <a:pt x="89" y="205"/>
                  </a:lnTo>
                  <a:lnTo>
                    <a:pt x="94" y="204"/>
                  </a:lnTo>
                  <a:lnTo>
                    <a:pt x="91" y="205"/>
                  </a:lnTo>
                  <a:lnTo>
                    <a:pt x="89" y="205"/>
                  </a:lnTo>
                  <a:lnTo>
                    <a:pt x="85" y="205"/>
                  </a:lnTo>
                  <a:lnTo>
                    <a:pt x="83" y="205"/>
                  </a:lnTo>
                  <a:lnTo>
                    <a:pt x="80" y="205"/>
                  </a:lnTo>
                  <a:lnTo>
                    <a:pt x="77" y="204"/>
                  </a:lnTo>
                  <a:lnTo>
                    <a:pt x="74" y="204"/>
                  </a:lnTo>
                  <a:lnTo>
                    <a:pt x="72" y="203"/>
                  </a:lnTo>
                  <a:lnTo>
                    <a:pt x="69" y="204"/>
                  </a:lnTo>
                  <a:lnTo>
                    <a:pt x="66" y="204"/>
                  </a:lnTo>
                  <a:lnTo>
                    <a:pt x="64" y="204"/>
                  </a:lnTo>
                  <a:lnTo>
                    <a:pt x="60" y="204"/>
                  </a:lnTo>
                  <a:lnTo>
                    <a:pt x="58" y="204"/>
                  </a:lnTo>
                  <a:lnTo>
                    <a:pt x="55" y="203"/>
                  </a:lnTo>
                  <a:lnTo>
                    <a:pt x="51" y="203"/>
                  </a:lnTo>
                  <a:lnTo>
                    <a:pt x="49" y="203"/>
                  </a:lnTo>
                  <a:lnTo>
                    <a:pt x="47" y="203"/>
                  </a:lnTo>
                  <a:lnTo>
                    <a:pt x="43" y="203"/>
                  </a:lnTo>
                  <a:lnTo>
                    <a:pt x="42" y="202"/>
                  </a:lnTo>
                  <a:lnTo>
                    <a:pt x="39" y="202"/>
                  </a:lnTo>
                  <a:lnTo>
                    <a:pt x="37" y="203"/>
                  </a:lnTo>
                  <a:lnTo>
                    <a:pt x="31" y="204"/>
                  </a:lnTo>
                  <a:lnTo>
                    <a:pt x="29" y="205"/>
                  </a:lnTo>
                  <a:lnTo>
                    <a:pt x="25" y="205"/>
                  </a:lnTo>
                  <a:lnTo>
                    <a:pt x="23" y="209"/>
                  </a:lnTo>
                  <a:lnTo>
                    <a:pt x="25" y="211"/>
                  </a:lnTo>
                  <a:lnTo>
                    <a:pt x="29" y="211"/>
                  </a:lnTo>
                  <a:lnTo>
                    <a:pt x="31" y="211"/>
                  </a:lnTo>
                  <a:lnTo>
                    <a:pt x="29" y="212"/>
                  </a:lnTo>
                  <a:lnTo>
                    <a:pt x="31" y="214"/>
                  </a:lnTo>
                  <a:lnTo>
                    <a:pt x="34" y="215"/>
                  </a:lnTo>
                  <a:lnTo>
                    <a:pt x="38" y="215"/>
                  </a:lnTo>
                  <a:lnTo>
                    <a:pt x="40" y="213"/>
                  </a:lnTo>
                  <a:lnTo>
                    <a:pt x="42" y="212"/>
                  </a:lnTo>
                  <a:lnTo>
                    <a:pt x="42" y="212"/>
                  </a:lnTo>
                  <a:lnTo>
                    <a:pt x="45" y="210"/>
                  </a:lnTo>
                  <a:lnTo>
                    <a:pt x="48" y="210"/>
                  </a:lnTo>
                  <a:lnTo>
                    <a:pt x="45" y="211"/>
                  </a:lnTo>
                  <a:lnTo>
                    <a:pt x="42" y="213"/>
                  </a:lnTo>
                  <a:lnTo>
                    <a:pt x="42" y="216"/>
                  </a:lnTo>
                  <a:lnTo>
                    <a:pt x="45" y="216"/>
                  </a:lnTo>
                  <a:lnTo>
                    <a:pt x="48" y="218"/>
                  </a:lnTo>
                  <a:lnTo>
                    <a:pt x="50" y="218"/>
                  </a:lnTo>
                  <a:lnTo>
                    <a:pt x="54" y="219"/>
                  </a:lnTo>
                  <a:lnTo>
                    <a:pt x="59" y="219"/>
                  </a:lnTo>
                  <a:lnTo>
                    <a:pt x="63" y="219"/>
                  </a:lnTo>
                  <a:lnTo>
                    <a:pt x="65" y="219"/>
                  </a:lnTo>
                  <a:lnTo>
                    <a:pt x="67" y="218"/>
                  </a:lnTo>
                  <a:lnTo>
                    <a:pt x="69" y="221"/>
                  </a:lnTo>
                  <a:lnTo>
                    <a:pt x="66" y="221"/>
                  </a:lnTo>
                  <a:lnTo>
                    <a:pt x="64" y="221"/>
                  </a:lnTo>
                  <a:lnTo>
                    <a:pt x="60" y="221"/>
                  </a:lnTo>
                  <a:lnTo>
                    <a:pt x="58" y="222"/>
                  </a:lnTo>
                  <a:lnTo>
                    <a:pt x="56" y="223"/>
                  </a:lnTo>
                  <a:lnTo>
                    <a:pt x="52" y="224"/>
                  </a:lnTo>
                  <a:lnTo>
                    <a:pt x="49" y="226"/>
                  </a:lnTo>
                  <a:lnTo>
                    <a:pt x="49" y="228"/>
                  </a:lnTo>
                  <a:lnTo>
                    <a:pt x="51" y="229"/>
                  </a:lnTo>
                  <a:lnTo>
                    <a:pt x="55" y="230"/>
                  </a:lnTo>
                  <a:lnTo>
                    <a:pt x="58" y="231"/>
                  </a:lnTo>
                  <a:lnTo>
                    <a:pt x="60" y="233"/>
                  </a:lnTo>
                  <a:lnTo>
                    <a:pt x="64" y="233"/>
                  </a:lnTo>
                  <a:lnTo>
                    <a:pt x="64" y="236"/>
                  </a:lnTo>
                  <a:lnTo>
                    <a:pt x="67" y="236"/>
                  </a:lnTo>
                  <a:lnTo>
                    <a:pt x="72" y="237"/>
                  </a:lnTo>
                  <a:lnTo>
                    <a:pt x="75" y="237"/>
                  </a:lnTo>
                  <a:lnTo>
                    <a:pt x="77" y="237"/>
                  </a:lnTo>
                  <a:lnTo>
                    <a:pt x="81" y="238"/>
                  </a:lnTo>
                  <a:lnTo>
                    <a:pt x="83" y="238"/>
                  </a:lnTo>
                  <a:lnTo>
                    <a:pt x="86" y="239"/>
                  </a:lnTo>
                  <a:lnTo>
                    <a:pt x="89" y="238"/>
                  </a:lnTo>
                  <a:lnTo>
                    <a:pt x="86" y="237"/>
                  </a:lnTo>
                  <a:lnTo>
                    <a:pt x="83" y="235"/>
                  </a:lnTo>
                  <a:lnTo>
                    <a:pt x="81" y="232"/>
                  </a:lnTo>
                  <a:lnTo>
                    <a:pt x="83" y="230"/>
                  </a:lnTo>
                  <a:lnTo>
                    <a:pt x="86" y="231"/>
                  </a:lnTo>
                  <a:lnTo>
                    <a:pt x="89" y="235"/>
                  </a:lnTo>
                  <a:lnTo>
                    <a:pt x="92" y="235"/>
                  </a:lnTo>
                  <a:lnTo>
                    <a:pt x="92" y="232"/>
                  </a:lnTo>
                  <a:lnTo>
                    <a:pt x="94" y="230"/>
                  </a:lnTo>
                  <a:lnTo>
                    <a:pt x="98" y="230"/>
                  </a:lnTo>
                  <a:lnTo>
                    <a:pt x="100" y="230"/>
                  </a:lnTo>
                  <a:lnTo>
                    <a:pt x="103" y="231"/>
                  </a:lnTo>
                  <a:lnTo>
                    <a:pt x="100" y="232"/>
                  </a:lnTo>
                  <a:lnTo>
                    <a:pt x="100" y="236"/>
                  </a:lnTo>
                  <a:lnTo>
                    <a:pt x="103" y="237"/>
                  </a:lnTo>
                  <a:lnTo>
                    <a:pt x="106" y="237"/>
                  </a:lnTo>
                  <a:lnTo>
                    <a:pt x="106" y="233"/>
                  </a:lnTo>
                  <a:lnTo>
                    <a:pt x="111" y="235"/>
                  </a:lnTo>
                  <a:lnTo>
                    <a:pt x="113" y="232"/>
                  </a:lnTo>
                  <a:lnTo>
                    <a:pt x="115" y="233"/>
                  </a:lnTo>
                  <a:lnTo>
                    <a:pt x="116" y="230"/>
                  </a:lnTo>
                  <a:lnTo>
                    <a:pt x="119" y="230"/>
                  </a:lnTo>
                  <a:lnTo>
                    <a:pt x="120" y="228"/>
                  </a:lnTo>
                  <a:lnTo>
                    <a:pt x="122" y="230"/>
                  </a:lnTo>
                  <a:lnTo>
                    <a:pt x="123" y="233"/>
                  </a:lnTo>
                  <a:lnTo>
                    <a:pt x="125" y="233"/>
                  </a:lnTo>
                  <a:lnTo>
                    <a:pt x="128" y="231"/>
                  </a:lnTo>
                  <a:lnTo>
                    <a:pt x="131" y="229"/>
                  </a:lnTo>
                  <a:lnTo>
                    <a:pt x="134" y="227"/>
                  </a:lnTo>
                  <a:lnTo>
                    <a:pt x="140" y="229"/>
                  </a:lnTo>
                  <a:lnTo>
                    <a:pt x="142" y="230"/>
                  </a:lnTo>
                  <a:lnTo>
                    <a:pt x="145" y="230"/>
                  </a:lnTo>
                  <a:lnTo>
                    <a:pt x="148" y="230"/>
                  </a:lnTo>
                  <a:lnTo>
                    <a:pt x="151" y="231"/>
                  </a:lnTo>
                  <a:lnTo>
                    <a:pt x="153" y="231"/>
                  </a:lnTo>
                  <a:lnTo>
                    <a:pt x="156" y="232"/>
                  </a:lnTo>
                  <a:lnTo>
                    <a:pt x="159" y="233"/>
                  </a:lnTo>
                  <a:lnTo>
                    <a:pt x="161" y="232"/>
                  </a:lnTo>
                  <a:lnTo>
                    <a:pt x="165" y="233"/>
                  </a:lnTo>
                  <a:lnTo>
                    <a:pt x="167" y="235"/>
                  </a:lnTo>
                  <a:lnTo>
                    <a:pt x="168" y="237"/>
                  </a:lnTo>
                  <a:lnTo>
                    <a:pt x="176" y="237"/>
                  </a:lnTo>
                  <a:lnTo>
                    <a:pt x="179" y="238"/>
                  </a:lnTo>
                  <a:lnTo>
                    <a:pt x="179" y="239"/>
                  </a:lnTo>
                  <a:lnTo>
                    <a:pt x="182" y="239"/>
                  </a:lnTo>
                  <a:lnTo>
                    <a:pt x="185" y="240"/>
                  </a:lnTo>
                  <a:lnTo>
                    <a:pt x="182" y="243"/>
                  </a:lnTo>
                  <a:lnTo>
                    <a:pt x="185" y="243"/>
                  </a:lnTo>
                  <a:lnTo>
                    <a:pt x="187" y="241"/>
                  </a:lnTo>
                  <a:lnTo>
                    <a:pt x="191" y="241"/>
                  </a:lnTo>
                  <a:lnTo>
                    <a:pt x="190" y="244"/>
                  </a:lnTo>
                  <a:lnTo>
                    <a:pt x="192" y="245"/>
                  </a:lnTo>
                  <a:lnTo>
                    <a:pt x="195" y="246"/>
                  </a:lnTo>
                  <a:lnTo>
                    <a:pt x="197" y="245"/>
                  </a:lnTo>
                  <a:lnTo>
                    <a:pt x="201" y="245"/>
                  </a:lnTo>
                  <a:lnTo>
                    <a:pt x="202" y="248"/>
                  </a:lnTo>
                  <a:lnTo>
                    <a:pt x="203" y="250"/>
                  </a:lnTo>
                  <a:lnTo>
                    <a:pt x="203" y="253"/>
                  </a:lnTo>
                  <a:lnTo>
                    <a:pt x="200" y="254"/>
                  </a:lnTo>
                  <a:lnTo>
                    <a:pt x="197" y="255"/>
                  </a:lnTo>
                  <a:lnTo>
                    <a:pt x="200" y="255"/>
                  </a:lnTo>
                  <a:lnTo>
                    <a:pt x="203" y="254"/>
                  </a:lnTo>
                  <a:lnTo>
                    <a:pt x="201" y="257"/>
                  </a:lnTo>
                  <a:lnTo>
                    <a:pt x="203" y="260"/>
                  </a:lnTo>
                  <a:lnTo>
                    <a:pt x="205" y="260"/>
                  </a:lnTo>
                  <a:lnTo>
                    <a:pt x="205" y="263"/>
                  </a:lnTo>
                  <a:lnTo>
                    <a:pt x="208" y="264"/>
                  </a:lnTo>
                  <a:lnTo>
                    <a:pt x="211" y="265"/>
                  </a:lnTo>
                  <a:lnTo>
                    <a:pt x="212" y="266"/>
                  </a:lnTo>
                  <a:lnTo>
                    <a:pt x="216" y="267"/>
                  </a:lnTo>
                  <a:lnTo>
                    <a:pt x="218" y="267"/>
                  </a:lnTo>
                  <a:lnTo>
                    <a:pt x="221" y="270"/>
                  </a:lnTo>
                  <a:lnTo>
                    <a:pt x="218" y="271"/>
                  </a:lnTo>
                  <a:lnTo>
                    <a:pt x="220" y="274"/>
                  </a:lnTo>
                  <a:lnTo>
                    <a:pt x="222" y="274"/>
                  </a:lnTo>
                  <a:lnTo>
                    <a:pt x="226" y="275"/>
                  </a:lnTo>
                  <a:lnTo>
                    <a:pt x="228" y="278"/>
                  </a:lnTo>
                  <a:lnTo>
                    <a:pt x="231" y="278"/>
                  </a:lnTo>
                  <a:lnTo>
                    <a:pt x="228" y="280"/>
                  </a:lnTo>
                  <a:lnTo>
                    <a:pt x="226" y="280"/>
                  </a:lnTo>
                  <a:lnTo>
                    <a:pt x="222" y="280"/>
                  </a:lnTo>
                  <a:lnTo>
                    <a:pt x="226" y="281"/>
                  </a:lnTo>
                  <a:lnTo>
                    <a:pt x="231" y="281"/>
                  </a:lnTo>
                  <a:lnTo>
                    <a:pt x="229" y="283"/>
                  </a:lnTo>
                  <a:lnTo>
                    <a:pt x="226" y="283"/>
                  </a:lnTo>
                  <a:lnTo>
                    <a:pt x="228" y="284"/>
                  </a:lnTo>
                  <a:lnTo>
                    <a:pt x="226" y="286"/>
                  </a:lnTo>
                  <a:lnTo>
                    <a:pt x="222" y="287"/>
                  </a:lnTo>
                  <a:lnTo>
                    <a:pt x="220" y="288"/>
                  </a:lnTo>
                  <a:lnTo>
                    <a:pt x="218" y="288"/>
                  </a:lnTo>
                  <a:lnTo>
                    <a:pt x="220" y="289"/>
                  </a:lnTo>
                  <a:lnTo>
                    <a:pt x="224" y="289"/>
                  </a:lnTo>
                  <a:lnTo>
                    <a:pt x="226" y="288"/>
                  </a:lnTo>
                  <a:lnTo>
                    <a:pt x="229" y="287"/>
                  </a:lnTo>
                  <a:lnTo>
                    <a:pt x="231" y="284"/>
                  </a:lnTo>
                  <a:lnTo>
                    <a:pt x="230" y="288"/>
                  </a:lnTo>
                  <a:lnTo>
                    <a:pt x="229" y="290"/>
                  </a:lnTo>
                  <a:lnTo>
                    <a:pt x="233" y="291"/>
                  </a:lnTo>
                  <a:lnTo>
                    <a:pt x="235" y="293"/>
                  </a:lnTo>
                  <a:lnTo>
                    <a:pt x="237" y="296"/>
                  </a:lnTo>
                  <a:lnTo>
                    <a:pt x="235" y="298"/>
                  </a:lnTo>
                  <a:lnTo>
                    <a:pt x="238" y="300"/>
                  </a:lnTo>
                  <a:lnTo>
                    <a:pt x="236" y="299"/>
                  </a:lnTo>
                  <a:lnTo>
                    <a:pt x="233" y="301"/>
                  </a:lnTo>
                  <a:lnTo>
                    <a:pt x="236" y="303"/>
                  </a:lnTo>
                  <a:lnTo>
                    <a:pt x="238" y="304"/>
                  </a:lnTo>
                  <a:lnTo>
                    <a:pt x="241" y="306"/>
                  </a:lnTo>
                  <a:lnTo>
                    <a:pt x="243" y="307"/>
                  </a:lnTo>
                  <a:lnTo>
                    <a:pt x="246" y="308"/>
                  </a:lnTo>
                  <a:lnTo>
                    <a:pt x="246" y="309"/>
                  </a:lnTo>
                  <a:lnTo>
                    <a:pt x="243" y="309"/>
                  </a:lnTo>
                  <a:lnTo>
                    <a:pt x="242" y="312"/>
                  </a:lnTo>
                  <a:lnTo>
                    <a:pt x="244" y="313"/>
                  </a:lnTo>
                  <a:lnTo>
                    <a:pt x="242" y="314"/>
                  </a:lnTo>
                  <a:lnTo>
                    <a:pt x="238" y="315"/>
                  </a:lnTo>
                  <a:lnTo>
                    <a:pt x="242" y="317"/>
                  </a:lnTo>
                  <a:lnTo>
                    <a:pt x="244" y="318"/>
                  </a:lnTo>
                  <a:lnTo>
                    <a:pt x="247" y="317"/>
                  </a:lnTo>
                  <a:lnTo>
                    <a:pt x="250" y="318"/>
                  </a:lnTo>
                  <a:lnTo>
                    <a:pt x="252" y="321"/>
                  </a:lnTo>
                  <a:lnTo>
                    <a:pt x="252" y="324"/>
                  </a:lnTo>
                  <a:lnTo>
                    <a:pt x="250" y="324"/>
                  </a:lnTo>
                  <a:lnTo>
                    <a:pt x="252" y="325"/>
                  </a:lnTo>
                  <a:lnTo>
                    <a:pt x="251" y="327"/>
                  </a:lnTo>
                  <a:lnTo>
                    <a:pt x="247" y="330"/>
                  </a:lnTo>
                  <a:lnTo>
                    <a:pt x="251" y="332"/>
                  </a:lnTo>
                  <a:lnTo>
                    <a:pt x="253" y="332"/>
                  </a:lnTo>
                  <a:lnTo>
                    <a:pt x="255" y="332"/>
                  </a:lnTo>
                  <a:lnTo>
                    <a:pt x="253" y="332"/>
                  </a:lnTo>
                  <a:lnTo>
                    <a:pt x="251" y="332"/>
                  </a:lnTo>
                  <a:lnTo>
                    <a:pt x="247" y="332"/>
                  </a:lnTo>
                  <a:lnTo>
                    <a:pt x="243" y="332"/>
                  </a:lnTo>
                  <a:lnTo>
                    <a:pt x="239" y="332"/>
                  </a:lnTo>
                  <a:lnTo>
                    <a:pt x="243" y="334"/>
                  </a:lnTo>
                  <a:lnTo>
                    <a:pt x="245" y="335"/>
                  </a:lnTo>
                  <a:lnTo>
                    <a:pt x="247" y="334"/>
                  </a:lnTo>
                  <a:lnTo>
                    <a:pt x="251" y="335"/>
                  </a:lnTo>
                  <a:lnTo>
                    <a:pt x="248" y="338"/>
                  </a:lnTo>
                  <a:lnTo>
                    <a:pt x="246" y="340"/>
                  </a:lnTo>
                  <a:lnTo>
                    <a:pt x="246" y="340"/>
                  </a:lnTo>
                  <a:lnTo>
                    <a:pt x="244" y="343"/>
                  </a:lnTo>
                  <a:lnTo>
                    <a:pt x="242" y="346"/>
                  </a:lnTo>
                  <a:lnTo>
                    <a:pt x="244" y="347"/>
                  </a:lnTo>
                  <a:lnTo>
                    <a:pt x="247" y="347"/>
                  </a:lnTo>
                  <a:lnTo>
                    <a:pt x="250" y="346"/>
                  </a:lnTo>
                  <a:lnTo>
                    <a:pt x="253" y="344"/>
                  </a:lnTo>
                  <a:lnTo>
                    <a:pt x="254" y="341"/>
                  </a:lnTo>
                  <a:lnTo>
                    <a:pt x="253" y="344"/>
                  </a:lnTo>
                  <a:lnTo>
                    <a:pt x="251" y="346"/>
                  </a:lnTo>
                  <a:lnTo>
                    <a:pt x="248" y="348"/>
                  </a:lnTo>
                  <a:lnTo>
                    <a:pt x="245" y="348"/>
                  </a:lnTo>
                  <a:lnTo>
                    <a:pt x="243" y="348"/>
                  </a:lnTo>
                  <a:lnTo>
                    <a:pt x="244" y="350"/>
                  </a:lnTo>
                  <a:lnTo>
                    <a:pt x="241" y="350"/>
                  </a:lnTo>
                  <a:lnTo>
                    <a:pt x="238" y="351"/>
                  </a:lnTo>
                  <a:lnTo>
                    <a:pt x="235" y="354"/>
                  </a:lnTo>
                  <a:lnTo>
                    <a:pt x="238" y="355"/>
                  </a:lnTo>
                  <a:lnTo>
                    <a:pt x="239" y="357"/>
                  </a:lnTo>
                  <a:lnTo>
                    <a:pt x="243" y="360"/>
                  </a:lnTo>
                  <a:lnTo>
                    <a:pt x="245" y="358"/>
                  </a:lnTo>
                  <a:lnTo>
                    <a:pt x="247" y="359"/>
                  </a:lnTo>
                  <a:lnTo>
                    <a:pt x="251" y="361"/>
                  </a:lnTo>
                  <a:lnTo>
                    <a:pt x="253" y="361"/>
                  </a:lnTo>
                  <a:lnTo>
                    <a:pt x="256" y="360"/>
                  </a:lnTo>
                  <a:lnTo>
                    <a:pt x="259" y="360"/>
                  </a:lnTo>
                  <a:lnTo>
                    <a:pt x="261" y="359"/>
                  </a:lnTo>
                  <a:lnTo>
                    <a:pt x="263" y="357"/>
                  </a:lnTo>
                  <a:lnTo>
                    <a:pt x="262" y="354"/>
                  </a:lnTo>
                  <a:lnTo>
                    <a:pt x="264" y="354"/>
                  </a:lnTo>
                  <a:lnTo>
                    <a:pt x="264" y="351"/>
                  </a:lnTo>
                  <a:lnTo>
                    <a:pt x="267" y="351"/>
                  </a:lnTo>
                  <a:lnTo>
                    <a:pt x="269" y="349"/>
                  </a:lnTo>
                  <a:lnTo>
                    <a:pt x="268" y="346"/>
                  </a:lnTo>
                  <a:lnTo>
                    <a:pt x="267" y="343"/>
                  </a:lnTo>
                  <a:lnTo>
                    <a:pt x="264" y="341"/>
                  </a:lnTo>
                  <a:lnTo>
                    <a:pt x="263" y="339"/>
                  </a:lnTo>
                  <a:lnTo>
                    <a:pt x="263" y="335"/>
                  </a:lnTo>
                  <a:lnTo>
                    <a:pt x="267" y="335"/>
                  </a:lnTo>
                  <a:lnTo>
                    <a:pt x="263" y="337"/>
                  </a:lnTo>
                  <a:lnTo>
                    <a:pt x="264" y="340"/>
                  </a:lnTo>
                  <a:lnTo>
                    <a:pt x="267" y="342"/>
                  </a:lnTo>
                  <a:lnTo>
                    <a:pt x="269" y="344"/>
                  </a:lnTo>
                  <a:lnTo>
                    <a:pt x="270" y="347"/>
                  </a:lnTo>
                  <a:lnTo>
                    <a:pt x="272" y="349"/>
                  </a:lnTo>
                  <a:lnTo>
                    <a:pt x="276" y="349"/>
                  </a:lnTo>
                  <a:lnTo>
                    <a:pt x="276" y="346"/>
                  </a:lnTo>
                  <a:lnTo>
                    <a:pt x="279" y="344"/>
                  </a:lnTo>
                  <a:lnTo>
                    <a:pt x="276" y="347"/>
                  </a:lnTo>
                  <a:lnTo>
                    <a:pt x="275" y="350"/>
                  </a:lnTo>
                  <a:lnTo>
                    <a:pt x="271" y="352"/>
                  </a:lnTo>
                  <a:lnTo>
                    <a:pt x="275" y="352"/>
                  </a:lnTo>
                  <a:lnTo>
                    <a:pt x="280" y="352"/>
                  </a:lnTo>
                  <a:lnTo>
                    <a:pt x="282" y="354"/>
                  </a:lnTo>
                  <a:lnTo>
                    <a:pt x="286" y="355"/>
                  </a:lnTo>
                  <a:lnTo>
                    <a:pt x="288" y="354"/>
                  </a:lnTo>
                  <a:lnTo>
                    <a:pt x="290" y="354"/>
                  </a:lnTo>
                  <a:lnTo>
                    <a:pt x="294" y="352"/>
                  </a:lnTo>
                  <a:lnTo>
                    <a:pt x="291" y="355"/>
                  </a:lnTo>
                  <a:lnTo>
                    <a:pt x="286" y="356"/>
                  </a:lnTo>
                  <a:lnTo>
                    <a:pt x="284" y="356"/>
                  </a:lnTo>
                  <a:lnTo>
                    <a:pt x="280" y="357"/>
                  </a:lnTo>
                  <a:lnTo>
                    <a:pt x="278" y="358"/>
                  </a:lnTo>
                  <a:lnTo>
                    <a:pt x="276" y="359"/>
                  </a:lnTo>
                  <a:lnTo>
                    <a:pt x="278" y="360"/>
                  </a:lnTo>
                  <a:lnTo>
                    <a:pt x="281" y="360"/>
                  </a:lnTo>
                  <a:lnTo>
                    <a:pt x="284" y="360"/>
                  </a:lnTo>
                  <a:lnTo>
                    <a:pt x="286" y="359"/>
                  </a:lnTo>
                  <a:lnTo>
                    <a:pt x="289" y="358"/>
                  </a:lnTo>
                  <a:lnTo>
                    <a:pt x="291" y="357"/>
                  </a:lnTo>
                  <a:lnTo>
                    <a:pt x="295" y="357"/>
                  </a:lnTo>
                  <a:lnTo>
                    <a:pt x="297" y="358"/>
                  </a:lnTo>
                  <a:lnTo>
                    <a:pt x="295" y="358"/>
                  </a:lnTo>
                  <a:lnTo>
                    <a:pt x="289" y="359"/>
                  </a:lnTo>
                  <a:lnTo>
                    <a:pt x="286" y="360"/>
                  </a:lnTo>
                  <a:lnTo>
                    <a:pt x="285" y="363"/>
                  </a:lnTo>
                  <a:lnTo>
                    <a:pt x="282" y="364"/>
                  </a:lnTo>
                  <a:lnTo>
                    <a:pt x="285" y="365"/>
                  </a:lnTo>
                  <a:lnTo>
                    <a:pt x="288" y="364"/>
                  </a:lnTo>
                  <a:lnTo>
                    <a:pt x="290" y="361"/>
                  </a:lnTo>
                  <a:lnTo>
                    <a:pt x="294" y="361"/>
                  </a:lnTo>
                  <a:lnTo>
                    <a:pt x="295" y="364"/>
                  </a:lnTo>
                  <a:lnTo>
                    <a:pt x="291" y="364"/>
                  </a:lnTo>
                  <a:lnTo>
                    <a:pt x="289" y="365"/>
                  </a:lnTo>
                  <a:lnTo>
                    <a:pt x="286" y="366"/>
                  </a:lnTo>
                  <a:lnTo>
                    <a:pt x="289" y="367"/>
                  </a:lnTo>
                  <a:lnTo>
                    <a:pt x="291" y="366"/>
                  </a:lnTo>
                  <a:lnTo>
                    <a:pt x="295" y="367"/>
                  </a:lnTo>
                  <a:lnTo>
                    <a:pt x="297" y="366"/>
                  </a:lnTo>
                  <a:lnTo>
                    <a:pt x="298" y="369"/>
                  </a:lnTo>
                  <a:lnTo>
                    <a:pt x="302" y="369"/>
                  </a:lnTo>
                  <a:lnTo>
                    <a:pt x="298" y="370"/>
                  </a:lnTo>
                  <a:lnTo>
                    <a:pt x="296" y="369"/>
                  </a:lnTo>
                  <a:lnTo>
                    <a:pt x="293" y="369"/>
                  </a:lnTo>
                  <a:lnTo>
                    <a:pt x="290" y="368"/>
                  </a:lnTo>
                  <a:lnTo>
                    <a:pt x="293" y="370"/>
                  </a:lnTo>
                  <a:lnTo>
                    <a:pt x="296" y="372"/>
                  </a:lnTo>
                  <a:lnTo>
                    <a:pt x="298" y="373"/>
                  </a:lnTo>
                  <a:lnTo>
                    <a:pt x="302" y="374"/>
                  </a:lnTo>
                  <a:lnTo>
                    <a:pt x="304" y="373"/>
                  </a:lnTo>
                  <a:lnTo>
                    <a:pt x="306" y="376"/>
                  </a:lnTo>
                  <a:lnTo>
                    <a:pt x="303" y="376"/>
                  </a:lnTo>
                  <a:lnTo>
                    <a:pt x="301" y="375"/>
                  </a:lnTo>
                  <a:lnTo>
                    <a:pt x="297" y="376"/>
                  </a:lnTo>
                  <a:lnTo>
                    <a:pt x="299" y="377"/>
                  </a:lnTo>
                  <a:lnTo>
                    <a:pt x="306" y="378"/>
                  </a:lnTo>
                  <a:lnTo>
                    <a:pt x="303" y="380"/>
                  </a:lnTo>
                  <a:lnTo>
                    <a:pt x="305" y="381"/>
                  </a:lnTo>
                  <a:lnTo>
                    <a:pt x="303" y="382"/>
                  </a:lnTo>
                  <a:lnTo>
                    <a:pt x="299" y="381"/>
                  </a:lnTo>
                  <a:lnTo>
                    <a:pt x="303" y="383"/>
                  </a:lnTo>
                  <a:lnTo>
                    <a:pt x="305" y="384"/>
                  </a:lnTo>
                  <a:lnTo>
                    <a:pt x="308" y="382"/>
                  </a:lnTo>
                  <a:lnTo>
                    <a:pt x="307" y="384"/>
                  </a:lnTo>
                  <a:lnTo>
                    <a:pt x="304" y="386"/>
                  </a:lnTo>
                  <a:lnTo>
                    <a:pt x="302" y="385"/>
                  </a:lnTo>
                  <a:lnTo>
                    <a:pt x="298" y="385"/>
                  </a:lnTo>
                  <a:lnTo>
                    <a:pt x="296" y="384"/>
                  </a:lnTo>
                  <a:lnTo>
                    <a:pt x="294" y="383"/>
                  </a:lnTo>
                  <a:lnTo>
                    <a:pt x="290" y="382"/>
                  </a:lnTo>
                  <a:lnTo>
                    <a:pt x="288" y="381"/>
                  </a:lnTo>
                  <a:lnTo>
                    <a:pt x="285" y="380"/>
                  </a:lnTo>
                  <a:lnTo>
                    <a:pt x="282" y="377"/>
                  </a:lnTo>
                  <a:lnTo>
                    <a:pt x="279" y="376"/>
                  </a:lnTo>
                  <a:lnTo>
                    <a:pt x="277" y="376"/>
                  </a:lnTo>
                  <a:lnTo>
                    <a:pt x="273" y="375"/>
                  </a:lnTo>
                  <a:lnTo>
                    <a:pt x="271" y="376"/>
                  </a:lnTo>
                  <a:lnTo>
                    <a:pt x="268" y="376"/>
                  </a:lnTo>
                  <a:lnTo>
                    <a:pt x="265" y="375"/>
                  </a:lnTo>
                  <a:lnTo>
                    <a:pt x="262" y="375"/>
                  </a:lnTo>
                  <a:lnTo>
                    <a:pt x="260" y="374"/>
                  </a:lnTo>
                  <a:lnTo>
                    <a:pt x="256" y="375"/>
                  </a:lnTo>
                  <a:lnTo>
                    <a:pt x="254" y="376"/>
                  </a:lnTo>
                  <a:lnTo>
                    <a:pt x="254" y="380"/>
                  </a:lnTo>
                  <a:lnTo>
                    <a:pt x="258" y="381"/>
                  </a:lnTo>
                  <a:lnTo>
                    <a:pt x="260" y="384"/>
                  </a:lnTo>
                  <a:lnTo>
                    <a:pt x="263" y="385"/>
                  </a:lnTo>
                  <a:lnTo>
                    <a:pt x="265" y="385"/>
                  </a:lnTo>
                  <a:lnTo>
                    <a:pt x="269" y="386"/>
                  </a:lnTo>
                  <a:lnTo>
                    <a:pt x="271" y="386"/>
                  </a:lnTo>
                  <a:lnTo>
                    <a:pt x="273" y="387"/>
                  </a:lnTo>
                  <a:lnTo>
                    <a:pt x="277" y="387"/>
                  </a:lnTo>
                  <a:lnTo>
                    <a:pt x="280" y="389"/>
                  </a:lnTo>
                  <a:lnTo>
                    <a:pt x="282" y="392"/>
                  </a:lnTo>
                  <a:lnTo>
                    <a:pt x="285" y="393"/>
                  </a:lnTo>
                  <a:lnTo>
                    <a:pt x="288" y="393"/>
                  </a:lnTo>
                  <a:lnTo>
                    <a:pt x="290" y="394"/>
                  </a:lnTo>
                  <a:lnTo>
                    <a:pt x="294" y="394"/>
                  </a:lnTo>
                  <a:lnTo>
                    <a:pt x="295" y="394"/>
                  </a:lnTo>
                  <a:lnTo>
                    <a:pt x="295" y="395"/>
                  </a:lnTo>
                  <a:lnTo>
                    <a:pt x="297" y="394"/>
                  </a:lnTo>
                  <a:lnTo>
                    <a:pt x="299" y="393"/>
                  </a:lnTo>
                  <a:lnTo>
                    <a:pt x="303" y="394"/>
                  </a:lnTo>
                  <a:lnTo>
                    <a:pt x="301" y="394"/>
                  </a:lnTo>
                  <a:lnTo>
                    <a:pt x="303" y="395"/>
                  </a:lnTo>
                  <a:lnTo>
                    <a:pt x="306" y="394"/>
                  </a:lnTo>
                  <a:lnTo>
                    <a:pt x="307" y="394"/>
                  </a:lnTo>
                  <a:lnTo>
                    <a:pt x="310" y="393"/>
                  </a:lnTo>
                  <a:lnTo>
                    <a:pt x="312" y="393"/>
                  </a:lnTo>
                  <a:lnTo>
                    <a:pt x="313" y="394"/>
                  </a:lnTo>
                  <a:lnTo>
                    <a:pt x="312" y="395"/>
                  </a:lnTo>
                  <a:lnTo>
                    <a:pt x="308" y="397"/>
                  </a:lnTo>
                  <a:lnTo>
                    <a:pt x="312" y="398"/>
                  </a:lnTo>
                  <a:lnTo>
                    <a:pt x="313" y="401"/>
                  </a:lnTo>
                  <a:lnTo>
                    <a:pt x="311" y="400"/>
                  </a:lnTo>
                  <a:lnTo>
                    <a:pt x="307" y="400"/>
                  </a:lnTo>
                  <a:lnTo>
                    <a:pt x="305" y="402"/>
                  </a:lnTo>
                  <a:lnTo>
                    <a:pt x="307" y="402"/>
                  </a:lnTo>
                  <a:lnTo>
                    <a:pt x="311" y="404"/>
                  </a:lnTo>
                  <a:lnTo>
                    <a:pt x="307" y="403"/>
                  </a:lnTo>
                  <a:lnTo>
                    <a:pt x="305" y="404"/>
                  </a:lnTo>
                  <a:lnTo>
                    <a:pt x="304" y="408"/>
                  </a:lnTo>
                  <a:lnTo>
                    <a:pt x="307" y="407"/>
                  </a:lnTo>
                  <a:lnTo>
                    <a:pt x="310" y="406"/>
                  </a:lnTo>
                  <a:lnTo>
                    <a:pt x="312" y="407"/>
                  </a:lnTo>
                  <a:lnTo>
                    <a:pt x="310" y="407"/>
                  </a:lnTo>
                  <a:lnTo>
                    <a:pt x="307" y="408"/>
                  </a:lnTo>
                  <a:lnTo>
                    <a:pt x="304" y="409"/>
                  </a:lnTo>
                  <a:lnTo>
                    <a:pt x="303" y="411"/>
                  </a:lnTo>
                  <a:lnTo>
                    <a:pt x="302" y="415"/>
                  </a:lnTo>
                  <a:lnTo>
                    <a:pt x="304" y="415"/>
                  </a:lnTo>
                  <a:lnTo>
                    <a:pt x="307" y="414"/>
                  </a:lnTo>
                  <a:lnTo>
                    <a:pt x="310" y="411"/>
                  </a:lnTo>
                  <a:lnTo>
                    <a:pt x="310" y="415"/>
                  </a:lnTo>
                  <a:lnTo>
                    <a:pt x="312" y="416"/>
                  </a:lnTo>
                  <a:lnTo>
                    <a:pt x="310" y="416"/>
                  </a:lnTo>
                  <a:lnTo>
                    <a:pt x="307" y="417"/>
                  </a:lnTo>
                  <a:lnTo>
                    <a:pt x="310" y="418"/>
                  </a:lnTo>
                  <a:lnTo>
                    <a:pt x="312" y="418"/>
                  </a:lnTo>
                  <a:lnTo>
                    <a:pt x="310" y="418"/>
                  </a:lnTo>
                  <a:lnTo>
                    <a:pt x="312" y="421"/>
                  </a:lnTo>
                  <a:lnTo>
                    <a:pt x="308" y="419"/>
                  </a:lnTo>
                  <a:lnTo>
                    <a:pt x="307" y="417"/>
                  </a:lnTo>
                  <a:lnTo>
                    <a:pt x="304" y="416"/>
                  </a:lnTo>
                  <a:lnTo>
                    <a:pt x="302" y="416"/>
                  </a:lnTo>
                  <a:lnTo>
                    <a:pt x="301" y="419"/>
                  </a:lnTo>
                  <a:lnTo>
                    <a:pt x="302" y="421"/>
                  </a:lnTo>
                  <a:lnTo>
                    <a:pt x="303" y="420"/>
                  </a:lnTo>
                  <a:lnTo>
                    <a:pt x="299" y="423"/>
                  </a:lnTo>
                  <a:lnTo>
                    <a:pt x="299" y="425"/>
                  </a:lnTo>
                  <a:lnTo>
                    <a:pt x="303" y="424"/>
                  </a:lnTo>
                  <a:lnTo>
                    <a:pt x="305" y="424"/>
                  </a:lnTo>
                  <a:lnTo>
                    <a:pt x="304" y="427"/>
                  </a:lnTo>
                  <a:lnTo>
                    <a:pt x="302" y="427"/>
                  </a:lnTo>
                  <a:lnTo>
                    <a:pt x="299" y="429"/>
                  </a:lnTo>
                  <a:lnTo>
                    <a:pt x="297" y="429"/>
                  </a:lnTo>
                  <a:lnTo>
                    <a:pt x="295" y="431"/>
                  </a:lnTo>
                  <a:lnTo>
                    <a:pt x="291" y="431"/>
                  </a:lnTo>
                  <a:lnTo>
                    <a:pt x="289" y="429"/>
                  </a:lnTo>
                  <a:lnTo>
                    <a:pt x="284" y="429"/>
                  </a:lnTo>
                  <a:lnTo>
                    <a:pt x="280" y="431"/>
                  </a:lnTo>
                  <a:lnTo>
                    <a:pt x="284" y="431"/>
                  </a:lnTo>
                  <a:lnTo>
                    <a:pt x="280" y="432"/>
                  </a:lnTo>
                  <a:lnTo>
                    <a:pt x="278" y="434"/>
                  </a:lnTo>
                  <a:lnTo>
                    <a:pt x="275" y="435"/>
                  </a:lnTo>
                  <a:lnTo>
                    <a:pt x="272" y="435"/>
                  </a:lnTo>
                  <a:lnTo>
                    <a:pt x="275" y="436"/>
                  </a:lnTo>
                  <a:lnTo>
                    <a:pt x="278" y="435"/>
                  </a:lnTo>
                  <a:lnTo>
                    <a:pt x="280" y="435"/>
                  </a:lnTo>
                  <a:lnTo>
                    <a:pt x="278" y="436"/>
                  </a:lnTo>
                  <a:lnTo>
                    <a:pt x="280" y="436"/>
                  </a:lnTo>
                  <a:lnTo>
                    <a:pt x="284" y="438"/>
                  </a:lnTo>
                  <a:lnTo>
                    <a:pt x="286" y="437"/>
                  </a:lnTo>
                  <a:lnTo>
                    <a:pt x="288" y="437"/>
                  </a:lnTo>
                  <a:lnTo>
                    <a:pt x="291" y="437"/>
                  </a:lnTo>
                  <a:lnTo>
                    <a:pt x="294" y="436"/>
                  </a:lnTo>
                  <a:lnTo>
                    <a:pt x="297" y="434"/>
                  </a:lnTo>
                  <a:lnTo>
                    <a:pt x="294" y="433"/>
                  </a:lnTo>
                  <a:lnTo>
                    <a:pt x="297" y="433"/>
                  </a:lnTo>
                  <a:lnTo>
                    <a:pt x="299" y="433"/>
                  </a:lnTo>
                  <a:lnTo>
                    <a:pt x="303" y="432"/>
                  </a:lnTo>
                  <a:lnTo>
                    <a:pt x="305" y="432"/>
                  </a:lnTo>
                  <a:lnTo>
                    <a:pt x="303" y="432"/>
                  </a:lnTo>
                  <a:lnTo>
                    <a:pt x="299" y="433"/>
                  </a:lnTo>
                  <a:lnTo>
                    <a:pt x="299" y="436"/>
                  </a:lnTo>
                  <a:lnTo>
                    <a:pt x="297" y="436"/>
                  </a:lnTo>
                  <a:lnTo>
                    <a:pt x="299" y="437"/>
                  </a:lnTo>
                  <a:lnTo>
                    <a:pt x="303" y="438"/>
                  </a:lnTo>
                  <a:lnTo>
                    <a:pt x="299" y="438"/>
                  </a:lnTo>
                  <a:lnTo>
                    <a:pt x="297" y="438"/>
                  </a:lnTo>
                  <a:lnTo>
                    <a:pt x="299" y="440"/>
                  </a:lnTo>
                  <a:lnTo>
                    <a:pt x="303" y="441"/>
                  </a:lnTo>
                  <a:lnTo>
                    <a:pt x="305" y="442"/>
                  </a:lnTo>
                  <a:lnTo>
                    <a:pt x="308" y="443"/>
                  </a:lnTo>
                  <a:lnTo>
                    <a:pt x="313" y="444"/>
                  </a:lnTo>
                  <a:lnTo>
                    <a:pt x="311" y="444"/>
                  </a:lnTo>
                  <a:lnTo>
                    <a:pt x="308" y="445"/>
                  </a:lnTo>
                  <a:lnTo>
                    <a:pt x="305" y="444"/>
                  </a:lnTo>
                  <a:lnTo>
                    <a:pt x="303" y="443"/>
                  </a:lnTo>
                  <a:lnTo>
                    <a:pt x="299" y="441"/>
                  </a:lnTo>
                  <a:lnTo>
                    <a:pt x="294" y="441"/>
                  </a:lnTo>
                  <a:lnTo>
                    <a:pt x="291" y="442"/>
                  </a:lnTo>
                  <a:lnTo>
                    <a:pt x="289" y="441"/>
                  </a:lnTo>
                  <a:lnTo>
                    <a:pt x="286" y="441"/>
                  </a:lnTo>
                  <a:lnTo>
                    <a:pt x="284" y="440"/>
                  </a:lnTo>
                  <a:lnTo>
                    <a:pt x="280" y="438"/>
                  </a:lnTo>
                  <a:lnTo>
                    <a:pt x="278" y="438"/>
                  </a:lnTo>
                  <a:lnTo>
                    <a:pt x="280" y="440"/>
                  </a:lnTo>
                  <a:lnTo>
                    <a:pt x="284" y="441"/>
                  </a:lnTo>
                  <a:lnTo>
                    <a:pt x="280" y="441"/>
                  </a:lnTo>
                  <a:lnTo>
                    <a:pt x="278" y="440"/>
                  </a:lnTo>
                  <a:lnTo>
                    <a:pt x="275" y="438"/>
                  </a:lnTo>
                  <a:lnTo>
                    <a:pt x="272" y="438"/>
                  </a:lnTo>
                  <a:lnTo>
                    <a:pt x="269" y="438"/>
                  </a:lnTo>
                  <a:lnTo>
                    <a:pt x="272" y="440"/>
                  </a:lnTo>
                  <a:lnTo>
                    <a:pt x="275" y="441"/>
                  </a:lnTo>
                  <a:lnTo>
                    <a:pt x="278" y="443"/>
                  </a:lnTo>
                  <a:lnTo>
                    <a:pt x="280" y="443"/>
                  </a:lnTo>
                  <a:lnTo>
                    <a:pt x="286" y="444"/>
                  </a:lnTo>
                  <a:lnTo>
                    <a:pt x="284" y="444"/>
                  </a:lnTo>
                  <a:lnTo>
                    <a:pt x="280" y="444"/>
                  </a:lnTo>
                  <a:lnTo>
                    <a:pt x="278" y="443"/>
                  </a:lnTo>
                  <a:lnTo>
                    <a:pt x="275" y="442"/>
                  </a:lnTo>
                  <a:lnTo>
                    <a:pt x="272" y="442"/>
                  </a:lnTo>
                  <a:lnTo>
                    <a:pt x="275" y="443"/>
                  </a:lnTo>
                  <a:lnTo>
                    <a:pt x="272" y="443"/>
                  </a:lnTo>
                  <a:lnTo>
                    <a:pt x="271" y="446"/>
                  </a:lnTo>
                  <a:lnTo>
                    <a:pt x="269" y="445"/>
                  </a:lnTo>
                  <a:lnTo>
                    <a:pt x="271" y="446"/>
                  </a:lnTo>
                  <a:lnTo>
                    <a:pt x="269" y="448"/>
                  </a:lnTo>
                  <a:lnTo>
                    <a:pt x="265" y="448"/>
                  </a:lnTo>
                  <a:lnTo>
                    <a:pt x="268" y="450"/>
                  </a:lnTo>
                  <a:lnTo>
                    <a:pt x="264" y="452"/>
                  </a:lnTo>
                  <a:lnTo>
                    <a:pt x="268" y="453"/>
                  </a:lnTo>
                  <a:lnTo>
                    <a:pt x="270" y="452"/>
                  </a:lnTo>
                  <a:lnTo>
                    <a:pt x="273" y="450"/>
                  </a:lnTo>
                  <a:lnTo>
                    <a:pt x="276" y="449"/>
                  </a:lnTo>
                  <a:lnTo>
                    <a:pt x="278" y="448"/>
                  </a:lnTo>
                  <a:lnTo>
                    <a:pt x="281" y="448"/>
                  </a:lnTo>
                  <a:lnTo>
                    <a:pt x="284" y="445"/>
                  </a:lnTo>
                  <a:lnTo>
                    <a:pt x="286" y="445"/>
                  </a:lnTo>
                  <a:lnTo>
                    <a:pt x="289" y="445"/>
                  </a:lnTo>
                  <a:lnTo>
                    <a:pt x="291" y="444"/>
                  </a:lnTo>
                  <a:lnTo>
                    <a:pt x="289" y="445"/>
                  </a:lnTo>
                  <a:lnTo>
                    <a:pt x="286" y="445"/>
                  </a:lnTo>
                  <a:lnTo>
                    <a:pt x="289" y="449"/>
                  </a:lnTo>
                  <a:lnTo>
                    <a:pt x="291" y="448"/>
                  </a:lnTo>
                  <a:lnTo>
                    <a:pt x="294" y="449"/>
                  </a:lnTo>
                  <a:lnTo>
                    <a:pt x="297" y="449"/>
                  </a:lnTo>
                  <a:lnTo>
                    <a:pt x="296" y="445"/>
                  </a:lnTo>
                  <a:lnTo>
                    <a:pt x="298" y="444"/>
                  </a:lnTo>
                  <a:lnTo>
                    <a:pt x="302" y="443"/>
                  </a:lnTo>
                  <a:lnTo>
                    <a:pt x="298" y="445"/>
                  </a:lnTo>
                  <a:lnTo>
                    <a:pt x="299" y="448"/>
                  </a:lnTo>
                  <a:lnTo>
                    <a:pt x="302" y="448"/>
                  </a:lnTo>
                  <a:lnTo>
                    <a:pt x="304" y="448"/>
                  </a:lnTo>
                  <a:lnTo>
                    <a:pt x="305" y="445"/>
                  </a:lnTo>
                  <a:lnTo>
                    <a:pt x="308" y="445"/>
                  </a:lnTo>
                  <a:lnTo>
                    <a:pt x="311" y="446"/>
                  </a:lnTo>
                  <a:lnTo>
                    <a:pt x="308" y="446"/>
                  </a:lnTo>
                  <a:lnTo>
                    <a:pt x="305" y="448"/>
                  </a:lnTo>
                  <a:lnTo>
                    <a:pt x="303" y="449"/>
                  </a:lnTo>
                  <a:lnTo>
                    <a:pt x="299" y="449"/>
                  </a:lnTo>
                  <a:lnTo>
                    <a:pt x="303" y="451"/>
                  </a:lnTo>
                  <a:lnTo>
                    <a:pt x="305" y="451"/>
                  </a:lnTo>
                  <a:lnTo>
                    <a:pt x="308" y="450"/>
                  </a:lnTo>
                  <a:lnTo>
                    <a:pt x="311" y="449"/>
                  </a:lnTo>
                  <a:lnTo>
                    <a:pt x="313" y="449"/>
                  </a:lnTo>
                  <a:lnTo>
                    <a:pt x="316" y="450"/>
                  </a:lnTo>
                  <a:lnTo>
                    <a:pt x="316" y="450"/>
                  </a:lnTo>
                  <a:lnTo>
                    <a:pt x="313" y="449"/>
                  </a:lnTo>
                  <a:lnTo>
                    <a:pt x="311" y="450"/>
                  </a:lnTo>
                  <a:lnTo>
                    <a:pt x="308" y="451"/>
                  </a:lnTo>
                  <a:lnTo>
                    <a:pt x="305" y="452"/>
                  </a:lnTo>
                  <a:lnTo>
                    <a:pt x="308" y="454"/>
                  </a:lnTo>
                  <a:lnTo>
                    <a:pt x="311" y="454"/>
                  </a:lnTo>
                  <a:lnTo>
                    <a:pt x="313" y="454"/>
                  </a:lnTo>
                  <a:lnTo>
                    <a:pt x="311" y="454"/>
                  </a:lnTo>
                  <a:lnTo>
                    <a:pt x="308" y="454"/>
                  </a:lnTo>
                  <a:lnTo>
                    <a:pt x="305" y="454"/>
                  </a:lnTo>
                  <a:lnTo>
                    <a:pt x="303" y="452"/>
                  </a:lnTo>
                  <a:lnTo>
                    <a:pt x="299" y="451"/>
                  </a:lnTo>
                  <a:lnTo>
                    <a:pt x="297" y="450"/>
                  </a:lnTo>
                  <a:lnTo>
                    <a:pt x="294" y="451"/>
                  </a:lnTo>
                  <a:lnTo>
                    <a:pt x="291" y="451"/>
                  </a:lnTo>
                  <a:lnTo>
                    <a:pt x="288" y="450"/>
                  </a:lnTo>
                  <a:lnTo>
                    <a:pt x="286" y="449"/>
                  </a:lnTo>
                  <a:lnTo>
                    <a:pt x="284" y="449"/>
                  </a:lnTo>
                  <a:lnTo>
                    <a:pt x="280" y="449"/>
                  </a:lnTo>
                  <a:lnTo>
                    <a:pt x="278" y="449"/>
                  </a:lnTo>
                  <a:lnTo>
                    <a:pt x="280" y="449"/>
                  </a:lnTo>
                  <a:lnTo>
                    <a:pt x="275" y="450"/>
                  </a:lnTo>
                  <a:lnTo>
                    <a:pt x="272" y="452"/>
                  </a:lnTo>
                  <a:lnTo>
                    <a:pt x="269" y="454"/>
                  </a:lnTo>
                  <a:lnTo>
                    <a:pt x="267" y="454"/>
                  </a:lnTo>
                  <a:lnTo>
                    <a:pt x="264" y="457"/>
                  </a:lnTo>
                  <a:lnTo>
                    <a:pt x="263" y="459"/>
                  </a:lnTo>
                  <a:lnTo>
                    <a:pt x="265" y="461"/>
                  </a:lnTo>
                  <a:lnTo>
                    <a:pt x="271" y="459"/>
                  </a:lnTo>
                  <a:lnTo>
                    <a:pt x="275" y="459"/>
                  </a:lnTo>
                  <a:lnTo>
                    <a:pt x="277" y="459"/>
                  </a:lnTo>
                  <a:lnTo>
                    <a:pt x="280" y="458"/>
                  </a:lnTo>
                  <a:lnTo>
                    <a:pt x="282" y="458"/>
                  </a:lnTo>
                  <a:lnTo>
                    <a:pt x="285" y="457"/>
                  </a:lnTo>
                  <a:lnTo>
                    <a:pt x="288" y="458"/>
                  </a:lnTo>
                  <a:lnTo>
                    <a:pt x="294" y="458"/>
                  </a:lnTo>
                  <a:lnTo>
                    <a:pt x="296" y="457"/>
                  </a:lnTo>
                  <a:lnTo>
                    <a:pt x="299" y="457"/>
                  </a:lnTo>
                  <a:lnTo>
                    <a:pt x="296" y="458"/>
                  </a:lnTo>
                  <a:lnTo>
                    <a:pt x="297" y="460"/>
                  </a:lnTo>
                  <a:lnTo>
                    <a:pt x="299" y="462"/>
                  </a:lnTo>
                  <a:lnTo>
                    <a:pt x="303" y="462"/>
                  </a:lnTo>
                  <a:lnTo>
                    <a:pt x="305" y="461"/>
                  </a:lnTo>
                  <a:lnTo>
                    <a:pt x="308" y="461"/>
                  </a:lnTo>
                  <a:lnTo>
                    <a:pt x="311" y="461"/>
                  </a:lnTo>
                  <a:lnTo>
                    <a:pt x="308" y="462"/>
                  </a:lnTo>
                  <a:lnTo>
                    <a:pt x="305" y="462"/>
                  </a:lnTo>
                  <a:lnTo>
                    <a:pt x="303" y="462"/>
                  </a:lnTo>
                  <a:lnTo>
                    <a:pt x="299" y="463"/>
                  </a:lnTo>
                  <a:lnTo>
                    <a:pt x="297" y="461"/>
                  </a:lnTo>
                  <a:lnTo>
                    <a:pt x="295" y="459"/>
                  </a:lnTo>
                  <a:lnTo>
                    <a:pt x="293" y="458"/>
                  </a:lnTo>
                  <a:lnTo>
                    <a:pt x="289" y="458"/>
                  </a:lnTo>
                  <a:lnTo>
                    <a:pt x="287" y="458"/>
                  </a:lnTo>
                  <a:lnTo>
                    <a:pt x="285" y="458"/>
                  </a:lnTo>
                  <a:lnTo>
                    <a:pt x="281" y="459"/>
                  </a:lnTo>
                  <a:lnTo>
                    <a:pt x="279" y="459"/>
                  </a:lnTo>
                  <a:lnTo>
                    <a:pt x="276" y="460"/>
                  </a:lnTo>
                  <a:lnTo>
                    <a:pt x="271" y="460"/>
                  </a:lnTo>
                  <a:lnTo>
                    <a:pt x="268" y="460"/>
                  </a:lnTo>
                  <a:lnTo>
                    <a:pt x="265" y="462"/>
                  </a:lnTo>
                  <a:lnTo>
                    <a:pt x="263" y="462"/>
                  </a:lnTo>
                  <a:lnTo>
                    <a:pt x="265" y="463"/>
                  </a:lnTo>
                  <a:lnTo>
                    <a:pt x="268" y="463"/>
                  </a:lnTo>
                  <a:lnTo>
                    <a:pt x="265" y="464"/>
                  </a:lnTo>
                  <a:lnTo>
                    <a:pt x="268" y="466"/>
                  </a:lnTo>
                  <a:lnTo>
                    <a:pt x="271" y="466"/>
                  </a:lnTo>
                  <a:lnTo>
                    <a:pt x="268" y="467"/>
                  </a:lnTo>
                  <a:lnTo>
                    <a:pt x="265" y="467"/>
                  </a:lnTo>
                  <a:lnTo>
                    <a:pt x="268" y="468"/>
                  </a:lnTo>
                  <a:lnTo>
                    <a:pt x="271" y="468"/>
                  </a:lnTo>
                  <a:lnTo>
                    <a:pt x="273" y="468"/>
                  </a:lnTo>
                  <a:lnTo>
                    <a:pt x="277" y="468"/>
                  </a:lnTo>
                  <a:lnTo>
                    <a:pt x="279" y="468"/>
                  </a:lnTo>
                  <a:lnTo>
                    <a:pt x="281" y="467"/>
                  </a:lnTo>
                  <a:lnTo>
                    <a:pt x="285" y="468"/>
                  </a:lnTo>
                  <a:lnTo>
                    <a:pt x="281" y="469"/>
                  </a:lnTo>
                  <a:lnTo>
                    <a:pt x="279" y="469"/>
                  </a:lnTo>
                  <a:lnTo>
                    <a:pt x="277" y="470"/>
                  </a:lnTo>
                  <a:lnTo>
                    <a:pt x="273" y="470"/>
                  </a:lnTo>
                  <a:lnTo>
                    <a:pt x="277" y="470"/>
                  </a:lnTo>
                  <a:lnTo>
                    <a:pt x="279" y="470"/>
                  </a:lnTo>
                  <a:lnTo>
                    <a:pt x="277" y="471"/>
                  </a:lnTo>
                  <a:lnTo>
                    <a:pt x="273" y="471"/>
                  </a:lnTo>
                  <a:lnTo>
                    <a:pt x="277" y="472"/>
                  </a:lnTo>
                  <a:lnTo>
                    <a:pt x="279" y="472"/>
                  </a:lnTo>
                  <a:lnTo>
                    <a:pt x="277" y="474"/>
                  </a:lnTo>
                  <a:lnTo>
                    <a:pt x="273" y="474"/>
                  </a:lnTo>
                  <a:lnTo>
                    <a:pt x="271" y="474"/>
                  </a:lnTo>
                  <a:lnTo>
                    <a:pt x="269" y="475"/>
                  </a:lnTo>
                  <a:lnTo>
                    <a:pt x="271" y="476"/>
                  </a:lnTo>
                  <a:lnTo>
                    <a:pt x="273" y="476"/>
                  </a:lnTo>
                  <a:lnTo>
                    <a:pt x="277" y="476"/>
                  </a:lnTo>
                  <a:lnTo>
                    <a:pt x="279" y="476"/>
                  </a:lnTo>
                  <a:lnTo>
                    <a:pt x="281" y="476"/>
                  </a:lnTo>
                  <a:lnTo>
                    <a:pt x="279" y="477"/>
                  </a:lnTo>
                  <a:lnTo>
                    <a:pt x="277" y="476"/>
                  </a:lnTo>
                  <a:lnTo>
                    <a:pt x="273" y="477"/>
                  </a:lnTo>
                  <a:lnTo>
                    <a:pt x="271" y="477"/>
                  </a:lnTo>
                  <a:lnTo>
                    <a:pt x="269" y="477"/>
                  </a:lnTo>
                  <a:lnTo>
                    <a:pt x="265" y="479"/>
                  </a:lnTo>
                  <a:lnTo>
                    <a:pt x="265" y="483"/>
                  </a:lnTo>
                  <a:lnTo>
                    <a:pt x="269" y="483"/>
                  </a:lnTo>
                  <a:lnTo>
                    <a:pt x="271" y="483"/>
                  </a:lnTo>
                  <a:lnTo>
                    <a:pt x="269" y="484"/>
                  </a:lnTo>
                  <a:lnTo>
                    <a:pt x="265" y="486"/>
                  </a:lnTo>
                  <a:lnTo>
                    <a:pt x="267" y="486"/>
                  </a:lnTo>
                  <a:lnTo>
                    <a:pt x="269" y="486"/>
                  </a:lnTo>
                  <a:lnTo>
                    <a:pt x="272" y="486"/>
                  </a:lnTo>
                  <a:lnTo>
                    <a:pt x="275" y="485"/>
                  </a:lnTo>
                  <a:lnTo>
                    <a:pt x="277" y="483"/>
                  </a:lnTo>
                  <a:lnTo>
                    <a:pt x="280" y="480"/>
                  </a:lnTo>
                  <a:lnTo>
                    <a:pt x="282" y="479"/>
                  </a:lnTo>
                  <a:lnTo>
                    <a:pt x="286" y="477"/>
                  </a:lnTo>
                  <a:lnTo>
                    <a:pt x="288" y="475"/>
                  </a:lnTo>
                  <a:lnTo>
                    <a:pt x="290" y="474"/>
                  </a:lnTo>
                  <a:lnTo>
                    <a:pt x="294" y="471"/>
                  </a:lnTo>
                  <a:lnTo>
                    <a:pt x="296" y="470"/>
                  </a:lnTo>
                  <a:lnTo>
                    <a:pt x="299" y="468"/>
                  </a:lnTo>
                  <a:lnTo>
                    <a:pt x="302" y="467"/>
                  </a:lnTo>
                  <a:lnTo>
                    <a:pt x="304" y="466"/>
                  </a:lnTo>
                  <a:lnTo>
                    <a:pt x="307" y="466"/>
                  </a:lnTo>
                  <a:lnTo>
                    <a:pt x="310" y="464"/>
                  </a:lnTo>
                  <a:lnTo>
                    <a:pt x="307" y="466"/>
                  </a:lnTo>
                  <a:lnTo>
                    <a:pt x="310" y="466"/>
                  </a:lnTo>
                  <a:lnTo>
                    <a:pt x="313" y="467"/>
                  </a:lnTo>
                  <a:lnTo>
                    <a:pt x="315" y="467"/>
                  </a:lnTo>
                  <a:lnTo>
                    <a:pt x="313" y="467"/>
                  </a:lnTo>
                  <a:lnTo>
                    <a:pt x="307" y="466"/>
                  </a:lnTo>
                  <a:lnTo>
                    <a:pt x="305" y="467"/>
                  </a:lnTo>
                  <a:lnTo>
                    <a:pt x="304" y="469"/>
                  </a:lnTo>
                  <a:lnTo>
                    <a:pt x="307" y="469"/>
                  </a:lnTo>
                  <a:lnTo>
                    <a:pt x="310" y="469"/>
                  </a:lnTo>
                  <a:lnTo>
                    <a:pt x="307" y="469"/>
                  </a:lnTo>
                  <a:lnTo>
                    <a:pt x="304" y="470"/>
                  </a:lnTo>
                  <a:lnTo>
                    <a:pt x="302" y="469"/>
                  </a:lnTo>
                  <a:lnTo>
                    <a:pt x="299" y="469"/>
                  </a:lnTo>
                  <a:lnTo>
                    <a:pt x="296" y="471"/>
                  </a:lnTo>
                  <a:lnTo>
                    <a:pt x="294" y="472"/>
                  </a:lnTo>
                  <a:lnTo>
                    <a:pt x="290" y="474"/>
                  </a:lnTo>
                  <a:lnTo>
                    <a:pt x="288" y="477"/>
                  </a:lnTo>
                  <a:lnTo>
                    <a:pt x="286" y="478"/>
                  </a:lnTo>
                  <a:lnTo>
                    <a:pt x="282" y="479"/>
                  </a:lnTo>
                  <a:lnTo>
                    <a:pt x="280" y="481"/>
                  </a:lnTo>
                  <a:lnTo>
                    <a:pt x="277" y="484"/>
                  </a:lnTo>
                  <a:lnTo>
                    <a:pt x="275" y="485"/>
                  </a:lnTo>
                  <a:lnTo>
                    <a:pt x="272" y="486"/>
                  </a:lnTo>
                  <a:lnTo>
                    <a:pt x="269" y="487"/>
                  </a:lnTo>
                  <a:lnTo>
                    <a:pt x="272" y="488"/>
                  </a:lnTo>
                  <a:lnTo>
                    <a:pt x="269" y="489"/>
                  </a:lnTo>
                  <a:lnTo>
                    <a:pt x="272" y="491"/>
                  </a:lnTo>
                  <a:lnTo>
                    <a:pt x="275" y="488"/>
                  </a:lnTo>
                  <a:lnTo>
                    <a:pt x="272" y="491"/>
                  </a:lnTo>
                  <a:lnTo>
                    <a:pt x="275" y="492"/>
                  </a:lnTo>
                  <a:lnTo>
                    <a:pt x="280" y="489"/>
                  </a:lnTo>
                  <a:lnTo>
                    <a:pt x="282" y="491"/>
                  </a:lnTo>
                  <a:lnTo>
                    <a:pt x="286" y="489"/>
                  </a:lnTo>
                  <a:lnTo>
                    <a:pt x="288" y="488"/>
                  </a:lnTo>
                  <a:lnTo>
                    <a:pt x="290" y="487"/>
                  </a:lnTo>
                  <a:lnTo>
                    <a:pt x="293" y="491"/>
                  </a:lnTo>
                  <a:lnTo>
                    <a:pt x="290" y="488"/>
                  </a:lnTo>
                  <a:lnTo>
                    <a:pt x="287" y="489"/>
                  </a:lnTo>
                  <a:lnTo>
                    <a:pt x="285" y="493"/>
                  </a:lnTo>
                  <a:lnTo>
                    <a:pt x="281" y="492"/>
                  </a:lnTo>
                  <a:lnTo>
                    <a:pt x="279" y="491"/>
                  </a:lnTo>
                  <a:lnTo>
                    <a:pt x="277" y="492"/>
                  </a:lnTo>
                  <a:lnTo>
                    <a:pt x="273" y="493"/>
                  </a:lnTo>
                  <a:lnTo>
                    <a:pt x="277" y="493"/>
                  </a:lnTo>
                  <a:lnTo>
                    <a:pt x="273" y="495"/>
                  </a:lnTo>
                  <a:lnTo>
                    <a:pt x="277" y="496"/>
                  </a:lnTo>
                  <a:lnTo>
                    <a:pt x="279" y="493"/>
                  </a:lnTo>
                  <a:lnTo>
                    <a:pt x="279" y="496"/>
                  </a:lnTo>
                  <a:lnTo>
                    <a:pt x="278" y="498"/>
                  </a:lnTo>
                  <a:lnTo>
                    <a:pt x="281" y="498"/>
                  </a:lnTo>
                  <a:lnTo>
                    <a:pt x="280" y="501"/>
                  </a:lnTo>
                  <a:lnTo>
                    <a:pt x="282" y="502"/>
                  </a:lnTo>
                  <a:lnTo>
                    <a:pt x="286" y="501"/>
                  </a:lnTo>
                  <a:lnTo>
                    <a:pt x="288" y="500"/>
                  </a:lnTo>
                  <a:lnTo>
                    <a:pt x="289" y="497"/>
                  </a:lnTo>
                  <a:lnTo>
                    <a:pt x="291" y="496"/>
                  </a:lnTo>
                  <a:lnTo>
                    <a:pt x="295" y="495"/>
                  </a:lnTo>
                  <a:lnTo>
                    <a:pt x="297" y="494"/>
                  </a:lnTo>
                  <a:lnTo>
                    <a:pt x="299" y="494"/>
                  </a:lnTo>
                  <a:lnTo>
                    <a:pt x="303" y="494"/>
                  </a:lnTo>
                  <a:lnTo>
                    <a:pt x="305" y="494"/>
                  </a:lnTo>
                  <a:lnTo>
                    <a:pt x="306" y="494"/>
                  </a:lnTo>
                  <a:lnTo>
                    <a:pt x="306" y="496"/>
                  </a:lnTo>
                  <a:lnTo>
                    <a:pt x="304" y="494"/>
                  </a:lnTo>
                  <a:lnTo>
                    <a:pt x="298" y="494"/>
                  </a:lnTo>
                  <a:lnTo>
                    <a:pt x="295" y="495"/>
                  </a:lnTo>
                  <a:lnTo>
                    <a:pt x="293" y="496"/>
                  </a:lnTo>
                  <a:lnTo>
                    <a:pt x="290" y="498"/>
                  </a:lnTo>
                  <a:lnTo>
                    <a:pt x="288" y="501"/>
                  </a:lnTo>
                  <a:lnTo>
                    <a:pt x="286" y="502"/>
                  </a:lnTo>
                  <a:lnTo>
                    <a:pt x="282" y="503"/>
                  </a:lnTo>
                  <a:lnTo>
                    <a:pt x="284" y="505"/>
                  </a:lnTo>
                  <a:lnTo>
                    <a:pt x="286" y="504"/>
                  </a:lnTo>
                  <a:lnTo>
                    <a:pt x="286" y="506"/>
                  </a:lnTo>
                  <a:lnTo>
                    <a:pt x="288" y="505"/>
                  </a:lnTo>
                  <a:lnTo>
                    <a:pt x="286" y="508"/>
                  </a:lnTo>
                  <a:lnTo>
                    <a:pt x="286" y="510"/>
                  </a:lnTo>
                  <a:lnTo>
                    <a:pt x="287" y="513"/>
                  </a:lnTo>
                  <a:lnTo>
                    <a:pt x="286" y="515"/>
                  </a:lnTo>
                  <a:lnTo>
                    <a:pt x="288" y="515"/>
                  </a:lnTo>
                  <a:lnTo>
                    <a:pt x="291" y="513"/>
                  </a:lnTo>
                  <a:lnTo>
                    <a:pt x="293" y="511"/>
                  </a:lnTo>
                  <a:lnTo>
                    <a:pt x="295" y="513"/>
                  </a:lnTo>
                  <a:lnTo>
                    <a:pt x="298" y="512"/>
                  </a:lnTo>
                  <a:lnTo>
                    <a:pt x="295" y="514"/>
                  </a:lnTo>
                  <a:lnTo>
                    <a:pt x="293" y="514"/>
                  </a:lnTo>
                  <a:lnTo>
                    <a:pt x="289" y="515"/>
                  </a:lnTo>
                  <a:lnTo>
                    <a:pt x="287" y="518"/>
                  </a:lnTo>
                  <a:lnTo>
                    <a:pt x="288" y="520"/>
                  </a:lnTo>
                  <a:lnTo>
                    <a:pt x="287" y="523"/>
                  </a:lnTo>
                  <a:lnTo>
                    <a:pt x="288" y="526"/>
                  </a:lnTo>
                  <a:lnTo>
                    <a:pt x="289" y="529"/>
                  </a:lnTo>
                  <a:lnTo>
                    <a:pt x="291" y="528"/>
                  </a:lnTo>
                  <a:lnTo>
                    <a:pt x="293" y="525"/>
                  </a:lnTo>
                  <a:lnTo>
                    <a:pt x="296" y="522"/>
                  </a:lnTo>
                  <a:lnTo>
                    <a:pt x="296" y="520"/>
                  </a:lnTo>
                  <a:lnTo>
                    <a:pt x="298" y="518"/>
                  </a:lnTo>
                  <a:lnTo>
                    <a:pt x="301" y="517"/>
                  </a:lnTo>
                  <a:lnTo>
                    <a:pt x="301" y="520"/>
                  </a:lnTo>
                  <a:lnTo>
                    <a:pt x="304" y="518"/>
                  </a:lnTo>
                  <a:lnTo>
                    <a:pt x="306" y="515"/>
                  </a:lnTo>
                  <a:lnTo>
                    <a:pt x="306" y="513"/>
                  </a:lnTo>
                  <a:lnTo>
                    <a:pt x="304" y="510"/>
                  </a:lnTo>
                  <a:lnTo>
                    <a:pt x="304" y="508"/>
                  </a:lnTo>
                  <a:lnTo>
                    <a:pt x="306" y="508"/>
                  </a:lnTo>
                  <a:lnTo>
                    <a:pt x="305" y="510"/>
                  </a:lnTo>
                  <a:lnTo>
                    <a:pt x="306" y="512"/>
                  </a:lnTo>
                  <a:lnTo>
                    <a:pt x="308" y="515"/>
                  </a:lnTo>
                  <a:lnTo>
                    <a:pt x="311" y="517"/>
                  </a:lnTo>
                  <a:lnTo>
                    <a:pt x="313" y="515"/>
                  </a:lnTo>
                  <a:lnTo>
                    <a:pt x="316" y="514"/>
                  </a:lnTo>
                  <a:lnTo>
                    <a:pt x="316" y="514"/>
                  </a:lnTo>
                  <a:lnTo>
                    <a:pt x="315" y="514"/>
                  </a:lnTo>
                  <a:lnTo>
                    <a:pt x="313" y="518"/>
                  </a:lnTo>
                  <a:lnTo>
                    <a:pt x="316" y="518"/>
                  </a:lnTo>
                  <a:lnTo>
                    <a:pt x="316" y="519"/>
                  </a:lnTo>
                  <a:lnTo>
                    <a:pt x="314" y="519"/>
                  </a:lnTo>
                  <a:lnTo>
                    <a:pt x="316" y="522"/>
                  </a:lnTo>
                  <a:lnTo>
                    <a:pt x="319" y="523"/>
                  </a:lnTo>
                  <a:lnTo>
                    <a:pt x="321" y="526"/>
                  </a:lnTo>
                  <a:lnTo>
                    <a:pt x="319" y="525"/>
                  </a:lnTo>
                  <a:lnTo>
                    <a:pt x="316" y="523"/>
                  </a:lnTo>
                  <a:lnTo>
                    <a:pt x="313" y="522"/>
                  </a:lnTo>
                  <a:lnTo>
                    <a:pt x="312" y="519"/>
                  </a:lnTo>
                  <a:lnTo>
                    <a:pt x="310" y="518"/>
                  </a:lnTo>
                  <a:lnTo>
                    <a:pt x="307" y="518"/>
                  </a:lnTo>
                  <a:lnTo>
                    <a:pt x="310" y="519"/>
                  </a:lnTo>
                  <a:lnTo>
                    <a:pt x="307" y="519"/>
                  </a:lnTo>
                  <a:lnTo>
                    <a:pt x="304" y="519"/>
                  </a:lnTo>
                  <a:lnTo>
                    <a:pt x="307" y="520"/>
                  </a:lnTo>
                  <a:lnTo>
                    <a:pt x="310" y="521"/>
                  </a:lnTo>
                  <a:lnTo>
                    <a:pt x="311" y="523"/>
                  </a:lnTo>
                  <a:lnTo>
                    <a:pt x="313" y="523"/>
                  </a:lnTo>
                  <a:lnTo>
                    <a:pt x="311" y="525"/>
                  </a:lnTo>
                  <a:lnTo>
                    <a:pt x="307" y="523"/>
                  </a:lnTo>
                  <a:lnTo>
                    <a:pt x="305" y="523"/>
                  </a:lnTo>
                  <a:lnTo>
                    <a:pt x="303" y="527"/>
                  </a:lnTo>
                  <a:lnTo>
                    <a:pt x="299" y="529"/>
                  </a:lnTo>
                  <a:lnTo>
                    <a:pt x="297" y="529"/>
                  </a:lnTo>
                  <a:lnTo>
                    <a:pt x="295" y="528"/>
                  </a:lnTo>
                  <a:lnTo>
                    <a:pt x="297" y="530"/>
                  </a:lnTo>
                  <a:lnTo>
                    <a:pt x="295" y="530"/>
                  </a:lnTo>
                  <a:lnTo>
                    <a:pt x="297" y="531"/>
                  </a:lnTo>
                  <a:lnTo>
                    <a:pt x="299" y="531"/>
                  </a:lnTo>
                  <a:lnTo>
                    <a:pt x="303" y="530"/>
                  </a:lnTo>
                  <a:lnTo>
                    <a:pt x="308" y="528"/>
                  </a:lnTo>
                  <a:lnTo>
                    <a:pt x="311" y="526"/>
                  </a:lnTo>
                  <a:lnTo>
                    <a:pt x="308" y="528"/>
                  </a:lnTo>
                  <a:lnTo>
                    <a:pt x="312" y="529"/>
                  </a:lnTo>
                  <a:lnTo>
                    <a:pt x="314" y="528"/>
                  </a:lnTo>
                  <a:lnTo>
                    <a:pt x="315" y="531"/>
                  </a:lnTo>
                  <a:lnTo>
                    <a:pt x="312" y="529"/>
                  </a:lnTo>
                  <a:lnTo>
                    <a:pt x="310" y="530"/>
                  </a:lnTo>
                  <a:lnTo>
                    <a:pt x="307" y="529"/>
                  </a:lnTo>
                  <a:lnTo>
                    <a:pt x="304" y="531"/>
                  </a:lnTo>
                  <a:lnTo>
                    <a:pt x="302" y="531"/>
                  </a:lnTo>
                  <a:lnTo>
                    <a:pt x="299" y="531"/>
                  </a:lnTo>
                  <a:lnTo>
                    <a:pt x="296" y="532"/>
                  </a:lnTo>
                  <a:lnTo>
                    <a:pt x="295" y="532"/>
                  </a:lnTo>
                  <a:lnTo>
                    <a:pt x="297" y="534"/>
                  </a:lnTo>
                  <a:lnTo>
                    <a:pt x="297" y="537"/>
                  </a:lnTo>
                  <a:lnTo>
                    <a:pt x="299" y="536"/>
                  </a:lnTo>
                  <a:lnTo>
                    <a:pt x="303" y="535"/>
                  </a:lnTo>
                  <a:lnTo>
                    <a:pt x="299" y="537"/>
                  </a:lnTo>
                  <a:lnTo>
                    <a:pt x="297" y="538"/>
                  </a:lnTo>
                  <a:lnTo>
                    <a:pt x="295" y="540"/>
                  </a:lnTo>
                  <a:lnTo>
                    <a:pt x="298" y="541"/>
                  </a:lnTo>
                  <a:lnTo>
                    <a:pt x="301" y="540"/>
                  </a:lnTo>
                  <a:lnTo>
                    <a:pt x="304" y="541"/>
                  </a:lnTo>
                  <a:lnTo>
                    <a:pt x="306" y="540"/>
                  </a:lnTo>
                  <a:lnTo>
                    <a:pt x="308" y="540"/>
                  </a:lnTo>
                  <a:lnTo>
                    <a:pt x="306" y="541"/>
                  </a:lnTo>
                  <a:lnTo>
                    <a:pt x="304" y="541"/>
                  </a:lnTo>
                  <a:lnTo>
                    <a:pt x="301" y="541"/>
                  </a:lnTo>
                  <a:lnTo>
                    <a:pt x="304" y="544"/>
                  </a:lnTo>
                  <a:lnTo>
                    <a:pt x="301" y="545"/>
                  </a:lnTo>
                  <a:lnTo>
                    <a:pt x="304" y="547"/>
                  </a:lnTo>
                  <a:lnTo>
                    <a:pt x="306" y="546"/>
                  </a:lnTo>
                  <a:lnTo>
                    <a:pt x="308" y="546"/>
                  </a:lnTo>
                  <a:lnTo>
                    <a:pt x="312" y="546"/>
                  </a:lnTo>
                  <a:lnTo>
                    <a:pt x="308" y="547"/>
                  </a:lnTo>
                  <a:lnTo>
                    <a:pt x="306" y="547"/>
                  </a:lnTo>
                  <a:lnTo>
                    <a:pt x="304" y="547"/>
                  </a:lnTo>
                  <a:lnTo>
                    <a:pt x="301" y="547"/>
                  </a:lnTo>
                  <a:lnTo>
                    <a:pt x="302" y="551"/>
                  </a:lnTo>
                  <a:lnTo>
                    <a:pt x="304" y="549"/>
                  </a:lnTo>
                  <a:lnTo>
                    <a:pt x="307" y="551"/>
                  </a:lnTo>
                  <a:lnTo>
                    <a:pt x="310" y="551"/>
                  </a:lnTo>
                  <a:lnTo>
                    <a:pt x="312" y="549"/>
                  </a:lnTo>
                  <a:lnTo>
                    <a:pt x="315" y="549"/>
                  </a:lnTo>
                  <a:lnTo>
                    <a:pt x="312" y="551"/>
                  </a:lnTo>
                  <a:lnTo>
                    <a:pt x="310" y="552"/>
                  </a:lnTo>
                  <a:lnTo>
                    <a:pt x="308" y="555"/>
                  </a:lnTo>
                  <a:lnTo>
                    <a:pt x="312" y="555"/>
                  </a:lnTo>
                  <a:lnTo>
                    <a:pt x="311" y="558"/>
                  </a:lnTo>
                  <a:lnTo>
                    <a:pt x="313" y="556"/>
                  </a:lnTo>
                  <a:lnTo>
                    <a:pt x="316" y="555"/>
                  </a:lnTo>
                  <a:lnTo>
                    <a:pt x="319" y="554"/>
                  </a:lnTo>
                  <a:lnTo>
                    <a:pt x="316" y="555"/>
                  </a:lnTo>
                  <a:lnTo>
                    <a:pt x="314" y="556"/>
                  </a:lnTo>
                  <a:lnTo>
                    <a:pt x="313" y="560"/>
                  </a:lnTo>
                  <a:lnTo>
                    <a:pt x="316" y="558"/>
                  </a:lnTo>
                  <a:lnTo>
                    <a:pt x="316" y="558"/>
                  </a:lnTo>
                  <a:lnTo>
                    <a:pt x="315" y="560"/>
                  </a:lnTo>
                  <a:lnTo>
                    <a:pt x="313" y="562"/>
                  </a:lnTo>
                  <a:lnTo>
                    <a:pt x="312" y="565"/>
                  </a:lnTo>
                  <a:lnTo>
                    <a:pt x="313" y="568"/>
                  </a:lnTo>
                  <a:lnTo>
                    <a:pt x="316" y="570"/>
                  </a:lnTo>
                  <a:lnTo>
                    <a:pt x="318" y="569"/>
                  </a:lnTo>
                  <a:lnTo>
                    <a:pt x="319" y="571"/>
                  </a:lnTo>
                  <a:lnTo>
                    <a:pt x="321" y="571"/>
                  </a:lnTo>
                  <a:lnTo>
                    <a:pt x="323" y="571"/>
                  </a:lnTo>
                  <a:lnTo>
                    <a:pt x="321" y="573"/>
                  </a:lnTo>
                  <a:lnTo>
                    <a:pt x="323" y="574"/>
                  </a:lnTo>
                  <a:lnTo>
                    <a:pt x="321" y="573"/>
                  </a:lnTo>
                  <a:lnTo>
                    <a:pt x="322" y="577"/>
                  </a:lnTo>
                  <a:lnTo>
                    <a:pt x="325" y="577"/>
                  </a:lnTo>
                  <a:lnTo>
                    <a:pt x="328" y="575"/>
                  </a:lnTo>
                  <a:lnTo>
                    <a:pt x="329" y="573"/>
                  </a:lnTo>
                  <a:lnTo>
                    <a:pt x="330" y="575"/>
                  </a:lnTo>
                  <a:lnTo>
                    <a:pt x="327" y="577"/>
                  </a:lnTo>
                  <a:lnTo>
                    <a:pt x="324" y="578"/>
                  </a:lnTo>
                  <a:lnTo>
                    <a:pt x="324" y="580"/>
                  </a:lnTo>
                  <a:lnTo>
                    <a:pt x="327" y="580"/>
                  </a:lnTo>
                  <a:lnTo>
                    <a:pt x="330" y="578"/>
                  </a:lnTo>
                  <a:lnTo>
                    <a:pt x="332" y="577"/>
                  </a:lnTo>
                  <a:lnTo>
                    <a:pt x="330" y="579"/>
                  </a:lnTo>
                  <a:lnTo>
                    <a:pt x="329" y="582"/>
                  </a:lnTo>
                  <a:lnTo>
                    <a:pt x="331" y="581"/>
                  </a:lnTo>
                  <a:lnTo>
                    <a:pt x="331" y="585"/>
                  </a:lnTo>
                  <a:lnTo>
                    <a:pt x="333" y="585"/>
                  </a:lnTo>
                  <a:lnTo>
                    <a:pt x="331" y="585"/>
                  </a:lnTo>
                  <a:lnTo>
                    <a:pt x="329" y="585"/>
                  </a:lnTo>
                  <a:lnTo>
                    <a:pt x="325" y="586"/>
                  </a:lnTo>
                  <a:lnTo>
                    <a:pt x="329" y="587"/>
                  </a:lnTo>
                  <a:lnTo>
                    <a:pt x="331" y="587"/>
                  </a:lnTo>
                  <a:lnTo>
                    <a:pt x="333" y="587"/>
                  </a:lnTo>
                  <a:lnTo>
                    <a:pt x="337" y="586"/>
                  </a:lnTo>
                  <a:lnTo>
                    <a:pt x="339" y="586"/>
                  </a:lnTo>
                  <a:lnTo>
                    <a:pt x="337" y="587"/>
                  </a:lnTo>
                  <a:lnTo>
                    <a:pt x="333" y="588"/>
                  </a:lnTo>
                  <a:lnTo>
                    <a:pt x="331" y="589"/>
                  </a:lnTo>
                  <a:lnTo>
                    <a:pt x="333" y="589"/>
                  </a:lnTo>
                  <a:lnTo>
                    <a:pt x="337" y="589"/>
                  </a:lnTo>
                  <a:lnTo>
                    <a:pt x="337" y="591"/>
                  </a:lnTo>
                  <a:lnTo>
                    <a:pt x="338" y="595"/>
                  </a:lnTo>
                  <a:lnTo>
                    <a:pt x="340" y="592"/>
                  </a:lnTo>
                  <a:lnTo>
                    <a:pt x="342" y="591"/>
                  </a:lnTo>
                  <a:lnTo>
                    <a:pt x="340" y="594"/>
                  </a:lnTo>
                  <a:lnTo>
                    <a:pt x="342" y="595"/>
                  </a:lnTo>
                  <a:lnTo>
                    <a:pt x="346" y="594"/>
                  </a:lnTo>
                  <a:lnTo>
                    <a:pt x="342" y="596"/>
                  </a:lnTo>
                  <a:lnTo>
                    <a:pt x="340" y="597"/>
                  </a:lnTo>
                  <a:lnTo>
                    <a:pt x="342" y="597"/>
                  </a:lnTo>
                  <a:lnTo>
                    <a:pt x="346" y="598"/>
                  </a:lnTo>
                  <a:lnTo>
                    <a:pt x="342" y="599"/>
                  </a:lnTo>
                  <a:lnTo>
                    <a:pt x="340" y="602"/>
                  </a:lnTo>
                  <a:lnTo>
                    <a:pt x="342" y="600"/>
                  </a:lnTo>
                  <a:lnTo>
                    <a:pt x="346" y="600"/>
                  </a:lnTo>
                  <a:lnTo>
                    <a:pt x="348" y="602"/>
                  </a:lnTo>
                  <a:lnTo>
                    <a:pt x="352" y="599"/>
                  </a:lnTo>
                  <a:lnTo>
                    <a:pt x="346" y="599"/>
                  </a:lnTo>
                  <a:lnTo>
                    <a:pt x="352" y="598"/>
                  </a:lnTo>
                  <a:lnTo>
                    <a:pt x="354" y="599"/>
                  </a:lnTo>
                  <a:lnTo>
                    <a:pt x="357" y="598"/>
                  </a:lnTo>
                  <a:lnTo>
                    <a:pt x="356" y="600"/>
                  </a:lnTo>
                  <a:lnTo>
                    <a:pt x="359" y="602"/>
                  </a:lnTo>
                  <a:lnTo>
                    <a:pt x="361" y="598"/>
                  </a:lnTo>
                  <a:lnTo>
                    <a:pt x="364" y="597"/>
                  </a:lnTo>
                  <a:lnTo>
                    <a:pt x="366" y="596"/>
                  </a:lnTo>
                  <a:lnTo>
                    <a:pt x="369" y="596"/>
                  </a:lnTo>
                  <a:lnTo>
                    <a:pt x="372" y="595"/>
                  </a:lnTo>
                  <a:lnTo>
                    <a:pt x="372" y="592"/>
                  </a:lnTo>
                  <a:lnTo>
                    <a:pt x="374" y="590"/>
                  </a:lnTo>
                  <a:lnTo>
                    <a:pt x="373" y="592"/>
                  </a:lnTo>
                  <a:lnTo>
                    <a:pt x="375" y="596"/>
                  </a:lnTo>
                  <a:lnTo>
                    <a:pt x="373" y="596"/>
                  </a:lnTo>
                  <a:lnTo>
                    <a:pt x="370" y="598"/>
                  </a:lnTo>
                  <a:lnTo>
                    <a:pt x="373" y="598"/>
                  </a:lnTo>
                  <a:lnTo>
                    <a:pt x="375" y="597"/>
                  </a:lnTo>
                  <a:lnTo>
                    <a:pt x="378" y="595"/>
                  </a:lnTo>
                  <a:lnTo>
                    <a:pt x="378" y="592"/>
                  </a:lnTo>
                  <a:lnTo>
                    <a:pt x="379" y="595"/>
                  </a:lnTo>
                  <a:lnTo>
                    <a:pt x="382" y="592"/>
                  </a:lnTo>
                  <a:lnTo>
                    <a:pt x="379" y="596"/>
                  </a:lnTo>
                  <a:lnTo>
                    <a:pt x="376" y="598"/>
                  </a:lnTo>
                  <a:lnTo>
                    <a:pt x="374" y="598"/>
                  </a:lnTo>
                  <a:lnTo>
                    <a:pt x="371" y="599"/>
                  </a:lnTo>
                  <a:lnTo>
                    <a:pt x="369" y="602"/>
                  </a:lnTo>
                  <a:lnTo>
                    <a:pt x="371" y="600"/>
                  </a:lnTo>
                  <a:lnTo>
                    <a:pt x="370" y="603"/>
                  </a:lnTo>
                  <a:lnTo>
                    <a:pt x="373" y="603"/>
                  </a:lnTo>
                  <a:lnTo>
                    <a:pt x="375" y="602"/>
                  </a:lnTo>
                  <a:lnTo>
                    <a:pt x="378" y="599"/>
                  </a:lnTo>
                  <a:lnTo>
                    <a:pt x="381" y="599"/>
                  </a:lnTo>
                  <a:lnTo>
                    <a:pt x="378" y="600"/>
                  </a:lnTo>
                  <a:lnTo>
                    <a:pt x="375" y="603"/>
                  </a:lnTo>
                  <a:lnTo>
                    <a:pt x="373" y="604"/>
                  </a:lnTo>
                  <a:lnTo>
                    <a:pt x="375" y="604"/>
                  </a:lnTo>
                  <a:lnTo>
                    <a:pt x="373" y="606"/>
                  </a:lnTo>
                  <a:lnTo>
                    <a:pt x="375" y="605"/>
                  </a:lnTo>
                  <a:lnTo>
                    <a:pt x="376" y="607"/>
                  </a:lnTo>
                  <a:lnTo>
                    <a:pt x="378" y="605"/>
                  </a:lnTo>
                  <a:lnTo>
                    <a:pt x="381" y="605"/>
                  </a:lnTo>
                  <a:lnTo>
                    <a:pt x="380" y="607"/>
                  </a:lnTo>
                  <a:lnTo>
                    <a:pt x="382" y="606"/>
                  </a:lnTo>
                  <a:lnTo>
                    <a:pt x="381" y="608"/>
                  </a:lnTo>
                  <a:lnTo>
                    <a:pt x="383" y="608"/>
                  </a:lnTo>
                  <a:lnTo>
                    <a:pt x="387" y="606"/>
                  </a:lnTo>
                  <a:lnTo>
                    <a:pt x="389" y="603"/>
                  </a:lnTo>
                  <a:lnTo>
                    <a:pt x="388" y="606"/>
                  </a:lnTo>
                  <a:lnTo>
                    <a:pt x="384" y="612"/>
                  </a:lnTo>
                  <a:lnTo>
                    <a:pt x="383" y="614"/>
                  </a:lnTo>
                  <a:lnTo>
                    <a:pt x="386" y="614"/>
                  </a:lnTo>
                  <a:lnTo>
                    <a:pt x="388" y="611"/>
                  </a:lnTo>
                  <a:lnTo>
                    <a:pt x="390" y="608"/>
                  </a:lnTo>
                  <a:lnTo>
                    <a:pt x="388" y="612"/>
                  </a:lnTo>
                  <a:lnTo>
                    <a:pt x="387" y="614"/>
                  </a:lnTo>
                  <a:lnTo>
                    <a:pt x="383" y="616"/>
                  </a:lnTo>
                  <a:lnTo>
                    <a:pt x="387" y="615"/>
                  </a:lnTo>
                  <a:lnTo>
                    <a:pt x="388" y="617"/>
                  </a:lnTo>
                  <a:lnTo>
                    <a:pt x="390" y="617"/>
                  </a:lnTo>
                  <a:lnTo>
                    <a:pt x="391" y="615"/>
                  </a:lnTo>
                  <a:lnTo>
                    <a:pt x="395" y="615"/>
                  </a:lnTo>
                  <a:lnTo>
                    <a:pt x="396" y="612"/>
                  </a:lnTo>
                  <a:lnTo>
                    <a:pt x="398" y="612"/>
                  </a:lnTo>
                  <a:lnTo>
                    <a:pt x="398" y="614"/>
                  </a:lnTo>
                  <a:lnTo>
                    <a:pt x="401" y="615"/>
                  </a:lnTo>
                  <a:lnTo>
                    <a:pt x="404" y="615"/>
                  </a:lnTo>
                  <a:lnTo>
                    <a:pt x="406" y="615"/>
                  </a:lnTo>
                  <a:lnTo>
                    <a:pt x="409" y="615"/>
                  </a:lnTo>
                  <a:lnTo>
                    <a:pt x="409" y="613"/>
                  </a:lnTo>
                  <a:lnTo>
                    <a:pt x="408" y="609"/>
                  </a:lnTo>
                  <a:lnTo>
                    <a:pt x="405" y="611"/>
                  </a:lnTo>
                  <a:lnTo>
                    <a:pt x="406" y="608"/>
                  </a:lnTo>
                  <a:lnTo>
                    <a:pt x="402" y="607"/>
                  </a:lnTo>
                  <a:lnTo>
                    <a:pt x="400" y="606"/>
                  </a:lnTo>
                  <a:lnTo>
                    <a:pt x="397" y="606"/>
                  </a:lnTo>
                  <a:lnTo>
                    <a:pt x="400" y="606"/>
                  </a:lnTo>
                  <a:lnTo>
                    <a:pt x="402" y="604"/>
                  </a:lnTo>
                  <a:lnTo>
                    <a:pt x="404" y="607"/>
                  </a:lnTo>
                  <a:lnTo>
                    <a:pt x="407" y="607"/>
                  </a:lnTo>
                  <a:lnTo>
                    <a:pt x="409" y="607"/>
                  </a:lnTo>
                  <a:lnTo>
                    <a:pt x="413" y="606"/>
                  </a:lnTo>
                  <a:lnTo>
                    <a:pt x="415" y="604"/>
                  </a:lnTo>
                  <a:lnTo>
                    <a:pt x="413" y="605"/>
                  </a:lnTo>
                  <a:lnTo>
                    <a:pt x="409" y="604"/>
                  </a:lnTo>
                  <a:lnTo>
                    <a:pt x="413" y="605"/>
                  </a:lnTo>
                  <a:lnTo>
                    <a:pt x="413" y="602"/>
                  </a:lnTo>
                  <a:lnTo>
                    <a:pt x="409" y="602"/>
                  </a:lnTo>
                  <a:lnTo>
                    <a:pt x="407" y="600"/>
                  </a:lnTo>
                  <a:lnTo>
                    <a:pt x="410" y="602"/>
                  </a:lnTo>
                  <a:lnTo>
                    <a:pt x="413" y="600"/>
                  </a:lnTo>
                  <a:lnTo>
                    <a:pt x="410" y="600"/>
                  </a:lnTo>
                  <a:lnTo>
                    <a:pt x="407" y="599"/>
                  </a:lnTo>
                  <a:lnTo>
                    <a:pt x="410" y="599"/>
                  </a:lnTo>
                  <a:lnTo>
                    <a:pt x="413" y="599"/>
                  </a:lnTo>
                  <a:lnTo>
                    <a:pt x="416" y="598"/>
                  </a:lnTo>
                  <a:lnTo>
                    <a:pt x="416" y="596"/>
                  </a:lnTo>
                  <a:lnTo>
                    <a:pt x="413" y="596"/>
                  </a:lnTo>
                  <a:lnTo>
                    <a:pt x="410" y="595"/>
                  </a:lnTo>
                  <a:lnTo>
                    <a:pt x="408" y="595"/>
                  </a:lnTo>
                  <a:lnTo>
                    <a:pt x="406" y="595"/>
                  </a:lnTo>
                  <a:lnTo>
                    <a:pt x="408" y="595"/>
                  </a:lnTo>
                  <a:lnTo>
                    <a:pt x="414" y="595"/>
                  </a:lnTo>
                  <a:lnTo>
                    <a:pt x="416" y="595"/>
                  </a:lnTo>
                  <a:lnTo>
                    <a:pt x="412" y="592"/>
                  </a:lnTo>
                  <a:lnTo>
                    <a:pt x="414" y="592"/>
                  </a:lnTo>
                  <a:lnTo>
                    <a:pt x="416" y="591"/>
                  </a:lnTo>
                  <a:lnTo>
                    <a:pt x="412" y="590"/>
                  </a:lnTo>
                  <a:lnTo>
                    <a:pt x="414" y="590"/>
                  </a:lnTo>
                  <a:lnTo>
                    <a:pt x="416" y="590"/>
                  </a:lnTo>
                  <a:lnTo>
                    <a:pt x="419" y="588"/>
                  </a:lnTo>
                  <a:lnTo>
                    <a:pt x="417" y="586"/>
                  </a:lnTo>
                  <a:lnTo>
                    <a:pt x="414" y="586"/>
                  </a:lnTo>
                  <a:lnTo>
                    <a:pt x="412" y="585"/>
                  </a:lnTo>
                  <a:lnTo>
                    <a:pt x="414" y="586"/>
                  </a:lnTo>
                  <a:lnTo>
                    <a:pt x="417" y="586"/>
                  </a:lnTo>
                  <a:lnTo>
                    <a:pt x="419" y="585"/>
                  </a:lnTo>
                  <a:lnTo>
                    <a:pt x="421" y="582"/>
                  </a:lnTo>
                  <a:lnTo>
                    <a:pt x="418" y="582"/>
                  </a:lnTo>
                  <a:lnTo>
                    <a:pt x="416" y="581"/>
                  </a:lnTo>
                  <a:lnTo>
                    <a:pt x="418" y="582"/>
                  </a:lnTo>
                  <a:lnTo>
                    <a:pt x="421" y="581"/>
                  </a:lnTo>
                  <a:lnTo>
                    <a:pt x="421" y="579"/>
                  </a:lnTo>
                  <a:lnTo>
                    <a:pt x="422" y="575"/>
                  </a:lnTo>
                  <a:lnTo>
                    <a:pt x="419" y="577"/>
                  </a:lnTo>
                  <a:lnTo>
                    <a:pt x="419" y="575"/>
                  </a:lnTo>
                  <a:lnTo>
                    <a:pt x="422" y="572"/>
                  </a:lnTo>
                  <a:lnTo>
                    <a:pt x="421" y="570"/>
                  </a:lnTo>
                  <a:lnTo>
                    <a:pt x="418" y="569"/>
                  </a:lnTo>
                  <a:lnTo>
                    <a:pt x="415" y="568"/>
                  </a:lnTo>
                  <a:lnTo>
                    <a:pt x="413" y="565"/>
                  </a:lnTo>
                  <a:lnTo>
                    <a:pt x="415" y="565"/>
                  </a:lnTo>
                  <a:lnTo>
                    <a:pt x="418" y="568"/>
                  </a:lnTo>
                  <a:lnTo>
                    <a:pt x="421" y="566"/>
                  </a:lnTo>
                  <a:lnTo>
                    <a:pt x="418" y="565"/>
                  </a:lnTo>
                  <a:lnTo>
                    <a:pt x="421" y="566"/>
                  </a:lnTo>
                  <a:lnTo>
                    <a:pt x="418" y="563"/>
                  </a:lnTo>
                  <a:lnTo>
                    <a:pt x="416" y="563"/>
                  </a:lnTo>
                  <a:lnTo>
                    <a:pt x="413" y="562"/>
                  </a:lnTo>
                  <a:lnTo>
                    <a:pt x="410" y="560"/>
                  </a:lnTo>
                  <a:lnTo>
                    <a:pt x="413" y="561"/>
                  </a:lnTo>
                  <a:lnTo>
                    <a:pt x="416" y="560"/>
                  </a:lnTo>
                  <a:lnTo>
                    <a:pt x="418" y="561"/>
                  </a:lnTo>
                  <a:lnTo>
                    <a:pt x="418" y="557"/>
                  </a:lnTo>
                  <a:lnTo>
                    <a:pt x="421" y="557"/>
                  </a:lnTo>
                  <a:lnTo>
                    <a:pt x="424" y="558"/>
                  </a:lnTo>
                  <a:lnTo>
                    <a:pt x="426" y="558"/>
                  </a:lnTo>
                  <a:lnTo>
                    <a:pt x="429" y="558"/>
                  </a:lnTo>
                  <a:lnTo>
                    <a:pt x="431" y="555"/>
                  </a:lnTo>
                  <a:lnTo>
                    <a:pt x="429" y="554"/>
                  </a:lnTo>
                  <a:lnTo>
                    <a:pt x="425" y="554"/>
                  </a:lnTo>
                  <a:lnTo>
                    <a:pt x="423" y="551"/>
                  </a:lnTo>
                  <a:lnTo>
                    <a:pt x="426" y="554"/>
                  </a:lnTo>
                  <a:lnTo>
                    <a:pt x="429" y="554"/>
                  </a:lnTo>
                  <a:lnTo>
                    <a:pt x="432" y="554"/>
                  </a:lnTo>
                  <a:lnTo>
                    <a:pt x="429" y="552"/>
                  </a:lnTo>
                  <a:lnTo>
                    <a:pt x="426" y="551"/>
                  </a:lnTo>
                  <a:lnTo>
                    <a:pt x="429" y="551"/>
                  </a:lnTo>
                  <a:lnTo>
                    <a:pt x="432" y="553"/>
                  </a:lnTo>
                  <a:lnTo>
                    <a:pt x="433" y="551"/>
                  </a:lnTo>
                  <a:lnTo>
                    <a:pt x="430" y="548"/>
                  </a:lnTo>
                  <a:lnTo>
                    <a:pt x="427" y="546"/>
                  </a:lnTo>
                  <a:lnTo>
                    <a:pt x="429" y="544"/>
                  </a:lnTo>
                  <a:lnTo>
                    <a:pt x="432" y="546"/>
                  </a:lnTo>
                  <a:lnTo>
                    <a:pt x="434" y="547"/>
                  </a:lnTo>
                  <a:lnTo>
                    <a:pt x="438" y="548"/>
                  </a:lnTo>
                  <a:lnTo>
                    <a:pt x="434" y="546"/>
                  </a:lnTo>
                  <a:lnTo>
                    <a:pt x="432" y="545"/>
                  </a:lnTo>
                  <a:lnTo>
                    <a:pt x="434" y="546"/>
                  </a:lnTo>
                  <a:lnTo>
                    <a:pt x="433" y="543"/>
                  </a:lnTo>
                  <a:lnTo>
                    <a:pt x="436" y="545"/>
                  </a:lnTo>
                  <a:lnTo>
                    <a:pt x="439" y="546"/>
                  </a:lnTo>
                  <a:lnTo>
                    <a:pt x="436" y="544"/>
                  </a:lnTo>
                  <a:lnTo>
                    <a:pt x="439" y="545"/>
                  </a:lnTo>
                  <a:lnTo>
                    <a:pt x="441" y="544"/>
                  </a:lnTo>
                  <a:lnTo>
                    <a:pt x="441" y="541"/>
                  </a:lnTo>
                  <a:lnTo>
                    <a:pt x="439" y="540"/>
                  </a:lnTo>
                  <a:lnTo>
                    <a:pt x="436" y="540"/>
                  </a:lnTo>
                  <a:lnTo>
                    <a:pt x="433" y="538"/>
                  </a:lnTo>
                  <a:lnTo>
                    <a:pt x="435" y="538"/>
                  </a:lnTo>
                  <a:lnTo>
                    <a:pt x="439" y="539"/>
                  </a:lnTo>
                  <a:lnTo>
                    <a:pt x="441" y="540"/>
                  </a:lnTo>
                  <a:lnTo>
                    <a:pt x="444" y="539"/>
                  </a:lnTo>
                  <a:lnTo>
                    <a:pt x="446" y="537"/>
                  </a:lnTo>
                  <a:lnTo>
                    <a:pt x="442" y="535"/>
                  </a:lnTo>
                  <a:lnTo>
                    <a:pt x="446" y="532"/>
                  </a:lnTo>
                  <a:lnTo>
                    <a:pt x="442" y="530"/>
                  </a:lnTo>
                  <a:lnTo>
                    <a:pt x="440" y="530"/>
                  </a:lnTo>
                  <a:lnTo>
                    <a:pt x="436" y="530"/>
                  </a:lnTo>
                  <a:lnTo>
                    <a:pt x="434" y="529"/>
                  </a:lnTo>
                  <a:lnTo>
                    <a:pt x="432" y="528"/>
                  </a:lnTo>
                  <a:lnTo>
                    <a:pt x="434" y="526"/>
                  </a:lnTo>
                  <a:lnTo>
                    <a:pt x="436" y="527"/>
                  </a:lnTo>
                  <a:lnTo>
                    <a:pt x="440" y="527"/>
                  </a:lnTo>
                  <a:lnTo>
                    <a:pt x="442" y="526"/>
                  </a:lnTo>
                  <a:lnTo>
                    <a:pt x="446" y="526"/>
                  </a:lnTo>
                  <a:lnTo>
                    <a:pt x="448" y="526"/>
                  </a:lnTo>
                  <a:lnTo>
                    <a:pt x="446" y="523"/>
                  </a:lnTo>
                  <a:lnTo>
                    <a:pt x="444" y="521"/>
                  </a:lnTo>
                  <a:lnTo>
                    <a:pt x="443" y="518"/>
                  </a:lnTo>
                  <a:lnTo>
                    <a:pt x="441" y="515"/>
                  </a:lnTo>
                  <a:lnTo>
                    <a:pt x="438" y="513"/>
                  </a:lnTo>
                  <a:lnTo>
                    <a:pt x="439" y="511"/>
                  </a:lnTo>
                  <a:lnTo>
                    <a:pt x="442" y="510"/>
                  </a:lnTo>
                  <a:lnTo>
                    <a:pt x="444" y="508"/>
                  </a:lnTo>
                  <a:lnTo>
                    <a:pt x="447" y="511"/>
                  </a:lnTo>
                  <a:lnTo>
                    <a:pt x="450" y="510"/>
                  </a:lnTo>
                  <a:lnTo>
                    <a:pt x="452" y="510"/>
                  </a:lnTo>
                  <a:lnTo>
                    <a:pt x="452" y="510"/>
                  </a:lnTo>
                  <a:lnTo>
                    <a:pt x="452" y="506"/>
                  </a:lnTo>
                  <a:lnTo>
                    <a:pt x="456" y="506"/>
                  </a:lnTo>
                  <a:lnTo>
                    <a:pt x="453" y="503"/>
                  </a:lnTo>
                  <a:lnTo>
                    <a:pt x="452" y="502"/>
                  </a:lnTo>
                  <a:lnTo>
                    <a:pt x="450" y="501"/>
                  </a:lnTo>
                  <a:lnTo>
                    <a:pt x="452" y="498"/>
                  </a:lnTo>
                  <a:lnTo>
                    <a:pt x="456" y="500"/>
                  </a:lnTo>
                  <a:lnTo>
                    <a:pt x="457" y="497"/>
                  </a:lnTo>
                  <a:lnTo>
                    <a:pt x="459" y="497"/>
                  </a:lnTo>
                  <a:lnTo>
                    <a:pt x="463" y="500"/>
                  </a:lnTo>
                  <a:lnTo>
                    <a:pt x="464" y="496"/>
                  </a:lnTo>
                  <a:lnTo>
                    <a:pt x="467" y="498"/>
                  </a:lnTo>
                  <a:lnTo>
                    <a:pt x="469" y="496"/>
                  </a:lnTo>
                  <a:lnTo>
                    <a:pt x="473" y="497"/>
                  </a:lnTo>
                  <a:lnTo>
                    <a:pt x="475" y="497"/>
                  </a:lnTo>
                  <a:lnTo>
                    <a:pt x="477" y="495"/>
                  </a:lnTo>
                  <a:lnTo>
                    <a:pt x="477" y="493"/>
                  </a:lnTo>
                  <a:lnTo>
                    <a:pt x="475" y="492"/>
                  </a:lnTo>
                  <a:lnTo>
                    <a:pt x="475" y="488"/>
                  </a:lnTo>
                  <a:lnTo>
                    <a:pt x="477" y="489"/>
                  </a:lnTo>
                  <a:lnTo>
                    <a:pt x="481" y="488"/>
                  </a:lnTo>
                  <a:lnTo>
                    <a:pt x="481" y="486"/>
                  </a:lnTo>
                  <a:lnTo>
                    <a:pt x="481" y="484"/>
                  </a:lnTo>
                  <a:lnTo>
                    <a:pt x="483" y="483"/>
                  </a:lnTo>
                  <a:lnTo>
                    <a:pt x="481" y="480"/>
                  </a:lnTo>
                  <a:lnTo>
                    <a:pt x="483" y="480"/>
                  </a:lnTo>
                  <a:lnTo>
                    <a:pt x="486" y="481"/>
                  </a:lnTo>
                  <a:lnTo>
                    <a:pt x="489" y="481"/>
                  </a:lnTo>
                  <a:lnTo>
                    <a:pt x="491" y="481"/>
                  </a:lnTo>
                  <a:lnTo>
                    <a:pt x="489" y="484"/>
                  </a:lnTo>
                  <a:lnTo>
                    <a:pt x="486" y="486"/>
                  </a:lnTo>
                  <a:lnTo>
                    <a:pt x="483" y="488"/>
                  </a:lnTo>
                  <a:lnTo>
                    <a:pt x="483" y="491"/>
                  </a:lnTo>
                  <a:lnTo>
                    <a:pt x="486" y="491"/>
                  </a:lnTo>
                  <a:lnTo>
                    <a:pt x="489" y="493"/>
                  </a:lnTo>
                  <a:lnTo>
                    <a:pt x="491" y="494"/>
                  </a:lnTo>
                  <a:lnTo>
                    <a:pt x="492" y="491"/>
                  </a:lnTo>
                  <a:lnTo>
                    <a:pt x="493" y="488"/>
                  </a:lnTo>
                  <a:lnTo>
                    <a:pt x="493" y="491"/>
                  </a:lnTo>
                  <a:lnTo>
                    <a:pt x="495" y="491"/>
                  </a:lnTo>
                  <a:lnTo>
                    <a:pt x="499" y="489"/>
                  </a:lnTo>
                  <a:lnTo>
                    <a:pt x="501" y="487"/>
                  </a:lnTo>
                  <a:lnTo>
                    <a:pt x="503" y="489"/>
                  </a:lnTo>
                  <a:lnTo>
                    <a:pt x="507" y="491"/>
                  </a:lnTo>
                  <a:lnTo>
                    <a:pt x="509" y="488"/>
                  </a:lnTo>
                  <a:lnTo>
                    <a:pt x="509" y="486"/>
                  </a:lnTo>
                  <a:lnTo>
                    <a:pt x="512" y="486"/>
                  </a:lnTo>
                  <a:lnTo>
                    <a:pt x="514" y="484"/>
                  </a:lnTo>
                  <a:lnTo>
                    <a:pt x="511" y="480"/>
                  </a:lnTo>
                  <a:lnTo>
                    <a:pt x="514" y="483"/>
                  </a:lnTo>
                  <a:lnTo>
                    <a:pt x="517" y="483"/>
                  </a:lnTo>
                  <a:lnTo>
                    <a:pt x="519" y="484"/>
                  </a:lnTo>
                  <a:lnTo>
                    <a:pt x="518" y="480"/>
                  </a:lnTo>
                  <a:lnTo>
                    <a:pt x="521" y="481"/>
                  </a:lnTo>
                  <a:lnTo>
                    <a:pt x="524" y="480"/>
                  </a:lnTo>
                  <a:lnTo>
                    <a:pt x="526" y="480"/>
                  </a:lnTo>
                  <a:lnTo>
                    <a:pt x="528" y="478"/>
                  </a:lnTo>
                  <a:lnTo>
                    <a:pt x="528" y="475"/>
                  </a:lnTo>
                  <a:lnTo>
                    <a:pt x="529" y="472"/>
                  </a:lnTo>
                  <a:lnTo>
                    <a:pt x="529" y="475"/>
                  </a:lnTo>
                  <a:lnTo>
                    <a:pt x="533" y="474"/>
                  </a:lnTo>
                  <a:lnTo>
                    <a:pt x="534" y="471"/>
                  </a:lnTo>
                  <a:lnTo>
                    <a:pt x="535" y="469"/>
                  </a:lnTo>
                  <a:lnTo>
                    <a:pt x="536" y="467"/>
                  </a:lnTo>
                  <a:lnTo>
                    <a:pt x="538" y="464"/>
                  </a:lnTo>
                  <a:lnTo>
                    <a:pt x="541" y="463"/>
                  </a:lnTo>
                  <a:lnTo>
                    <a:pt x="541" y="461"/>
                  </a:lnTo>
                  <a:lnTo>
                    <a:pt x="544" y="460"/>
                  </a:lnTo>
                  <a:lnTo>
                    <a:pt x="542" y="458"/>
                  </a:lnTo>
                  <a:lnTo>
                    <a:pt x="544" y="457"/>
                  </a:lnTo>
                  <a:lnTo>
                    <a:pt x="544" y="453"/>
                  </a:lnTo>
                  <a:lnTo>
                    <a:pt x="546" y="453"/>
                  </a:lnTo>
                  <a:lnTo>
                    <a:pt x="549" y="450"/>
                  </a:lnTo>
                  <a:lnTo>
                    <a:pt x="551" y="449"/>
                  </a:lnTo>
                  <a:lnTo>
                    <a:pt x="554" y="448"/>
                  </a:lnTo>
                  <a:lnTo>
                    <a:pt x="557" y="445"/>
                  </a:lnTo>
                  <a:lnTo>
                    <a:pt x="559" y="446"/>
                  </a:lnTo>
                  <a:lnTo>
                    <a:pt x="562" y="444"/>
                  </a:lnTo>
                  <a:lnTo>
                    <a:pt x="560" y="442"/>
                  </a:lnTo>
                  <a:lnTo>
                    <a:pt x="561" y="440"/>
                  </a:lnTo>
                  <a:lnTo>
                    <a:pt x="558" y="437"/>
                  </a:lnTo>
                  <a:lnTo>
                    <a:pt x="561" y="437"/>
                  </a:lnTo>
                  <a:lnTo>
                    <a:pt x="559" y="434"/>
                  </a:lnTo>
                  <a:lnTo>
                    <a:pt x="557" y="434"/>
                  </a:lnTo>
                  <a:lnTo>
                    <a:pt x="555" y="431"/>
                  </a:lnTo>
                  <a:lnTo>
                    <a:pt x="558" y="429"/>
                  </a:lnTo>
                  <a:lnTo>
                    <a:pt x="559" y="433"/>
                  </a:lnTo>
                  <a:lnTo>
                    <a:pt x="561" y="434"/>
                  </a:lnTo>
                  <a:lnTo>
                    <a:pt x="563" y="436"/>
                  </a:lnTo>
                  <a:lnTo>
                    <a:pt x="567" y="437"/>
                  </a:lnTo>
                  <a:lnTo>
                    <a:pt x="568" y="441"/>
                  </a:lnTo>
                  <a:lnTo>
                    <a:pt x="570" y="440"/>
                  </a:lnTo>
                  <a:lnTo>
                    <a:pt x="572" y="441"/>
                  </a:lnTo>
                  <a:lnTo>
                    <a:pt x="576" y="442"/>
                  </a:lnTo>
                  <a:lnTo>
                    <a:pt x="578" y="441"/>
                  </a:lnTo>
                  <a:lnTo>
                    <a:pt x="581" y="441"/>
                  </a:lnTo>
                  <a:lnTo>
                    <a:pt x="584" y="441"/>
                  </a:lnTo>
                  <a:lnTo>
                    <a:pt x="581" y="437"/>
                  </a:lnTo>
                  <a:lnTo>
                    <a:pt x="579" y="436"/>
                  </a:lnTo>
                  <a:lnTo>
                    <a:pt x="581" y="437"/>
                  </a:lnTo>
                  <a:lnTo>
                    <a:pt x="584" y="437"/>
                  </a:lnTo>
                  <a:lnTo>
                    <a:pt x="586" y="441"/>
                  </a:lnTo>
                  <a:lnTo>
                    <a:pt x="589" y="440"/>
                  </a:lnTo>
                  <a:lnTo>
                    <a:pt x="587" y="436"/>
                  </a:lnTo>
                  <a:lnTo>
                    <a:pt x="589" y="437"/>
                  </a:lnTo>
                  <a:lnTo>
                    <a:pt x="589" y="434"/>
                  </a:lnTo>
                  <a:lnTo>
                    <a:pt x="592" y="433"/>
                  </a:lnTo>
                  <a:lnTo>
                    <a:pt x="594" y="436"/>
                  </a:lnTo>
                  <a:lnTo>
                    <a:pt x="597" y="436"/>
                  </a:lnTo>
                  <a:lnTo>
                    <a:pt x="600" y="435"/>
                  </a:lnTo>
                  <a:lnTo>
                    <a:pt x="603" y="434"/>
                  </a:lnTo>
                  <a:lnTo>
                    <a:pt x="605" y="435"/>
                  </a:lnTo>
                  <a:lnTo>
                    <a:pt x="608" y="434"/>
                  </a:lnTo>
                  <a:lnTo>
                    <a:pt x="611" y="432"/>
                  </a:lnTo>
                  <a:lnTo>
                    <a:pt x="613" y="431"/>
                  </a:lnTo>
                  <a:lnTo>
                    <a:pt x="617" y="432"/>
                  </a:lnTo>
                  <a:lnTo>
                    <a:pt x="619" y="432"/>
                  </a:lnTo>
                  <a:lnTo>
                    <a:pt x="622" y="431"/>
                  </a:lnTo>
                  <a:lnTo>
                    <a:pt x="625" y="431"/>
                  </a:lnTo>
                  <a:lnTo>
                    <a:pt x="628" y="428"/>
                  </a:lnTo>
                  <a:lnTo>
                    <a:pt x="630" y="429"/>
                  </a:lnTo>
                  <a:lnTo>
                    <a:pt x="631" y="427"/>
                  </a:lnTo>
                  <a:lnTo>
                    <a:pt x="635" y="426"/>
                  </a:lnTo>
                  <a:lnTo>
                    <a:pt x="637" y="427"/>
                  </a:lnTo>
                  <a:lnTo>
                    <a:pt x="639" y="427"/>
                  </a:lnTo>
                  <a:lnTo>
                    <a:pt x="643" y="424"/>
                  </a:lnTo>
                  <a:lnTo>
                    <a:pt x="645" y="424"/>
                  </a:lnTo>
                  <a:lnTo>
                    <a:pt x="647" y="423"/>
                  </a:lnTo>
                  <a:lnTo>
                    <a:pt x="649" y="419"/>
                  </a:lnTo>
                  <a:lnTo>
                    <a:pt x="652" y="419"/>
                  </a:lnTo>
                  <a:lnTo>
                    <a:pt x="651" y="417"/>
                  </a:lnTo>
                  <a:lnTo>
                    <a:pt x="653" y="418"/>
                  </a:lnTo>
                  <a:lnTo>
                    <a:pt x="656" y="416"/>
                  </a:lnTo>
                  <a:lnTo>
                    <a:pt x="658" y="414"/>
                  </a:lnTo>
                  <a:lnTo>
                    <a:pt x="655" y="414"/>
                  </a:lnTo>
                  <a:lnTo>
                    <a:pt x="658" y="412"/>
                  </a:lnTo>
                  <a:lnTo>
                    <a:pt x="661" y="412"/>
                  </a:lnTo>
                  <a:lnTo>
                    <a:pt x="663" y="412"/>
                  </a:lnTo>
                  <a:lnTo>
                    <a:pt x="663" y="410"/>
                  </a:lnTo>
                  <a:lnTo>
                    <a:pt x="665" y="410"/>
                  </a:lnTo>
                  <a:lnTo>
                    <a:pt x="669" y="408"/>
                  </a:lnTo>
                  <a:lnTo>
                    <a:pt x="671" y="408"/>
                  </a:lnTo>
                  <a:lnTo>
                    <a:pt x="669" y="406"/>
                  </a:lnTo>
                  <a:lnTo>
                    <a:pt x="671" y="406"/>
                  </a:lnTo>
                  <a:lnTo>
                    <a:pt x="673" y="407"/>
                  </a:lnTo>
                  <a:lnTo>
                    <a:pt x="677" y="406"/>
                  </a:lnTo>
                  <a:lnTo>
                    <a:pt x="677" y="403"/>
                  </a:lnTo>
                  <a:lnTo>
                    <a:pt x="674" y="401"/>
                  </a:lnTo>
                  <a:lnTo>
                    <a:pt x="677" y="401"/>
                  </a:lnTo>
                  <a:lnTo>
                    <a:pt x="680" y="401"/>
                  </a:lnTo>
                  <a:lnTo>
                    <a:pt x="682" y="401"/>
                  </a:lnTo>
                  <a:lnTo>
                    <a:pt x="686" y="401"/>
                  </a:lnTo>
                  <a:lnTo>
                    <a:pt x="682" y="398"/>
                  </a:lnTo>
                  <a:lnTo>
                    <a:pt x="686" y="398"/>
                  </a:lnTo>
                  <a:lnTo>
                    <a:pt x="688" y="398"/>
                  </a:lnTo>
                  <a:lnTo>
                    <a:pt x="690" y="397"/>
                  </a:lnTo>
                  <a:lnTo>
                    <a:pt x="692" y="394"/>
                  </a:lnTo>
                  <a:lnTo>
                    <a:pt x="695" y="394"/>
                  </a:lnTo>
                  <a:lnTo>
                    <a:pt x="698" y="392"/>
                  </a:lnTo>
                  <a:lnTo>
                    <a:pt x="695" y="392"/>
                  </a:lnTo>
                  <a:lnTo>
                    <a:pt x="692" y="392"/>
                  </a:lnTo>
                  <a:lnTo>
                    <a:pt x="690" y="393"/>
                  </a:lnTo>
                  <a:lnTo>
                    <a:pt x="687" y="393"/>
                  </a:lnTo>
                  <a:lnTo>
                    <a:pt x="685" y="392"/>
                  </a:lnTo>
                  <a:lnTo>
                    <a:pt x="681" y="392"/>
                  </a:lnTo>
                  <a:lnTo>
                    <a:pt x="679" y="392"/>
                  </a:lnTo>
                  <a:lnTo>
                    <a:pt x="677" y="391"/>
                  </a:lnTo>
                  <a:lnTo>
                    <a:pt x="673" y="391"/>
                  </a:lnTo>
                  <a:lnTo>
                    <a:pt x="671" y="390"/>
                  </a:lnTo>
                  <a:lnTo>
                    <a:pt x="668" y="390"/>
                  </a:lnTo>
                  <a:lnTo>
                    <a:pt x="665" y="389"/>
                  </a:lnTo>
                  <a:lnTo>
                    <a:pt x="662" y="387"/>
                  </a:lnTo>
                  <a:lnTo>
                    <a:pt x="660" y="387"/>
                  </a:lnTo>
                  <a:lnTo>
                    <a:pt x="657" y="386"/>
                  </a:lnTo>
                  <a:lnTo>
                    <a:pt x="654" y="387"/>
                  </a:lnTo>
                  <a:lnTo>
                    <a:pt x="655" y="385"/>
                  </a:lnTo>
                  <a:lnTo>
                    <a:pt x="652" y="385"/>
                  </a:lnTo>
                  <a:lnTo>
                    <a:pt x="649" y="386"/>
                  </a:lnTo>
                  <a:lnTo>
                    <a:pt x="647" y="387"/>
                  </a:lnTo>
                  <a:lnTo>
                    <a:pt x="644" y="389"/>
                  </a:lnTo>
                  <a:lnTo>
                    <a:pt x="642" y="390"/>
                  </a:lnTo>
                  <a:lnTo>
                    <a:pt x="638" y="390"/>
                  </a:lnTo>
                  <a:lnTo>
                    <a:pt x="636" y="389"/>
                  </a:lnTo>
                  <a:lnTo>
                    <a:pt x="634" y="389"/>
                  </a:lnTo>
                  <a:lnTo>
                    <a:pt x="630" y="390"/>
                  </a:lnTo>
                  <a:lnTo>
                    <a:pt x="628" y="393"/>
                  </a:lnTo>
                  <a:lnTo>
                    <a:pt x="627" y="394"/>
                  </a:lnTo>
                  <a:lnTo>
                    <a:pt x="625" y="395"/>
                  </a:lnTo>
                  <a:lnTo>
                    <a:pt x="623" y="394"/>
                  </a:lnTo>
                  <a:lnTo>
                    <a:pt x="623" y="393"/>
                  </a:lnTo>
                  <a:lnTo>
                    <a:pt x="620" y="394"/>
                  </a:lnTo>
                  <a:lnTo>
                    <a:pt x="618" y="394"/>
                  </a:lnTo>
                  <a:lnTo>
                    <a:pt x="615" y="393"/>
                  </a:lnTo>
                  <a:lnTo>
                    <a:pt x="612" y="393"/>
                  </a:lnTo>
                  <a:lnTo>
                    <a:pt x="610" y="392"/>
                  </a:lnTo>
                  <a:lnTo>
                    <a:pt x="612" y="392"/>
                  </a:lnTo>
                  <a:lnTo>
                    <a:pt x="614" y="391"/>
                  </a:lnTo>
                  <a:lnTo>
                    <a:pt x="618" y="392"/>
                  </a:lnTo>
                  <a:lnTo>
                    <a:pt x="620" y="392"/>
                  </a:lnTo>
                  <a:lnTo>
                    <a:pt x="623" y="391"/>
                  </a:lnTo>
                  <a:lnTo>
                    <a:pt x="626" y="390"/>
                  </a:lnTo>
                  <a:lnTo>
                    <a:pt x="629" y="387"/>
                  </a:lnTo>
                  <a:lnTo>
                    <a:pt x="631" y="386"/>
                  </a:lnTo>
                  <a:lnTo>
                    <a:pt x="634" y="387"/>
                  </a:lnTo>
                  <a:lnTo>
                    <a:pt x="637" y="387"/>
                  </a:lnTo>
                  <a:lnTo>
                    <a:pt x="639" y="386"/>
                  </a:lnTo>
                  <a:lnTo>
                    <a:pt x="638" y="383"/>
                  </a:lnTo>
                  <a:lnTo>
                    <a:pt x="635" y="383"/>
                  </a:lnTo>
                  <a:lnTo>
                    <a:pt x="632" y="384"/>
                  </a:lnTo>
                  <a:lnTo>
                    <a:pt x="630" y="384"/>
                  </a:lnTo>
                  <a:lnTo>
                    <a:pt x="627" y="384"/>
                  </a:lnTo>
                  <a:lnTo>
                    <a:pt x="625" y="384"/>
                  </a:lnTo>
                  <a:lnTo>
                    <a:pt x="621" y="384"/>
                  </a:lnTo>
                  <a:lnTo>
                    <a:pt x="619" y="385"/>
                  </a:lnTo>
                  <a:lnTo>
                    <a:pt x="615" y="385"/>
                  </a:lnTo>
                  <a:lnTo>
                    <a:pt x="613" y="385"/>
                  </a:lnTo>
                  <a:lnTo>
                    <a:pt x="613" y="382"/>
                  </a:lnTo>
                  <a:lnTo>
                    <a:pt x="611" y="382"/>
                  </a:lnTo>
                  <a:lnTo>
                    <a:pt x="608" y="383"/>
                  </a:lnTo>
                  <a:lnTo>
                    <a:pt x="605" y="384"/>
                  </a:lnTo>
                  <a:lnTo>
                    <a:pt x="602" y="383"/>
                  </a:lnTo>
                  <a:lnTo>
                    <a:pt x="605" y="382"/>
                  </a:lnTo>
                  <a:lnTo>
                    <a:pt x="608" y="382"/>
                  </a:lnTo>
                  <a:lnTo>
                    <a:pt x="611" y="382"/>
                  </a:lnTo>
                  <a:lnTo>
                    <a:pt x="613" y="380"/>
                  </a:lnTo>
                  <a:lnTo>
                    <a:pt x="615" y="378"/>
                  </a:lnTo>
                  <a:lnTo>
                    <a:pt x="618" y="375"/>
                  </a:lnTo>
                  <a:lnTo>
                    <a:pt x="617" y="373"/>
                  </a:lnTo>
                  <a:lnTo>
                    <a:pt x="614" y="372"/>
                  </a:lnTo>
                  <a:lnTo>
                    <a:pt x="612" y="370"/>
                  </a:lnTo>
                  <a:lnTo>
                    <a:pt x="614" y="370"/>
                  </a:lnTo>
                  <a:lnTo>
                    <a:pt x="617" y="370"/>
                  </a:lnTo>
                  <a:lnTo>
                    <a:pt x="620" y="370"/>
                  </a:lnTo>
                  <a:lnTo>
                    <a:pt x="622" y="370"/>
                  </a:lnTo>
                  <a:lnTo>
                    <a:pt x="620" y="369"/>
                  </a:lnTo>
                  <a:lnTo>
                    <a:pt x="620" y="366"/>
                  </a:lnTo>
                  <a:lnTo>
                    <a:pt x="622" y="369"/>
                  </a:lnTo>
                  <a:lnTo>
                    <a:pt x="625" y="372"/>
                  </a:lnTo>
                  <a:lnTo>
                    <a:pt x="628" y="372"/>
                  </a:lnTo>
                  <a:lnTo>
                    <a:pt x="630" y="372"/>
                  </a:lnTo>
                  <a:lnTo>
                    <a:pt x="634" y="372"/>
                  </a:lnTo>
                  <a:lnTo>
                    <a:pt x="636" y="372"/>
                  </a:lnTo>
                  <a:lnTo>
                    <a:pt x="638" y="370"/>
                  </a:lnTo>
                  <a:lnTo>
                    <a:pt x="642" y="369"/>
                  </a:lnTo>
                  <a:lnTo>
                    <a:pt x="644" y="368"/>
                  </a:lnTo>
                  <a:lnTo>
                    <a:pt x="647" y="367"/>
                  </a:lnTo>
                  <a:lnTo>
                    <a:pt x="647" y="367"/>
                  </a:lnTo>
                  <a:lnTo>
                    <a:pt x="649" y="364"/>
                  </a:lnTo>
                  <a:lnTo>
                    <a:pt x="653" y="363"/>
                  </a:lnTo>
                  <a:lnTo>
                    <a:pt x="651" y="360"/>
                  </a:lnTo>
                  <a:lnTo>
                    <a:pt x="648" y="358"/>
                  </a:lnTo>
                  <a:lnTo>
                    <a:pt x="645" y="358"/>
                  </a:lnTo>
                  <a:lnTo>
                    <a:pt x="643" y="358"/>
                  </a:lnTo>
                  <a:lnTo>
                    <a:pt x="639" y="357"/>
                  </a:lnTo>
                  <a:lnTo>
                    <a:pt x="637" y="358"/>
                  </a:lnTo>
                  <a:lnTo>
                    <a:pt x="634" y="357"/>
                  </a:lnTo>
                  <a:lnTo>
                    <a:pt x="631" y="357"/>
                  </a:lnTo>
                  <a:lnTo>
                    <a:pt x="629" y="356"/>
                  </a:lnTo>
                  <a:lnTo>
                    <a:pt x="626" y="355"/>
                  </a:lnTo>
                  <a:lnTo>
                    <a:pt x="623" y="355"/>
                  </a:lnTo>
                  <a:lnTo>
                    <a:pt x="620" y="355"/>
                  </a:lnTo>
                  <a:lnTo>
                    <a:pt x="618" y="356"/>
                  </a:lnTo>
                  <a:lnTo>
                    <a:pt x="614" y="356"/>
                  </a:lnTo>
                  <a:lnTo>
                    <a:pt x="612" y="356"/>
                  </a:lnTo>
                  <a:lnTo>
                    <a:pt x="614" y="356"/>
                  </a:lnTo>
                  <a:lnTo>
                    <a:pt x="617" y="355"/>
                  </a:lnTo>
                  <a:lnTo>
                    <a:pt x="620" y="355"/>
                  </a:lnTo>
                  <a:lnTo>
                    <a:pt x="622" y="354"/>
                  </a:lnTo>
                  <a:lnTo>
                    <a:pt x="626" y="354"/>
                  </a:lnTo>
                  <a:lnTo>
                    <a:pt x="625" y="351"/>
                  </a:lnTo>
                  <a:lnTo>
                    <a:pt x="621" y="350"/>
                  </a:lnTo>
                  <a:lnTo>
                    <a:pt x="619" y="347"/>
                  </a:lnTo>
                  <a:lnTo>
                    <a:pt x="617" y="347"/>
                  </a:lnTo>
                  <a:lnTo>
                    <a:pt x="613" y="347"/>
                  </a:lnTo>
                  <a:lnTo>
                    <a:pt x="611" y="346"/>
                  </a:lnTo>
                  <a:lnTo>
                    <a:pt x="611" y="343"/>
                  </a:lnTo>
                  <a:lnTo>
                    <a:pt x="608" y="342"/>
                  </a:lnTo>
                  <a:lnTo>
                    <a:pt x="611" y="342"/>
                  </a:lnTo>
                  <a:lnTo>
                    <a:pt x="613" y="343"/>
                  </a:lnTo>
                  <a:lnTo>
                    <a:pt x="617" y="346"/>
                  </a:lnTo>
                  <a:lnTo>
                    <a:pt x="619" y="346"/>
                  </a:lnTo>
                  <a:lnTo>
                    <a:pt x="621" y="347"/>
                  </a:lnTo>
                  <a:lnTo>
                    <a:pt x="625" y="349"/>
                  </a:lnTo>
                  <a:lnTo>
                    <a:pt x="627" y="350"/>
                  </a:lnTo>
                  <a:lnTo>
                    <a:pt x="629" y="354"/>
                  </a:lnTo>
                  <a:lnTo>
                    <a:pt x="632" y="356"/>
                  </a:lnTo>
                  <a:lnTo>
                    <a:pt x="635" y="356"/>
                  </a:lnTo>
                  <a:lnTo>
                    <a:pt x="637" y="356"/>
                  </a:lnTo>
                  <a:lnTo>
                    <a:pt x="640" y="356"/>
                  </a:lnTo>
                  <a:lnTo>
                    <a:pt x="643" y="355"/>
                  </a:lnTo>
                  <a:lnTo>
                    <a:pt x="646" y="356"/>
                  </a:lnTo>
                  <a:lnTo>
                    <a:pt x="648" y="357"/>
                  </a:lnTo>
                  <a:lnTo>
                    <a:pt x="649" y="357"/>
                  </a:lnTo>
                  <a:lnTo>
                    <a:pt x="655" y="360"/>
                  </a:lnTo>
                  <a:lnTo>
                    <a:pt x="657" y="363"/>
                  </a:lnTo>
                  <a:lnTo>
                    <a:pt x="660" y="363"/>
                  </a:lnTo>
                  <a:lnTo>
                    <a:pt x="663" y="363"/>
                  </a:lnTo>
                  <a:lnTo>
                    <a:pt x="665" y="366"/>
                  </a:lnTo>
                  <a:lnTo>
                    <a:pt x="669" y="368"/>
                  </a:lnTo>
                  <a:lnTo>
                    <a:pt x="669" y="370"/>
                  </a:lnTo>
                  <a:lnTo>
                    <a:pt x="669" y="374"/>
                  </a:lnTo>
                  <a:lnTo>
                    <a:pt x="670" y="376"/>
                  </a:lnTo>
                  <a:lnTo>
                    <a:pt x="672" y="378"/>
                  </a:lnTo>
                  <a:lnTo>
                    <a:pt x="674" y="381"/>
                  </a:lnTo>
                  <a:lnTo>
                    <a:pt x="678" y="382"/>
                  </a:lnTo>
                  <a:lnTo>
                    <a:pt x="680" y="384"/>
                  </a:lnTo>
                  <a:lnTo>
                    <a:pt x="683" y="384"/>
                  </a:lnTo>
                  <a:lnTo>
                    <a:pt x="689" y="384"/>
                  </a:lnTo>
                  <a:lnTo>
                    <a:pt x="691" y="382"/>
                  </a:lnTo>
                  <a:lnTo>
                    <a:pt x="691" y="380"/>
                  </a:lnTo>
                  <a:lnTo>
                    <a:pt x="691" y="377"/>
                  </a:lnTo>
                  <a:lnTo>
                    <a:pt x="694" y="375"/>
                  </a:lnTo>
                  <a:lnTo>
                    <a:pt x="692" y="378"/>
                  </a:lnTo>
                  <a:lnTo>
                    <a:pt x="694" y="381"/>
                  </a:lnTo>
                  <a:lnTo>
                    <a:pt x="696" y="384"/>
                  </a:lnTo>
                  <a:lnTo>
                    <a:pt x="699" y="383"/>
                  </a:lnTo>
                  <a:lnTo>
                    <a:pt x="702" y="384"/>
                  </a:lnTo>
                  <a:lnTo>
                    <a:pt x="704" y="384"/>
                  </a:lnTo>
                  <a:lnTo>
                    <a:pt x="705" y="381"/>
                  </a:lnTo>
                  <a:lnTo>
                    <a:pt x="704" y="378"/>
                  </a:lnTo>
                  <a:lnTo>
                    <a:pt x="704" y="375"/>
                  </a:lnTo>
                  <a:lnTo>
                    <a:pt x="703" y="373"/>
                  </a:lnTo>
                  <a:lnTo>
                    <a:pt x="703" y="370"/>
                  </a:lnTo>
                  <a:lnTo>
                    <a:pt x="700" y="370"/>
                  </a:lnTo>
                  <a:lnTo>
                    <a:pt x="704" y="368"/>
                  </a:lnTo>
                  <a:lnTo>
                    <a:pt x="697" y="369"/>
                  </a:lnTo>
                  <a:lnTo>
                    <a:pt x="695" y="368"/>
                  </a:lnTo>
                  <a:lnTo>
                    <a:pt x="697" y="368"/>
                  </a:lnTo>
                  <a:lnTo>
                    <a:pt x="704" y="367"/>
                  </a:lnTo>
                  <a:lnTo>
                    <a:pt x="704" y="365"/>
                  </a:lnTo>
                  <a:lnTo>
                    <a:pt x="700" y="363"/>
                  </a:lnTo>
                  <a:lnTo>
                    <a:pt x="704" y="363"/>
                  </a:lnTo>
                  <a:lnTo>
                    <a:pt x="704" y="359"/>
                  </a:lnTo>
                  <a:lnTo>
                    <a:pt x="702" y="357"/>
                  </a:lnTo>
                  <a:lnTo>
                    <a:pt x="698" y="358"/>
                  </a:lnTo>
                  <a:lnTo>
                    <a:pt x="696" y="359"/>
                  </a:lnTo>
                  <a:lnTo>
                    <a:pt x="695" y="361"/>
                  </a:lnTo>
                  <a:lnTo>
                    <a:pt x="692" y="359"/>
                  </a:lnTo>
                  <a:lnTo>
                    <a:pt x="692" y="356"/>
                  </a:lnTo>
                  <a:lnTo>
                    <a:pt x="695" y="355"/>
                  </a:lnTo>
                  <a:lnTo>
                    <a:pt x="698" y="355"/>
                  </a:lnTo>
                  <a:lnTo>
                    <a:pt x="700" y="352"/>
                  </a:lnTo>
                  <a:lnTo>
                    <a:pt x="697" y="352"/>
                  </a:lnTo>
                  <a:lnTo>
                    <a:pt x="695" y="354"/>
                  </a:lnTo>
                  <a:lnTo>
                    <a:pt x="692" y="354"/>
                  </a:lnTo>
                  <a:lnTo>
                    <a:pt x="692" y="351"/>
                  </a:lnTo>
                  <a:lnTo>
                    <a:pt x="690" y="351"/>
                  </a:lnTo>
                  <a:lnTo>
                    <a:pt x="688" y="352"/>
                  </a:lnTo>
                  <a:lnTo>
                    <a:pt x="685" y="354"/>
                  </a:lnTo>
                  <a:lnTo>
                    <a:pt x="686" y="351"/>
                  </a:lnTo>
                  <a:lnTo>
                    <a:pt x="688" y="350"/>
                  </a:lnTo>
                  <a:lnTo>
                    <a:pt x="691" y="348"/>
                  </a:lnTo>
                  <a:lnTo>
                    <a:pt x="689" y="346"/>
                  </a:lnTo>
                  <a:lnTo>
                    <a:pt x="686" y="344"/>
                  </a:lnTo>
                  <a:lnTo>
                    <a:pt x="683" y="344"/>
                  </a:lnTo>
                  <a:lnTo>
                    <a:pt x="680" y="342"/>
                  </a:lnTo>
                  <a:lnTo>
                    <a:pt x="678" y="341"/>
                  </a:lnTo>
                  <a:lnTo>
                    <a:pt x="674" y="342"/>
                  </a:lnTo>
                  <a:lnTo>
                    <a:pt x="675" y="339"/>
                  </a:lnTo>
                  <a:lnTo>
                    <a:pt x="673" y="338"/>
                  </a:lnTo>
                  <a:lnTo>
                    <a:pt x="671" y="338"/>
                  </a:lnTo>
                  <a:lnTo>
                    <a:pt x="668" y="337"/>
                  </a:lnTo>
                  <a:lnTo>
                    <a:pt x="665" y="334"/>
                  </a:lnTo>
                  <a:lnTo>
                    <a:pt x="662" y="334"/>
                  </a:lnTo>
                  <a:lnTo>
                    <a:pt x="660" y="334"/>
                  </a:lnTo>
                  <a:lnTo>
                    <a:pt x="658" y="335"/>
                  </a:lnTo>
                  <a:lnTo>
                    <a:pt x="656" y="335"/>
                  </a:lnTo>
                  <a:lnTo>
                    <a:pt x="654" y="338"/>
                  </a:lnTo>
                  <a:lnTo>
                    <a:pt x="652" y="340"/>
                  </a:lnTo>
                  <a:lnTo>
                    <a:pt x="653" y="337"/>
                  </a:lnTo>
                  <a:lnTo>
                    <a:pt x="653" y="334"/>
                  </a:lnTo>
                  <a:lnTo>
                    <a:pt x="651" y="334"/>
                  </a:lnTo>
                  <a:lnTo>
                    <a:pt x="647" y="333"/>
                  </a:lnTo>
                  <a:lnTo>
                    <a:pt x="649" y="333"/>
                  </a:lnTo>
                  <a:lnTo>
                    <a:pt x="653" y="333"/>
                  </a:lnTo>
                  <a:lnTo>
                    <a:pt x="655" y="333"/>
                  </a:lnTo>
                  <a:lnTo>
                    <a:pt x="658" y="333"/>
                  </a:lnTo>
                  <a:lnTo>
                    <a:pt x="661" y="332"/>
                  </a:lnTo>
                  <a:lnTo>
                    <a:pt x="662" y="330"/>
                  </a:lnTo>
                  <a:lnTo>
                    <a:pt x="662" y="326"/>
                  </a:lnTo>
                  <a:lnTo>
                    <a:pt x="658" y="326"/>
                  </a:lnTo>
                  <a:lnTo>
                    <a:pt x="656" y="325"/>
                  </a:lnTo>
                  <a:lnTo>
                    <a:pt x="653" y="324"/>
                  </a:lnTo>
                  <a:lnTo>
                    <a:pt x="651" y="323"/>
                  </a:lnTo>
                  <a:lnTo>
                    <a:pt x="647" y="325"/>
                  </a:lnTo>
                  <a:lnTo>
                    <a:pt x="645" y="326"/>
                  </a:lnTo>
                  <a:lnTo>
                    <a:pt x="643" y="326"/>
                  </a:lnTo>
                  <a:lnTo>
                    <a:pt x="639" y="329"/>
                  </a:lnTo>
                  <a:lnTo>
                    <a:pt x="639" y="325"/>
                  </a:lnTo>
                  <a:lnTo>
                    <a:pt x="637" y="326"/>
                  </a:lnTo>
                  <a:lnTo>
                    <a:pt x="634" y="326"/>
                  </a:lnTo>
                  <a:lnTo>
                    <a:pt x="637" y="324"/>
                  </a:lnTo>
                  <a:lnTo>
                    <a:pt x="635" y="323"/>
                  </a:lnTo>
                  <a:lnTo>
                    <a:pt x="631" y="323"/>
                  </a:lnTo>
                  <a:lnTo>
                    <a:pt x="629" y="324"/>
                  </a:lnTo>
                  <a:lnTo>
                    <a:pt x="626" y="323"/>
                  </a:lnTo>
                  <a:lnTo>
                    <a:pt x="629" y="323"/>
                  </a:lnTo>
                  <a:lnTo>
                    <a:pt x="631" y="323"/>
                  </a:lnTo>
                  <a:lnTo>
                    <a:pt x="634" y="322"/>
                  </a:lnTo>
                  <a:lnTo>
                    <a:pt x="637" y="323"/>
                  </a:lnTo>
                  <a:lnTo>
                    <a:pt x="639" y="324"/>
                  </a:lnTo>
                  <a:lnTo>
                    <a:pt x="643" y="324"/>
                  </a:lnTo>
                  <a:lnTo>
                    <a:pt x="645" y="324"/>
                  </a:lnTo>
                  <a:lnTo>
                    <a:pt x="647" y="322"/>
                  </a:lnTo>
                  <a:lnTo>
                    <a:pt x="651" y="322"/>
                  </a:lnTo>
                  <a:lnTo>
                    <a:pt x="653" y="322"/>
                  </a:lnTo>
                  <a:lnTo>
                    <a:pt x="656" y="321"/>
                  </a:lnTo>
                  <a:lnTo>
                    <a:pt x="658" y="318"/>
                  </a:lnTo>
                  <a:lnTo>
                    <a:pt x="656" y="316"/>
                  </a:lnTo>
                  <a:lnTo>
                    <a:pt x="653" y="316"/>
                  </a:lnTo>
                  <a:lnTo>
                    <a:pt x="651" y="316"/>
                  </a:lnTo>
                  <a:lnTo>
                    <a:pt x="647" y="314"/>
                  </a:lnTo>
                  <a:lnTo>
                    <a:pt x="645" y="314"/>
                  </a:lnTo>
                  <a:lnTo>
                    <a:pt x="642" y="314"/>
                  </a:lnTo>
                  <a:lnTo>
                    <a:pt x="638" y="314"/>
                  </a:lnTo>
                  <a:lnTo>
                    <a:pt x="636" y="316"/>
                  </a:lnTo>
                  <a:lnTo>
                    <a:pt x="634" y="316"/>
                  </a:lnTo>
                  <a:lnTo>
                    <a:pt x="630" y="315"/>
                  </a:lnTo>
                  <a:lnTo>
                    <a:pt x="628" y="315"/>
                  </a:lnTo>
                  <a:lnTo>
                    <a:pt x="626" y="318"/>
                  </a:lnTo>
                  <a:lnTo>
                    <a:pt x="626" y="315"/>
                  </a:lnTo>
                  <a:lnTo>
                    <a:pt x="622" y="315"/>
                  </a:lnTo>
                  <a:lnTo>
                    <a:pt x="626" y="315"/>
                  </a:lnTo>
                  <a:lnTo>
                    <a:pt x="628" y="314"/>
                  </a:lnTo>
                  <a:lnTo>
                    <a:pt x="630" y="314"/>
                  </a:lnTo>
                  <a:lnTo>
                    <a:pt x="634" y="315"/>
                  </a:lnTo>
                  <a:lnTo>
                    <a:pt x="636" y="314"/>
                  </a:lnTo>
                  <a:lnTo>
                    <a:pt x="637" y="312"/>
                  </a:lnTo>
                  <a:lnTo>
                    <a:pt x="634" y="310"/>
                  </a:lnTo>
                  <a:lnTo>
                    <a:pt x="631" y="309"/>
                  </a:lnTo>
                  <a:lnTo>
                    <a:pt x="628" y="309"/>
                  </a:lnTo>
                  <a:lnTo>
                    <a:pt x="626" y="306"/>
                  </a:lnTo>
                  <a:lnTo>
                    <a:pt x="628" y="307"/>
                  </a:lnTo>
                  <a:lnTo>
                    <a:pt x="631" y="309"/>
                  </a:lnTo>
                  <a:lnTo>
                    <a:pt x="634" y="310"/>
                  </a:lnTo>
                  <a:lnTo>
                    <a:pt x="637" y="310"/>
                  </a:lnTo>
                  <a:lnTo>
                    <a:pt x="639" y="310"/>
                  </a:lnTo>
                  <a:lnTo>
                    <a:pt x="643" y="313"/>
                  </a:lnTo>
                  <a:lnTo>
                    <a:pt x="647" y="313"/>
                  </a:lnTo>
                  <a:lnTo>
                    <a:pt x="651" y="310"/>
                  </a:lnTo>
                  <a:lnTo>
                    <a:pt x="652" y="308"/>
                  </a:lnTo>
                  <a:lnTo>
                    <a:pt x="655" y="306"/>
                  </a:lnTo>
                  <a:lnTo>
                    <a:pt x="657" y="306"/>
                  </a:lnTo>
                  <a:lnTo>
                    <a:pt x="661" y="306"/>
                  </a:lnTo>
                  <a:lnTo>
                    <a:pt x="658" y="304"/>
                  </a:lnTo>
                  <a:lnTo>
                    <a:pt x="657" y="300"/>
                  </a:lnTo>
                  <a:lnTo>
                    <a:pt x="654" y="299"/>
                  </a:lnTo>
                  <a:lnTo>
                    <a:pt x="652" y="298"/>
                  </a:lnTo>
                  <a:lnTo>
                    <a:pt x="649" y="295"/>
                  </a:lnTo>
                  <a:lnTo>
                    <a:pt x="652" y="296"/>
                  </a:lnTo>
                  <a:lnTo>
                    <a:pt x="655" y="298"/>
                  </a:lnTo>
                  <a:lnTo>
                    <a:pt x="657" y="299"/>
                  </a:lnTo>
                  <a:lnTo>
                    <a:pt x="658" y="303"/>
                  </a:lnTo>
                  <a:lnTo>
                    <a:pt x="661" y="304"/>
                  </a:lnTo>
                  <a:lnTo>
                    <a:pt x="664" y="304"/>
                  </a:lnTo>
                  <a:lnTo>
                    <a:pt x="666" y="305"/>
                  </a:lnTo>
                  <a:lnTo>
                    <a:pt x="665" y="301"/>
                  </a:lnTo>
                  <a:lnTo>
                    <a:pt x="668" y="299"/>
                  </a:lnTo>
                  <a:lnTo>
                    <a:pt x="670" y="298"/>
                  </a:lnTo>
                  <a:lnTo>
                    <a:pt x="673" y="298"/>
                  </a:lnTo>
                  <a:lnTo>
                    <a:pt x="675" y="299"/>
                  </a:lnTo>
                  <a:lnTo>
                    <a:pt x="678" y="299"/>
                  </a:lnTo>
                  <a:lnTo>
                    <a:pt x="681" y="300"/>
                  </a:lnTo>
                  <a:lnTo>
                    <a:pt x="683" y="301"/>
                  </a:lnTo>
                  <a:lnTo>
                    <a:pt x="687" y="303"/>
                  </a:lnTo>
                  <a:lnTo>
                    <a:pt x="689" y="304"/>
                  </a:lnTo>
                  <a:lnTo>
                    <a:pt x="691" y="304"/>
                  </a:lnTo>
                  <a:lnTo>
                    <a:pt x="695" y="303"/>
                  </a:lnTo>
                  <a:lnTo>
                    <a:pt x="691" y="304"/>
                  </a:lnTo>
                  <a:lnTo>
                    <a:pt x="689" y="305"/>
                  </a:lnTo>
                  <a:lnTo>
                    <a:pt x="683" y="303"/>
                  </a:lnTo>
                  <a:lnTo>
                    <a:pt x="680" y="301"/>
                  </a:lnTo>
                  <a:lnTo>
                    <a:pt x="678" y="300"/>
                  </a:lnTo>
                  <a:lnTo>
                    <a:pt x="674" y="300"/>
                  </a:lnTo>
                  <a:lnTo>
                    <a:pt x="672" y="300"/>
                  </a:lnTo>
                  <a:lnTo>
                    <a:pt x="672" y="303"/>
                  </a:lnTo>
                  <a:lnTo>
                    <a:pt x="674" y="305"/>
                  </a:lnTo>
                  <a:lnTo>
                    <a:pt x="678" y="306"/>
                  </a:lnTo>
                  <a:lnTo>
                    <a:pt x="680" y="308"/>
                  </a:lnTo>
                  <a:lnTo>
                    <a:pt x="682" y="308"/>
                  </a:lnTo>
                  <a:lnTo>
                    <a:pt x="686" y="309"/>
                  </a:lnTo>
                  <a:lnTo>
                    <a:pt x="688" y="310"/>
                  </a:lnTo>
                  <a:lnTo>
                    <a:pt x="691" y="312"/>
                  </a:lnTo>
                  <a:lnTo>
                    <a:pt x="694" y="312"/>
                  </a:lnTo>
                  <a:lnTo>
                    <a:pt x="697" y="313"/>
                  </a:lnTo>
                  <a:lnTo>
                    <a:pt x="699" y="310"/>
                  </a:lnTo>
                  <a:lnTo>
                    <a:pt x="703" y="309"/>
                  </a:lnTo>
                  <a:lnTo>
                    <a:pt x="705" y="308"/>
                  </a:lnTo>
                  <a:lnTo>
                    <a:pt x="708" y="306"/>
                  </a:lnTo>
                  <a:lnTo>
                    <a:pt x="711" y="307"/>
                  </a:lnTo>
                  <a:lnTo>
                    <a:pt x="713" y="307"/>
                  </a:lnTo>
                  <a:lnTo>
                    <a:pt x="716" y="307"/>
                  </a:lnTo>
                  <a:lnTo>
                    <a:pt x="719" y="307"/>
                  </a:lnTo>
                  <a:lnTo>
                    <a:pt x="722" y="305"/>
                  </a:lnTo>
                  <a:lnTo>
                    <a:pt x="721" y="303"/>
                  </a:lnTo>
                  <a:lnTo>
                    <a:pt x="721" y="299"/>
                  </a:lnTo>
                  <a:lnTo>
                    <a:pt x="723" y="297"/>
                  </a:lnTo>
                  <a:lnTo>
                    <a:pt x="721" y="296"/>
                  </a:lnTo>
                  <a:lnTo>
                    <a:pt x="717" y="296"/>
                  </a:lnTo>
                  <a:lnTo>
                    <a:pt x="715" y="295"/>
                  </a:lnTo>
                  <a:lnTo>
                    <a:pt x="712" y="293"/>
                  </a:lnTo>
                  <a:lnTo>
                    <a:pt x="709" y="292"/>
                  </a:lnTo>
                  <a:lnTo>
                    <a:pt x="706" y="291"/>
                  </a:lnTo>
                  <a:lnTo>
                    <a:pt x="704" y="291"/>
                  </a:lnTo>
                  <a:lnTo>
                    <a:pt x="700" y="291"/>
                  </a:lnTo>
                  <a:lnTo>
                    <a:pt x="700" y="295"/>
                  </a:lnTo>
                  <a:lnTo>
                    <a:pt x="703" y="297"/>
                  </a:lnTo>
                  <a:lnTo>
                    <a:pt x="704" y="300"/>
                  </a:lnTo>
                  <a:lnTo>
                    <a:pt x="702" y="297"/>
                  </a:lnTo>
                  <a:lnTo>
                    <a:pt x="700" y="295"/>
                  </a:lnTo>
                  <a:lnTo>
                    <a:pt x="698" y="292"/>
                  </a:lnTo>
                  <a:lnTo>
                    <a:pt x="696" y="291"/>
                  </a:lnTo>
                  <a:lnTo>
                    <a:pt x="692" y="290"/>
                  </a:lnTo>
                  <a:lnTo>
                    <a:pt x="696" y="290"/>
                  </a:lnTo>
                  <a:lnTo>
                    <a:pt x="697" y="287"/>
                  </a:lnTo>
                  <a:lnTo>
                    <a:pt x="698" y="284"/>
                  </a:lnTo>
                  <a:lnTo>
                    <a:pt x="696" y="284"/>
                  </a:lnTo>
                  <a:lnTo>
                    <a:pt x="692" y="284"/>
                  </a:lnTo>
                  <a:lnTo>
                    <a:pt x="696" y="284"/>
                  </a:lnTo>
                  <a:lnTo>
                    <a:pt x="698" y="283"/>
                  </a:lnTo>
                  <a:lnTo>
                    <a:pt x="702" y="283"/>
                  </a:lnTo>
                  <a:lnTo>
                    <a:pt x="702" y="280"/>
                  </a:lnTo>
                  <a:lnTo>
                    <a:pt x="699" y="278"/>
                  </a:lnTo>
                  <a:lnTo>
                    <a:pt x="702" y="279"/>
                  </a:lnTo>
                  <a:lnTo>
                    <a:pt x="704" y="280"/>
                  </a:lnTo>
                  <a:lnTo>
                    <a:pt x="707" y="280"/>
                  </a:lnTo>
                  <a:lnTo>
                    <a:pt x="709" y="280"/>
                  </a:lnTo>
                  <a:lnTo>
                    <a:pt x="713" y="280"/>
                  </a:lnTo>
                  <a:lnTo>
                    <a:pt x="716" y="280"/>
                  </a:lnTo>
                  <a:lnTo>
                    <a:pt x="719" y="280"/>
                  </a:lnTo>
                  <a:lnTo>
                    <a:pt x="721" y="280"/>
                  </a:lnTo>
                  <a:lnTo>
                    <a:pt x="723" y="283"/>
                  </a:lnTo>
                  <a:lnTo>
                    <a:pt x="726" y="286"/>
                  </a:lnTo>
                  <a:lnTo>
                    <a:pt x="726" y="286"/>
                  </a:lnTo>
                  <a:lnTo>
                    <a:pt x="729" y="286"/>
                  </a:lnTo>
                  <a:lnTo>
                    <a:pt x="731" y="286"/>
                  </a:lnTo>
                  <a:lnTo>
                    <a:pt x="734" y="286"/>
                  </a:lnTo>
                  <a:lnTo>
                    <a:pt x="737" y="284"/>
                  </a:lnTo>
                  <a:lnTo>
                    <a:pt x="739" y="282"/>
                  </a:lnTo>
                  <a:lnTo>
                    <a:pt x="740" y="279"/>
                  </a:lnTo>
                  <a:lnTo>
                    <a:pt x="737" y="277"/>
                  </a:lnTo>
                  <a:lnTo>
                    <a:pt x="734" y="274"/>
                  </a:lnTo>
                  <a:lnTo>
                    <a:pt x="732" y="275"/>
                  </a:lnTo>
                  <a:lnTo>
                    <a:pt x="730" y="277"/>
                  </a:lnTo>
                  <a:lnTo>
                    <a:pt x="726" y="275"/>
                  </a:lnTo>
                  <a:lnTo>
                    <a:pt x="724" y="274"/>
                  </a:lnTo>
                  <a:lnTo>
                    <a:pt x="721" y="274"/>
                  </a:lnTo>
                  <a:lnTo>
                    <a:pt x="719" y="274"/>
                  </a:lnTo>
                  <a:lnTo>
                    <a:pt x="715" y="275"/>
                  </a:lnTo>
                  <a:lnTo>
                    <a:pt x="713" y="275"/>
                  </a:lnTo>
                  <a:lnTo>
                    <a:pt x="715" y="274"/>
                  </a:lnTo>
                  <a:lnTo>
                    <a:pt x="719" y="273"/>
                  </a:lnTo>
                  <a:lnTo>
                    <a:pt x="716" y="270"/>
                  </a:lnTo>
                  <a:lnTo>
                    <a:pt x="717" y="267"/>
                  </a:lnTo>
                  <a:lnTo>
                    <a:pt x="717" y="264"/>
                  </a:lnTo>
                  <a:lnTo>
                    <a:pt x="712" y="263"/>
                  </a:lnTo>
                  <a:lnTo>
                    <a:pt x="709" y="264"/>
                  </a:lnTo>
                  <a:lnTo>
                    <a:pt x="706" y="266"/>
                  </a:lnTo>
                  <a:lnTo>
                    <a:pt x="704" y="266"/>
                  </a:lnTo>
                  <a:lnTo>
                    <a:pt x="700" y="266"/>
                  </a:lnTo>
                  <a:lnTo>
                    <a:pt x="699" y="263"/>
                  </a:lnTo>
                  <a:lnTo>
                    <a:pt x="696" y="262"/>
                  </a:lnTo>
                  <a:lnTo>
                    <a:pt x="698" y="262"/>
                  </a:lnTo>
                  <a:lnTo>
                    <a:pt x="702" y="264"/>
                  </a:lnTo>
                  <a:lnTo>
                    <a:pt x="704" y="265"/>
                  </a:lnTo>
                  <a:lnTo>
                    <a:pt x="707" y="264"/>
                  </a:lnTo>
                  <a:lnTo>
                    <a:pt x="709" y="263"/>
                  </a:lnTo>
                  <a:lnTo>
                    <a:pt x="713" y="262"/>
                  </a:lnTo>
                  <a:lnTo>
                    <a:pt x="715" y="262"/>
                  </a:lnTo>
                  <a:lnTo>
                    <a:pt x="717" y="262"/>
                  </a:lnTo>
                  <a:lnTo>
                    <a:pt x="717" y="260"/>
                  </a:lnTo>
                  <a:lnTo>
                    <a:pt x="715" y="258"/>
                  </a:lnTo>
                  <a:lnTo>
                    <a:pt x="713" y="256"/>
                  </a:lnTo>
                  <a:lnTo>
                    <a:pt x="709" y="255"/>
                  </a:lnTo>
                  <a:lnTo>
                    <a:pt x="707" y="253"/>
                  </a:lnTo>
                  <a:lnTo>
                    <a:pt x="704" y="253"/>
                  </a:lnTo>
                  <a:lnTo>
                    <a:pt x="702" y="253"/>
                  </a:lnTo>
                  <a:lnTo>
                    <a:pt x="698" y="253"/>
                  </a:lnTo>
                  <a:lnTo>
                    <a:pt x="696" y="252"/>
                  </a:lnTo>
                  <a:lnTo>
                    <a:pt x="692" y="252"/>
                  </a:lnTo>
                  <a:lnTo>
                    <a:pt x="696" y="252"/>
                  </a:lnTo>
                  <a:lnTo>
                    <a:pt x="698" y="253"/>
                  </a:lnTo>
                  <a:lnTo>
                    <a:pt x="702" y="253"/>
                  </a:lnTo>
                  <a:lnTo>
                    <a:pt x="704" y="253"/>
                  </a:lnTo>
                  <a:lnTo>
                    <a:pt x="707" y="253"/>
                  </a:lnTo>
                  <a:lnTo>
                    <a:pt x="704" y="250"/>
                  </a:lnTo>
                  <a:lnTo>
                    <a:pt x="702" y="249"/>
                  </a:lnTo>
                  <a:lnTo>
                    <a:pt x="698" y="248"/>
                  </a:lnTo>
                  <a:lnTo>
                    <a:pt x="696" y="248"/>
                  </a:lnTo>
                  <a:lnTo>
                    <a:pt x="699" y="247"/>
                  </a:lnTo>
                  <a:lnTo>
                    <a:pt x="702" y="248"/>
                  </a:lnTo>
                  <a:lnTo>
                    <a:pt x="704" y="249"/>
                  </a:lnTo>
                  <a:lnTo>
                    <a:pt x="707" y="250"/>
                  </a:lnTo>
                  <a:lnTo>
                    <a:pt x="709" y="253"/>
                  </a:lnTo>
                  <a:lnTo>
                    <a:pt x="713" y="255"/>
                  </a:lnTo>
                  <a:lnTo>
                    <a:pt x="715" y="256"/>
                  </a:lnTo>
                  <a:lnTo>
                    <a:pt x="719" y="257"/>
                  </a:lnTo>
                  <a:lnTo>
                    <a:pt x="721" y="257"/>
                  </a:lnTo>
                  <a:lnTo>
                    <a:pt x="724" y="256"/>
                  </a:lnTo>
                  <a:lnTo>
                    <a:pt x="726" y="257"/>
                  </a:lnTo>
                  <a:lnTo>
                    <a:pt x="726" y="261"/>
                  </a:lnTo>
                  <a:lnTo>
                    <a:pt x="730" y="262"/>
                  </a:lnTo>
                  <a:lnTo>
                    <a:pt x="732" y="262"/>
                  </a:lnTo>
                  <a:lnTo>
                    <a:pt x="734" y="258"/>
                  </a:lnTo>
                  <a:lnTo>
                    <a:pt x="736" y="256"/>
                  </a:lnTo>
                  <a:lnTo>
                    <a:pt x="736" y="254"/>
                  </a:lnTo>
                  <a:lnTo>
                    <a:pt x="736" y="250"/>
                  </a:lnTo>
                  <a:lnTo>
                    <a:pt x="733" y="248"/>
                  </a:lnTo>
                  <a:lnTo>
                    <a:pt x="732" y="245"/>
                  </a:lnTo>
                  <a:lnTo>
                    <a:pt x="736" y="245"/>
                  </a:lnTo>
                  <a:lnTo>
                    <a:pt x="732" y="244"/>
                  </a:lnTo>
                  <a:lnTo>
                    <a:pt x="730" y="240"/>
                  </a:lnTo>
                  <a:lnTo>
                    <a:pt x="728" y="239"/>
                  </a:lnTo>
                  <a:lnTo>
                    <a:pt x="726" y="239"/>
                  </a:lnTo>
                  <a:lnTo>
                    <a:pt x="724" y="240"/>
                  </a:lnTo>
                  <a:lnTo>
                    <a:pt x="721" y="239"/>
                  </a:lnTo>
                  <a:lnTo>
                    <a:pt x="719" y="239"/>
                  </a:lnTo>
                  <a:lnTo>
                    <a:pt x="715" y="239"/>
                  </a:lnTo>
                  <a:lnTo>
                    <a:pt x="713" y="238"/>
                  </a:lnTo>
                  <a:lnTo>
                    <a:pt x="709" y="239"/>
                  </a:lnTo>
                  <a:lnTo>
                    <a:pt x="707" y="239"/>
                  </a:lnTo>
                  <a:lnTo>
                    <a:pt x="702" y="239"/>
                  </a:lnTo>
                  <a:lnTo>
                    <a:pt x="704" y="238"/>
                  </a:lnTo>
                  <a:lnTo>
                    <a:pt x="707" y="238"/>
                  </a:lnTo>
                  <a:lnTo>
                    <a:pt x="709" y="238"/>
                  </a:lnTo>
                  <a:lnTo>
                    <a:pt x="713" y="238"/>
                  </a:lnTo>
                  <a:lnTo>
                    <a:pt x="715" y="238"/>
                  </a:lnTo>
                  <a:lnTo>
                    <a:pt x="717" y="238"/>
                  </a:lnTo>
                  <a:lnTo>
                    <a:pt x="721" y="238"/>
                  </a:lnTo>
                  <a:lnTo>
                    <a:pt x="723" y="238"/>
                  </a:lnTo>
                  <a:lnTo>
                    <a:pt x="726" y="236"/>
                  </a:lnTo>
                  <a:lnTo>
                    <a:pt x="726" y="236"/>
                  </a:lnTo>
                  <a:lnTo>
                    <a:pt x="730" y="236"/>
                  </a:lnTo>
                  <a:lnTo>
                    <a:pt x="731" y="233"/>
                  </a:lnTo>
                  <a:lnTo>
                    <a:pt x="729" y="231"/>
                  </a:lnTo>
                  <a:lnTo>
                    <a:pt x="726" y="230"/>
                  </a:lnTo>
                  <a:lnTo>
                    <a:pt x="724" y="231"/>
                  </a:lnTo>
                  <a:lnTo>
                    <a:pt x="721" y="231"/>
                  </a:lnTo>
                  <a:lnTo>
                    <a:pt x="715" y="229"/>
                  </a:lnTo>
                  <a:lnTo>
                    <a:pt x="713" y="229"/>
                  </a:lnTo>
                  <a:lnTo>
                    <a:pt x="715" y="231"/>
                  </a:lnTo>
                  <a:lnTo>
                    <a:pt x="719" y="232"/>
                  </a:lnTo>
                  <a:lnTo>
                    <a:pt x="721" y="233"/>
                  </a:lnTo>
                  <a:lnTo>
                    <a:pt x="719" y="235"/>
                  </a:lnTo>
                  <a:lnTo>
                    <a:pt x="715" y="231"/>
                  </a:lnTo>
                  <a:lnTo>
                    <a:pt x="713" y="230"/>
                  </a:lnTo>
                  <a:lnTo>
                    <a:pt x="709" y="230"/>
                  </a:lnTo>
                  <a:lnTo>
                    <a:pt x="707" y="230"/>
                  </a:lnTo>
                  <a:lnTo>
                    <a:pt x="704" y="231"/>
                  </a:lnTo>
                  <a:lnTo>
                    <a:pt x="704" y="228"/>
                  </a:lnTo>
                  <a:lnTo>
                    <a:pt x="705" y="226"/>
                  </a:lnTo>
                  <a:lnTo>
                    <a:pt x="703" y="226"/>
                  </a:lnTo>
                  <a:lnTo>
                    <a:pt x="699" y="226"/>
                  </a:lnTo>
                  <a:lnTo>
                    <a:pt x="697" y="226"/>
                  </a:lnTo>
                  <a:lnTo>
                    <a:pt x="695" y="226"/>
                  </a:lnTo>
                  <a:lnTo>
                    <a:pt x="697" y="226"/>
                  </a:lnTo>
                  <a:lnTo>
                    <a:pt x="699" y="226"/>
                  </a:lnTo>
                  <a:lnTo>
                    <a:pt x="703" y="226"/>
                  </a:lnTo>
                  <a:lnTo>
                    <a:pt x="699" y="224"/>
                  </a:lnTo>
                  <a:lnTo>
                    <a:pt x="703" y="223"/>
                  </a:lnTo>
                  <a:lnTo>
                    <a:pt x="699" y="223"/>
                  </a:lnTo>
                  <a:lnTo>
                    <a:pt x="700" y="220"/>
                  </a:lnTo>
                  <a:lnTo>
                    <a:pt x="697" y="220"/>
                  </a:lnTo>
                  <a:lnTo>
                    <a:pt x="695" y="222"/>
                  </a:lnTo>
                  <a:lnTo>
                    <a:pt x="694" y="220"/>
                  </a:lnTo>
                  <a:lnTo>
                    <a:pt x="690" y="219"/>
                  </a:lnTo>
                  <a:lnTo>
                    <a:pt x="694" y="216"/>
                  </a:lnTo>
                  <a:lnTo>
                    <a:pt x="695" y="214"/>
                  </a:lnTo>
                  <a:lnTo>
                    <a:pt x="697" y="213"/>
                  </a:lnTo>
                  <a:lnTo>
                    <a:pt x="699" y="215"/>
                  </a:lnTo>
                  <a:lnTo>
                    <a:pt x="703" y="219"/>
                  </a:lnTo>
                  <a:lnTo>
                    <a:pt x="705" y="219"/>
                  </a:lnTo>
                  <a:lnTo>
                    <a:pt x="707" y="218"/>
                  </a:lnTo>
                  <a:lnTo>
                    <a:pt x="711" y="215"/>
                  </a:lnTo>
                  <a:lnTo>
                    <a:pt x="713" y="214"/>
                  </a:lnTo>
                  <a:lnTo>
                    <a:pt x="716" y="214"/>
                  </a:lnTo>
                  <a:lnTo>
                    <a:pt x="713" y="213"/>
                  </a:lnTo>
                  <a:lnTo>
                    <a:pt x="711" y="213"/>
                  </a:lnTo>
                  <a:lnTo>
                    <a:pt x="708" y="213"/>
                  </a:lnTo>
                  <a:lnTo>
                    <a:pt x="705" y="213"/>
                  </a:lnTo>
                  <a:lnTo>
                    <a:pt x="708" y="212"/>
                  </a:lnTo>
                  <a:lnTo>
                    <a:pt x="711" y="212"/>
                  </a:lnTo>
                  <a:lnTo>
                    <a:pt x="714" y="212"/>
                  </a:lnTo>
                  <a:lnTo>
                    <a:pt x="716" y="213"/>
                  </a:lnTo>
                  <a:lnTo>
                    <a:pt x="714" y="211"/>
                  </a:lnTo>
                  <a:lnTo>
                    <a:pt x="716" y="210"/>
                  </a:lnTo>
                  <a:lnTo>
                    <a:pt x="720" y="210"/>
                  </a:lnTo>
                  <a:lnTo>
                    <a:pt x="722" y="210"/>
                  </a:lnTo>
                  <a:lnTo>
                    <a:pt x="725" y="211"/>
                  </a:lnTo>
                  <a:lnTo>
                    <a:pt x="726" y="210"/>
                  </a:lnTo>
                  <a:lnTo>
                    <a:pt x="729" y="211"/>
                  </a:lnTo>
                  <a:lnTo>
                    <a:pt x="732" y="212"/>
                  </a:lnTo>
                  <a:lnTo>
                    <a:pt x="734" y="213"/>
                  </a:lnTo>
                  <a:lnTo>
                    <a:pt x="738" y="213"/>
                  </a:lnTo>
                  <a:lnTo>
                    <a:pt x="740" y="213"/>
                  </a:lnTo>
                  <a:lnTo>
                    <a:pt x="743" y="214"/>
                  </a:lnTo>
                  <a:lnTo>
                    <a:pt x="746" y="214"/>
                  </a:lnTo>
                  <a:lnTo>
                    <a:pt x="748" y="214"/>
                  </a:lnTo>
                  <a:lnTo>
                    <a:pt x="751" y="213"/>
                  </a:lnTo>
                  <a:lnTo>
                    <a:pt x="753" y="210"/>
                  </a:lnTo>
                  <a:lnTo>
                    <a:pt x="753" y="207"/>
                  </a:lnTo>
                  <a:lnTo>
                    <a:pt x="751" y="205"/>
                  </a:lnTo>
                  <a:lnTo>
                    <a:pt x="751" y="202"/>
                  </a:lnTo>
                  <a:lnTo>
                    <a:pt x="749" y="200"/>
                  </a:lnTo>
                  <a:lnTo>
                    <a:pt x="746" y="200"/>
                  </a:lnTo>
                  <a:lnTo>
                    <a:pt x="743" y="198"/>
                  </a:lnTo>
                  <a:lnTo>
                    <a:pt x="740" y="200"/>
                  </a:lnTo>
                  <a:lnTo>
                    <a:pt x="738" y="202"/>
                  </a:lnTo>
                  <a:lnTo>
                    <a:pt x="734" y="201"/>
                  </a:lnTo>
                  <a:lnTo>
                    <a:pt x="732" y="198"/>
                  </a:lnTo>
                  <a:lnTo>
                    <a:pt x="730" y="197"/>
                  </a:lnTo>
                  <a:lnTo>
                    <a:pt x="726" y="197"/>
                  </a:lnTo>
                  <a:lnTo>
                    <a:pt x="724" y="198"/>
                  </a:lnTo>
                  <a:lnTo>
                    <a:pt x="721" y="197"/>
                  </a:lnTo>
                  <a:lnTo>
                    <a:pt x="719" y="197"/>
                  </a:lnTo>
                  <a:lnTo>
                    <a:pt x="721" y="197"/>
                  </a:lnTo>
                  <a:lnTo>
                    <a:pt x="724" y="197"/>
                  </a:lnTo>
                  <a:lnTo>
                    <a:pt x="726" y="196"/>
                  </a:lnTo>
                  <a:lnTo>
                    <a:pt x="724" y="196"/>
                  </a:lnTo>
                  <a:lnTo>
                    <a:pt x="721" y="195"/>
                  </a:lnTo>
                  <a:lnTo>
                    <a:pt x="719" y="195"/>
                  </a:lnTo>
                  <a:lnTo>
                    <a:pt x="715" y="194"/>
                  </a:lnTo>
                  <a:lnTo>
                    <a:pt x="713" y="194"/>
                  </a:lnTo>
                  <a:lnTo>
                    <a:pt x="715" y="194"/>
                  </a:lnTo>
                  <a:lnTo>
                    <a:pt x="719" y="194"/>
                  </a:lnTo>
                  <a:lnTo>
                    <a:pt x="721" y="195"/>
                  </a:lnTo>
                  <a:lnTo>
                    <a:pt x="719" y="193"/>
                  </a:lnTo>
                  <a:lnTo>
                    <a:pt x="721" y="193"/>
                  </a:lnTo>
                  <a:lnTo>
                    <a:pt x="719" y="190"/>
                  </a:lnTo>
                  <a:lnTo>
                    <a:pt x="715" y="189"/>
                  </a:lnTo>
                  <a:lnTo>
                    <a:pt x="719" y="188"/>
                  </a:lnTo>
                  <a:lnTo>
                    <a:pt x="721" y="189"/>
                  </a:lnTo>
                  <a:lnTo>
                    <a:pt x="724" y="188"/>
                  </a:lnTo>
                  <a:lnTo>
                    <a:pt x="726" y="188"/>
                  </a:lnTo>
                  <a:lnTo>
                    <a:pt x="730" y="189"/>
                  </a:lnTo>
                  <a:lnTo>
                    <a:pt x="732" y="192"/>
                  </a:lnTo>
                  <a:lnTo>
                    <a:pt x="736" y="193"/>
                  </a:lnTo>
                  <a:lnTo>
                    <a:pt x="739" y="192"/>
                  </a:lnTo>
                  <a:lnTo>
                    <a:pt x="741" y="192"/>
                  </a:lnTo>
                  <a:lnTo>
                    <a:pt x="739" y="188"/>
                  </a:lnTo>
                  <a:lnTo>
                    <a:pt x="736" y="187"/>
                  </a:lnTo>
                  <a:lnTo>
                    <a:pt x="733" y="186"/>
                  </a:lnTo>
                  <a:lnTo>
                    <a:pt x="730" y="186"/>
                  </a:lnTo>
                  <a:lnTo>
                    <a:pt x="728" y="185"/>
                  </a:lnTo>
                  <a:lnTo>
                    <a:pt x="726" y="185"/>
                  </a:lnTo>
                  <a:lnTo>
                    <a:pt x="724" y="184"/>
                  </a:lnTo>
                  <a:lnTo>
                    <a:pt x="721" y="184"/>
                  </a:lnTo>
                  <a:lnTo>
                    <a:pt x="719" y="183"/>
                  </a:lnTo>
                  <a:lnTo>
                    <a:pt x="715" y="179"/>
                  </a:lnTo>
                  <a:lnTo>
                    <a:pt x="713" y="180"/>
                  </a:lnTo>
                  <a:lnTo>
                    <a:pt x="709" y="184"/>
                  </a:lnTo>
                  <a:lnTo>
                    <a:pt x="708" y="186"/>
                  </a:lnTo>
                  <a:lnTo>
                    <a:pt x="707" y="189"/>
                  </a:lnTo>
                  <a:lnTo>
                    <a:pt x="706" y="192"/>
                  </a:lnTo>
                  <a:lnTo>
                    <a:pt x="704" y="194"/>
                  </a:lnTo>
                  <a:lnTo>
                    <a:pt x="706" y="190"/>
                  </a:lnTo>
                  <a:lnTo>
                    <a:pt x="703" y="189"/>
                  </a:lnTo>
                  <a:lnTo>
                    <a:pt x="700" y="189"/>
                  </a:lnTo>
                  <a:lnTo>
                    <a:pt x="700" y="187"/>
                  </a:lnTo>
                  <a:lnTo>
                    <a:pt x="703" y="184"/>
                  </a:lnTo>
                  <a:lnTo>
                    <a:pt x="705" y="181"/>
                  </a:lnTo>
                  <a:lnTo>
                    <a:pt x="703" y="183"/>
                  </a:lnTo>
                  <a:lnTo>
                    <a:pt x="704" y="179"/>
                  </a:lnTo>
                  <a:lnTo>
                    <a:pt x="706" y="178"/>
                  </a:lnTo>
                  <a:lnTo>
                    <a:pt x="704" y="176"/>
                  </a:lnTo>
                  <a:lnTo>
                    <a:pt x="706" y="176"/>
                  </a:lnTo>
                  <a:lnTo>
                    <a:pt x="709" y="173"/>
                  </a:lnTo>
                  <a:lnTo>
                    <a:pt x="708" y="171"/>
                  </a:lnTo>
                  <a:lnTo>
                    <a:pt x="709" y="168"/>
                  </a:lnTo>
                  <a:lnTo>
                    <a:pt x="711" y="166"/>
                  </a:lnTo>
                  <a:lnTo>
                    <a:pt x="713" y="162"/>
                  </a:lnTo>
                  <a:lnTo>
                    <a:pt x="711" y="161"/>
                  </a:lnTo>
                  <a:lnTo>
                    <a:pt x="707" y="161"/>
                  </a:lnTo>
                  <a:lnTo>
                    <a:pt x="711" y="160"/>
                  </a:lnTo>
                  <a:lnTo>
                    <a:pt x="713" y="160"/>
                  </a:lnTo>
                  <a:lnTo>
                    <a:pt x="712" y="158"/>
                  </a:lnTo>
                  <a:lnTo>
                    <a:pt x="714" y="155"/>
                  </a:lnTo>
                  <a:lnTo>
                    <a:pt x="717" y="154"/>
                  </a:lnTo>
                  <a:lnTo>
                    <a:pt x="720" y="153"/>
                  </a:lnTo>
                  <a:lnTo>
                    <a:pt x="723" y="154"/>
                  </a:lnTo>
                  <a:lnTo>
                    <a:pt x="725" y="154"/>
                  </a:lnTo>
                  <a:lnTo>
                    <a:pt x="726" y="153"/>
                  </a:lnTo>
                  <a:lnTo>
                    <a:pt x="728" y="151"/>
                  </a:lnTo>
                  <a:lnTo>
                    <a:pt x="726" y="149"/>
                  </a:lnTo>
                  <a:lnTo>
                    <a:pt x="726" y="147"/>
                  </a:lnTo>
                  <a:lnTo>
                    <a:pt x="728" y="146"/>
                  </a:lnTo>
                  <a:lnTo>
                    <a:pt x="731" y="146"/>
                  </a:lnTo>
                  <a:lnTo>
                    <a:pt x="733" y="144"/>
                  </a:lnTo>
                  <a:lnTo>
                    <a:pt x="736" y="142"/>
                  </a:lnTo>
                  <a:lnTo>
                    <a:pt x="739" y="143"/>
                  </a:lnTo>
                  <a:lnTo>
                    <a:pt x="739" y="141"/>
                  </a:lnTo>
                  <a:lnTo>
                    <a:pt x="732" y="141"/>
                  </a:lnTo>
                  <a:lnTo>
                    <a:pt x="730" y="143"/>
                  </a:lnTo>
                  <a:lnTo>
                    <a:pt x="732" y="141"/>
                  </a:lnTo>
                  <a:lnTo>
                    <a:pt x="732" y="137"/>
                  </a:lnTo>
                  <a:lnTo>
                    <a:pt x="731" y="135"/>
                  </a:lnTo>
                  <a:lnTo>
                    <a:pt x="733" y="132"/>
                  </a:lnTo>
                  <a:lnTo>
                    <a:pt x="732" y="129"/>
                  </a:lnTo>
                  <a:lnTo>
                    <a:pt x="736" y="127"/>
                  </a:lnTo>
                  <a:lnTo>
                    <a:pt x="739" y="126"/>
                  </a:lnTo>
                  <a:lnTo>
                    <a:pt x="741" y="126"/>
                  </a:lnTo>
                  <a:lnTo>
                    <a:pt x="743" y="127"/>
                  </a:lnTo>
                  <a:lnTo>
                    <a:pt x="747" y="127"/>
                  </a:lnTo>
                  <a:lnTo>
                    <a:pt x="749" y="127"/>
                  </a:lnTo>
                  <a:lnTo>
                    <a:pt x="753" y="127"/>
                  </a:lnTo>
                  <a:lnTo>
                    <a:pt x="755" y="125"/>
                  </a:lnTo>
                  <a:lnTo>
                    <a:pt x="758" y="122"/>
                  </a:lnTo>
                  <a:lnTo>
                    <a:pt x="760" y="120"/>
                  </a:lnTo>
                  <a:lnTo>
                    <a:pt x="760" y="119"/>
                  </a:lnTo>
                  <a:lnTo>
                    <a:pt x="762" y="117"/>
                  </a:lnTo>
                  <a:lnTo>
                    <a:pt x="759" y="116"/>
                  </a:lnTo>
                  <a:lnTo>
                    <a:pt x="756" y="115"/>
                  </a:lnTo>
                  <a:lnTo>
                    <a:pt x="753" y="115"/>
                  </a:lnTo>
                  <a:lnTo>
                    <a:pt x="747" y="116"/>
                  </a:lnTo>
                  <a:lnTo>
                    <a:pt x="743" y="117"/>
                  </a:lnTo>
                  <a:lnTo>
                    <a:pt x="741" y="117"/>
                  </a:lnTo>
                  <a:lnTo>
                    <a:pt x="739" y="116"/>
                  </a:lnTo>
                  <a:lnTo>
                    <a:pt x="736" y="117"/>
                  </a:lnTo>
                  <a:lnTo>
                    <a:pt x="733" y="118"/>
                  </a:lnTo>
                  <a:lnTo>
                    <a:pt x="730" y="118"/>
                  </a:lnTo>
                  <a:lnTo>
                    <a:pt x="728" y="119"/>
                  </a:lnTo>
                  <a:lnTo>
                    <a:pt x="726" y="119"/>
                  </a:lnTo>
                  <a:lnTo>
                    <a:pt x="725" y="122"/>
                  </a:lnTo>
                  <a:lnTo>
                    <a:pt x="724" y="125"/>
                  </a:lnTo>
                  <a:lnTo>
                    <a:pt x="726" y="125"/>
                  </a:lnTo>
                  <a:lnTo>
                    <a:pt x="726" y="125"/>
                  </a:lnTo>
                  <a:lnTo>
                    <a:pt x="724" y="126"/>
                  </a:lnTo>
                  <a:lnTo>
                    <a:pt x="721" y="125"/>
                  </a:lnTo>
                  <a:lnTo>
                    <a:pt x="719" y="124"/>
                  </a:lnTo>
                  <a:lnTo>
                    <a:pt x="720" y="120"/>
                  </a:lnTo>
                  <a:lnTo>
                    <a:pt x="720" y="119"/>
                  </a:lnTo>
                  <a:lnTo>
                    <a:pt x="721" y="1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19" name="Freeform 219">
              <a:extLst>
                <a:ext uri="{FF2B5EF4-FFF2-40B4-BE49-F238E27FC236}">
                  <a16:creationId xmlns:a16="http://schemas.microsoft.com/office/drawing/2014/main" id="{9ADAD2B4-0195-4F26-AA3D-F72523307C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97101" y="2528888"/>
              <a:ext cx="2441575" cy="1749425"/>
            </a:xfrm>
            <a:custGeom>
              <a:avLst/>
              <a:gdLst>
                <a:gd name="T0" fmla="*/ 1511 w 1538"/>
                <a:gd name="T1" fmla="*/ 384 h 1102"/>
                <a:gd name="T2" fmla="*/ 1448 w 1538"/>
                <a:gd name="T3" fmla="*/ 324 h 1102"/>
                <a:gd name="T4" fmla="*/ 1401 w 1538"/>
                <a:gd name="T5" fmla="*/ 296 h 1102"/>
                <a:gd name="T6" fmla="*/ 1350 w 1538"/>
                <a:gd name="T7" fmla="*/ 256 h 1102"/>
                <a:gd name="T8" fmla="*/ 1239 w 1538"/>
                <a:gd name="T9" fmla="*/ 280 h 1102"/>
                <a:gd name="T10" fmla="*/ 1191 w 1538"/>
                <a:gd name="T11" fmla="*/ 427 h 1102"/>
                <a:gd name="T12" fmla="*/ 1019 w 1538"/>
                <a:gd name="T13" fmla="*/ 298 h 1102"/>
                <a:gd name="T14" fmla="*/ 1029 w 1538"/>
                <a:gd name="T15" fmla="*/ 193 h 1102"/>
                <a:gd name="T16" fmla="*/ 1095 w 1538"/>
                <a:gd name="T17" fmla="*/ 159 h 1102"/>
                <a:gd name="T18" fmla="*/ 1187 w 1538"/>
                <a:gd name="T19" fmla="*/ 114 h 1102"/>
                <a:gd name="T20" fmla="*/ 1138 w 1538"/>
                <a:gd name="T21" fmla="*/ 74 h 1102"/>
                <a:gd name="T22" fmla="*/ 1052 w 1538"/>
                <a:gd name="T23" fmla="*/ 62 h 1102"/>
                <a:gd name="T24" fmla="*/ 979 w 1538"/>
                <a:gd name="T25" fmla="*/ 42 h 1102"/>
                <a:gd name="T26" fmla="*/ 984 w 1538"/>
                <a:gd name="T27" fmla="*/ 116 h 1102"/>
                <a:gd name="T28" fmla="*/ 842 w 1538"/>
                <a:gd name="T29" fmla="*/ 79 h 1102"/>
                <a:gd name="T30" fmla="*/ 799 w 1538"/>
                <a:gd name="T31" fmla="*/ 106 h 1102"/>
                <a:gd name="T32" fmla="*/ 589 w 1538"/>
                <a:gd name="T33" fmla="*/ 50 h 1102"/>
                <a:gd name="T34" fmla="*/ 481 w 1538"/>
                <a:gd name="T35" fmla="*/ 72 h 1102"/>
                <a:gd name="T36" fmla="*/ 442 w 1538"/>
                <a:gd name="T37" fmla="*/ 77 h 1102"/>
                <a:gd name="T38" fmla="*/ 276 w 1538"/>
                <a:gd name="T39" fmla="*/ 45 h 1102"/>
                <a:gd name="T40" fmla="*/ 106 w 1538"/>
                <a:gd name="T41" fmla="*/ 39 h 1102"/>
                <a:gd name="T42" fmla="*/ 82 w 1538"/>
                <a:gd name="T43" fmla="*/ 130 h 1102"/>
                <a:gd name="T44" fmla="*/ 67 w 1538"/>
                <a:gd name="T45" fmla="*/ 181 h 1102"/>
                <a:gd name="T46" fmla="*/ 45 w 1538"/>
                <a:gd name="T47" fmla="*/ 241 h 1102"/>
                <a:gd name="T48" fmla="*/ 100 w 1538"/>
                <a:gd name="T49" fmla="*/ 296 h 1102"/>
                <a:gd name="T50" fmla="*/ 65 w 1538"/>
                <a:gd name="T51" fmla="*/ 370 h 1102"/>
                <a:gd name="T52" fmla="*/ 200 w 1538"/>
                <a:gd name="T53" fmla="*/ 297 h 1102"/>
                <a:gd name="T54" fmla="*/ 250 w 1538"/>
                <a:gd name="T55" fmla="*/ 279 h 1102"/>
                <a:gd name="T56" fmla="*/ 347 w 1538"/>
                <a:gd name="T57" fmla="*/ 271 h 1102"/>
                <a:gd name="T58" fmla="*/ 445 w 1538"/>
                <a:gd name="T59" fmla="*/ 289 h 1102"/>
                <a:gd name="T60" fmla="*/ 511 w 1538"/>
                <a:gd name="T61" fmla="*/ 376 h 1102"/>
                <a:gd name="T62" fmla="*/ 548 w 1538"/>
                <a:gd name="T63" fmla="*/ 422 h 1102"/>
                <a:gd name="T64" fmla="*/ 591 w 1538"/>
                <a:gd name="T65" fmla="*/ 448 h 1102"/>
                <a:gd name="T66" fmla="*/ 596 w 1538"/>
                <a:gd name="T67" fmla="*/ 493 h 1102"/>
                <a:gd name="T68" fmla="*/ 626 w 1538"/>
                <a:gd name="T69" fmla="*/ 672 h 1102"/>
                <a:gd name="T70" fmla="*/ 734 w 1538"/>
                <a:gd name="T71" fmla="*/ 821 h 1102"/>
                <a:gd name="T72" fmla="*/ 768 w 1538"/>
                <a:gd name="T73" fmla="*/ 835 h 1102"/>
                <a:gd name="T74" fmla="*/ 803 w 1538"/>
                <a:gd name="T75" fmla="*/ 852 h 1102"/>
                <a:gd name="T76" fmla="*/ 1017 w 1538"/>
                <a:gd name="T77" fmla="*/ 994 h 1102"/>
                <a:gd name="T78" fmla="*/ 1161 w 1538"/>
                <a:gd name="T79" fmla="*/ 1094 h 1102"/>
                <a:gd name="T80" fmla="*/ 1120 w 1538"/>
                <a:gd name="T81" fmla="*/ 994 h 1102"/>
                <a:gd name="T82" fmla="*/ 1040 w 1538"/>
                <a:gd name="T83" fmla="*/ 954 h 1102"/>
                <a:gd name="T84" fmla="*/ 964 w 1538"/>
                <a:gd name="T85" fmla="*/ 828 h 1102"/>
                <a:gd name="T86" fmla="*/ 1082 w 1538"/>
                <a:gd name="T87" fmla="*/ 802 h 1102"/>
                <a:gd name="T88" fmla="*/ 1168 w 1538"/>
                <a:gd name="T89" fmla="*/ 803 h 1102"/>
                <a:gd name="T90" fmla="*/ 1205 w 1538"/>
                <a:gd name="T91" fmla="*/ 750 h 1102"/>
                <a:gd name="T92" fmla="*/ 1251 w 1538"/>
                <a:gd name="T93" fmla="*/ 675 h 1102"/>
                <a:gd name="T94" fmla="*/ 1272 w 1538"/>
                <a:gd name="T95" fmla="*/ 656 h 1102"/>
                <a:gd name="T96" fmla="*/ 1339 w 1538"/>
                <a:gd name="T97" fmla="*/ 573 h 1102"/>
                <a:gd name="T98" fmla="*/ 1397 w 1538"/>
                <a:gd name="T99" fmla="*/ 559 h 1102"/>
                <a:gd name="T100" fmla="*/ 1402 w 1538"/>
                <a:gd name="T101" fmla="*/ 507 h 1102"/>
                <a:gd name="T102" fmla="*/ 1379 w 1538"/>
                <a:gd name="T103" fmla="*/ 475 h 1102"/>
                <a:gd name="T104" fmla="*/ 665 w 1538"/>
                <a:gd name="T105" fmla="*/ 160 h 1102"/>
                <a:gd name="T106" fmla="*/ 590 w 1538"/>
                <a:gd name="T107" fmla="*/ 139 h 1102"/>
                <a:gd name="T108" fmla="*/ 797 w 1538"/>
                <a:gd name="T109" fmla="*/ 217 h 1102"/>
                <a:gd name="T110" fmla="*/ 722 w 1538"/>
                <a:gd name="T111" fmla="*/ 219 h 1102"/>
                <a:gd name="T112" fmla="*/ 945 w 1538"/>
                <a:gd name="T113" fmla="*/ 397 h 1102"/>
                <a:gd name="T114" fmla="*/ 1129 w 1538"/>
                <a:gd name="T115" fmla="*/ 554 h 1102"/>
                <a:gd name="T116" fmla="*/ 1128 w 1538"/>
                <a:gd name="T117" fmla="*/ 534 h 1102"/>
                <a:gd name="T118" fmla="*/ 1076 w 1538"/>
                <a:gd name="T119" fmla="*/ 498 h 1102"/>
                <a:gd name="T120" fmla="*/ 1206 w 1538"/>
                <a:gd name="T121" fmla="*/ 552 h 1102"/>
                <a:gd name="T122" fmla="*/ 1161 w 1538"/>
                <a:gd name="T123" fmla="*/ 601 h 1102"/>
                <a:gd name="T124" fmla="*/ 1224 w 1538"/>
                <a:gd name="T125" fmla="*/ 570 h 1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538" h="1102">
                  <a:moveTo>
                    <a:pt x="1531" y="421"/>
                  </a:moveTo>
                  <a:lnTo>
                    <a:pt x="1537" y="422"/>
                  </a:lnTo>
                  <a:lnTo>
                    <a:pt x="1536" y="419"/>
                  </a:lnTo>
                  <a:lnTo>
                    <a:pt x="1533" y="418"/>
                  </a:lnTo>
                  <a:lnTo>
                    <a:pt x="1529" y="418"/>
                  </a:lnTo>
                  <a:lnTo>
                    <a:pt x="1527" y="417"/>
                  </a:lnTo>
                  <a:lnTo>
                    <a:pt x="1530" y="418"/>
                  </a:lnTo>
                  <a:lnTo>
                    <a:pt x="1534" y="416"/>
                  </a:lnTo>
                  <a:lnTo>
                    <a:pt x="1536" y="416"/>
                  </a:lnTo>
                  <a:lnTo>
                    <a:pt x="1534" y="414"/>
                  </a:lnTo>
                  <a:lnTo>
                    <a:pt x="1536" y="414"/>
                  </a:lnTo>
                  <a:lnTo>
                    <a:pt x="1535" y="410"/>
                  </a:lnTo>
                  <a:lnTo>
                    <a:pt x="1533" y="409"/>
                  </a:lnTo>
                  <a:lnTo>
                    <a:pt x="1535" y="409"/>
                  </a:lnTo>
                  <a:lnTo>
                    <a:pt x="1537" y="406"/>
                  </a:lnTo>
                  <a:lnTo>
                    <a:pt x="1536" y="404"/>
                  </a:lnTo>
                  <a:lnTo>
                    <a:pt x="1530" y="399"/>
                  </a:lnTo>
                  <a:lnTo>
                    <a:pt x="1533" y="399"/>
                  </a:lnTo>
                  <a:lnTo>
                    <a:pt x="1530" y="399"/>
                  </a:lnTo>
                  <a:lnTo>
                    <a:pt x="1525" y="397"/>
                  </a:lnTo>
                  <a:lnTo>
                    <a:pt x="1528" y="396"/>
                  </a:lnTo>
                  <a:lnTo>
                    <a:pt x="1525" y="397"/>
                  </a:lnTo>
                  <a:lnTo>
                    <a:pt x="1522" y="397"/>
                  </a:lnTo>
                  <a:lnTo>
                    <a:pt x="1519" y="397"/>
                  </a:lnTo>
                  <a:lnTo>
                    <a:pt x="1518" y="400"/>
                  </a:lnTo>
                  <a:lnTo>
                    <a:pt x="1516" y="401"/>
                  </a:lnTo>
                  <a:lnTo>
                    <a:pt x="1514" y="399"/>
                  </a:lnTo>
                  <a:lnTo>
                    <a:pt x="1514" y="398"/>
                  </a:lnTo>
                  <a:lnTo>
                    <a:pt x="1517" y="397"/>
                  </a:lnTo>
                  <a:lnTo>
                    <a:pt x="1518" y="393"/>
                  </a:lnTo>
                  <a:lnTo>
                    <a:pt x="1514" y="389"/>
                  </a:lnTo>
                  <a:lnTo>
                    <a:pt x="1509" y="388"/>
                  </a:lnTo>
                  <a:lnTo>
                    <a:pt x="1507" y="387"/>
                  </a:lnTo>
                  <a:lnTo>
                    <a:pt x="1504" y="387"/>
                  </a:lnTo>
                  <a:lnTo>
                    <a:pt x="1501" y="388"/>
                  </a:lnTo>
                  <a:lnTo>
                    <a:pt x="1504" y="389"/>
                  </a:lnTo>
                  <a:lnTo>
                    <a:pt x="1507" y="389"/>
                  </a:lnTo>
                  <a:lnTo>
                    <a:pt x="1504" y="390"/>
                  </a:lnTo>
                  <a:lnTo>
                    <a:pt x="1496" y="392"/>
                  </a:lnTo>
                  <a:lnTo>
                    <a:pt x="1493" y="395"/>
                  </a:lnTo>
                  <a:lnTo>
                    <a:pt x="1492" y="397"/>
                  </a:lnTo>
                  <a:lnTo>
                    <a:pt x="1490" y="398"/>
                  </a:lnTo>
                  <a:lnTo>
                    <a:pt x="1484" y="400"/>
                  </a:lnTo>
                  <a:lnTo>
                    <a:pt x="1480" y="400"/>
                  </a:lnTo>
                  <a:lnTo>
                    <a:pt x="1480" y="401"/>
                  </a:lnTo>
                  <a:lnTo>
                    <a:pt x="1476" y="405"/>
                  </a:lnTo>
                  <a:lnTo>
                    <a:pt x="1474" y="405"/>
                  </a:lnTo>
                  <a:lnTo>
                    <a:pt x="1476" y="405"/>
                  </a:lnTo>
                  <a:lnTo>
                    <a:pt x="1477" y="401"/>
                  </a:lnTo>
                  <a:lnTo>
                    <a:pt x="1475" y="399"/>
                  </a:lnTo>
                  <a:lnTo>
                    <a:pt x="1471" y="397"/>
                  </a:lnTo>
                  <a:lnTo>
                    <a:pt x="1466" y="397"/>
                  </a:lnTo>
                  <a:lnTo>
                    <a:pt x="1467" y="395"/>
                  </a:lnTo>
                  <a:lnTo>
                    <a:pt x="1470" y="397"/>
                  </a:lnTo>
                  <a:lnTo>
                    <a:pt x="1473" y="397"/>
                  </a:lnTo>
                  <a:lnTo>
                    <a:pt x="1475" y="399"/>
                  </a:lnTo>
                  <a:lnTo>
                    <a:pt x="1478" y="400"/>
                  </a:lnTo>
                  <a:lnTo>
                    <a:pt x="1478" y="397"/>
                  </a:lnTo>
                  <a:lnTo>
                    <a:pt x="1479" y="396"/>
                  </a:lnTo>
                  <a:lnTo>
                    <a:pt x="1487" y="395"/>
                  </a:lnTo>
                  <a:lnTo>
                    <a:pt x="1495" y="390"/>
                  </a:lnTo>
                  <a:lnTo>
                    <a:pt x="1499" y="390"/>
                  </a:lnTo>
                  <a:lnTo>
                    <a:pt x="1501" y="388"/>
                  </a:lnTo>
                  <a:lnTo>
                    <a:pt x="1490" y="391"/>
                  </a:lnTo>
                  <a:lnTo>
                    <a:pt x="1486" y="391"/>
                  </a:lnTo>
                  <a:lnTo>
                    <a:pt x="1486" y="390"/>
                  </a:lnTo>
                  <a:lnTo>
                    <a:pt x="1490" y="390"/>
                  </a:lnTo>
                  <a:lnTo>
                    <a:pt x="1494" y="389"/>
                  </a:lnTo>
                  <a:lnTo>
                    <a:pt x="1497" y="388"/>
                  </a:lnTo>
                  <a:lnTo>
                    <a:pt x="1500" y="387"/>
                  </a:lnTo>
                  <a:lnTo>
                    <a:pt x="1503" y="387"/>
                  </a:lnTo>
                  <a:lnTo>
                    <a:pt x="1505" y="384"/>
                  </a:lnTo>
                  <a:lnTo>
                    <a:pt x="1511" y="384"/>
                  </a:lnTo>
                  <a:lnTo>
                    <a:pt x="1513" y="382"/>
                  </a:lnTo>
                  <a:lnTo>
                    <a:pt x="1511" y="383"/>
                  </a:lnTo>
                  <a:lnTo>
                    <a:pt x="1512" y="382"/>
                  </a:lnTo>
                  <a:lnTo>
                    <a:pt x="1514" y="380"/>
                  </a:lnTo>
                  <a:lnTo>
                    <a:pt x="1507" y="378"/>
                  </a:lnTo>
                  <a:lnTo>
                    <a:pt x="1504" y="378"/>
                  </a:lnTo>
                  <a:lnTo>
                    <a:pt x="1501" y="376"/>
                  </a:lnTo>
                  <a:lnTo>
                    <a:pt x="1496" y="375"/>
                  </a:lnTo>
                  <a:lnTo>
                    <a:pt x="1492" y="371"/>
                  </a:lnTo>
                  <a:lnTo>
                    <a:pt x="1490" y="371"/>
                  </a:lnTo>
                  <a:lnTo>
                    <a:pt x="1491" y="368"/>
                  </a:lnTo>
                  <a:lnTo>
                    <a:pt x="1487" y="371"/>
                  </a:lnTo>
                  <a:lnTo>
                    <a:pt x="1482" y="374"/>
                  </a:lnTo>
                  <a:lnTo>
                    <a:pt x="1479" y="378"/>
                  </a:lnTo>
                  <a:lnTo>
                    <a:pt x="1482" y="374"/>
                  </a:lnTo>
                  <a:lnTo>
                    <a:pt x="1484" y="372"/>
                  </a:lnTo>
                  <a:lnTo>
                    <a:pt x="1485" y="370"/>
                  </a:lnTo>
                  <a:lnTo>
                    <a:pt x="1482" y="368"/>
                  </a:lnTo>
                  <a:lnTo>
                    <a:pt x="1482" y="366"/>
                  </a:lnTo>
                  <a:lnTo>
                    <a:pt x="1479" y="367"/>
                  </a:lnTo>
                  <a:lnTo>
                    <a:pt x="1477" y="370"/>
                  </a:lnTo>
                  <a:lnTo>
                    <a:pt x="1475" y="372"/>
                  </a:lnTo>
                  <a:lnTo>
                    <a:pt x="1477" y="371"/>
                  </a:lnTo>
                  <a:lnTo>
                    <a:pt x="1478" y="367"/>
                  </a:lnTo>
                  <a:lnTo>
                    <a:pt x="1475" y="368"/>
                  </a:lnTo>
                  <a:lnTo>
                    <a:pt x="1469" y="372"/>
                  </a:lnTo>
                  <a:lnTo>
                    <a:pt x="1475" y="363"/>
                  </a:lnTo>
                  <a:lnTo>
                    <a:pt x="1473" y="365"/>
                  </a:lnTo>
                  <a:lnTo>
                    <a:pt x="1473" y="363"/>
                  </a:lnTo>
                  <a:lnTo>
                    <a:pt x="1473" y="361"/>
                  </a:lnTo>
                  <a:lnTo>
                    <a:pt x="1475" y="357"/>
                  </a:lnTo>
                  <a:lnTo>
                    <a:pt x="1471" y="358"/>
                  </a:lnTo>
                  <a:lnTo>
                    <a:pt x="1470" y="362"/>
                  </a:lnTo>
                  <a:lnTo>
                    <a:pt x="1469" y="358"/>
                  </a:lnTo>
                  <a:lnTo>
                    <a:pt x="1466" y="358"/>
                  </a:lnTo>
                  <a:lnTo>
                    <a:pt x="1467" y="356"/>
                  </a:lnTo>
                  <a:lnTo>
                    <a:pt x="1465" y="356"/>
                  </a:lnTo>
                  <a:lnTo>
                    <a:pt x="1462" y="354"/>
                  </a:lnTo>
                  <a:lnTo>
                    <a:pt x="1459" y="353"/>
                  </a:lnTo>
                  <a:lnTo>
                    <a:pt x="1462" y="353"/>
                  </a:lnTo>
                  <a:lnTo>
                    <a:pt x="1459" y="353"/>
                  </a:lnTo>
                  <a:lnTo>
                    <a:pt x="1458" y="349"/>
                  </a:lnTo>
                  <a:lnTo>
                    <a:pt x="1454" y="349"/>
                  </a:lnTo>
                  <a:lnTo>
                    <a:pt x="1451" y="347"/>
                  </a:lnTo>
                  <a:lnTo>
                    <a:pt x="1454" y="348"/>
                  </a:lnTo>
                  <a:lnTo>
                    <a:pt x="1457" y="347"/>
                  </a:lnTo>
                  <a:lnTo>
                    <a:pt x="1451" y="344"/>
                  </a:lnTo>
                  <a:lnTo>
                    <a:pt x="1454" y="342"/>
                  </a:lnTo>
                  <a:lnTo>
                    <a:pt x="1449" y="341"/>
                  </a:lnTo>
                  <a:lnTo>
                    <a:pt x="1452" y="341"/>
                  </a:lnTo>
                  <a:lnTo>
                    <a:pt x="1448" y="340"/>
                  </a:lnTo>
                  <a:lnTo>
                    <a:pt x="1447" y="339"/>
                  </a:lnTo>
                  <a:lnTo>
                    <a:pt x="1445" y="338"/>
                  </a:lnTo>
                  <a:lnTo>
                    <a:pt x="1447" y="338"/>
                  </a:lnTo>
                  <a:lnTo>
                    <a:pt x="1445" y="337"/>
                  </a:lnTo>
                  <a:lnTo>
                    <a:pt x="1451" y="337"/>
                  </a:lnTo>
                  <a:lnTo>
                    <a:pt x="1448" y="337"/>
                  </a:lnTo>
                  <a:lnTo>
                    <a:pt x="1447" y="338"/>
                  </a:lnTo>
                  <a:lnTo>
                    <a:pt x="1447" y="339"/>
                  </a:lnTo>
                  <a:lnTo>
                    <a:pt x="1453" y="340"/>
                  </a:lnTo>
                  <a:lnTo>
                    <a:pt x="1456" y="340"/>
                  </a:lnTo>
                  <a:lnTo>
                    <a:pt x="1453" y="338"/>
                  </a:lnTo>
                  <a:lnTo>
                    <a:pt x="1457" y="337"/>
                  </a:lnTo>
                  <a:lnTo>
                    <a:pt x="1458" y="335"/>
                  </a:lnTo>
                  <a:lnTo>
                    <a:pt x="1460" y="335"/>
                  </a:lnTo>
                  <a:lnTo>
                    <a:pt x="1460" y="333"/>
                  </a:lnTo>
                  <a:lnTo>
                    <a:pt x="1459" y="331"/>
                  </a:lnTo>
                  <a:lnTo>
                    <a:pt x="1453" y="328"/>
                  </a:lnTo>
                  <a:lnTo>
                    <a:pt x="1453" y="325"/>
                  </a:lnTo>
                  <a:lnTo>
                    <a:pt x="1450" y="324"/>
                  </a:lnTo>
                  <a:lnTo>
                    <a:pt x="1448" y="325"/>
                  </a:lnTo>
                  <a:lnTo>
                    <a:pt x="1444" y="324"/>
                  </a:lnTo>
                  <a:lnTo>
                    <a:pt x="1448" y="324"/>
                  </a:lnTo>
                  <a:lnTo>
                    <a:pt x="1450" y="323"/>
                  </a:lnTo>
                  <a:lnTo>
                    <a:pt x="1453" y="321"/>
                  </a:lnTo>
                  <a:lnTo>
                    <a:pt x="1450" y="319"/>
                  </a:lnTo>
                  <a:lnTo>
                    <a:pt x="1449" y="315"/>
                  </a:lnTo>
                  <a:lnTo>
                    <a:pt x="1445" y="316"/>
                  </a:lnTo>
                  <a:lnTo>
                    <a:pt x="1444" y="314"/>
                  </a:lnTo>
                  <a:lnTo>
                    <a:pt x="1448" y="313"/>
                  </a:lnTo>
                  <a:lnTo>
                    <a:pt x="1444" y="311"/>
                  </a:lnTo>
                  <a:lnTo>
                    <a:pt x="1437" y="313"/>
                  </a:lnTo>
                  <a:lnTo>
                    <a:pt x="1435" y="313"/>
                  </a:lnTo>
                  <a:lnTo>
                    <a:pt x="1437" y="311"/>
                  </a:lnTo>
                  <a:lnTo>
                    <a:pt x="1440" y="311"/>
                  </a:lnTo>
                  <a:lnTo>
                    <a:pt x="1443" y="310"/>
                  </a:lnTo>
                  <a:lnTo>
                    <a:pt x="1441" y="308"/>
                  </a:lnTo>
                  <a:lnTo>
                    <a:pt x="1443" y="307"/>
                  </a:lnTo>
                  <a:lnTo>
                    <a:pt x="1442" y="304"/>
                  </a:lnTo>
                  <a:lnTo>
                    <a:pt x="1439" y="305"/>
                  </a:lnTo>
                  <a:lnTo>
                    <a:pt x="1436" y="305"/>
                  </a:lnTo>
                  <a:lnTo>
                    <a:pt x="1434" y="305"/>
                  </a:lnTo>
                  <a:lnTo>
                    <a:pt x="1431" y="307"/>
                  </a:lnTo>
                  <a:lnTo>
                    <a:pt x="1433" y="304"/>
                  </a:lnTo>
                  <a:lnTo>
                    <a:pt x="1435" y="304"/>
                  </a:lnTo>
                  <a:lnTo>
                    <a:pt x="1439" y="303"/>
                  </a:lnTo>
                  <a:lnTo>
                    <a:pt x="1437" y="301"/>
                  </a:lnTo>
                  <a:lnTo>
                    <a:pt x="1439" y="297"/>
                  </a:lnTo>
                  <a:lnTo>
                    <a:pt x="1435" y="297"/>
                  </a:lnTo>
                  <a:lnTo>
                    <a:pt x="1434" y="295"/>
                  </a:lnTo>
                  <a:lnTo>
                    <a:pt x="1434" y="293"/>
                  </a:lnTo>
                  <a:lnTo>
                    <a:pt x="1430" y="294"/>
                  </a:lnTo>
                  <a:lnTo>
                    <a:pt x="1424" y="293"/>
                  </a:lnTo>
                  <a:lnTo>
                    <a:pt x="1430" y="293"/>
                  </a:lnTo>
                  <a:lnTo>
                    <a:pt x="1433" y="291"/>
                  </a:lnTo>
                  <a:lnTo>
                    <a:pt x="1432" y="288"/>
                  </a:lnTo>
                  <a:lnTo>
                    <a:pt x="1430" y="289"/>
                  </a:lnTo>
                  <a:lnTo>
                    <a:pt x="1430" y="287"/>
                  </a:lnTo>
                  <a:lnTo>
                    <a:pt x="1427" y="287"/>
                  </a:lnTo>
                  <a:lnTo>
                    <a:pt x="1425" y="286"/>
                  </a:lnTo>
                  <a:lnTo>
                    <a:pt x="1427" y="285"/>
                  </a:lnTo>
                  <a:lnTo>
                    <a:pt x="1425" y="281"/>
                  </a:lnTo>
                  <a:lnTo>
                    <a:pt x="1423" y="284"/>
                  </a:lnTo>
                  <a:lnTo>
                    <a:pt x="1424" y="280"/>
                  </a:lnTo>
                  <a:lnTo>
                    <a:pt x="1420" y="279"/>
                  </a:lnTo>
                  <a:lnTo>
                    <a:pt x="1422" y="277"/>
                  </a:lnTo>
                  <a:lnTo>
                    <a:pt x="1422" y="273"/>
                  </a:lnTo>
                  <a:lnTo>
                    <a:pt x="1417" y="273"/>
                  </a:lnTo>
                  <a:lnTo>
                    <a:pt x="1417" y="272"/>
                  </a:lnTo>
                  <a:lnTo>
                    <a:pt x="1414" y="273"/>
                  </a:lnTo>
                  <a:lnTo>
                    <a:pt x="1413" y="273"/>
                  </a:lnTo>
                  <a:lnTo>
                    <a:pt x="1418" y="271"/>
                  </a:lnTo>
                  <a:lnTo>
                    <a:pt x="1417" y="269"/>
                  </a:lnTo>
                  <a:lnTo>
                    <a:pt x="1415" y="269"/>
                  </a:lnTo>
                  <a:lnTo>
                    <a:pt x="1417" y="268"/>
                  </a:lnTo>
                  <a:lnTo>
                    <a:pt x="1415" y="268"/>
                  </a:lnTo>
                  <a:lnTo>
                    <a:pt x="1413" y="269"/>
                  </a:lnTo>
                  <a:lnTo>
                    <a:pt x="1415" y="271"/>
                  </a:lnTo>
                  <a:lnTo>
                    <a:pt x="1413" y="273"/>
                  </a:lnTo>
                  <a:lnTo>
                    <a:pt x="1409" y="273"/>
                  </a:lnTo>
                  <a:lnTo>
                    <a:pt x="1408" y="278"/>
                  </a:lnTo>
                  <a:lnTo>
                    <a:pt x="1410" y="279"/>
                  </a:lnTo>
                  <a:lnTo>
                    <a:pt x="1406" y="278"/>
                  </a:lnTo>
                  <a:lnTo>
                    <a:pt x="1403" y="280"/>
                  </a:lnTo>
                  <a:lnTo>
                    <a:pt x="1405" y="282"/>
                  </a:lnTo>
                  <a:lnTo>
                    <a:pt x="1407" y="285"/>
                  </a:lnTo>
                  <a:lnTo>
                    <a:pt x="1408" y="285"/>
                  </a:lnTo>
                  <a:lnTo>
                    <a:pt x="1410" y="287"/>
                  </a:lnTo>
                  <a:lnTo>
                    <a:pt x="1407" y="285"/>
                  </a:lnTo>
                  <a:lnTo>
                    <a:pt x="1405" y="286"/>
                  </a:lnTo>
                  <a:lnTo>
                    <a:pt x="1403" y="289"/>
                  </a:lnTo>
                  <a:lnTo>
                    <a:pt x="1400" y="290"/>
                  </a:lnTo>
                  <a:lnTo>
                    <a:pt x="1403" y="293"/>
                  </a:lnTo>
                  <a:lnTo>
                    <a:pt x="1406" y="294"/>
                  </a:lnTo>
                  <a:lnTo>
                    <a:pt x="1403" y="293"/>
                  </a:lnTo>
                  <a:lnTo>
                    <a:pt x="1401" y="296"/>
                  </a:lnTo>
                  <a:lnTo>
                    <a:pt x="1399" y="295"/>
                  </a:lnTo>
                  <a:lnTo>
                    <a:pt x="1399" y="297"/>
                  </a:lnTo>
                  <a:lnTo>
                    <a:pt x="1399" y="297"/>
                  </a:lnTo>
                  <a:lnTo>
                    <a:pt x="1397" y="297"/>
                  </a:lnTo>
                  <a:lnTo>
                    <a:pt x="1397" y="299"/>
                  </a:lnTo>
                  <a:lnTo>
                    <a:pt x="1399" y="303"/>
                  </a:lnTo>
                  <a:lnTo>
                    <a:pt x="1398" y="305"/>
                  </a:lnTo>
                  <a:lnTo>
                    <a:pt x="1396" y="307"/>
                  </a:lnTo>
                  <a:lnTo>
                    <a:pt x="1397" y="306"/>
                  </a:lnTo>
                  <a:lnTo>
                    <a:pt x="1397" y="303"/>
                  </a:lnTo>
                  <a:lnTo>
                    <a:pt x="1396" y="301"/>
                  </a:lnTo>
                  <a:lnTo>
                    <a:pt x="1393" y="298"/>
                  </a:lnTo>
                  <a:lnTo>
                    <a:pt x="1390" y="299"/>
                  </a:lnTo>
                  <a:lnTo>
                    <a:pt x="1388" y="304"/>
                  </a:lnTo>
                  <a:lnTo>
                    <a:pt x="1383" y="305"/>
                  </a:lnTo>
                  <a:lnTo>
                    <a:pt x="1381" y="307"/>
                  </a:lnTo>
                  <a:lnTo>
                    <a:pt x="1375" y="310"/>
                  </a:lnTo>
                  <a:lnTo>
                    <a:pt x="1373" y="315"/>
                  </a:lnTo>
                  <a:lnTo>
                    <a:pt x="1373" y="315"/>
                  </a:lnTo>
                  <a:lnTo>
                    <a:pt x="1374" y="310"/>
                  </a:lnTo>
                  <a:lnTo>
                    <a:pt x="1372" y="306"/>
                  </a:lnTo>
                  <a:lnTo>
                    <a:pt x="1372" y="310"/>
                  </a:lnTo>
                  <a:lnTo>
                    <a:pt x="1368" y="311"/>
                  </a:lnTo>
                  <a:lnTo>
                    <a:pt x="1372" y="308"/>
                  </a:lnTo>
                  <a:lnTo>
                    <a:pt x="1369" y="303"/>
                  </a:lnTo>
                  <a:lnTo>
                    <a:pt x="1367" y="305"/>
                  </a:lnTo>
                  <a:lnTo>
                    <a:pt x="1367" y="307"/>
                  </a:lnTo>
                  <a:lnTo>
                    <a:pt x="1364" y="313"/>
                  </a:lnTo>
                  <a:lnTo>
                    <a:pt x="1364" y="313"/>
                  </a:lnTo>
                  <a:lnTo>
                    <a:pt x="1362" y="314"/>
                  </a:lnTo>
                  <a:lnTo>
                    <a:pt x="1356" y="315"/>
                  </a:lnTo>
                  <a:lnTo>
                    <a:pt x="1351" y="319"/>
                  </a:lnTo>
                  <a:lnTo>
                    <a:pt x="1352" y="318"/>
                  </a:lnTo>
                  <a:lnTo>
                    <a:pt x="1355" y="315"/>
                  </a:lnTo>
                  <a:lnTo>
                    <a:pt x="1356" y="315"/>
                  </a:lnTo>
                  <a:lnTo>
                    <a:pt x="1364" y="313"/>
                  </a:lnTo>
                  <a:lnTo>
                    <a:pt x="1365" y="311"/>
                  </a:lnTo>
                  <a:lnTo>
                    <a:pt x="1366" y="305"/>
                  </a:lnTo>
                  <a:lnTo>
                    <a:pt x="1365" y="302"/>
                  </a:lnTo>
                  <a:lnTo>
                    <a:pt x="1364" y="299"/>
                  </a:lnTo>
                  <a:lnTo>
                    <a:pt x="1362" y="297"/>
                  </a:lnTo>
                  <a:lnTo>
                    <a:pt x="1359" y="296"/>
                  </a:lnTo>
                  <a:lnTo>
                    <a:pt x="1357" y="297"/>
                  </a:lnTo>
                  <a:lnTo>
                    <a:pt x="1354" y="296"/>
                  </a:lnTo>
                  <a:lnTo>
                    <a:pt x="1351" y="297"/>
                  </a:lnTo>
                  <a:lnTo>
                    <a:pt x="1346" y="301"/>
                  </a:lnTo>
                  <a:lnTo>
                    <a:pt x="1343" y="301"/>
                  </a:lnTo>
                  <a:lnTo>
                    <a:pt x="1341" y="299"/>
                  </a:lnTo>
                  <a:lnTo>
                    <a:pt x="1339" y="298"/>
                  </a:lnTo>
                  <a:lnTo>
                    <a:pt x="1339" y="298"/>
                  </a:lnTo>
                  <a:lnTo>
                    <a:pt x="1342" y="298"/>
                  </a:lnTo>
                  <a:lnTo>
                    <a:pt x="1345" y="296"/>
                  </a:lnTo>
                  <a:lnTo>
                    <a:pt x="1343" y="293"/>
                  </a:lnTo>
                  <a:lnTo>
                    <a:pt x="1347" y="296"/>
                  </a:lnTo>
                  <a:lnTo>
                    <a:pt x="1348" y="298"/>
                  </a:lnTo>
                  <a:lnTo>
                    <a:pt x="1349" y="296"/>
                  </a:lnTo>
                  <a:lnTo>
                    <a:pt x="1351" y="288"/>
                  </a:lnTo>
                  <a:lnTo>
                    <a:pt x="1347" y="286"/>
                  </a:lnTo>
                  <a:lnTo>
                    <a:pt x="1346" y="284"/>
                  </a:lnTo>
                  <a:lnTo>
                    <a:pt x="1348" y="281"/>
                  </a:lnTo>
                  <a:lnTo>
                    <a:pt x="1347" y="277"/>
                  </a:lnTo>
                  <a:lnTo>
                    <a:pt x="1345" y="274"/>
                  </a:lnTo>
                  <a:lnTo>
                    <a:pt x="1335" y="274"/>
                  </a:lnTo>
                  <a:lnTo>
                    <a:pt x="1328" y="272"/>
                  </a:lnTo>
                  <a:lnTo>
                    <a:pt x="1333" y="273"/>
                  </a:lnTo>
                  <a:lnTo>
                    <a:pt x="1346" y="273"/>
                  </a:lnTo>
                  <a:lnTo>
                    <a:pt x="1345" y="272"/>
                  </a:lnTo>
                  <a:lnTo>
                    <a:pt x="1347" y="272"/>
                  </a:lnTo>
                  <a:lnTo>
                    <a:pt x="1347" y="269"/>
                  </a:lnTo>
                  <a:lnTo>
                    <a:pt x="1346" y="267"/>
                  </a:lnTo>
                  <a:lnTo>
                    <a:pt x="1345" y="264"/>
                  </a:lnTo>
                  <a:lnTo>
                    <a:pt x="1348" y="259"/>
                  </a:lnTo>
                  <a:lnTo>
                    <a:pt x="1350" y="256"/>
                  </a:lnTo>
                  <a:lnTo>
                    <a:pt x="1349" y="253"/>
                  </a:lnTo>
                  <a:lnTo>
                    <a:pt x="1347" y="253"/>
                  </a:lnTo>
                  <a:lnTo>
                    <a:pt x="1345" y="255"/>
                  </a:lnTo>
                  <a:lnTo>
                    <a:pt x="1342" y="256"/>
                  </a:lnTo>
                  <a:lnTo>
                    <a:pt x="1339" y="252"/>
                  </a:lnTo>
                  <a:lnTo>
                    <a:pt x="1337" y="253"/>
                  </a:lnTo>
                  <a:lnTo>
                    <a:pt x="1333" y="253"/>
                  </a:lnTo>
                  <a:lnTo>
                    <a:pt x="1331" y="252"/>
                  </a:lnTo>
                  <a:lnTo>
                    <a:pt x="1329" y="251"/>
                  </a:lnTo>
                  <a:lnTo>
                    <a:pt x="1323" y="250"/>
                  </a:lnTo>
                  <a:lnTo>
                    <a:pt x="1321" y="248"/>
                  </a:lnTo>
                  <a:lnTo>
                    <a:pt x="1317" y="245"/>
                  </a:lnTo>
                  <a:lnTo>
                    <a:pt x="1321" y="245"/>
                  </a:lnTo>
                  <a:lnTo>
                    <a:pt x="1317" y="243"/>
                  </a:lnTo>
                  <a:lnTo>
                    <a:pt x="1317" y="242"/>
                  </a:lnTo>
                  <a:lnTo>
                    <a:pt x="1320" y="241"/>
                  </a:lnTo>
                  <a:lnTo>
                    <a:pt x="1317" y="239"/>
                  </a:lnTo>
                  <a:lnTo>
                    <a:pt x="1315" y="241"/>
                  </a:lnTo>
                  <a:lnTo>
                    <a:pt x="1312" y="241"/>
                  </a:lnTo>
                  <a:lnTo>
                    <a:pt x="1315" y="239"/>
                  </a:lnTo>
                  <a:lnTo>
                    <a:pt x="1312" y="238"/>
                  </a:lnTo>
                  <a:lnTo>
                    <a:pt x="1312" y="235"/>
                  </a:lnTo>
                  <a:lnTo>
                    <a:pt x="1306" y="234"/>
                  </a:lnTo>
                  <a:lnTo>
                    <a:pt x="1306" y="236"/>
                  </a:lnTo>
                  <a:lnTo>
                    <a:pt x="1304" y="236"/>
                  </a:lnTo>
                  <a:lnTo>
                    <a:pt x="1305" y="235"/>
                  </a:lnTo>
                  <a:lnTo>
                    <a:pt x="1306" y="231"/>
                  </a:lnTo>
                  <a:lnTo>
                    <a:pt x="1305" y="229"/>
                  </a:lnTo>
                  <a:lnTo>
                    <a:pt x="1302" y="229"/>
                  </a:lnTo>
                  <a:lnTo>
                    <a:pt x="1299" y="227"/>
                  </a:lnTo>
                  <a:lnTo>
                    <a:pt x="1296" y="225"/>
                  </a:lnTo>
                  <a:lnTo>
                    <a:pt x="1294" y="224"/>
                  </a:lnTo>
                  <a:lnTo>
                    <a:pt x="1291" y="222"/>
                  </a:lnTo>
                  <a:lnTo>
                    <a:pt x="1288" y="224"/>
                  </a:lnTo>
                  <a:lnTo>
                    <a:pt x="1286" y="225"/>
                  </a:lnTo>
                  <a:lnTo>
                    <a:pt x="1280" y="227"/>
                  </a:lnTo>
                  <a:lnTo>
                    <a:pt x="1278" y="227"/>
                  </a:lnTo>
                  <a:lnTo>
                    <a:pt x="1279" y="230"/>
                  </a:lnTo>
                  <a:lnTo>
                    <a:pt x="1273" y="227"/>
                  </a:lnTo>
                  <a:lnTo>
                    <a:pt x="1270" y="226"/>
                  </a:lnTo>
                  <a:lnTo>
                    <a:pt x="1268" y="226"/>
                  </a:lnTo>
                  <a:lnTo>
                    <a:pt x="1262" y="229"/>
                  </a:lnTo>
                  <a:lnTo>
                    <a:pt x="1262" y="228"/>
                  </a:lnTo>
                  <a:lnTo>
                    <a:pt x="1263" y="226"/>
                  </a:lnTo>
                  <a:lnTo>
                    <a:pt x="1261" y="225"/>
                  </a:lnTo>
                  <a:lnTo>
                    <a:pt x="1247" y="221"/>
                  </a:lnTo>
                  <a:lnTo>
                    <a:pt x="1241" y="220"/>
                  </a:lnTo>
                  <a:lnTo>
                    <a:pt x="1238" y="221"/>
                  </a:lnTo>
                  <a:lnTo>
                    <a:pt x="1234" y="224"/>
                  </a:lnTo>
                  <a:lnTo>
                    <a:pt x="1230" y="227"/>
                  </a:lnTo>
                  <a:lnTo>
                    <a:pt x="1230" y="231"/>
                  </a:lnTo>
                  <a:lnTo>
                    <a:pt x="1234" y="238"/>
                  </a:lnTo>
                  <a:lnTo>
                    <a:pt x="1236" y="239"/>
                  </a:lnTo>
                  <a:lnTo>
                    <a:pt x="1238" y="241"/>
                  </a:lnTo>
                  <a:lnTo>
                    <a:pt x="1238" y="244"/>
                  </a:lnTo>
                  <a:lnTo>
                    <a:pt x="1236" y="244"/>
                  </a:lnTo>
                  <a:lnTo>
                    <a:pt x="1236" y="246"/>
                  </a:lnTo>
                  <a:lnTo>
                    <a:pt x="1236" y="250"/>
                  </a:lnTo>
                  <a:lnTo>
                    <a:pt x="1235" y="252"/>
                  </a:lnTo>
                  <a:lnTo>
                    <a:pt x="1231" y="254"/>
                  </a:lnTo>
                  <a:lnTo>
                    <a:pt x="1231" y="258"/>
                  </a:lnTo>
                  <a:lnTo>
                    <a:pt x="1234" y="256"/>
                  </a:lnTo>
                  <a:lnTo>
                    <a:pt x="1234" y="259"/>
                  </a:lnTo>
                  <a:lnTo>
                    <a:pt x="1237" y="259"/>
                  </a:lnTo>
                  <a:lnTo>
                    <a:pt x="1236" y="262"/>
                  </a:lnTo>
                  <a:lnTo>
                    <a:pt x="1238" y="263"/>
                  </a:lnTo>
                  <a:lnTo>
                    <a:pt x="1236" y="265"/>
                  </a:lnTo>
                  <a:lnTo>
                    <a:pt x="1240" y="271"/>
                  </a:lnTo>
                  <a:lnTo>
                    <a:pt x="1238" y="272"/>
                  </a:lnTo>
                  <a:lnTo>
                    <a:pt x="1243" y="273"/>
                  </a:lnTo>
                  <a:lnTo>
                    <a:pt x="1240" y="276"/>
                  </a:lnTo>
                  <a:lnTo>
                    <a:pt x="1241" y="278"/>
                  </a:lnTo>
                  <a:lnTo>
                    <a:pt x="1239" y="280"/>
                  </a:lnTo>
                  <a:lnTo>
                    <a:pt x="1241" y="282"/>
                  </a:lnTo>
                  <a:lnTo>
                    <a:pt x="1239" y="280"/>
                  </a:lnTo>
                  <a:lnTo>
                    <a:pt x="1236" y="281"/>
                  </a:lnTo>
                  <a:lnTo>
                    <a:pt x="1235" y="284"/>
                  </a:lnTo>
                  <a:lnTo>
                    <a:pt x="1235" y="287"/>
                  </a:lnTo>
                  <a:lnTo>
                    <a:pt x="1234" y="288"/>
                  </a:lnTo>
                  <a:lnTo>
                    <a:pt x="1229" y="293"/>
                  </a:lnTo>
                  <a:lnTo>
                    <a:pt x="1228" y="296"/>
                  </a:lnTo>
                  <a:lnTo>
                    <a:pt x="1226" y="297"/>
                  </a:lnTo>
                  <a:lnTo>
                    <a:pt x="1226" y="299"/>
                  </a:lnTo>
                  <a:lnTo>
                    <a:pt x="1226" y="302"/>
                  </a:lnTo>
                  <a:lnTo>
                    <a:pt x="1231" y="305"/>
                  </a:lnTo>
                  <a:lnTo>
                    <a:pt x="1232" y="306"/>
                  </a:lnTo>
                  <a:lnTo>
                    <a:pt x="1238" y="308"/>
                  </a:lnTo>
                  <a:lnTo>
                    <a:pt x="1244" y="313"/>
                  </a:lnTo>
                  <a:lnTo>
                    <a:pt x="1249" y="321"/>
                  </a:lnTo>
                  <a:lnTo>
                    <a:pt x="1253" y="332"/>
                  </a:lnTo>
                  <a:lnTo>
                    <a:pt x="1253" y="345"/>
                  </a:lnTo>
                  <a:lnTo>
                    <a:pt x="1253" y="347"/>
                  </a:lnTo>
                  <a:lnTo>
                    <a:pt x="1251" y="353"/>
                  </a:lnTo>
                  <a:lnTo>
                    <a:pt x="1245" y="358"/>
                  </a:lnTo>
                  <a:lnTo>
                    <a:pt x="1244" y="361"/>
                  </a:lnTo>
                  <a:lnTo>
                    <a:pt x="1236" y="367"/>
                  </a:lnTo>
                  <a:lnTo>
                    <a:pt x="1230" y="370"/>
                  </a:lnTo>
                  <a:lnTo>
                    <a:pt x="1228" y="372"/>
                  </a:lnTo>
                  <a:lnTo>
                    <a:pt x="1224" y="372"/>
                  </a:lnTo>
                  <a:lnTo>
                    <a:pt x="1223" y="373"/>
                  </a:lnTo>
                  <a:lnTo>
                    <a:pt x="1218" y="375"/>
                  </a:lnTo>
                  <a:lnTo>
                    <a:pt x="1215" y="376"/>
                  </a:lnTo>
                  <a:lnTo>
                    <a:pt x="1212" y="378"/>
                  </a:lnTo>
                  <a:lnTo>
                    <a:pt x="1210" y="379"/>
                  </a:lnTo>
                  <a:lnTo>
                    <a:pt x="1212" y="382"/>
                  </a:lnTo>
                  <a:lnTo>
                    <a:pt x="1212" y="384"/>
                  </a:lnTo>
                  <a:lnTo>
                    <a:pt x="1214" y="387"/>
                  </a:lnTo>
                  <a:lnTo>
                    <a:pt x="1215" y="390"/>
                  </a:lnTo>
                  <a:lnTo>
                    <a:pt x="1219" y="390"/>
                  </a:lnTo>
                  <a:lnTo>
                    <a:pt x="1218" y="393"/>
                  </a:lnTo>
                  <a:lnTo>
                    <a:pt x="1220" y="395"/>
                  </a:lnTo>
                  <a:lnTo>
                    <a:pt x="1218" y="397"/>
                  </a:lnTo>
                  <a:lnTo>
                    <a:pt x="1220" y="405"/>
                  </a:lnTo>
                  <a:lnTo>
                    <a:pt x="1220" y="408"/>
                  </a:lnTo>
                  <a:lnTo>
                    <a:pt x="1221" y="410"/>
                  </a:lnTo>
                  <a:lnTo>
                    <a:pt x="1220" y="412"/>
                  </a:lnTo>
                  <a:lnTo>
                    <a:pt x="1221" y="415"/>
                  </a:lnTo>
                  <a:lnTo>
                    <a:pt x="1223" y="417"/>
                  </a:lnTo>
                  <a:lnTo>
                    <a:pt x="1224" y="418"/>
                  </a:lnTo>
                  <a:lnTo>
                    <a:pt x="1226" y="422"/>
                  </a:lnTo>
                  <a:lnTo>
                    <a:pt x="1227" y="424"/>
                  </a:lnTo>
                  <a:lnTo>
                    <a:pt x="1224" y="425"/>
                  </a:lnTo>
                  <a:lnTo>
                    <a:pt x="1219" y="433"/>
                  </a:lnTo>
                  <a:lnTo>
                    <a:pt x="1223" y="438"/>
                  </a:lnTo>
                  <a:lnTo>
                    <a:pt x="1220" y="441"/>
                  </a:lnTo>
                  <a:lnTo>
                    <a:pt x="1221" y="443"/>
                  </a:lnTo>
                  <a:lnTo>
                    <a:pt x="1220" y="443"/>
                  </a:lnTo>
                  <a:lnTo>
                    <a:pt x="1219" y="438"/>
                  </a:lnTo>
                  <a:lnTo>
                    <a:pt x="1213" y="435"/>
                  </a:lnTo>
                  <a:lnTo>
                    <a:pt x="1211" y="439"/>
                  </a:lnTo>
                  <a:lnTo>
                    <a:pt x="1211" y="439"/>
                  </a:lnTo>
                  <a:lnTo>
                    <a:pt x="1210" y="441"/>
                  </a:lnTo>
                  <a:lnTo>
                    <a:pt x="1209" y="444"/>
                  </a:lnTo>
                  <a:lnTo>
                    <a:pt x="1213" y="449"/>
                  </a:lnTo>
                  <a:lnTo>
                    <a:pt x="1214" y="451"/>
                  </a:lnTo>
                  <a:lnTo>
                    <a:pt x="1212" y="448"/>
                  </a:lnTo>
                  <a:lnTo>
                    <a:pt x="1205" y="442"/>
                  </a:lnTo>
                  <a:lnTo>
                    <a:pt x="1200" y="441"/>
                  </a:lnTo>
                  <a:lnTo>
                    <a:pt x="1196" y="443"/>
                  </a:lnTo>
                  <a:lnTo>
                    <a:pt x="1192" y="445"/>
                  </a:lnTo>
                  <a:lnTo>
                    <a:pt x="1196" y="441"/>
                  </a:lnTo>
                  <a:lnTo>
                    <a:pt x="1200" y="440"/>
                  </a:lnTo>
                  <a:lnTo>
                    <a:pt x="1198" y="438"/>
                  </a:lnTo>
                  <a:lnTo>
                    <a:pt x="1195" y="432"/>
                  </a:lnTo>
                  <a:lnTo>
                    <a:pt x="1193" y="430"/>
                  </a:lnTo>
                  <a:lnTo>
                    <a:pt x="1191" y="427"/>
                  </a:lnTo>
                  <a:lnTo>
                    <a:pt x="1187" y="427"/>
                  </a:lnTo>
                  <a:lnTo>
                    <a:pt x="1185" y="424"/>
                  </a:lnTo>
                  <a:lnTo>
                    <a:pt x="1181" y="424"/>
                  </a:lnTo>
                  <a:lnTo>
                    <a:pt x="1179" y="425"/>
                  </a:lnTo>
                  <a:lnTo>
                    <a:pt x="1179" y="424"/>
                  </a:lnTo>
                  <a:lnTo>
                    <a:pt x="1185" y="423"/>
                  </a:lnTo>
                  <a:lnTo>
                    <a:pt x="1184" y="419"/>
                  </a:lnTo>
                  <a:lnTo>
                    <a:pt x="1176" y="412"/>
                  </a:lnTo>
                  <a:lnTo>
                    <a:pt x="1174" y="410"/>
                  </a:lnTo>
                  <a:lnTo>
                    <a:pt x="1175" y="406"/>
                  </a:lnTo>
                  <a:lnTo>
                    <a:pt x="1176" y="404"/>
                  </a:lnTo>
                  <a:lnTo>
                    <a:pt x="1175" y="401"/>
                  </a:lnTo>
                  <a:lnTo>
                    <a:pt x="1175" y="398"/>
                  </a:lnTo>
                  <a:lnTo>
                    <a:pt x="1176" y="396"/>
                  </a:lnTo>
                  <a:lnTo>
                    <a:pt x="1176" y="392"/>
                  </a:lnTo>
                  <a:lnTo>
                    <a:pt x="1174" y="390"/>
                  </a:lnTo>
                  <a:lnTo>
                    <a:pt x="1172" y="387"/>
                  </a:lnTo>
                  <a:lnTo>
                    <a:pt x="1172" y="384"/>
                  </a:lnTo>
                  <a:lnTo>
                    <a:pt x="1175" y="376"/>
                  </a:lnTo>
                  <a:lnTo>
                    <a:pt x="1174" y="370"/>
                  </a:lnTo>
                  <a:lnTo>
                    <a:pt x="1168" y="370"/>
                  </a:lnTo>
                  <a:lnTo>
                    <a:pt x="1166" y="370"/>
                  </a:lnTo>
                  <a:lnTo>
                    <a:pt x="1164" y="371"/>
                  </a:lnTo>
                  <a:lnTo>
                    <a:pt x="1162" y="368"/>
                  </a:lnTo>
                  <a:lnTo>
                    <a:pt x="1157" y="367"/>
                  </a:lnTo>
                  <a:lnTo>
                    <a:pt x="1154" y="368"/>
                  </a:lnTo>
                  <a:lnTo>
                    <a:pt x="1151" y="366"/>
                  </a:lnTo>
                  <a:lnTo>
                    <a:pt x="1149" y="367"/>
                  </a:lnTo>
                  <a:lnTo>
                    <a:pt x="1146" y="366"/>
                  </a:lnTo>
                  <a:lnTo>
                    <a:pt x="1143" y="367"/>
                  </a:lnTo>
                  <a:lnTo>
                    <a:pt x="1135" y="367"/>
                  </a:lnTo>
                  <a:lnTo>
                    <a:pt x="1133" y="370"/>
                  </a:lnTo>
                  <a:lnTo>
                    <a:pt x="1130" y="373"/>
                  </a:lnTo>
                  <a:lnTo>
                    <a:pt x="1132" y="371"/>
                  </a:lnTo>
                  <a:lnTo>
                    <a:pt x="1134" y="367"/>
                  </a:lnTo>
                  <a:lnTo>
                    <a:pt x="1133" y="365"/>
                  </a:lnTo>
                  <a:lnTo>
                    <a:pt x="1129" y="363"/>
                  </a:lnTo>
                  <a:lnTo>
                    <a:pt x="1127" y="361"/>
                  </a:lnTo>
                  <a:lnTo>
                    <a:pt x="1125" y="359"/>
                  </a:lnTo>
                  <a:lnTo>
                    <a:pt x="1121" y="359"/>
                  </a:lnTo>
                  <a:lnTo>
                    <a:pt x="1119" y="358"/>
                  </a:lnTo>
                  <a:lnTo>
                    <a:pt x="1116" y="357"/>
                  </a:lnTo>
                  <a:lnTo>
                    <a:pt x="1111" y="355"/>
                  </a:lnTo>
                  <a:lnTo>
                    <a:pt x="1106" y="354"/>
                  </a:lnTo>
                  <a:lnTo>
                    <a:pt x="1102" y="353"/>
                  </a:lnTo>
                  <a:lnTo>
                    <a:pt x="1101" y="354"/>
                  </a:lnTo>
                  <a:lnTo>
                    <a:pt x="1100" y="350"/>
                  </a:lnTo>
                  <a:lnTo>
                    <a:pt x="1095" y="345"/>
                  </a:lnTo>
                  <a:lnTo>
                    <a:pt x="1090" y="342"/>
                  </a:lnTo>
                  <a:lnTo>
                    <a:pt x="1085" y="338"/>
                  </a:lnTo>
                  <a:lnTo>
                    <a:pt x="1082" y="337"/>
                  </a:lnTo>
                  <a:lnTo>
                    <a:pt x="1076" y="336"/>
                  </a:lnTo>
                  <a:lnTo>
                    <a:pt x="1068" y="333"/>
                  </a:lnTo>
                  <a:lnTo>
                    <a:pt x="1060" y="330"/>
                  </a:lnTo>
                  <a:lnTo>
                    <a:pt x="1055" y="329"/>
                  </a:lnTo>
                  <a:lnTo>
                    <a:pt x="1039" y="333"/>
                  </a:lnTo>
                  <a:lnTo>
                    <a:pt x="1035" y="335"/>
                  </a:lnTo>
                  <a:lnTo>
                    <a:pt x="1034" y="336"/>
                  </a:lnTo>
                  <a:lnTo>
                    <a:pt x="1038" y="333"/>
                  </a:lnTo>
                  <a:lnTo>
                    <a:pt x="1034" y="333"/>
                  </a:lnTo>
                  <a:lnTo>
                    <a:pt x="1032" y="335"/>
                  </a:lnTo>
                  <a:lnTo>
                    <a:pt x="1029" y="336"/>
                  </a:lnTo>
                  <a:lnTo>
                    <a:pt x="1032" y="335"/>
                  </a:lnTo>
                  <a:lnTo>
                    <a:pt x="1033" y="331"/>
                  </a:lnTo>
                  <a:lnTo>
                    <a:pt x="1035" y="329"/>
                  </a:lnTo>
                  <a:lnTo>
                    <a:pt x="1034" y="327"/>
                  </a:lnTo>
                  <a:lnTo>
                    <a:pt x="1031" y="319"/>
                  </a:lnTo>
                  <a:lnTo>
                    <a:pt x="1030" y="313"/>
                  </a:lnTo>
                  <a:lnTo>
                    <a:pt x="1029" y="310"/>
                  </a:lnTo>
                  <a:lnTo>
                    <a:pt x="1025" y="304"/>
                  </a:lnTo>
                  <a:lnTo>
                    <a:pt x="1025" y="299"/>
                  </a:lnTo>
                  <a:lnTo>
                    <a:pt x="1022" y="301"/>
                  </a:lnTo>
                  <a:lnTo>
                    <a:pt x="1019" y="298"/>
                  </a:lnTo>
                  <a:lnTo>
                    <a:pt x="1012" y="299"/>
                  </a:lnTo>
                  <a:lnTo>
                    <a:pt x="1010" y="302"/>
                  </a:lnTo>
                  <a:lnTo>
                    <a:pt x="1010" y="307"/>
                  </a:lnTo>
                  <a:lnTo>
                    <a:pt x="1008" y="310"/>
                  </a:lnTo>
                  <a:lnTo>
                    <a:pt x="1010" y="299"/>
                  </a:lnTo>
                  <a:lnTo>
                    <a:pt x="1007" y="299"/>
                  </a:lnTo>
                  <a:lnTo>
                    <a:pt x="1004" y="295"/>
                  </a:lnTo>
                  <a:lnTo>
                    <a:pt x="1000" y="293"/>
                  </a:lnTo>
                  <a:lnTo>
                    <a:pt x="1002" y="293"/>
                  </a:lnTo>
                  <a:lnTo>
                    <a:pt x="1002" y="289"/>
                  </a:lnTo>
                  <a:lnTo>
                    <a:pt x="1005" y="287"/>
                  </a:lnTo>
                  <a:lnTo>
                    <a:pt x="1002" y="281"/>
                  </a:lnTo>
                  <a:lnTo>
                    <a:pt x="1002" y="279"/>
                  </a:lnTo>
                  <a:lnTo>
                    <a:pt x="1002" y="273"/>
                  </a:lnTo>
                  <a:lnTo>
                    <a:pt x="1004" y="271"/>
                  </a:lnTo>
                  <a:lnTo>
                    <a:pt x="1004" y="269"/>
                  </a:lnTo>
                  <a:lnTo>
                    <a:pt x="1005" y="265"/>
                  </a:lnTo>
                  <a:lnTo>
                    <a:pt x="1002" y="263"/>
                  </a:lnTo>
                  <a:lnTo>
                    <a:pt x="1004" y="263"/>
                  </a:lnTo>
                  <a:lnTo>
                    <a:pt x="1006" y="263"/>
                  </a:lnTo>
                  <a:lnTo>
                    <a:pt x="1008" y="256"/>
                  </a:lnTo>
                  <a:lnTo>
                    <a:pt x="1012" y="253"/>
                  </a:lnTo>
                  <a:lnTo>
                    <a:pt x="1013" y="251"/>
                  </a:lnTo>
                  <a:lnTo>
                    <a:pt x="1013" y="248"/>
                  </a:lnTo>
                  <a:lnTo>
                    <a:pt x="1012" y="246"/>
                  </a:lnTo>
                  <a:lnTo>
                    <a:pt x="1015" y="247"/>
                  </a:lnTo>
                  <a:lnTo>
                    <a:pt x="1014" y="245"/>
                  </a:lnTo>
                  <a:lnTo>
                    <a:pt x="1015" y="242"/>
                  </a:lnTo>
                  <a:lnTo>
                    <a:pt x="1018" y="241"/>
                  </a:lnTo>
                  <a:lnTo>
                    <a:pt x="1024" y="238"/>
                  </a:lnTo>
                  <a:lnTo>
                    <a:pt x="1022" y="236"/>
                  </a:lnTo>
                  <a:lnTo>
                    <a:pt x="1019" y="236"/>
                  </a:lnTo>
                  <a:lnTo>
                    <a:pt x="1022" y="235"/>
                  </a:lnTo>
                  <a:lnTo>
                    <a:pt x="1022" y="231"/>
                  </a:lnTo>
                  <a:lnTo>
                    <a:pt x="1025" y="231"/>
                  </a:lnTo>
                  <a:lnTo>
                    <a:pt x="1029" y="230"/>
                  </a:lnTo>
                  <a:lnTo>
                    <a:pt x="1030" y="227"/>
                  </a:lnTo>
                  <a:lnTo>
                    <a:pt x="1025" y="225"/>
                  </a:lnTo>
                  <a:lnTo>
                    <a:pt x="1030" y="226"/>
                  </a:lnTo>
                  <a:lnTo>
                    <a:pt x="1033" y="229"/>
                  </a:lnTo>
                  <a:lnTo>
                    <a:pt x="1033" y="226"/>
                  </a:lnTo>
                  <a:lnTo>
                    <a:pt x="1030" y="225"/>
                  </a:lnTo>
                  <a:lnTo>
                    <a:pt x="1033" y="222"/>
                  </a:lnTo>
                  <a:lnTo>
                    <a:pt x="1033" y="220"/>
                  </a:lnTo>
                  <a:lnTo>
                    <a:pt x="1035" y="221"/>
                  </a:lnTo>
                  <a:lnTo>
                    <a:pt x="1038" y="219"/>
                  </a:lnTo>
                  <a:lnTo>
                    <a:pt x="1040" y="221"/>
                  </a:lnTo>
                  <a:lnTo>
                    <a:pt x="1042" y="219"/>
                  </a:lnTo>
                  <a:lnTo>
                    <a:pt x="1039" y="218"/>
                  </a:lnTo>
                  <a:lnTo>
                    <a:pt x="1036" y="217"/>
                  </a:lnTo>
                  <a:lnTo>
                    <a:pt x="1035" y="214"/>
                  </a:lnTo>
                  <a:lnTo>
                    <a:pt x="1039" y="214"/>
                  </a:lnTo>
                  <a:lnTo>
                    <a:pt x="1041" y="214"/>
                  </a:lnTo>
                  <a:lnTo>
                    <a:pt x="1050" y="216"/>
                  </a:lnTo>
                  <a:lnTo>
                    <a:pt x="1052" y="213"/>
                  </a:lnTo>
                  <a:lnTo>
                    <a:pt x="1055" y="212"/>
                  </a:lnTo>
                  <a:lnTo>
                    <a:pt x="1058" y="212"/>
                  </a:lnTo>
                  <a:lnTo>
                    <a:pt x="1059" y="209"/>
                  </a:lnTo>
                  <a:lnTo>
                    <a:pt x="1059" y="207"/>
                  </a:lnTo>
                  <a:lnTo>
                    <a:pt x="1058" y="204"/>
                  </a:lnTo>
                  <a:lnTo>
                    <a:pt x="1052" y="201"/>
                  </a:lnTo>
                  <a:lnTo>
                    <a:pt x="1050" y="201"/>
                  </a:lnTo>
                  <a:lnTo>
                    <a:pt x="1047" y="199"/>
                  </a:lnTo>
                  <a:lnTo>
                    <a:pt x="1044" y="196"/>
                  </a:lnTo>
                  <a:lnTo>
                    <a:pt x="1042" y="196"/>
                  </a:lnTo>
                  <a:lnTo>
                    <a:pt x="1036" y="199"/>
                  </a:lnTo>
                  <a:lnTo>
                    <a:pt x="1033" y="199"/>
                  </a:lnTo>
                  <a:lnTo>
                    <a:pt x="1036" y="196"/>
                  </a:lnTo>
                  <a:lnTo>
                    <a:pt x="1039" y="196"/>
                  </a:lnTo>
                  <a:lnTo>
                    <a:pt x="1036" y="195"/>
                  </a:lnTo>
                  <a:lnTo>
                    <a:pt x="1033" y="193"/>
                  </a:lnTo>
                  <a:lnTo>
                    <a:pt x="1031" y="193"/>
                  </a:lnTo>
                  <a:lnTo>
                    <a:pt x="1029" y="193"/>
                  </a:lnTo>
                  <a:lnTo>
                    <a:pt x="1022" y="190"/>
                  </a:lnTo>
                  <a:lnTo>
                    <a:pt x="1023" y="193"/>
                  </a:lnTo>
                  <a:lnTo>
                    <a:pt x="1021" y="193"/>
                  </a:lnTo>
                  <a:lnTo>
                    <a:pt x="1016" y="191"/>
                  </a:lnTo>
                  <a:lnTo>
                    <a:pt x="1016" y="190"/>
                  </a:lnTo>
                  <a:lnTo>
                    <a:pt x="1019" y="190"/>
                  </a:lnTo>
                  <a:lnTo>
                    <a:pt x="1016" y="185"/>
                  </a:lnTo>
                  <a:lnTo>
                    <a:pt x="1019" y="187"/>
                  </a:lnTo>
                  <a:lnTo>
                    <a:pt x="1022" y="190"/>
                  </a:lnTo>
                  <a:lnTo>
                    <a:pt x="1031" y="192"/>
                  </a:lnTo>
                  <a:lnTo>
                    <a:pt x="1035" y="194"/>
                  </a:lnTo>
                  <a:lnTo>
                    <a:pt x="1039" y="195"/>
                  </a:lnTo>
                  <a:lnTo>
                    <a:pt x="1041" y="193"/>
                  </a:lnTo>
                  <a:lnTo>
                    <a:pt x="1044" y="195"/>
                  </a:lnTo>
                  <a:lnTo>
                    <a:pt x="1049" y="195"/>
                  </a:lnTo>
                  <a:lnTo>
                    <a:pt x="1051" y="197"/>
                  </a:lnTo>
                  <a:lnTo>
                    <a:pt x="1057" y="199"/>
                  </a:lnTo>
                  <a:lnTo>
                    <a:pt x="1063" y="196"/>
                  </a:lnTo>
                  <a:lnTo>
                    <a:pt x="1065" y="197"/>
                  </a:lnTo>
                  <a:lnTo>
                    <a:pt x="1068" y="194"/>
                  </a:lnTo>
                  <a:lnTo>
                    <a:pt x="1068" y="193"/>
                  </a:lnTo>
                  <a:lnTo>
                    <a:pt x="1066" y="190"/>
                  </a:lnTo>
                  <a:lnTo>
                    <a:pt x="1068" y="190"/>
                  </a:lnTo>
                  <a:lnTo>
                    <a:pt x="1069" y="187"/>
                  </a:lnTo>
                  <a:lnTo>
                    <a:pt x="1067" y="186"/>
                  </a:lnTo>
                  <a:lnTo>
                    <a:pt x="1068" y="186"/>
                  </a:lnTo>
                  <a:lnTo>
                    <a:pt x="1070" y="185"/>
                  </a:lnTo>
                  <a:lnTo>
                    <a:pt x="1072" y="187"/>
                  </a:lnTo>
                  <a:lnTo>
                    <a:pt x="1074" y="190"/>
                  </a:lnTo>
                  <a:lnTo>
                    <a:pt x="1075" y="191"/>
                  </a:lnTo>
                  <a:lnTo>
                    <a:pt x="1074" y="188"/>
                  </a:lnTo>
                  <a:lnTo>
                    <a:pt x="1077" y="188"/>
                  </a:lnTo>
                  <a:lnTo>
                    <a:pt x="1079" y="190"/>
                  </a:lnTo>
                  <a:lnTo>
                    <a:pt x="1078" y="187"/>
                  </a:lnTo>
                  <a:lnTo>
                    <a:pt x="1082" y="188"/>
                  </a:lnTo>
                  <a:lnTo>
                    <a:pt x="1084" y="190"/>
                  </a:lnTo>
                  <a:lnTo>
                    <a:pt x="1087" y="190"/>
                  </a:lnTo>
                  <a:lnTo>
                    <a:pt x="1095" y="185"/>
                  </a:lnTo>
                  <a:lnTo>
                    <a:pt x="1098" y="179"/>
                  </a:lnTo>
                  <a:lnTo>
                    <a:pt x="1102" y="176"/>
                  </a:lnTo>
                  <a:lnTo>
                    <a:pt x="1103" y="173"/>
                  </a:lnTo>
                  <a:lnTo>
                    <a:pt x="1108" y="168"/>
                  </a:lnTo>
                  <a:lnTo>
                    <a:pt x="1109" y="166"/>
                  </a:lnTo>
                  <a:lnTo>
                    <a:pt x="1109" y="162"/>
                  </a:lnTo>
                  <a:lnTo>
                    <a:pt x="1106" y="161"/>
                  </a:lnTo>
                  <a:lnTo>
                    <a:pt x="1103" y="161"/>
                  </a:lnTo>
                  <a:lnTo>
                    <a:pt x="1100" y="161"/>
                  </a:lnTo>
                  <a:lnTo>
                    <a:pt x="1094" y="161"/>
                  </a:lnTo>
                  <a:lnTo>
                    <a:pt x="1086" y="160"/>
                  </a:lnTo>
                  <a:lnTo>
                    <a:pt x="1082" y="160"/>
                  </a:lnTo>
                  <a:lnTo>
                    <a:pt x="1078" y="158"/>
                  </a:lnTo>
                  <a:lnTo>
                    <a:pt x="1076" y="156"/>
                  </a:lnTo>
                  <a:lnTo>
                    <a:pt x="1074" y="153"/>
                  </a:lnTo>
                  <a:lnTo>
                    <a:pt x="1070" y="151"/>
                  </a:lnTo>
                  <a:lnTo>
                    <a:pt x="1068" y="149"/>
                  </a:lnTo>
                  <a:lnTo>
                    <a:pt x="1060" y="148"/>
                  </a:lnTo>
                  <a:lnTo>
                    <a:pt x="1055" y="147"/>
                  </a:lnTo>
                  <a:lnTo>
                    <a:pt x="1051" y="148"/>
                  </a:lnTo>
                  <a:lnTo>
                    <a:pt x="1049" y="147"/>
                  </a:lnTo>
                  <a:lnTo>
                    <a:pt x="1055" y="147"/>
                  </a:lnTo>
                  <a:lnTo>
                    <a:pt x="1060" y="148"/>
                  </a:lnTo>
                  <a:lnTo>
                    <a:pt x="1063" y="147"/>
                  </a:lnTo>
                  <a:lnTo>
                    <a:pt x="1066" y="148"/>
                  </a:lnTo>
                  <a:lnTo>
                    <a:pt x="1068" y="148"/>
                  </a:lnTo>
                  <a:lnTo>
                    <a:pt x="1070" y="149"/>
                  </a:lnTo>
                  <a:lnTo>
                    <a:pt x="1068" y="147"/>
                  </a:lnTo>
                  <a:lnTo>
                    <a:pt x="1074" y="147"/>
                  </a:lnTo>
                  <a:lnTo>
                    <a:pt x="1082" y="151"/>
                  </a:lnTo>
                  <a:lnTo>
                    <a:pt x="1090" y="153"/>
                  </a:lnTo>
                  <a:lnTo>
                    <a:pt x="1084" y="153"/>
                  </a:lnTo>
                  <a:lnTo>
                    <a:pt x="1090" y="156"/>
                  </a:lnTo>
                  <a:lnTo>
                    <a:pt x="1092" y="158"/>
                  </a:lnTo>
                  <a:lnTo>
                    <a:pt x="1095" y="159"/>
                  </a:lnTo>
                  <a:lnTo>
                    <a:pt x="1098" y="160"/>
                  </a:lnTo>
                  <a:lnTo>
                    <a:pt x="1103" y="160"/>
                  </a:lnTo>
                  <a:lnTo>
                    <a:pt x="1106" y="159"/>
                  </a:lnTo>
                  <a:lnTo>
                    <a:pt x="1108" y="157"/>
                  </a:lnTo>
                  <a:lnTo>
                    <a:pt x="1116" y="151"/>
                  </a:lnTo>
                  <a:lnTo>
                    <a:pt x="1117" y="150"/>
                  </a:lnTo>
                  <a:lnTo>
                    <a:pt x="1117" y="149"/>
                  </a:lnTo>
                  <a:lnTo>
                    <a:pt x="1121" y="145"/>
                  </a:lnTo>
                  <a:lnTo>
                    <a:pt x="1123" y="142"/>
                  </a:lnTo>
                  <a:lnTo>
                    <a:pt x="1123" y="140"/>
                  </a:lnTo>
                  <a:lnTo>
                    <a:pt x="1119" y="139"/>
                  </a:lnTo>
                  <a:lnTo>
                    <a:pt x="1118" y="139"/>
                  </a:lnTo>
                  <a:lnTo>
                    <a:pt x="1113" y="137"/>
                  </a:lnTo>
                  <a:lnTo>
                    <a:pt x="1113" y="134"/>
                  </a:lnTo>
                  <a:lnTo>
                    <a:pt x="1116" y="133"/>
                  </a:lnTo>
                  <a:lnTo>
                    <a:pt x="1119" y="133"/>
                  </a:lnTo>
                  <a:lnTo>
                    <a:pt x="1121" y="133"/>
                  </a:lnTo>
                  <a:lnTo>
                    <a:pt x="1125" y="133"/>
                  </a:lnTo>
                  <a:lnTo>
                    <a:pt x="1127" y="133"/>
                  </a:lnTo>
                  <a:lnTo>
                    <a:pt x="1129" y="132"/>
                  </a:lnTo>
                  <a:lnTo>
                    <a:pt x="1132" y="134"/>
                  </a:lnTo>
                  <a:lnTo>
                    <a:pt x="1133" y="136"/>
                  </a:lnTo>
                  <a:lnTo>
                    <a:pt x="1137" y="139"/>
                  </a:lnTo>
                  <a:lnTo>
                    <a:pt x="1137" y="139"/>
                  </a:lnTo>
                  <a:lnTo>
                    <a:pt x="1138" y="139"/>
                  </a:lnTo>
                  <a:lnTo>
                    <a:pt x="1141" y="140"/>
                  </a:lnTo>
                  <a:lnTo>
                    <a:pt x="1144" y="141"/>
                  </a:lnTo>
                  <a:lnTo>
                    <a:pt x="1143" y="139"/>
                  </a:lnTo>
                  <a:lnTo>
                    <a:pt x="1143" y="135"/>
                  </a:lnTo>
                  <a:lnTo>
                    <a:pt x="1145" y="139"/>
                  </a:lnTo>
                  <a:lnTo>
                    <a:pt x="1147" y="137"/>
                  </a:lnTo>
                  <a:lnTo>
                    <a:pt x="1151" y="140"/>
                  </a:lnTo>
                  <a:lnTo>
                    <a:pt x="1153" y="141"/>
                  </a:lnTo>
                  <a:lnTo>
                    <a:pt x="1153" y="139"/>
                  </a:lnTo>
                  <a:lnTo>
                    <a:pt x="1153" y="137"/>
                  </a:lnTo>
                  <a:lnTo>
                    <a:pt x="1152" y="135"/>
                  </a:lnTo>
                  <a:lnTo>
                    <a:pt x="1150" y="133"/>
                  </a:lnTo>
                  <a:lnTo>
                    <a:pt x="1149" y="130"/>
                  </a:lnTo>
                  <a:lnTo>
                    <a:pt x="1146" y="130"/>
                  </a:lnTo>
                  <a:lnTo>
                    <a:pt x="1143" y="126"/>
                  </a:lnTo>
                  <a:lnTo>
                    <a:pt x="1141" y="125"/>
                  </a:lnTo>
                  <a:lnTo>
                    <a:pt x="1137" y="124"/>
                  </a:lnTo>
                  <a:lnTo>
                    <a:pt x="1135" y="126"/>
                  </a:lnTo>
                  <a:lnTo>
                    <a:pt x="1136" y="123"/>
                  </a:lnTo>
                  <a:lnTo>
                    <a:pt x="1137" y="123"/>
                  </a:lnTo>
                  <a:lnTo>
                    <a:pt x="1137" y="123"/>
                  </a:lnTo>
                  <a:lnTo>
                    <a:pt x="1141" y="123"/>
                  </a:lnTo>
                  <a:lnTo>
                    <a:pt x="1138" y="123"/>
                  </a:lnTo>
                  <a:lnTo>
                    <a:pt x="1142" y="122"/>
                  </a:lnTo>
                  <a:lnTo>
                    <a:pt x="1144" y="123"/>
                  </a:lnTo>
                  <a:lnTo>
                    <a:pt x="1142" y="123"/>
                  </a:lnTo>
                  <a:lnTo>
                    <a:pt x="1145" y="124"/>
                  </a:lnTo>
                  <a:lnTo>
                    <a:pt x="1145" y="126"/>
                  </a:lnTo>
                  <a:lnTo>
                    <a:pt x="1147" y="128"/>
                  </a:lnTo>
                  <a:lnTo>
                    <a:pt x="1151" y="127"/>
                  </a:lnTo>
                  <a:lnTo>
                    <a:pt x="1152" y="130"/>
                  </a:lnTo>
                  <a:lnTo>
                    <a:pt x="1152" y="132"/>
                  </a:lnTo>
                  <a:lnTo>
                    <a:pt x="1154" y="133"/>
                  </a:lnTo>
                  <a:lnTo>
                    <a:pt x="1157" y="135"/>
                  </a:lnTo>
                  <a:lnTo>
                    <a:pt x="1160" y="136"/>
                  </a:lnTo>
                  <a:lnTo>
                    <a:pt x="1162" y="135"/>
                  </a:lnTo>
                  <a:lnTo>
                    <a:pt x="1164" y="132"/>
                  </a:lnTo>
                  <a:lnTo>
                    <a:pt x="1168" y="132"/>
                  </a:lnTo>
                  <a:lnTo>
                    <a:pt x="1170" y="131"/>
                  </a:lnTo>
                  <a:lnTo>
                    <a:pt x="1172" y="128"/>
                  </a:lnTo>
                  <a:lnTo>
                    <a:pt x="1176" y="128"/>
                  </a:lnTo>
                  <a:lnTo>
                    <a:pt x="1177" y="126"/>
                  </a:lnTo>
                  <a:lnTo>
                    <a:pt x="1178" y="123"/>
                  </a:lnTo>
                  <a:lnTo>
                    <a:pt x="1180" y="122"/>
                  </a:lnTo>
                  <a:lnTo>
                    <a:pt x="1184" y="122"/>
                  </a:lnTo>
                  <a:lnTo>
                    <a:pt x="1186" y="119"/>
                  </a:lnTo>
                  <a:lnTo>
                    <a:pt x="1186" y="116"/>
                  </a:lnTo>
                  <a:lnTo>
                    <a:pt x="1187" y="114"/>
                  </a:lnTo>
                  <a:lnTo>
                    <a:pt x="1188" y="110"/>
                  </a:lnTo>
                  <a:lnTo>
                    <a:pt x="1186" y="108"/>
                  </a:lnTo>
                  <a:lnTo>
                    <a:pt x="1183" y="107"/>
                  </a:lnTo>
                  <a:lnTo>
                    <a:pt x="1180" y="105"/>
                  </a:lnTo>
                  <a:lnTo>
                    <a:pt x="1178" y="101"/>
                  </a:lnTo>
                  <a:lnTo>
                    <a:pt x="1176" y="99"/>
                  </a:lnTo>
                  <a:lnTo>
                    <a:pt x="1176" y="97"/>
                  </a:lnTo>
                  <a:lnTo>
                    <a:pt x="1177" y="93"/>
                  </a:lnTo>
                  <a:lnTo>
                    <a:pt x="1175" y="96"/>
                  </a:lnTo>
                  <a:lnTo>
                    <a:pt x="1174" y="93"/>
                  </a:lnTo>
                  <a:lnTo>
                    <a:pt x="1171" y="92"/>
                  </a:lnTo>
                  <a:lnTo>
                    <a:pt x="1171" y="89"/>
                  </a:lnTo>
                  <a:lnTo>
                    <a:pt x="1169" y="89"/>
                  </a:lnTo>
                  <a:lnTo>
                    <a:pt x="1169" y="87"/>
                  </a:lnTo>
                  <a:lnTo>
                    <a:pt x="1172" y="88"/>
                  </a:lnTo>
                  <a:lnTo>
                    <a:pt x="1175" y="88"/>
                  </a:lnTo>
                  <a:lnTo>
                    <a:pt x="1178" y="89"/>
                  </a:lnTo>
                  <a:lnTo>
                    <a:pt x="1178" y="89"/>
                  </a:lnTo>
                  <a:lnTo>
                    <a:pt x="1181" y="87"/>
                  </a:lnTo>
                  <a:lnTo>
                    <a:pt x="1184" y="87"/>
                  </a:lnTo>
                  <a:lnTo>
                    <a:pt x="1186" y="84"/>
                  </a:lnTo>
                  <a:lnTo>
                    <a:pt x="1188" y="82"/>
                  </a:lnTo>
                  <a:lnTo>
                    <a:pt x="1187" y="79"/>
                  </a:lnTo>
                  <a:lnTo>
                    <a:pt x="1185" y="79"/>
                  </a:lnTo>
                  <a:lnTo>
                    <a:pt x="1181" y="77"/>
                  </a:lnTo>
                  <a:lnTo>
                    <a:pt x="1179" y="77"/>
                  </a:lnTo>
                  <a:lnTo>
                    <a:pt x="1181" y="76"/>
                  </a:lnTo>
                  <a:lnTo>
                    <a:pt x="1184" y="74"/>
                  </a:lnTo>
                  <a:lnTo>
                    <a:pt x="1187" y="73"/>
                  </a:lnTo>
                  <a:lnTo>
                    <a:pt x="1186" y="70"/>
                  </a:lnTo>
                  <a:lnTo>
                    <a:pt x="1184" y="70"/>
                  </a:lnTo>
                  <a:lnTo>
                    <a:pt x="1180" y="68"/>
                  </a:lnTo>
                  <a:lnTo>
                    <a:pt x="1178" y="68"/>
                  </a:lnTo>
                  <a:lnTo>
                    <a:pt x="1175" y="70"/>
                  </a:lnTo>
                  <a:lnTo>
                    <a:pt x="1174" y="66"/>
                  </a:lnTo>
                  <a:lnTo>
                    <a:pt x="1171" y="64"/>
                  </a:lnTo>
                  <a:lnTo>
                    <a:pt x="1170" y="64"/>
                  </a:lnTo>
                  <a:lnTo>
                    <a:pt x="1167" y="63"/>
                  </a:lnTo>
                  <a:lnTo>
                    <a:pt x="1164" y="63"/>
                  </a:lnTo>
                  <a:lnTo>
                    <a:pt x="1161" y="62"/>
                  </a:lnTo>
                  <a:lnTo>
                    <a:pt x="1164" y="62"/>
                  </a:lnTo>
                  <a:lnTo>
                    <a:pt x="1167" y="63"/>
                  </a:lnTo>
                  <a:lnTo>
                    <a:pt x="1170" y="63"/>
                  </a:lnTo>
                  <a:lnTo>
                    <a:pt x="1169" y="60"/>
                  </a:lnTo>
                  <a:lnTo>
                    <a:pt x="1171" y="59"/>
                  </a:lnTo>
                  <a:lnTo>
                    <a:pt x="1175" y="59"/>
                  </a:lnTo>
                  <a:lnTo>
                    <a:pt x="1171" y="59"/>
                  </a:lnTo>
                  <a:lnTo>
                    <a:pt x="1169" y="58"/>
                  </a:lnTo>
                  <a:lnTo>
                    <a:pt x="1166" y="58"/>
                  </a:lnTo>
                  <a:lnTo>
                    <a:pt x="1163" y="58"/>
                  </a:lnTo>
                  <a:lnTo>
                    <a:pt x="1160" y="58"/>
                  </a:lnTo>
                  <a:lnTo>
                    <a:pt x="1158" y="58"/>
                  </a:lnTo>
                  <a:lnTo>
                    <a:pt x="1155" y="58"/>
                  </a:lnTo>
                  <a:lnTo>
                    <a:pt x="1152" y="57"/>
                  </a:lnTo>
                  <a:lnTo>
                    <a:pt x="1146" y="55"/>
                  </a:lnTo>
                  <a:lnTo>
                    <a:pt x="1144" y="54"/>
                  </a:lnTo>
                  <a:lnTo>
                    <a:pt x="1141" y="55"/>
                  </a:lnTo>
                  <a:lnTo>
                    <a:pt x="1138" y="54"/>
                  </a:lnTo>
                  <a:lnTo>
                    <a:pt x="1135" y="56"/>
                  </a:lnTo>
                  <a:lnTo>
                    <a:pt x="1133" y="55"/>
                  </a:lnTo>
                  <a:lnTo>
                    <a:pt x="1129" y="54"/>
                  </a:lnTo>
                  <a:lnTo>
                    <a:pt x="1128" y="55"/>
                  </a:lnTo>
                  <a:lnTo>
                    <a:pt x="1132" y="55"/>
                  </a:lnTo>
                  <a:lnTo>
                    <a:pt x="1130" y="57"/>
                  </a:lnTo>
                  <a:lnTo>
                    <a:pt x="1130" y="60"/>
                  </a:lnTo>
                  <a:lnTo>
                    <a:pt x="1129" y="63"/>
                  </a:lnTo>
                  <a:lnTo>
                    <a:pt x="1130" y="66"/>
                  </a:lnTo>
                  <a:lnTo>
                    <a:pt x="1130" y="68"/>
                  </a:lnTo>
                  <a:lnTo>
                    <a:pt x="1134" y="71"/>
                  </a:lnTo>
                  <a:lnTo>
                    <a:pt x="1136" y="71"/>
                  </a:lnTo>
                  <a:lnTo>
                    <a:pt x="1138" y="73"/>
                  </a:lnTo>
                  <a:lnTo>
                    <a:pt x="1142" y="74"/>
                  </a:lnTo>
                  <a:lnTo>
                    <a:pt x="1138" y="74"/>
                  </a:lnTo>
                  <a:lnTo>
                    <a:pt x="1137" y="75"/>
                  </a:lnTo>
                  <a:lnTo>
                    <a:pt x="1140" y="76"/>
                  </a:lnTo>
                  <a:lnTo>
                    <a:pt x="1137" y="76"/>
                  </a:lnTo>
                  <a:lnTo>
                    <a:pt x="1134" y="77"/>
                  </a:lnTo>
                  <a:lnTo>
                    <a:pt x="1137" y="80"/>
                  </a:lnTo>
                  <a:lnTo>
                    <a:pt x="1140" y="80"/>
                  </a:lnTo>
                  <a:lnTo>
                    <a:pt x="1137" y="81"/>
                  </a:lnTo>
                  <a:lnTo>
                    <a:pt x="1134" y="81"/>
                  </a:lnTo>
                  <a:lnTo>
                    <a:pt x="1133" y="81"/>
                  </a:lnTo>
                  <a:lnTo>
                    <a:pt x="1129" y="81"/>
                  </a:lnTo>
                  <a:lnTo>
                    <a:pt x="1126" y="84"/>
                  </a:lnTo>
                  <a:lnTo>
                    <a:pt x="1127" y="87"/>
                  </a:lnTo>
                  <a:lnTo>
                    <a:pt x="1127" y="90"/>
                  </a:lnTo>
                  <a:lnTo>
                    <a:pt x="1125" y="92"/>
                  </a:lnTo>
                  <a:lnTo>
                    <a:pt x="1125" y="94"/>
                  </a:lnTo>
                  <a:lnTo>
                    <a:pt x="1125" y="98"/>
                  </a:lnTo>
                  <a:lnTo>
                    <a:pt x="1121" y="99"/>
                  </a:lnTo>
                  <a:lnTo>
                    <a:pt x="1118" y="102"/>
                  </a:lnTo>
                  <a:lnTo>
                    <a:pt x="1116" y="106"/>
                  </a:lnTo>
                  <a:lnTo>
                    <a:pt x="1117" y="108"/>
                  </a:lnTo>
                  <a:lnTo>
                    <a:pt x="1117" y="111"/>
                  </a:lnTo>
                  <a:lnTo>
                    <a:pt x="1116" y="114"/>
                  </a:lnTo>
                  <a:lnTo>
                    <a:pt x="1113" y="113"/>
                  </a:lnTo>
                  <a:lnTo>
                    <a:pt x="1110" y="114"/>
                  </a:lnTo>
                  <a:lnTo>
                    <a:pt x="1109" y="116"/>
                  </a:lnTo>
                  <a:lnTo>
                    <a:pt x="1107" y="116"/>
                  </a:lnTo>
                  <a:lnTo>
                    <a:pt x="1106" y="119"/>
                  </a:lnTo>
                  <a:lnTo>
                    <a:pt x="1102" y="119"/>
                  </a:lnTo>
                  <a:lnTo>
                    <a:pt x="1103" y="117"/>
                  </a:lnTo>
                  <a:lnTo>
                    <a:pt x="1103" y="114"/>
                  </a:lnTo>
                  <a:lnTo>
                    <a:pt x="1100" y="111"/>
                  </a:lnTo>
                  <a:lnTo>
                    <a:pt x="1098" y="109"/>
                  </a:lnTo>
                  <a:lnTo>
                    <a:pt x="1094" y="107"/>
                  </a:lnTo>
                  <a:lnTo>
                    <a:pt x="1091" y="101"/>
                  </a:lnTo>
                  <a:lnTo>
                    <a:pt x="1091" y="99"/>
                  </a:lnTo>
                  <a:lnTo>
                    <a:pt x="1092" y="97"/>
                  </a:lnTo>
                  <a:lnTo>
                    <a:pt x="1091" y="93"/>
                  </a:lnTo>
                  <a:lnTo>
                    <a:pt x="1092" y="91"/>
                  </a:lnTo>
                  <a:lnTo>
                    <a:pt x="1094" y="93"/>
                  </a:lnTo>
                  <a:lnTo>
                    <a:pt x="1098" y="93"/>
                  </a:lnTo>
                  <a:lnTo>
                    <a:pt x="1098" y="92"/>
                  </a:lnTo>
                  <a:lnTo>
                    <a:pt x="1099" y="90"/>
                  </a:lnTo>
                  <a:lnTo>
                    <a:pt x="1096" y="84"/>
                  </a:lnTo>
                  <a:lnTo>
                    <a:pt x="1096" y="82"/>
                  </a:lnTo>
                  <a:lnTo>
                    <a:pt x="1094" y="79"/>
                  </a:lnTo>
                  <a:lnTo>
                    <a:pt x="1092" y="76"/>
                  </a:lnTo>
                  <a:lnTo>
                    <a:pt x="1086" y="73"/>
                  </a:lnTo>
                  <a:lnTo>
                    <a:pt x="1081" y="68"/>
                  </a:lnTo>
                  <a:lnTo>
                    <a:pt x="1078" y="68"/>
                  </a:lnTo>
                  <a:lnTo>
                    <a:pt x="1073" y="74"/>
                  </a:lnTo>
                  <a:lnTo>
                    <a:pt x="1072" y="76"/>
                  </a:lnTo>
                  <a:lnTo>
                    <a:pt x="1073" y="79"/>
                  </a:lnTo>
                  <a:lnTo>
                    <a:pt x="1072" y="82"/>
                  </a:lnTo>
                  <a:lnTo>
                    <a:pt x="1069" y="84"/>
                  </a:lnTo>
                  <a:lnTo>
                    <a:pt x="1070" y="85"/>
                  </a:lnTo>
                  <a:lnTo>
                    <a:pt x="1068" y="89"/>
                  </a:lnTo>
                  <a:lnTo>
                    <a:pt x="1068" y="90"/>
                  </a:lnTo>
                  <a:lnTo>
                    <a:pt x="1067" y="91"/>
                  </a:lnTo>
                  <a:lnTo>
                    <a:pt x="1064" y="92"/>
                  </a:lnTo>
                  <a:lnTo>
                    <a:pt x="1063" y="89"/>
                  </a:lnTo>
                  <a:lnTo>
                    <a:pt x="1060" y="84"/>
                  </a:lnTo>
                  <a:lnTo>
                    <a:pt x="1061" y="79"/>
                  </a:lnTo>
                  <a:lnTo>
                    <a:pt x="1059" y="73"/>
                  </a:lnTo>
                  <a:lnTo>
                    <a:pt x="1051" y="68"/>
                  </a:lnTo>
                  <a:lnTo>
                    <a:pt x="1053" y="67"/>
                  </a:lnTo>
                  <a:lnTo>
                    <a:pt x="1053" y="68"/>
                  </a:lnTo>
                  <a:lnTo>
                    <a:pt x="1056" y="68"/>
                  </a:lnTo>
                  <a:lnTo>
                    <a:pt x="1058" y="66"/>
                  </a:lnTo>
                  <a:lnTo>
                    <a:pt x="1060" y="65"/>
                  </a:lnTo>
                  <a:lnTo>
                    <a:pt x="1063" y="65"/>
                  </a:lnTo>
                  <a:lnTo>
                    <a:pt x="1060" y="63"/>
                  </a:lnTo>
                  <a:lnTo>
                    <a:pt x="1058" y="63"/>
                  </a:lnTo>
                  <a:lnTo>
                    <a:pt x="1052" y="62"/>
                  </a:lnTo>
                  <a:lnTo>
                    <a:pt x="1049" y="62"/>
                  </a:lnTo>
                  <a:lnTo>
                    <a:pt x="1052" y="60"/>
                  </a:lnTo>
                  <a:lnTo>
                    <a:pt x="1049" y="59"/>
                  </a:lnTo>
                  <a:lnTo>
                    <a:pt x="1047" y="60"/>
                  </a:lnTo>
                  <a:lnTo>
                    <a:pt x="1046" y="62"/>
                  </a:lnTo>
                  <a:lnTo>
                    <a:pt x="1042" y="63"/>
                  </a:lnTo>
                  <a:lnTo>
                    <a:pt x="1040" y="62"/>
                  </a:lnTo>
                  <a:lnTo>
                    <a:pt x="1034" y="58"/>
                  </a:lnTo>
                  <a:lnTo>
                    <a:pt x="1032" y="59"/>
                  </a:lnTo>
                  <a:lnTo>
                    <a:pt x="1029" y="59"/>
                  </a:lnTo>
                  <a:lnTo>
                    <a:pt x="1032" y="58"/>
                  </a:lnTo>
                  <a:lnTo>
                    <a:pt x="1030" y="58"/>
                  </a:lnTo>
                  <a:lnTo>
                    <a:pt x="1038" y="54"/>
                  </a:lnTo>
                  <a:lnTo>
                    <a:pt x="1040" y="51"/>
                  </a:lnTo>
                  <a:lnTo>
                    <a:pt x="1041" y="50"/>
                  </a:lnTo>
                  <a:lnTo>
                    <a:pt x="1038" y="49"/>
                  </a:lnTo>
                  <a:lnTo>
                    <a:pt x="1035" y="49"/>
                  </a:lnTo>
                  <a:lnTo>
                    <a:pt x="1036" y="46"/>
                  </a:lnTo>
                  <a:lnTo>
                    <a:pt x="1039" y="47"/>
                  </a:lnTo>
                  <a:lnTo>
                    <a:pt x="1042" y="48"/>
                  </a:lnTo>
                  <a:lnTo>
                    <a:pt x="1047" y="47"/>
                  </a:lnTo>
                  <a:lnTo>
                    <a:pt x="1043" y="41"/>
                  </a:lnTo>
                  <a:lnTo>
                    <a:pt x="1040" y="43"/>
                  </a:lnTo>
                  <a:lnTo>
                    <a:pt x="1040" y="40"/>
                  </a:lnTo>
                  <a:lnTo>
                    <a:pt x="1038" y="39"/>
                  </a:lnTo>
                  <a:lnTo>
                    <a:pt x="1039" y="36"/>
                  </a:lnTo>
                  <a:lnTo>
                    <a:pt x="1033" y="33"/>
                  </a:lnTo>
                  <a:lnTo>
                    <a:pt x="1030" y="31"/>
                  </a:lnTo>
                  <a:lnTo>
                    <a:pt x="1027" y="30"/>
                  </a:lnTo>
                  <a:lnTo>
                    <a:pt x="1029" y="26"/>
                  </a:lnTo>
                  <a:lnTo>
                    <a:pt x="1029" y="22"/>
                  </a:lnTo>
                  <a:lnTo>
                    <a:pt x="1029" y="19"/>
                  </a:lnTo>
                  <a:lnTo>
                    <a:pt x="1025" y="16"/>
                  </a:lnTo>
                  <a:lnTo>
                    <a:pt x="1024" y="14"/>
                  </a:lnTo>
                  <a:lnTo>
                    <a:pt x="1018" y="12"/>
                  </a:lnTo>
                  <a:lnTo>
                    <a:pt x="1017" y="8"/>
                  </a:lnTo>
                  <a:lnTo>
                    <a:pt x="1014" y="7"/>
                  </a:lnTo>
                  <a:lnTo>
                    <a:pt x="1012" y="7"/>
                  </a:lnTo>
                  <a:lnTo>
                    <a:pt x="1009" y="8"/>
                  </a:lnTo>
                  <a:lnTo>
                    <a:pt x="1008" y="5"/>
                  </a:lnTo>
                  <a:lnTo>
                    <a:pt x="1006" y="7"/>
                  </a:lnTo>
                  <a:lnTo>
                    <a:pt x="1006" y="5"/>
                  </a:lnTo>
                  <a:lnTo>
                    <a:pt x="1007" y="2"/>
                  </a:lnTo>
                  <a:lnTo>
                    <a:pt x="1004" y="0"/>
                  </a:lnTo>
                  <a:lnTo>
                    <a:pt x="998" y="2"/>
                  </a:lnTo>
                  <a:lnTo>
                    <a:pt x="997" y="5"/>
                  </a:lnTo>
                  <a:lnTo>
                    <a:pt x="1002" y="5"/>
                  </a:lnTo>
                  <a:lnTo>
                    <a:pt x="1005" y="4"/>
                  </a:lnTo>
                  <a:lnTo>
                    <a:pt x="1002" y="5"/>
                  </a:lnTo>
                  <a:lnTo>
                    <a:pt x="997" y="5"/>
                  </a:lnTo>
                  <a:lnTo>
                    <a:pt x="995" y="8"/>
                  </a:lnTo>
                  <a:lnTo>
                    <a:pt x="989" y="11"/>
                  </a:lnTo>
                  <a:lnTo>
                    <a:pt x="989" y="13"/>
                  </a:lnTo>
                  <a:lnTo>
                    <a:pt x="991" y="14"/>
                  </a:lnTo>
                  <a:lnTo>
                    <a:pt x="995" y="13"/>
                  </a:lnTo>
                  <a:lnTo>
                    <a:pt x="992" y="16"/>
                  </a:lnTo>
                  <a:lnTo>
                    <a:pt x="992" y="19"/>
                  </a:lnTo>
                  <a:lnTo>
                    <a:pt x="990" y="19"/>
                  </a:lnTo>
                  <a:lnTo>
                    <a:pt x="987" y="15"/>
                  </a:lnTo>
                  <a:lnTo>
                    <a:pt x="983" y="16"/>
                  </a:lnTo>
                  <a:lnTo>
                    <a:pt x="981" y="19"/>
                  </a:lnTo>
                  <a:lnTo>
                    <a:pt x="979" y="26"/>
                  </a:lnTo>
                  <a:lnTo>
                    <a:pt x="978" y="30"/>
                  </a:lnTo>
                  <a:lnTo>
                    <a:pt x="980" y="32"/>
                  </a:lnTo>
                  <a:lnTo>
                    <a:pt x="982" y="34"/>
                  </a:lnTo>
                  <a:lnTo>
                    <a:pt x="984" y="34"/>
                  </a:lnTo>
                  <a:lnTo>
                    <a:pt x="988" y="33"/>
                  </a:lnTo>
                  <a:lnTo>
                    <a:pt x="985" y="36"/>
                  </a:lnTo>
                  <a:lnTo>
                    <a:pt x="988" y="37"/>
                  </a:lnTo>
                  <a:lnTo>
                    <a:pt x="985" y="36"/>
                  </a:lnTo>
                  <a:lnTo>
                    <a:pt x="982" y="37"/>
                  </a:lnTo>
                  <a:lnTo>
                    <a:pt x="981" y="40"/>
                  </a:lnTo>
                  <a:lnTo>
                    <a:pt x="979" y="42"/>
                  </a:lnTo>
                  <a:lnTo>
                    <a:pt x="979" y="45"/>
                  </a:lnTo>
                  <a:lnTo>
                    <a:pt x="979" y="48"/>
                  </a:lnTo>
                  <a:lnTo>
                    <a:pt x="981" y="50"/>
                  </a:lnTo>
                  <a:lnTo>
                    <a:pt x="984" y="51"/>
                  </a:lnTo>
                  <a:lnTo>
                    <a:pt x="984" y="55"/>
                  </a:lnTo>
                  <a:lnTo>
                    <a:pt x="988" y="56"/>
                  </a:lnTo>
                  <a:lnTo>
                    <a:pt x="990" y="56"/>
                  </a:lnTo>
                  <a:lnTo>
                    <a:pt x="992" y="57"/>
                  </a:lnTo>
                  <a:lnTo>
                    <a:pt x="1001" y="60"/>
                  </a:lnTo>
                  <a:lnTo>
                    <a:pt x="1004" y="58"/>
                  </a:lnTo>
                  <a:lnTo>
                    <a:pt x="1007" y="62"/>
                  </a:lnTo>
                  <a:lnTo>
                    <a:pt x="1009" y="64"/>
                  </a:lnTo>
                  <a:lnTo>
                    <a:pt x="1015" y="65"/>
                  </a:lnTo>
                  <a:lnTo>
                    <a:pt x="1017" y="63"/>
                  </a:lnTo>
                  <a:lnTo>
                    <a:pt x="1021" y="63"/>
                  </a:lnTo>
                  <a:lnTo>
                    <a:pt x="1019" y="65"/>
                  </a:lnTo>
                  <a:lnTo>
                    <a:pt x="1022" y="66"/>
                  </a:lnTo>
                  <a:lnTo>
                    <a:pt x="1016" y="71"/>
                  </a:lnTo>
                  <a:lnTo>
                    <a:pt x="1016" y="67"/>
                  </a:lnTo>
                  <a:lnTo>
                    <a:pt x="1018" y="65"/>
                  </a:lnTo>
                  <a:lnTo>
                    <a:pt x="1016" y="66"/>
                  </a:lnTo>
                  <a:lnTo>
                    <a:pt x="1014" y="66"/>
                  </a:lnTo>
                  <a:lnTo>
                    <a:pt x="1010" y="67"/>
                  </a:lnTo>
                  <a:lnTo>
                    <a:pt x="1009" y="70"/>
                  </a:lnTo>
                  <a:lnTo>
                    <a:pt x="1012" y="72"/>
                  </a:lnTo>
                  <a:lnTo>
                    <a:pt x="1010" y="74"/>
                  </a:lnTo>
                  <a:lnTo>
                    <a:pt x="1008" y="76"/>
                  </a:lnTo>
                  <a:lnTo>
                    <a:pt x="1006" y="79"/>
                  </a:lnTo>
                  <a:lnTo>
                    <a:pt x="1006" y="82"/>
                  </a:lnTo>
                  <a:lnTo>
                    <a:pt x="1010" y="81"/>
                  </a:lnTo>
                  <a:lnTo>
                    <a:pt x="1016" y="77"/>
                  </a:lnTo>
                  <a:lnTo>
                    <a:pt x="1013" y="79"/>
                  </a:lnTo>
                  <a:lnTo>
                    <a:pt x="1014" y="76"/>
                  </a:lnTo>
                  <a:lnTo>
                    <a:pt x="1016" y="73"/>
                  </a:lnTo>
                  <a:lnTo>
                    <a:pt x="1018" y="76"/>
                  </a:lnTo>
                  <a:lnTo>
                    <a:pt x="1019" y="79"/>
                  </a:lnTo>
                  <a:lnTo>
                    <a:pt x="1017" y="84"/>
                  </a:lnTo>
                  <a:lnTo>
                    <a:pt x="1019" y="84"/>
                  </a:lnTo>
                  <a:lnTo>
                    <a:pt x="1019" y="85"/>
                  </a:lnTo>
                  <a:lnTo>
                    <a:pt x="1014" y="88"/>
                  </a:lnTo>
                  <a:lnTo>
                    <a:pt x="1012" y="89"/>
                  </a:lnTo>
                  <a:lnTo>
                    <a:pt x="1010" y="92"/>
                  </a:lnTo>
                  <a:lnTo>
                    <a:pt x="1006" y="94"/>
                  </a:lnTo>
                  <a:lnTo>
                    <a:pt x="1002" y="98"/>
                  </a:lnTo>
                  <a:lnTo>
                    <a:pt x="998" y="97"/>
                  </a:lnTo>
                  <a:lnTo>
                    <a:pt x="995" y="97"/>
                  </a:lnTo>
                  <a:lnTo>
                    <a:pt x="992" y="100"/>
                  </a:lnTo>
                  <a:lnTo>
                    <a:pt x="992" y="102"/>
                  </a:lnTo>
                  <a:lnTo>
                    <a:pt x="990" y="106"/>
                  </a:lnTo>
                  <a:lnTo>
                    <a:pt x="993" y="107"/>
                  </a:lnTo>
                  <a:lnTo>
                    <a:pt x="996" y="109"/>
                  </a:lnTo>
                  <a:lnTo>
                    <a:pt x="995" y="113"/>
                  </a:lnTo>
                  <a:lnTo>
                    <a:pt x="997" y="115"/>
                  </a:lnTo>
                  <a:lnTo>
                    <a:pt x="995" y="119"/>
                  </a:lnTo>
                  <a:lnTo>
                    <a:pt x="996" y="123"/>
                  </a:lnTo>
                  <a:lnTo>
                    <a:pt x="991" y="124"/>
                  </a:lnTo>
                  <a:lnTo>
                    <a:pt x="985" y="123"/>
                  </a:lnTo>
                  <a:lnTo>
                    <a:pt x="989" y="128"/>
                  </a:lnTo>
                  <a:lnTo>
                    <a:pt x="989" y="132"/>
                  </a:lnTo>
                  <a:lnTo>
                    <a:pt x="989" y="128"/>
                  </a:lnTo>
                  <a:lnTo>
                    <a:pt x="981" y="122"/>
                  </a:lnTo>
                  <a:lnTo>
                    <a:pt x="983" y="123"/>
                  </a:lnTo>
                  <a:lnTo>
                    <a:pt x="985" y="120"/>
                  </a:lnTo>
                  <a:lnTo>
                    <a:pt x="989" y="123"/>
                  </a:lnTo>
                  <a:lnTo>
                    <a:pt x="991" y="123"/>
                  </a:lnTo>
                  <a:lnTo>
                    <a:pt x="995" y="123"/>
                  </a:lnTo>
                  <a:lnTo>
                    <a:pt x="995" y="119"/>
                  </a:lnTo>
                  <a:lnTo>
                    <a:pt x="993" y="117"/>
                  </a:lnTo>
                  <a:lnTo>
                    <a:pt x="990" y="117"/>
                  </a:lnTo>
                  <a:lnTo>
                    <a:pt x="992" y="115"/>
                  </a:lnTo>
                  <a:lnTo>
                    <a:pt x="990" y="114"/>
                  </a:lnTo>
                  <a:lnTo>
                    <a:pt x="987" y="115"/>
                  </a:lnTo>
                  <a:lnTo>
                    <a:pt x="984" y="116"/>
                  </a:lnTo>
                  <a:lnTo>
                    <a:pt x="984" y="114"/>
                  </a:lnTo>
                  <a:lnTo>
                    <a:pt x="982" y="111"/>
                  </a:lnTo>
                  <a:lnTo>
                    <a:pt x="980" y="109"/>
                  </a:lnTo>
                  <a:lnTo>
                    <a:pt x="983" y="104"/>
                  </a:lnTo>
                  <a:lnTo>
                    <a:pt x="987" y="93"/>
                  </a:lnTo>
                  <a:lnTo>
                    <a:pt x="983" y="93"/>
                  </a:lnTo>
                  <a:lnTo>
                    <a:pt x="981" y="94"/>
                  </a:lnTo>
                  <a:lnTo>
                    <a:pt x="980" y="98"/>
                  </a:lnTo>
                  <a:lnTo>
                    <a:pt x="976" y="98"/>
                  </a:lnTo>
                  <a:lnTo>
                    <a:pt x="980" y="92"/>
                  </a:lnTo>
                  <a:lnTo>
                    <a:pt x="976" y="94"/>
                  </a:lnTo>
                  <a:lnTo>
                    <a:pt x="974" y="92"/>
                  </a:lnTo>
                  <a:lnTo>
                    <a:pt x="972" y="92"/>
                  </a:lnTo>
                  <a:lnTo>
                    <a:pt x="971" y="90"/>
                  </a:lnTo>
                  <a:lnTo>
                    <a:pt x="967" y="88"/>
                  </a:lnTo>
                  <a:lnTo>
                    <a:pt x="965" y="87"/>
                  </a:lnTo>
                  <a:lnTo>
                    <a:pt x="959" y="85"/>
                  </a:lnTo>
                  <a:lnTo>
                    <a:pt x="959" y="90"/>
                  </a:lnTo>
                  <a:lnTo>
                    <a:pt x="955" y="91"/>
                  </a:lnTo>
                  <a:lnTo>
                    <a:pt x="951" y="89"/>
                  </a:lnTo>
                  <a:lnTo>
                    <a:pt x="949" y="90"/>
                  </a:lnTo>
                  <a:lnTo>
                    <a:pt x="951" y="92"/>
                  </a:lnTo>
                  <a:lnTo>
                    <a:pt x="954" y="94"/>
                  </a:lnTo>
                  <a:lnTo>
                    <a:pt x="951" y="94"/>
                  </a:lnTo>
                  <a:lnTo>
                    <a:pt x="953" y="98"/>
                  </a:lnTo>
                  <a:lnTo>
                    <a:pt x="955" y="100"/>
                  </a:lnTo>
                  <a:lnTo>
                    <a:pt x="958" y="100"/>
                  </a:lnTo>
                  <a:lnTo>
                    <a:pt x="964" y="99"/>
                  </a:lnTo>
                  <a:lnTo>
                    <a:pt x="966" y="101"/>
                  </a:lnTo>
                  <a:lnTo>
                    <a:pt x="968" y="100"/>
                  </a:lnTo>
                  <a:lnTo>
                    <a:pt x="971" y="106"/>
                  </a:lnTo>
                  <a:lnTo>
                    <a:pt x="970" y="107"/>
                  </a:lnTo>
                  <a:lnTo>
                    <a:pt x="964" y="108"/>
                  </a:lnTo>
                  <a:lnTo>
                    <a:pt x="958" y="105"/>
                  </a:lnTo>
                  <a:lnTo>
                    <a:pt x="953" y="99"/>
                  </a:lnTo>
                  <a:lnTo>
                    <a:pt x="950" y="97"/>
                  </a:lnTo>
                  <a:lnTo>
                    <a:pt x="949" y="100"/>
                  </a:lnTo>
                  <a:lnTo>
                    <a:pt x="951" y="101"/>
                  </a:lnTo>
                  <a:lnTo>
                    <a:pt x="949" y="105"/>
                  </a:lnTo>
                  <a:lnTo>
                    <a:pt x="946" y="106"/>
                  </a:lnTo>
                  <a:lnTo>
                    <a:pt x="938" y="104"/>
                  </a:lnTo>
                  <a:lnTo>
                    <a:pt x="932" y="102"/>
                  </a:lnTo>
                  <a:lnTo>
                    <a:pt x="931" y="104"/>
                  </a:lnTo>
                  <a:lnTo>
                    <a:pt x="929" y="102"/>
                  </a:lnTo>
                  <a:lnTo>
                    <a:pt x="925" y="102"/>
                  </a:lnTo>
                  <a:lnTo>
                    <a:pt x="923" y="104"/>
                  </a:lnTo>
                  <a:lnTo>
                    <a:pt x="921" y="102"/>
                  </a:lnTo>
                  <a:lnTo>
                    <a:pt x="918" y="105"/>
                  </a:lnTo>
                  <a:lnTo>
                    <a:pt x="915" y="105"/>
                  </a:lnTo>
                  <a:lnTo>
                    <a:pt x="910" y="106"/>
                  </a:lnTo>
                  <a:lnTo>
                    <a:pt x="906" y="106"/>
                  </a:lnTo>
                  <a:lnTo>
                    <a:pt x="904" y="104"/>
                  </a:lnTo>
                  <a:lnTo>
                    <a:pt x="902" y="105"/>
                  </a:lnTo>
                  <a:lnTo>
                    <a:pt x="893" y="102"/>
                  </a:lnTo>
                  <a:lnTo>
                    <a:pt x="890" y="101"/>
                  </a:lnTo>
                  <a:lnTo>
                    <a:pt x="887" y="100"/>
                  </a:lnTo>
                  <a:lnTo>
                    <a:pt x="885" y="97"/>
                  </a:lnTo>
                  <a:lnTo>
                    <a:pt x="879" y="98"/>
                  </a:lnTo>
                  <a:lnTo>
                    <a:pt x="877" y="98"/>
                  </a:lnTo>
                  <a:lnTo>
                    <a:pt x="874" y="98"/>
                  </a:lnTo>
                  <a:lnTo>
                    <a:pt x="871" y="98"/>
                  </a:lnTo>
                  <a:lnTo>
                    <a:pt x="869" y="97"/>
                  </a:lnTo>
                  <a:lnTo>
                    <a:pt x="868" y="94"/>
                  </a:lnTo>
                  <a:lnTo>
                    <a:pt x="865" y="92"/>
                  </a:lnTo>
                  <a:lnTo>
                    <a:pt x="862" y="91"/>
                  </a:lnTo>
                  <a:lnTo>
                    <a:pt x="860" y="91"/>
                  </a:lnTo>
                  <a:lnTo>
                    <a:pt x="857" y="89"/>
                  </a:lnTo>
                  <a:lnTo>
                    <a:pt x="857" y="87"/>
                  </a:lnTo>
                  <a:lnTo>
                    <a:pt x="855" y="83"/>
                  </a:lnTo>
                  <a:lnTo>
                    <a:pt x="855" y="81"/>
                  </a:lnTo>
                  <a:lnTo>
                    <a:pt x="853" y="79"/>
                  </a:lnTo>
                  <a:lnTo>
                    <a:pt x="847" y="76"/>
                  </a:lnTo>
                  <a:lnTo>
                    <a:pt x="842" y="79"/>
                  </a:lnTo>
                  <a:lnTo>
                    <a:pt x="836" y="80"/>
                  </a:lnTo>
                  <a:lnTo>
                    <a:pt x="830" y="82"/>
                  </a:lnTo>
                  <a:lnTo>
                    <a:pt x="825" y="83"/>
                  </a:lnTo>
                  <a:lnTo>
                    <a:pt x="820" y="83"/>
                  </a:lnTo>
                  <a:lnTo>
                    <a:pt x="817" y="84"/>
                  </a:lnTo>
                  <a:lnTo>
                    <a:pt x="812" y="90"/>
                  </a:lnTo>
                  <a:lnTo>
                    <a:pt x="811" y="92"/>
                  </a:lnTo>
                  <a:lnTo>
                    <a:pt x="813" y="92"/>
                  </a:lnTo>
                  <a:lnTo>
                    <a:pt x="817" y="93"/>
                  </a:lnTo>
                  <a:lnTo>
                    <a:pt x="819" y="94"/>
                  </a:lnTo>
                  <a:lnTo>
                    <a:pt x="822" y="94"/>
                  </a:lnTo>
                  <a:lnTo>
                    <a:pt x="825" y="94"/>
                  </a:lnTo>
                  <a:lnTo>
                    <a:pt x="823" y="92"/>
                  </a:lnTo>
                  <a:lnTo>
                    <a:pt x="827" y="91"/>
                  </a:lnTo>
                  <a:lnTo>
                    <a:pt x="829" y="91"/>
                  </a:lnTo>
                  <a:lnTo>
                    <a:pt x="831" y="92"/>
                  </a:lnTo>
                  <a:lnTo>
                    <a:pt x="837" y="90"/>
                  </a:lnTo>
                  <a:lnTo>
                    <a:pt x="839" y="90"/>
                  </a:lnTo>
                  <a:lnTo>
                    <a:pt x="840" y="88"/>
                  </a:lnTo>
                  <a:lnTo>
                    <a:pt x="843" y="87"/>
                  </a:lnTo>
                  <a:lnTo>
                    <a:pt x="848" y="84"/>
                  </a:lnTo>
                  <a:lnTo>
                    <a:pt x="852" y="84"/>
                  </a:lnTo>
                  <a:lnTo>
                    <a:pt x="853" y="87"/>
                  </a:lnTo>
                  <a:lnTo>
                    <a:pt x="851" y="89"/>
                  </a:lnTo>
                  <a:lnTo>
                    <a:pt x="847" y="90"/>
                  </a:lnTo>
                  <a:lnTo>
                    <a:pt x="845" y="90"/>
                  </a:lnTo>
                  <a:lnTo>
                    <a:pt x="843" y="92"/>
                  </a:lnTo>
                  <a:lnTo>
                    <a:pt x="839" y="94"/>
                  </a:lnTo>
                  <a:lnTo>
                    <a:pt x="838" y="97"/>
                  </a:lnTo>
                  <a:lnTo>
                    <a:pt x="834" y="96"/>
                  </a:lnTo>
                  <a:lnTo>
                    <a:pt x="830" y="98"/>
                  </a:lnTo>
                  <a:lnTo>
                    <a:pt x="828" y="97"/>
                  </a:lnTo>
                  <a:lnTo>
                    <a:pt x="825" y="99"/>
                  </a:lnTo>
                  <a:lnTo>
                    <a:pt x="823" y="97"/>
                  </a:lnTo>
                  <a:lnTo>
                    <a:pt x="823" y="99"/>
                  </a:lnTo>
                  <a:lnTo>
                    <a:pt x="826" y="100"/>
                  </a:lnTo>
                  <a:lnTo>
                    <a:pt x="822" y="102"/>
                  </a:lnTo>
                  <a:lnTo>
                    <a:pt x="821" y="105"/>
                  </a:lnTo>
                  <a:lnTo>
                    <a:pt x="826" y="109"/>
                  </a:lnTo>
                  <a:lnTo>
                    <a:pt x="827" y="115"/>
                  </a:lnTo>
                  <a:lnTo>
                    <a:pt x="829" y="118"/>
                  </a:lnTo>
                  <a:lnTo>
                    <a:pt x="831" y="119"/>
                  </a:lnTo>
                  <a:lnTo>
                    <a:pt x="831" y="122"/>
                  </a:lnTo>
                  <a:lnTo>
                    <a:pt x="834" y="125"/>
                  </a:lnTo>
                  <a:lnTo>
                    <a:pt x="830" y="123"/>
                  </a:lnTo>
                  <a:lnTo>
                    <a:pt x="829" y="126"/>
                  </a:lnTo>
                  <a:lnTo>
                    <a:pt x="827" y="125"/>
                  </a:lnTo>
                  <a:lnTo>
                    <a:pt x="828" y="122"/>
                  </a:lnTo>
                  <a:lnTo>
                    <a:pt x="826" y="123"/>
                  </a:lnTo>
                  <a:lnTo>
                    <a:pt x="826" y="125"/>
                  </a:lnTo>
                  <a:lnTo>
                    <a:pt x="826" y="127"/>
                  </a:lnTo>
                  <a:lnTo>
                    <a:pt x="827" y="131"/>
                  </a:lnTo>
                  <a:lnTo>
                    <a:pt x="829" y="133"/>
                  </a:lnTo>
                  <a:lnTo>
                    <a:pt x="833" y="135"/>
                  </a:lnTo>
                  <a:lnTo>
                    <a:pt x="829" y="134"/>
                  </a:lnTo>
                  <a:lnTo>
                    <a:pt x="822" y="126"/>
                  </a:lnTo>
                  <a:lnTo>
                    <a:pt x="819" y="125"/>
                  </a:lnTo>
                  <a:lnTo>
                    <a:pt x="819" y="123"/>
                  </a:lnTo>
                  <a:lnTo>
                    <a:pt x="817" y="122"/>
                  </a:lnTo>
                  <a:lnTo>
                    <a:pt x="814" y="119"/>
                  </a:lnTo>
                  <a:lnTo>
                    <a:pt x="817" y="120"/>
                  </a:lnTo>
                  <a:lnTo>
                    <a:pt x="822" y="120"/>
                  </a:lnTo>
                  <a:lnTo>
                    <a:pt x="823" y="118"/>
                  </a:lnTo>
                  <a:lnTo>
                    <a:pt x="821" y="115"/>
                  </a:lnTo>
                  <a:lnTo>
                    <a:pt x="816" y="111"/>
                  </a:lnTo>
                  <a:lnTo>
                    <a:pt x="814" y="109"/>
                  </a:lnTo>
                  <a:lnTo>
                    <a:pt x="811" y="111"/>
                  </a:lnTo>
                  <a:lnTo>
                    <a:pt x="809" y="111"/>
                  </a:lnTo>
                  <a:lnTo>
                    <a:pt x="808" y="110"/>
                  </a:lnTo>
                  <a:lnTo>
                    <a:pt x="808" y="108"/>
                  </a:lnTo>
                  <a:lnTo>
                    <a:pt x="808" y="105"/>
                  </a:lnTo>
                  <a:lnTo>
                    <a:pt x="802" y="105"/>
                  </a:lnTo>
                  <a:lnTo>
                    <a:pt x="799" y="106"/>
                  </a:lnTo>
                  <a:lnTo>
                    <a:pt x="797" y="102"/>
                  </a:lnTo>
                  <a:lnTo>
                    <a:pt x="795" y="101"/>
                  </a:lnTo>
                  <a:lnTo>
                    <a:pt x="794" y="102"/>
                  </a:lnTo>
                  <a:lnTo>
                    <a:pt x="794" y="99"/>
                  </a:lnTo>
                  <a:lnTo>
                    <a:pt x="788" y="100"/>
                  </a:lnTo>
                  <a:lnTo>
                    <a:pt x="780" y="105"/>
                  </a:lnTo>
                  <a:lnTo>
                    <a:pt x="773" y="105"/>
                  </a:lnTo>
                  <a:lnTo>
                    <a:pt x="769" y="105"/>
                  </a:lnTo>
                  <a:lnTo>
                    <a:pt x="768" y="106"/>
                  </a:lnTo>
                  <a:lnTo>
                    <a:pt x="766" y="105"/>
                  </a:lnTo>
                  <a:lnTo>
                    <a:pt x="763" y="105"/>
                  </a:lnTo>
                  <a:lnTo>
                    <a:pt x="760" y="106"/>
                  </a:lnTo>
                  <a:lnTo>
                    <a:pt x="741" y="106"/>
                  </a:lnTo>
                  <a:lnTo>
                    <a:pt x="739" y="105"/>
                  </a:lnTo>
                  <a:lnTo>
                    <a:pt x="735" y="105"/>
                  </a:lnTo>
                  <a:lnTo>
                    <a:pt x="733" y="104"/>
                  </a:lnTo>
                  <a:lnTo>
                    <a:pt x="729" y="104"/>
                  </a:lnTo>
                  <a:lnTo>
                    <a:pt x="725" y="104"/>
                  </a:lnTo>
                  <a:lnTo>
                    <a:pt x="722" y="101"/>
                  </a:lnTo>
                  <a:lnTo>
                    <a:pt x="719" y="101"/>
                  </a:lnTo>
                  <a:lnTo>
                    <a:pt x="724" y="99"/>
                  </a:lnTo>
                  <a:lnTo>
                    <a:pt x="724" y="96"/>
                  </a:lnTo>
                  <a:lnTo>
                    <a:pt x="726" y="96"/>
                  </a:lnTo>
                  <a:lnTo>
                    <a:pt x="728" y="94"/>
                  </a:lnTo>
                  <a:lnTo>
                    <a:pt x="728" y="93"/>
                  </a:lnTo>
                  <a:lnTo>
                    <a:pt x="733" y="92"/>
                  </a:lnTo>
                  <a:lnTo>
                    <a:pt x="736" y="93"/>
                  </a:lnTo>
                  <a:lnTo>
                    <a:pt x="739" y="93"/>
                  </a:lnTo>
                  <a:lnTo>
                    <a:pt x="740" y="90"/>
                  </a:lnTo>
                  <a:lnTo>
                    <a:pt x="739" y="88"/>
                  </a:lnTo>
                  <a:lnTo>
                    <a:pt x="736" y="85"/>
                  </a:lnTo>
                  <a:lnTo>
                    <a:pt x="728" y="79"/>
                  </a:lnTo>
                  <a:lnTo>
                    <a:pt x="719" y="76"/>
                  </a:lnTo>
                  <a:lnTo>
                    <a:pt x="714" y="75"/>
                  </a:lnTo>
                  <a:lnTo>
                    <a:pt x="711" y="75"/>
                  </a:lnTo>
                  <a:lnTo>
                    <a:pt x="708" y="75"/>
                  </a:lnTo>
                  <a:lnTo>
                    <a:pt x="710" y="79"/>
                  </a:lnTo>
                  <a:lnTo>
                    <a:pt x="705" y="79"/>
                  </a:lnTo>
                  <a:lnTo>
                    <a:pt x="702" y="77"/>
                  </a:lnTo>
                  <a:lnTo>
                    <a:pt x="700" y="76"/>
                  </a:lnTo>
                  <a:lnTo>
                    <a:pt x="697" y="77"/>
                  </a:lnTo>
                  <a:lnTo>
                    <a:pt x="691" y="75"/>
                  </a:lnTo>
                  <a:lnTo>
                    <a:pt x="685" y="75"/>
                  </a:lnTo>
                  <a:lnTo>
                    <a:pt x="677" y="72"/>
                  </a:lnTo>
                  <a:lnTo>
                    <a:pt x="675" y="70"/>
                  </a:lnTo>
                  <a:lnTo>
                    <a:pt x="658" y="66"/>
                  </a:lnTo>
                  <a:lnTo>
                    <a:pt x="655" y="66"/>
                  </a:lnTo>
                  <a:lnTo>
                    <a:pt x="651" y="64"/>
                  </a:lnTo>
                  <a:lnTo>
                    <a:pt x="647" y="60"/>
                  </a:lnTo>
                  <a:lnTo>
                    <a:pt x="638" y="57"/>
                  </a:lnTo>
                  <a:lnTo>
                    <a:pt x="630" y="55"/>
                  </a:lnTo>
                  <a:lnTo>
                    <a:pt x="628" y="56"/>
                  </a:lnTo>
                  <a:lnTo>
                    <a:pt x="624" y="55"/>
                  </a:lnTo>
                  <a:lnTo>
                    <a:pt x="618" y="56"/>
                  </a:lnTo>
                  <a:lnTo>
                    <a:pt x="616" y="55"/>
                  </a:lnTo>
                  <a:lnTo>
                    <a:pt x="615" y="57"/>
                  </a:lnTo>
                  <a:lnTo>
                    <a:pt x="614" y="60"/>
                  </a:lnTo>
                  <a:lnTo>
                    <a:pt x="612" y="63"/>
                  </a:lnTo>
                  <a:lnTo>
                    <a:pt x="611" y="66"/>
                  </a:lnTo>
                  <a:lnTo>
                    <a:pt x="607" y="66"/>
                  </a:lnTo>
                  <a:lnTo>
                    <a:pt x="598" y="66"/>
                  </a:lnTo>
                  <a:lnTo>
                    <a:pt x="596" y="66"/>
                  </a:lnTo>
                  <a:lnTo>
                    <a:pt x="597" y="63"/>
                  </a:lnTo>
                  <a:lnTo>
                    <a:pt x="601" y="57"/>
                  </a:lnTo>
                  <a:lnTo>
                    <a:pt x="596" y="57"/>
                  </a:lnTo>
                  <a:lnTo>
                    <a:pt x="597" y="53"/>
                  </a:lnTo>
                  <a:lnTo>
                    <a:pt x="597" y="48"/>
                  </a:lnTo>
                  <a:lnTo>
                    <a:pt x="594" y="47"/>
                  </a:lnTo>
                  <a:lnTo>
                    <a:pt x="597" y="49"/>
                  </a:lnTo>
                  <a:lnTo>
                    <a:pt x="591" y="49"/>
                  </a:lnTo>
                  <a:lnTo>
                    <a:pt x="586" y="50"/>
                  </a:lnTo>
                  <a:lnTo>
                    <a:pt x="586" y="53"/>
                  </a:lnTo>
                  <a:lnTo>
                    <a:pt x="589" y="50"/>
                  </a:lnTo>
                  <a:lnTo>
                    <a:pt x="594" y="50"/>
                  </a:lnTo>
                  <a:lnTo>
                    <a:pt x="590" y="53"/>
                  </a:lnTo>
                  <a:lnTo>
                    <a:pt x="589" y="55"/>
                  </a:lnTo>
                  <a:lnTo>
                    <a:pt x="586" y="57"/>
                  </a:lnTo>
                  <a:lnTo>
                    <a:pt x="589" y="57"/>
                  </a:lnTo>
                  <a:lnTo>
                    <a:pt x="591" y="57"/>
                  </a:lnTo>
                  <a:lnTo>
                    <a:pt x="589" y="57"/>
                  </a:lnTo>
                  <a:lnTo>
                    <a:pt x="586" y="58"/>
                  </a:lnTo>
                  <a:lnTo>
                    <a:pt x="583" y="60"/>
                  </a:lnTo>
                  <a:lnTo>
                    <a:pt x="586" y="63"/>
                  </a:lnTo>
                  <a:lnTo>
                    <a:pt x="583" y="64"/>
                  </a:lnTo>
                  <a:lnTo>
                    <a:pt x="586" y="66"/>
                  </a:lnTo>
                  <a:lnTo>
                    <a:pt x="582" y="67"/>
                  </a:lnTo>
                  <a:lnTo>
                    <a:pt x="578" y="66"/>
                  </a:lnTo>
                  <a:lnTo>
                    <a:pt x="572" y="63"/>
                  </a:lnTo>
                  <a:lnTo>
                    <a:pt x="566" y="57"/>
                  </a:lnTo>
                  <a:lnTo>
                    <a:pt x="565" y="55"/>
                  </a:lnTo>
                  <a:lnTo>
                    <a:pt x="564" y="53"/>
                  </a:lnTo>
                  <a:lnTo>
                    <a:pt x="560" y="43"/>
                  </a:lnTo>
                  <a:lnTo>
                    <a:pt x="556" y="41"/>
                  </a:lnTo>
                  <a:lnTo>
                    <a:pt x="555" y="40"/>
                  </a:lnTo>
                  <a:lnTo>
                    <a:pt x="548" y="37"/>
                  </a:lnTo>
                  <a:lnTo>
                    <a:pt x="546" y="39"/>
                  </a:lnTo>
                  <a:lnTo>
                    <a:pt x="546" y="41"/>
                  </a:lnTo>
                  <a:lnTo>
                    <a:pt x="549" y="41"/>
                  </a:lnTo>
                  <a:lnTo>
                    <a:pt x="548" y="43"/>
                  </a:lnTo>
                  <a:lnTo>
                    <a:pt x="554" y="45"/>
                  </a:lnTo>
                  <a:lnTo>
                    <a:pt x="546" y="47"/>
                  </a:lnTo>
                  <a:lnTo>
                    <a:pt x="543" y="48"/>
                  </a:lnTo>
                  <a:lnTo>
                    <a:pt x="544" y="50"/>
                  </a:lnTo>
                  <a:lnTo>
                    <a:pt x="543" y="53"/>
                  </a:lnTo>
                  <a:lnTo>
                    <a:pt x="540" y="54"/>
                  </a:lnTo>
                  <a:lnTo>
                    <a:pt x="538" y="56"/>
                  </a:lnTo>
                  <a:lnTo>
                    <a:pt x="535" y="58"/>
                  </a:lnTo>
                  <a:lnTo>
                    <a:pt x="532" y="57"/>
                  </a:lnTo>
                  <a:lnTo>
                    <a:pt x="532" y="55"/>
                  </a:lnTo>
                  <a:lnTo>
                    <a:pt x="534" y="53"/>
                  </a:lnTo>
                  <a:lnTo>
                    <a:pt x="531" y="55"/>
                  </a:lnTo>
                  <a:lnTo>
                    <a:pt x="526" y="55"/>
                  </a:lnTo>
                  <a:lnTo>
                    <a:pt x="515" y="58"/>
                  </a:lnTo>
                  <a:lnTo>
                    <a:pt x="511" y="64"/>
                  </a:lnTo>
                  <a:lnTo>
                    <a:pt x="510" y="66"/>
                  </a:lnTo>
                  <a:lnTo>
                    <a:pt x="507" y="70"/>
                  </a:lnTo>
                  <a:lnTo>
                    <a:pt x="506" y="66"/>
                  </a:lnTo>
                  <a:lnTo>
                    <a:pt x="507" y="64"/>
                  </a:lnTo>
                  <a:lnTo>
                    <a:pt x="505" y="66"/>
                  </a:lnTo>
                  <a:lnTo>
                    <a:pt x="506" y="64"/>
                  </a:lnTo>
                  <a:lnTo>
                    <a:pt x="504" y="62"/>
                  </a:lnTo>
                  <a:lnTo>
                    <a:pt x="505" y="64"/>
                  </a:lnTo>
                  <a:lnTo>
                    <a:pt x="503" y="62"/>
                  </a:lnTo>
                  <a:lnTo>
                    <a:pt x="504" y="64"/>
                  </a:lnTo>
                  <a:lnTo>
                    <a:pt x="502" y="66"/>
                  </a:lnTo>
                  <a:lnTo>
                    <a:pt x="502" y="64"/>
                  </a:lnTo>
                  <a:lnTo>
                    <a:pt x="500" y="66"/>
                  </a:lnTo>
                  <a:lnTo>
                    <a:pt x="500" y="64"/>
                  </a:lnTo>
                  <a:lnTo>
                    <a:pt x="495" y="65"/>
                  </a:lnTo>
                  <a:lnTo>
                    <a:pt x="495" y="67"/>
                  </a:lnTo>
                  <a:lnTo>
                    <a:pt x="492" y="70"/>
                  </a:lnTo>
                  <a:lnTo>
                    <a:pt x="487" y="71"/>
                  </a:lnTo>
                  <a:lnTo>
                    <a:pt x="481" y="74"/>
                  </a:lnTo>
                  <a:lnTo>
                    <a:pt x="481" y="77"/>
                  </a:lnTo>
                  <a:lnTo>
                    <a:pt x="485" y="77"/>
                  </a:lnTo>
                  <a:lnTo>
                    <a:pt x="487" y="79"/>
                  </a:lnTo>
                  <a:lnTo>
                    <a:pt x="485" y="80"/>
                  </a:lnTo>
                  <a:lnTo>
                    <a:pt x="479" y="79"/>
                  </a:lnTo>
                  <a:lnTo>
                    <a:pt x="476" y="81"/>
                  </a:lnTo>
                  <a:lnTo>
                    <a:pt x="479" y="82"/>
                  </a:lnTo>
                  <a:lnTo>
                    <a:pt x="473" y="80"/>
                  </a:lnTo>
                  <a:lnTo>
                    <a:pt x="473" y="77"/>
                  </a:lnTo>
                  <a:lnTo>
                    <a:pt x="476" y="76"/>
                  </a:lnTo>
                  <a:lnTo>
                    <a:pt x="478" y="73"/>
                  </a:lnTo>
                  <a:lnTo>
                    <a:pt x="480" y="74"/>
                  </a:lnTo>
                  <a:lnTo>
                    <a:pt x="481" y="72"/>
                  </a:lnTo>
                  <a:lnTo>
                    <a:pt x="484" y="68"/>
                  </a:lnTo>
                  <a:lnTo>
                    <a:pt x="486" y="70"/>
                  </a:lnTo>
                  <a:lnTo>
                    <a:pt x="489" y="67"/>
                  </a:lnTo>
                  <a:lnTo>
                    <a:pt x="492" y="65"/>
                  </a:lnTo>
                  <a:lnTo>
                    <a:pt x="493" y="62"/>
                  </a:lnTo>
                  <a:lnTo>
                    <a:pt x="496" y="62"/>
                  </a:lnTo>
                  <a:lnTo>
                    <a:pt x="502" y="62"/>
                  </a:lnTo>
                  <a:lnTo>
                    <a:pt x="504" y="60"/>
                  </a:lnTo>
                  <a:lnTo>
                    <a:pt x="506" y="60"/>
                  </a:lnTo>
                  <a:lnTo>
                    <a:pt x="510" y="58"/>
                  </a:lnTo>
                  <a:lnTo>
                    <a:pt x="512" y="58"/>
                  </a:lnTo>
                  <a:lnTo>
                    <a:pt x="515" y="56"/>
                  </a:lnTo>
                  <a:lnTo>
                    <a:pt x="527" y="50"/>
                  </a:lnTo>
                  <a:lnTo>
                    <a:pt x="528" y="48"/>
                  </a:lnTo>
                  <a:lnTo>
                    <a:pt x="526" y="46"/>
                  </a:lnTo>
                  <a:lnTo>
                    <a:pt x="520" y="49"/>
                  </a:lnTo>
                  <a:lnTo>
                    <a:pt x="518" y="49"/>
                  </a:lnTo>
                  <a:lnTo>
                    <a:pt x="515" y="48"/>
                  </a:lnTo>
                  <a:lnTo>
                    <a:pt x="512" y="48"/>
                  </a:lnTo>
                  <a:lnTo>
                    <a:pt x="510" y="48"/>
                  </a:lnTo>
                  <a:lnTo>
                    <a:pt x="506" y="50"/>
                  </a:lnTo>
                  <a:lnTo>
                    <a:pt x="506" y="53"/>
                  </a:lnTo>
                  <a:lnTo>
                    <a:pt x="504" y="55"/>
                  </a:lnTo>
                  <a:lnTo>
                    <a:pt x="503" y="53"/>
                  </a:lnTo>
                  <a:lnTo>
                    <a:pt x="497" y="55"/>
                  </a:lnTo>
                  <a:lnTo>
                    <a:pt x="495" y="56"/>
                  </a:lnTo>
                  <a:lnTo>
                    <a:pt x="492" y="57"/>
                  </a:lnTo>
                  <a:lnTo>
                    <a:pt x="489" y="58"/>
                  </a:lnTo>
                  <a:lnTo>
                    <a:pt x="487" y="57"/>
                  </a:lnTo>
                  <a:lnTo>
                    <a:pt x="489" y="56"/>
                  </a:lnTo>
                  <a:lnTo>
                    <a:pt x="486" y="57"/>
                  </a:lnTo>
                  <a:lnTo>
                    <a:pt x="487" y="59"/>
                  </a:lnTo>
                  <a:lnTo>
                    <a:pt x="481" y="59"/>
                  </a:lnTo>
                  <a:lnTo>
                    <a:pt x="478" y="65"/>
                  </a:lnTo>
                  <a:lnTo>
                    <a:pt x="472" y="65"/>
                  </a:lnTo>
                  <a:lnTo>
                    <a:pt x="469" y="67"/>
                  </a:lnTo>
                  <a:lnTo>
                    <a:pt x="467" y="68"/>
                  </a:lnTo>
                  <a:lnTo>
                    <a:pt x="463" y="68"/>
                  </a:lnTo>
                  <a:lnTo>
                    <a:pt x="461" y="71"/>
                  </a:lnTo>
                  <a:lnTo>
                    <a:pt x="459" y="72"/>
                  </a:lnTo>
                  <a:lnTo>
                    <a:pt x="459" y="72"/>
                  </a:lnTo>
                  <a:lnTo>
                    <a:pt x="462" y="70"/>
                  </a:lnTo>
                  <a:lnTo>
                    <a:pt x="464" y="66"/>
                  </a:lnTo>
                  <a:lnTo>
                    <a:pt x="468" y="65"/>
                  </a:lnTo>
                  <a:lnTo>
                    <a:pt x="469" y="62"/>
                  </a:lnTo>
                  <a:lnTo>
                    <a:pt x="467" y="63"/>
                  </a:lnTo>
                  <a:lnTo>
                    <a:pt x="463" y="62"/>
                  </a:lnTo>
                  <a:lnTo>
                    <a:pt x="463" y="58"/>
                  </a:lnTo>
                  <a:lnTo>
                    <a:pt x="460" y="57"/>
                  </a:lnTo>
                  <a:lnTo>
                    <a:pt x="460" y="60"/>
                  </a:lnTo>
                  <a:lnTo>
                    <a:pt x="458" y="63"/>
                  </a:lnTo>
                  <a:lnTo>
                    <a:pt x="455" y="64"/>
                  </a:lnTo>
                  <a:lnTo>
                    <a:pt x="452" y="64"/>
                  </a:lnTo>
                  <a:lnTo>
                    <a:pt x="451" y="63"/>
                  </a:lnTo>
                  <a:lnTo>
                    <a:pt x="449" y="64"/>
                  </a:lnTo>
                  <a:lnTo>
                    <a:pt x="449" y="67"/>
                  </a:lnTo>
                  <a:lnTo>
                    <a:pt x="450" y="68"/>
                  </a:lnTo>
                  <a:lnTo>
                    <a:pt x="446" y="67"/>
                  </a:lnTo>
                  <a:lnTo>
                    <a:pt x="444" y="66"/>
                  </a:lnTo>
                  <a:lnTo>
                    <a:pt x="444" y="70"/>
                  </a:lnTo>
                  <a:lnTo>
                    <a:pt x="442" y="67"/>
                  </a:lnTo>
                  <a:lnTo>
                    <a:pt x="442" y="70"/>
                  </a:lnTo>
                  <a:lnTo>
                    <a:pt x="445" y="72"/>
                  </a:lnTo>
                  <a:lnTo>
                    <a:pt x="442" y="71"/>
                  </a:lnTo>
                  <a:lnTo>
                    <a:pt x="440" y="70"/>
                  </a:lnTo>
                  <a:lnTo>
                    <a:pt x="440" y="72"/>
                  </a:lnTo>
                  <a:lnTo>
                    <a:pt x="442" y="74"/>
                  </a:lnTo>
                  <a:lnTo>
                    <a:pt x="444" y="74"/>
                  </a:lnTo>
                  <a:lnTo>
                    <a:pt x="445" y="74"/>
                  </a:lnTo>
                  <a:lnTo>
                    <a:pt x="442" y="75"/>
                  </a:lnTo>
                  <a:lnTo>
                    <a:pt x="441" y="75"/>
                  </a:lnTo>
                  <a:lnTo>
                    <a:pt x="440" y="75"/>
                  </a:lnTo>
                  <a:lnTo>
                    <a:pt x="442" y="77"/>
                  </a:lnTo>
                  <a:lnTo>
                    <a:pt x="445" y="77"/>
                  </a:lnTo>
                  <a:lnTo>
                    <a:pt x="446" y="75"/>
                  </a:lnTo>
                  <a:lnTo>
                    <a:pt x="449" y="76"/>
                  </a:lnTo>
                  <a:lnTo>
                    <a:pt x="451" y="77"/>
                  </a:lnTo>
                  <a:lnTo>
                    <a:pt x="454" y="75"/>
                  </a:lnTo>
                  <a:lnTo>
                    <a:pt x="454" y="75"/>
                  </a:lnTo>
                  <a:lnTo>
                    <a:pt x="455" y="75"/>
                  </a:lnTo>
                  <a:lnTo>
                    <a:pt x="458" y="79"/>
                  </a:lnTo>
                  <a:lnTo>
                    <a:pt x="459" y="81"/>
                  </a:lnTo>
                  <a:lnTo>
                    <a:pt x="462" y="82"/>
                  </a:lnTo>
                  <a:lnTo>
                    <a:pt x="460" y="80"/>
                  </a:lnTo>
                  <a:lnTo>
                    <a:pt x="458" y="76"/>
                  </a:lnTo>
                  <a:lnTo>
                    <a:pt x="456" y="74"/>
                  </a:lnTo>
                  <a:lnTo>
                    <a:pt x="459" y="73"/>
                  </a:lnTo>
                  <a:lnTo>
                    <a:pt x="458" y="75"/>
                  </a:lnTo>
                  <a:lnTo>
                    <a:pt x="462" y="82"/>
                  </a:lnTo>
                  <a:lnTo>
                    <a:pt x="462" y="83"/>
                  </a:lnTo>
                  <a:lnTo>
                    <a:pt x="459" y="81"/>
                  </a:lnTo>
                  <a:lnTo>
                    <a:pt x="456" y="79"/>
                  </a:lnTo>
                  <a:lnTo>
                    <a:pt x="454" y="76"/>
                  </a:lnTo>
                  <a:lnTo>
                    <a:pt x="451" y="77"/>
                  </a:lnTo>
                  <a:lnTo>
                    <a:pt x="449" y="76"/>
                  </a:lnTo>
                  <a:lnTo>
                    <a:pt x="446" y="79"/>
                  </a:lnTo>
                  <a:lnTo>
                    <a:pt x="447" y="81"/>
                  </a:lnTo>
                  <a:lnTo>
                    <a:pt x="450" y="83"/>
                  </a:lnTo>
                  <a:lnTo>
                    <a:pt x="449" y="83"/>
                  </a:lnTo>
                  <a:lnTo>
                    <a:pt x="449" y="82"/>
                  </a:lnTo>
                  <a:lnTo>
                    <a:pt x="443" y="81"/>
                  </a:lnTo>
                  <a:lnTo>
                    <a:pt x="441" y="79"/>
                  </a:lnTo>
                  <a:lnTo>
                    <a:pt x="436" y="77"/>
                  </a:lnTo>
                  <a:lnTo>
                    <a:pt x="433" y="77"/>
                  </a:lnTo>
                  <a:lnTo>
                    <a:pt x="433" y="77"/>
                  </a:lnTo>
                  <a:lnTo>
                    <a:pt x="429" y="77"/>
                  </a:lnTo>
                  <a:lnTo>
                    <a:pt x="427" y="77"/>
                  </a:lnTo>
                  <a:lnTo>
                    <a:pt x="424" y="76"/>
                  </a:lnTo>
                  <a:lnTo>
                    <a:pt x="421" y="76"/>
                  </a:lnTo>
                  <a:lnTo>
                    <a:pt x="419" y="74"/>
                  </a:lnTo>
                  <a:lnTo>
                    <a:pt x="410" y="72"/>
                  </a:lnTo>
                  <a:lnTo>
                    <a:pt x="404" y="70"/>
                  </a:lnTo>
                  <a:lnTo>
                    <a:pt x="402" y="70"/>
                  </a:lnTo>
                  <a:lnTo>
                    <a:pt x="400" y="66"/>
                  </a:lnTo>
                  <a:lnTo>
                    <a:pt x="398" y="65"/>
                  </a:lnTo>
                  <a:lnTo>
                    <a:pt x="394" y="63"/>
                  </a:lnTo>
                  <a:lnTo>
                    <a:pt x="386" y="60"/>
                  </a:lnTo>
                  <a:lnTo>
                    <a:pt x="384" y="60"/>
                  </a:lnTo>
                  <a:lnTo>
                    <a:pt x="378" y="60"/>
                  </a:lnTo>
                  <a:lnTo>
                    <a:pt x="369" y="59"/>
                  </a:lnTo>
                  <a:lnTo>
                    <a:pt x="369" y="59"/>
                  </a:lnTo>
                  <a:lnTo>
                    <a:pt x="366" y="59"/>
                  </a:lnTo>
                  <a:lnTo>
                    <a:pt x="366" y="59"/>
                  </a:lnTo>
                  <a:lnTo>
                    <a:pt x="364" y="58"/>
                  </a:lnTo>
                  <a:lnTo>
                    <a:pt x="360" y="56"/>
                  </a:lnTo>
                  <a:lnTo>
                    <a:pt x="357" y="55"/>
                  </a:lnTo>
                  <a:lnTo>
                    <a:pt x="357" y="56"/>
                  </a:lnTo>
                  <a:lnTo>
                    <a:pt x="349" y="51"/>
                  </a:lnTo>
                  <a:lnTo>
                    <a:pt x="348" y="50"/>
                  </a:lnTo>
                  <a:lnTo>
                    <a:pt x="344" y="49"/>
                  </a:lnTo>
                  <a:lnTo>
                    <a:pt x="339" y="48"/>
                  </a:lnTo>
                  <a:lnTo>
                    <a:pt x="331" y="49"/>
                  </a:lnTo>
                  <a:lnTo>
                    <a:pt x="328" y="50"/>
                  </a:lnTo>
                  <a:lnTo>
                    <a:pt x="327" y="49"/>
                  </a:lnTo>
                  <a:lnTo>
                    <a:pt x="324" y="49"/>
                  </a:lnTo>
                  <a:lnTo>
                    <a:pt x="321" y="51"/>
                  </a:lnTo>
                  <a:lnTo>
                    <a:pt x="315" y="51"/>
                  </a:lnTo>
                  <a:lnTo>
                    <a:pt x="312" y="50"/>
                  </a:lnTo>
                  <a:lnTo>
                    <a:pt x="309" y="49"/>
                  </a:lnTo>
                  <a:lnTo>
                    <a:pt x="307" y="49"/>
                  </a:lnTo>
                  <a:lnTo>
                    <a:pt x="305" y="47"/>
                  </a:lnTo>
                  <a:lnTo>
                    <a:pt x="296" y="46"/>
                  </a:lnTo>
                  <a:lnTo>
                    <a:pt x="290" y="46"/>
                  </a:lnTo>
                  <a:lnTo>
                    <a:pt x="288" y="47"/>
                  </a:lnTo>
                  <a:lnTo>
                    <a:pt x="280" y="46"/>
                  </a:lnTo>
                  <a:lnTo>
                    <a:pt x="276" y="45"/>
                  </a:lnTo>
                  <a:lnTo>
                    <a:pt x="275" y="43"/>
                  </a:lnTo>
                  <a:lnTo>
                    <a:pt x="273" y="42"/>
                  </a:lnTo>
                  <a:lnTo>
                    <a:pt x="272" y="42"/>
                  </a:lnTo>
                  <a:lnTo>
                    <a:pt x="268" y="43"/>
                  </a:lnTo>
                  <a:lnTo>
                    <a:pt x="266" y="41"/>
                  </a:lnTo>
                  <a:lnTo>
                    <a:pt x="264" y="40"/>
                  </a:lnTo>
                  <a:lnTo>
                    <a:pt x="261" y="40"/>
                  </a:lnTo>
                  <a:lnTo>
                    <a:pt x="258" y="39"/>
                  </a:lnTo>
                  <a:lnTo>
                    <a:pt x="255" y="39"/>
                  </a:lnTo>
                  <a:lnTo>
                    <a:pt x="253" y="38"/>
                  </a:lnTo>
                  <a:lnTo>
                    <a:pt x="247" y="39"/>
                  </a:lnTo>
                  <a:lnTo>
                    <a:pt x="244" y="40"/>
                  </a:lnTo>
                  <a:lnTo>
                    <a:pt x="241" y="40"/>
                  </a:lnTo>
                  <a:lnTo>
                    <a:pt x="239" y="38"/>
                  </a:lnTo>
                  <a:lnTo>
                    <a:pt x="231" y="40"/>
                  </a:lnTo>
                  <a:lnTo>
                    <a:pt x="230" y="41"/>
                  </a:lnTo>
                  <a:lnTo>
                    <a:pt x="225" y="40"/>
                  </a:lnTo>
                  <a:lnTo>
                    <a:pt x="220" y="40"/>
                  </a:lnTo>
                  <a:lnTo>
                    <a:pt x="222" y="37"/>
                  </a:lnTo>
                  <a:lnTo>
                    <a:pt x="219" y="37"/>
                  </a:lnTo>
                  <a:lnTo>
                    <a:pt x="216" y="37"/>
                  </a:lnTo>
                  <a:lnTo>
                    <a:pt x="211" y="37"/>
                  </a:lnTo>
                  <a:lnTo>
                    <a:pt x="216" y="36"/>
                  </a:lnTo>
                  <a:lnTo>
                    <a:pt x="213" y="36"/>
                  </a:lnTo>
                  <a:lnTo>
                    <a:pt x="214" y="32"/>
                  </a:lnTo>
                  <a:lnTo>
                    <a:pt x="215" y="30"/>
                  </a:lnTo>
                  <a:lnTo>
                    <a:pt x="213" y="29"/>
                  </a:lnTo>
                  <a:lnTo>
                    <a:pt x="211" y="30"/>
                  </a:lnTo>
                  <a:lnTo>
                    <a:pt x="207" y="30"/>
                  </a:lnTo>
                  <a:lnTo>
                    <a:pt x="202" y="28"/>
                  </a:lnTo>
                  <a:lnTo>
                    <a:pt x="199" y="29"/>
                  </a:lnTo>
                  <a:lnTo>
                    <a:pt x="194" y="29"/>
                  </a:lnTo>
                  <a:lnTo>
                    <a:pt x="190" y="31"/>
                  </a:lnTo>
                  <a:lnTo>
                    <a:pt x="185" y="30"/>
                  </a:lnTo>
                  <a:lnTo>
                    <a:pt x="182" y="28"/>
                  </a:lnTo>
                  <a:lnTo>
                    <a:pt x="184" y="25"/>
                  </a:lnTo>
                  <a:lnTo>
                    <a:pt x="180" y="23"/>
                  </a:lnTo>
                  <a:lnTo>
                    <a:pt x="178" y="25"/>
                  </a:lnTo>
                  <a:lnTo>
                    <a:pt x="176" y="23"/>
                  </a:lnTo>
                  <a:lnTo>
                    <a:pt x="171" y="28"/>
                  </a:lnTo>
                  <a:lnTo>
                    <a:pt x="170" y="30"/>
                  </a:lnTo>
                  <a:lnTo>
                    <a:pt x="164" y="30"/>
                  </a:lnTo>
                  <a:lnTo>
                    <a:pt x="165" y="30"/>
                  </a:lnTo>
                  <a:lnTo>
                    <a:pt x="162" y="28"/>
                  </a:lnTo>
                  <a:lnTo>
                    <a:pt x="165" y="26"/>
                  </a:lnTo>
                  <a:lnTo>
                    <a:pt x="168" y="26"/>
                  </a:lnTo>
                  <a:lnTo>
                    <a:pt x="171" y="23"/>
                  </a:lnTo>
                  <a:lnTo>
                    <a:pt x="168" y="21"/>
                  </a:lnTo>
                  <a:lnTo>
                    <a:pt x="157" y="19"/>
                  </a:lnTo>
                  <a:lnTo>
                    <a:pt x="159" y="16"/>
                  </a:lnTo>
                  <a:lnTo>
                    <a:pt x="153" y="19"/>
                  </a:lnTo>
                  <a:lnTo>
                    <a:pt x="151" y="21"/>
                  </a:lnTo>
                  <a:lnTo>
                    <a:pt x="148" y="24"/>
                  </a:lnTo>
                  <a:lnTo>
                    <a:pt x="144" y="26"/>
                  </a:lnTo>
                  <a:lnTo>
                    <a:pt x="139" y="29"/>
                  </a:lnTo>
                  <a:lnTo>
                    <a:pt x="137" y="30"/>
                  </a:lnTo>
                  <a:lnTo>
                    <a:pt x="123" y="31"/>
                  </a:lnTo>
                  <a:lnTo>
                    <a:pt x="120" y="32"/>
                  </a:lnTo>
                  <a:lnTo>
                    <a:pt x="118" y="31"/>
                  </a:lnTo>
                  <a:lnTo>
                    <a:pt x="120" y="29"/>
                  </a:lnTo>
                  <a:lnTo>
                    <a:pt x="116" y="31"/>
                  </a:lnTo>
                  <a:lnTo>
                    <a:pt x="110" y="34"/>
                  </a:lnTo>
                  <a:lnTo>
                    <a:pt x="110" y="36"/>
                  </a:lnTo>
                  <a:lnTo>
                    <a:pt x="112" y="37"/>
                  </a:lnTo>
                  <a:lnTo>
                    <a:pt x="118" y="39"/>
                  </a:lnTo>
                  <a:lnTo>
                    <a:pt x="112" y="39"/>
                  </a:lnTo>
                  <a:lnTo>
                    <a:pt x="111" y="42"/>
                  </a:lnTo>
                  <a:lnTo>
                    <a:pt x="112" y="45"/>
                  </a:lnTo>
                  <a:lnTo>
                    <a:pt x="110" y="42"/>
                  </a:lnTo>
                  <a:lnTo>
                    <a:pt x="108" y="42"/>
                  </a:lnTo>
                  <a:lnTo>
                    <a:pt x="110" y="40"/>
                  </a:lnTo>
                  <a:lnTo>
                    <a:pt x="110" y="39"/>
                  </a:lnTo>
                  <a:lnTo>
                    <a:pt x="106" y="39"/>
                  </a:lnTo>
                  <a:lnTo>
                    <a:pt x="110" y="38"/>
                  </a:lnTo>
                  <a:lnTo>
                    <a:pt x="110" y="36"/>
                  </a:lnTo>
                  <a:lnTo>
                    <a:pt x="108" y="36"/>
                  </a:lnTo>
                  <a:lnTo>
                    <a:pt x="96" y="43"/>
                  </a:lnTo>
                  <a:lnTo>
                    <a:pt x="93" y="43"/>
                  </a:lnTo>
                  <a:lnTo>
                    <a:pt x="88" y="45"/>
                  </a:lnTo>
                  <a:lnTo>
                    <a:pt x="85" y="46"/>
                  </a:lnTo>
                  <a:lnTo>
                    <a:pt x="83" y="46"/>
                  </a:lnTo>
                  <a:lnTo>
                    <a:pt x="85" y="45"/>
                  </a:lnTo>
                  <a:lnTo>
                    <a:pt x="86" y="43"/>
                  </a:lnTo>
                  <a:lnTo>
                    <a:pt x="83" y="43"/>
                  </a:lnTo>
                  <a:lnTo>
                    <a:pt x="80" y="46"/>
                  </a:lnTo>
                  <a:lnTo>
                    <a:pt x="77" y="48"/>
                  </a:lnTo>
                  <a:lnTo>
                    <a:pt x="76" y="51"/>
                  </a:lnTo>
                  <a:lnTo>
                    <a:pt x="70" y="56"/>
                  </a:lnTo>
                  <a:lnTo>
                    <a:pt x="69" y="58"/>
                  </a:lnTo>
                  <a:lnTo>
                    <a:pt x="68" y="59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6" y="66"/>
                  </a:lnTo>
                  <a:lnTo>
                    <a:pt x="61" y="72"/>
                  </a:lnTo>
                  <a:lnTo>
                    <a:pt x="56" y="75"/>
                  </a:lnTo>
                  <a:lnTo>
                    <a:pt x="53" y="76"/>
                  </a:lnTo>
                  <a:lnTo>
                    <a:pt x="49" y="76"/>
                  </a:lnTo>
                  <a:lnTo>
                    <a:pt x="33" y="79"/>
                  </a:lnTo>
                  <a:lnTo>
                    <a:pt x="27" y="77"/>
                  </a:lnTo>
                  <a:lnTo>
                    <a:pt x="24" y="79"/>
                  </a:lnTo>
                  <a:lnTo>
                    <a:pt x="25" y="81"/>
                  </a:lnTo>
                  <a:lnTo>
                    <a:pt x="23" y="89"/>
                  </a:lnTo>
                  <a:lnTo>
                    <a:pt x="19" y="90"/>
                  </a:lnTo>
                  <a:lnTo>
                    <a:pt x="18" y="90"/>
                  </a:lnTo>
                  <a:lnTo>
                    <a:pt x="18" y="91"/>
                  </a:lnTo>
                  <a:lnTo>
                    <a:pt x="20" y="91"/>
                  </a:lnTo>
                  <a:lnTo>
                    <a:pt x="24" y="92"/>
                  </a:lnTo>
                  <a:lnTo>
                    <a:pt x="26" y="93"/>
                  </a:lnTo>
                  <a:lnTo>
                    <a:pt x="28" y="96"/>
                  </a:lnTo>
                  <a:lnTo>
                    <a:pt x="32" y="97"/>
                  </a:lnTo>
                  <a:lnTo>
                    <a:pt x="36" y="98"/>
                  </a:lnTo>
                  <a:lnTo>
                    <a:pt x="42" y="101"/>
                  </a:lnTo>
                  <a:lnTo>
                    <a:pt x="45" y="104"/>
                  </a:lnTo>
                  <a:lnTo>
                    <a:pt x="45" y="104"/>
                  </a:lnTo>
                  <a:lnTo>
                    <a:pt x="54" y="108"/>
                  </a:lnTo>
                  <a:lnTo>
                    <a:pt x="58" y="114"/>
                  </a:lnTo>
                  <a:lnTo>
                    <a:pt x="59" y="119"/>
                  </a:lnTo>
                  <a:lnTo>
                    <a:pt x="67" y="120"/>
                  </a:lnTo>
                  <a:lnTo>
                    <a:pt x="72" y="120"/>
                  </a:lnTo>
                  <a:lnTo>
                    <a:pt x="72" y="122"/>
                  </a:lnTo>
                  <a:lnTo>
                    <a:pt x="76" y="120"/>
                  </a:lnTo>
                  <a:lnTo>
                    <a:pt x="76" y="118"/>
                  </a:lnTo>
                  <a:lnTo>
                    <a:pt x="78" y="120"/>
                  </a:lnTo>
                  <a:lnTo>
                    <a:pt x="80" y="122"/>
                  </a:lnTo>
                  <a:lnTo>
                    <a:pt x="84" y="120"/>
                  </a:lnTo>
                  <a:lnTo>
                    <a:pt x="86" y="122"/>
                  </a:lnTo>
                  <a:lnTo>
                    <a:pt x="89" y="123"/>
                  </a:lnTo>
                  <a:lnTo>
                    <a:pt x="86" y="123"/>
                  </a:lnTo>
                  <a:lnTo>
                    <a:pt x="84" y="126"/>
                  </a:lnTo>
                  <a:lnTo>
                    <a:pt x="85" y="130"/>
                  </a:lnTo>
                  <a:lnTo>
                    <a:pt x="88" y="132"/>
                  </a:lnTo>
                  <a:lnTo>
                    <a:pt x="92" y="133"/>
                  </a:lnTo>
                  <a:lnTo>
                    <a:pt x="94" y="130"/>
                  </a:lnTo>
                  <a:lnTo>
                    <a:pt x="97" y="130"/>
                  </a:lnTo>
                  <a:lnTo>
                    <a:pt x="100" y="131"/>
                  </a:lnTo>
                  <a:lnTo>
                    <a:pt x="105" y="131"/>
                  </a:lnTo>
                  <a:lnTo>
                    <a:pt x="106" y="133"/>
                  </a:lnTo>
                  <a:lnTo>
                    <a:pt x="105" y="135"/>
                  </a:lnTo>
                  <a:lnTo>
                    <a:pt x="100" y="136"/>
                  </a:lnTo>
                  <a:lnTo>
                    <a:pt x="97" y="135"/>
                  </a:lnTo>
                  <a:lnTo>
                    <a:pt x="94" y="134"/>
                  </a:lnTo>
                  <a:lnTo>
                    <a:pt x="92" y="133"/>
                  </a:lnTo>
                  <a:lnTo>
                    <a:pt x="89" y="134"/>
                  </a:lnTo>
                  <a:lnTo>
                    <a:pt x="86" y="134"/>
                  </a:lnTo>
                  <a:lnTo>
                    <a:pt x="84" y="132"/>
                  </a:lnTo>
                  <a:lnTo>
                    <a:pt x="82" y="130"/>
                  </a:lnTo>
                  <a:lnTo>
                    <a:pt x="82" y="127"/>
                  </a:lnTo>
                  <a:lnTo>
                    <a:pt x="79" y="125"/>
                  </a:lnTo>
                  <a:lnTo>
                    <a:pt x="76" y="124"/>
                  </a:lnTo>
                  <a:lnTo>
                    <a:pt x="74" y="125"/>
                  </a:lnTo>
                  <a:lnTo>
                    <a:pt x="76" y="128"/>
                  </a:lnTo>
                  <a:lnTo>
                    <a:pt x="78" y="128"/>
                  </a:lnTo>
                  <a:lnTo>
                    <a:pt x="84" y="134"/>
                  </a:lnTo>
                  <a:lnTo>
                    <a:pt x="84" y="136"/>
                  </a:lnTo>
                  <a:lnTo>
                    <a:pt x="87" y="135"/>
                  </a:lnTo>
                  <a:lnTo>
                    <a:pt x="93" y="136"/>
                  </a:lnTo>
                  <a:lnTo>
                    <a:pt x="95" y="139"/>
                  </a:lnTo>
                  <a:lnTo>
                    <a:pt x="95" y="141"/>
                  </a:lnTo>
                  <a:lnTo>
                    <a:pt x="89" y="139"/>
                  </a:lnTo>
                  <a:lnTo>
                    <a:pt x="87" y="140"/>
                  </a:lnTo>
                  <a:lnTo>
                    <a:pt x="85" y="143"/>
                  </a:lnTo>
                  <a:lnTo>
                    <a:pt x="85" y="143"/>
                  </a:lnTo>
                  <a:lnTo>
                    <a:pt x="83" y="144"/>
                  </a:lnTo>
                  <a:lnTo>
                    <a:pt x="80" y="143"/>
                  </a:lnTo>
                  <a:lnTo>
                    <a:pt x="77" y="144"/>
                  </a:lnTo>
                  <a:lnTo>
                    <a:pt x="75" y="144"/>
                  </a:lnTo>
                  <a:lnTo>
                    <a:pt x="71" y="142"/>
                  </a:lnTo>
                  <a:lnTo>
                    <a:pt x="69" y="142"/>
                  </a:lnTo>
                  <a:lnTo>
                    <a:pt x="67" y="143"/>
                  </a:lnTo>
                  <a:lnTo>
                    <a:pt x="63" y="143"/>
                  </a:lnTo>
                  <a:lnTo>
                    <a:pt x="58" y="143"/>
                  </a:lnTo>
                  <a:lnTo>
                    <a:pt x="56" y="140"/>
                  </a:lnTo>
                  <a:lnTo>
                    <a:pt x="53" y="140"/>
                  </a:lnTo>
                  <a:lnTo>
                    <a:pt x="56" y="140"/>
                  </a:lnTo>
                  <a:lnTo>
                    <a:pt x="58" y="134"/>
                  </a:lnTo>
                  <a:lnTo>
                    <a:pt x="58" y="132"/>
                  </a:lnTo>
                  <a:lnTo>
                    <a:pt x="50" y="132"/>
                  </a:lnTo>
                  <a:lnTo>
                    <a:pt x="48" y="132"/>
                  </a:lnTo>
                  <a:lnTo>
                    <a:pt x="42" y="134"/>
                  </a:lnTo>
                  <a:lnTo>
                    <a:pt x="36" y="135"/>
                  </a:lnTo>
                  <a:lnTo>
                    <a:pt x="32" y="137"/>
                  </a:lnTo>
                  <a:lnTo>
                    <a:pt x="31" y="140"/>
                  </a:lnTo>
                  <a:lnTo>
                    <a:pt x="34" y="141"/>
                  </a:lnTo>
                  <a:lnTo>
                    <a:pt x="31" y="142"/>
                  </a:lnTo>
                  <a:lnTo>
                    <a:pt x="26" y="141"/>
                  </a:lnTo>
                  <a:lnTo>
                    <a:pt x="23" y="141"/>
                  </a:lnTo>
                  <a:lnTo>
                    <a:pt x="17" y="144"/>
                  </a:lnTo>
                  <a:lnTo>
                    <a:pt x="15" y="147"/>
                  </a:lnTo>
                  <a:lnTo>
                    <a:pt x="12" y="148"/>
                  </a:lnTo>
                  <a:lnTo>
                    <a:pt x="10" y="148"/>
                  </a:lnTo>
                  <a:lnTo>
                    <a:pt x="7" y="149"/>
                  </a:lnTo>
                  <a:lnTo>
                    <a:pt x="6" y="151"/>
                  </a:lnTo>
                  <a:lnTo>
                    <a:pt x="2" y="151"/>
                  </a:lnTo>
                  <a:lnTo>
                    <a:pt x="0" y="153"/>
                  </a:lnTo>
                  <a:lnTo>
                    <a:pt x="0" y="154"/>
                  </a:lnTo>
                  <a:lnTo>
                    <a:pt x="8" y="158"/>
                  </a:lnTo>
                  <a:lnTo>
                    <a:pt x="14" y="159"/>
                  </a:lnTo>
                  <a:lnTo>
                    <a:pt x="16" y="159"/>
                  </a:lnTo>
                  <a:lnTo>
                    <a:pt x="18" y="160"/>
                  </a:lnTo>
                  <a:lnTo>
                    <a:pt x="16" y="159"/>
                  </a:lnTo>
                  <a:lnTo>
                    <a:pt x="24" y="160"/>
                  </a:lnTo>
                  <a:lnTo>
                    <a:pt x="27" y="162"/>
                  </a:lnTo>
                  <a:lnTo>
                    <a:pt x="22" y="162"/>
                  </a:lnTo>
                  <a:lnTo>
                    <a:pt x="19" y="165"/>
                  </a:lnTo>
                  <a:lnTo>
                    <a:pt x="17" y="165"/>
                  </a:lnTo>
                  <a:lnTo>
                    <a:pt x="15" y="162"/>
                  </a:lnTo>
                  <a:lnTo>
                    <a:pt x="16" y="166"/>
                  </a:lnTo>
                  <a:lnTo>
                    <a:pt x="18" y="168"/>
                  </a:lnTo>
                  <a:lnTo>
                    <a:pt x="22" y="170"/>
                  </a:lnTo>
                  <a:lnTo>
                    <a:pt x="20" y="173"/>
                  </a:lnTo>
                  <a:lnTo>
                    <a:pt x="23" y="175"/>
                  </a:lnTo>
                  <a:lnTo>
                    <a:pt x="25" y="176"/>
                  </a:lnTo>
                  <a:lnTo>
                    <a:pt x="36" y="178"/>
                  </a:lnTo>
                  <a:lnTo>
                    <a:pt x="39" y="179"/>
                  </a:lnTo>
                  <a:lnTo>
                    <a:pt x="50" y="177"/>
                  </a:lnTo>
                  <a:lnTo>
                    <a:pt x="59" y="176"/>
                  </a:lnTo>
                  <a:lnTo>
                    <a:pt x="61" y="177"/>
                  </a:lnTo>
                  <a:lnTo>
                    <a:pt x="63" y="178"/>
                  </a:lnTo>
                  <a:lnTo>
                    <a:pt x="67" y="181"/>
                  </a:lnTo>
                  <a:lnTo>
                    <a:pt x="66" y="175"/>
                  </a:lnTo>
                  <a:lnTo>
                    <a:pt x="71" y="179"/>
                  </a:lnTo>
                  <a:lnTo>
                    <a:pt x="74" y="181"/>
                  </a:lnTo>
                  <a:lnTo>
                    <a:pt x="75" y="178"/>
                  </a:lnTo>
                  <a:lnTo>
                    <a:pt x="77" y="176"/>
                  </a:lnTo>
                  <a:lnTo>
                    <a:pt x="80" y="174"/>
                  </a:lnTo>
                  <a:lnTo>
                    <a:pt x="83" y="174"/>
                  </a:lnTo>
                  <a:lnTo>
                    <a:pt x="85" y="171"/>
                  </a:lnTo>
                  <a:lnTo>
                    <a:pt x="88" y="173"/>
                  </a:lnTo>
                  <a:lnTo>
                    <a:pt x="91" y="171"/>
                  </a:lnTo>
                  <a:lnTo>
                    <a:pt x="93" y="169"/>
                  </a:lnTo>
                  <a:lnTo>
                    <a:pt x="96" y="168"/>
                  </a:lnTo>
                  <a:lnTo>
                    <a:pt x="95" y="170"/>
                  </a:lnTo>
                  <a:lnTo>
                    <a:pt x="97" y="171"/>
                  </a:lnTo>
                  <a:lnTo>
                    <a:pt x="99" y="175"/>
                  </a:lnTo>
                  <a:lnTo>
                    <a:pt x="96" y="177"/>
                  </a:lnTo>
                  <a:lnTo>
                    <a:pt x="94" y="178"/>
                  </a:lnTo>
                  <a:lnTo>
                    <a:pt x="91" y="177"/>
                  </a:lnTo>
                  <a:lnTo>
                    <a:pt x="91" y="179"/>
                  </a:lnTo>
                  <a:lnTo>
                    <a:pt x="93" y="181"/>
                  </a:lnTo>
                  <a:lnTo>
                    <a:pt x="96" y="185"/>
                  </a:lnTo>
                  <a:lnTo>
                    <a:pt x="97" y="188"/>
                  </a:lnTo>
                  <a:lnTo>
                    <a:pt x="99" y="191"/>
                  </a:lnTo>
                  <a:lnTo>
                    <a:pt x="99" y="194"/>
                  </a:lnTo>
                  <a:lnTo>
                    <a:pt x="97" y="196"/>
                  </a:lnTo>
                  <a:lnTo>
                    <a:pt x="95" y="199"/>
                  </a:lnTo>
                  <a:lnTo>
                    <a:pt x="92" y="201"/>
                  </a:lnTo>
                  <a:lnTo>
                    <a:pt x="84" y="201"/>
                  </a:lnTo>
                  <a:lnTo>
                    <a:pt x="80" y="200"/>
                  </a:lnTo>
                  <a:lnTo>
                    <a:pt x="78" y="200"/>
                  </a:lnTo>
                  <a:lnTo>
                    <a:pt x="74" y="205"/>
                  </a:lnTo>
                  <a:lnTo>
                    <a:pt x="71" y="207"/>
                  </a:lnTo>
                  <a:lnTo>
                    <a:pt x="68" y="209"/>
                  </a:lnTo>
                  <a:lnTo>
                    <a:pt x="66" y="210"/>
                  </a:lnTo>
                  <a:lnTo>
                    <a:pt x="63" y="210"/>
                  </a:lnTo>
                  <a:lnTo>
                    <a:pt x="60" y="210"/>
                  </a:lnTo>
                  <a:lnTo>
                    <a:pt x="58" y="211"/>
                  </a:lnTo>
                  <a:lnTo>
                    <a:pt x="60" y="209"/>
                  </a:lnTo>
                  <a:lnTo>
                    <a:pt x="59" y="207"/>
                  </a:lnTo>
                  <a:lnTo>
                    <a:pt x="54" y="205"/>
                  </a:lnTo>
                  <a:lnTo>
                    <a:pt x="49" y="207"/>
                  </a:lnTo>
                  <a:lnTo>
                    <a:pt x="48" y="209"/>
                  </a:lnTo>
                  <a:lnTo>
                    <a:pt x="50" y="211"/>
                  </a:lnTo>
                  <a:lnTo>
                    <a:pt x="46" y="210"/>
                  </a:lnTo>
                  <a:lnTo>
                    <a:pt x="44" y="213"/>
                  </a:lnTo>
                  <a:lnTo>
                    <a:pt x="44" y="216"/>
                  </a:lnTo>
                  <a:lnTo>
                    <a:pt x="43" y="216"/>
                  </a:lnTo>
                  <a:lnTo>
                    <a:pt x="45" y="219"/>
                  </a:lnTo>
                  <a:lnTo>
                    <a:pt x="49" y="217"/>
                  </a:lnTo>
                  <a:lnTo>
                    <a:pt x="45" y="219"/>
                  </a:lnTo>
                  <a:lnTo>
                    <a:pt x="44" y="222"/>
                  </a:lnTo>
                  <a:lnTo>
                    <a:pt x="46" y="222"/>
                  </a:lnTo>
                  <a:lnTo>
                    <a:pt x="44" y="222"/>
                  </a:lnTo>
                  <a:lnTo>
                    <a:pt x="42" y="221"/>
                  </a:lnTo>
                  <a:lnTo>
                    <a:pt x="40" y="221"/>
                  </a:lnTo>
                  <a:lnTo>
                    <a:pt x="32" y="230"/>
                  </a:lnTo>
                  <a:lnTo>
                    <a:pt x="31" y="233"/>
                  </a:lnTo>
                  <a:lnTo>
                    <a:pt x="33" y="235"/>
                  </a:lnTo>
                  <a:lnTo>
                    <a:pt x="31" y="236"/>
                  </a:lnTo>
                  <a:lnTo>
                    <a:pt x="28" y="238"/>
                  </a:lnTo>
                  <a:lnTo>
                    <a:pt x="31" y="239"/>
                  </a:lnTo>
                  <a:lnTo>
                    <a:pt x="28" y="239"/>
                  </a:lnTo>
                  <a:lnTo>
                    <a:pt x="25" y="239"/>
                  </a:lnTo>
                  <a:lnTo>
                    <a:pt x="27" y="242"/>
                  </a:lnTo>
                  <a:lnTo>
                    <a:pt x="29" y="244"/>
                  </a:lnTo>
                  <a:lnTo>
                    <a:pt x="29" y="246"/>
                  </a:lnTo>
                  <a:lnTo>
                    <a:pt x="33" y="248"/>
                  </a:lnTo>
                  <a:lnTo>
                    <a:pt x="33" y="251"/>
                  </a:lnTo>
                  <a:lnTo>
                    <a:pt x="36" y="250"/>
                  </a:lnTo>
                  <a:lnTo>
                    <a:pt x="39" y="247"/>
                  </a:lnTo>
                  <a:lnTo>
                    <a:pt x="39" y="244"/>
                  </a:lnTo>
                  <a:lnTo>
                    <a:pt x="44" y="241"/>
                  </a:lnTo>
                  <a:lnTo>
                    <a:pt x="45" y="241"/>
                  </a:lnTo>
                  <a:lnTo>
                    <a:pt x="43" y="243"/>
                  </a:lnTo>
                  <a:lnTo>
                    <a:pt x="41" y="244"/>
                  </a:lnTo>
                  <a:lnTo>
                    <a:pt x="36" y="250"/>
                  </a:lnTo>
                  <a:lnTo>
                    <a:pt x="40" y="248"/>
                  </a:lnTo>
                  <a:lnTo>
                    <a:pt x="40" y="251"/>
                  </a:lnTo>
                  <a:lnTo>
                    <a:pt x="42" y="253"/>
                  </a:lnTo>
                  <a:lnTo>
                    <a:pt x="40" y="255"/>
                  </a:lnTo>
                  <a:lnTo>
                    <a:pt x="43" y="254"/>
                  </a:lnTo>
                  <a:lnTo>
                    <a:pt x="45" y="254"/>
                  </a:lnTo>
                  <a:lnTo>
                    <a:pt x="49" y="256"/>
                  </a:lnTo>
                  <a:lnTo>
                    <a:pt x="54" y="256"/>
                  </a:lnTo>
                  <a:lnTo>
                    <a:pt x="59" y="253"/>
                  </a:lnTo>
                  <a:lnTo>
                    <a:pt x="59" y="256"/>
                  </a:lnTo>
                  <a:lnTo>
                    <a:pt x="57" y="256"/>
                  </a:lnTo>
                  <a:lnTo>
                    <a:pt x="59" y="256"/>
                  </a:lnTo>
                  <a:lnTo>
                    <a:pt x="61" y="258"/>
                  </a:lnTo>
                  <a:lnTo>
                    <a:pt x="62" y="260"/>
                  </a:lnTo>
                  <a:lnTo>
                    <a:pt x="59" y="262"/>
                  </a:lnTo>
                  <a:lnTo>
                    <a:pt x="57" y="261"/>
                  </a:lnTo>
                  <a:lnTo>
                    <a:pt x="57" y="258"/>
                  </a:lnTo>
                  <a:lnTo>
                    <a:pt x="54" y="259"/>
                  </a:lnTo>
                  <a:lnTo>
                    <a:pt x="49" y="262"/>
                  </a:lnTo>
                  <a:lnTo>
                    <a:pt x="51" y="260"/>
                  </a:lnTo>
                  <a:lnTo>
                    <a:pt x="50" y="258"/>
                  </a:lnTo>
                  <a:lnTo>
                    <a:pt x="48" y="258"/>
                  </a:lnTo>
                  <a:lnTo>
                    <a:pt x="44" y="255"/>
                  </a:lnTo>
                  <a:lnTo>
                    <a:pt x="42" y="255"/>
                  </a:lnTo>
                  <a:lnTo>
                    <a:pt x="41" y="258"/>
                  </a:lnTo>
                  <a:lnTo>
                    <a:pt x="36" y="263"/>
                  </a:lnTo>
                  <a:lnTo>
                    <a:pt x="42" y="263"/>
                  </a:lnTo>
                  <a:lnTo>
                    <a:pt x="40" y="265"/>
                  </a:lnTo>
                  <a:lnTo>
                    <a:pt x="42" y="267"/>
                  </a:lnTo>
                  <a:lnTo>
                    <a:pt x="44" y="268"/>
                  </a:lnTo>
                  <a:lnTo>
                    <a:pt x="45" y="268"/>
                  </a:lnTo>
                  <a:lnTo>
                    <a:pt x="51" y="272"/>
                  </a:lnTo>
                  <a:lnTo>
                    <a:pt x="53" y="273"/>
                  </a:lnTo>
                  <a:lnTo>
                    <a:pt x="53" y="277"/>
                  </a:lnTo>
                  <a:lnTo>
                    <a:pt x="56" y="278"/>
                  </a:lnTo>
                  <a:lnTo>
                    <a:pt x="58" y="278"/>
                  </a:lnTo>
                  <a:lnTo>
                    <a:pt x="63" y="278"/>
                  </a:lnTo>
                  <a:lnTo>
                    <a:pt x="67" y="277"/>
                  </a:lnTo>
                  <a:lnTo>
                    <a:pt x="69" y="276"/>
                  </a:lnTo>
                  <a:lnTo>
                    <a:pt x="71" y="273"/>
                  </a:lnTo>
                  <a:lnTo>
                    <a:pt x="75" y="273"/>
                  </a:lnTo>
                  <a:lnTo>
                    <a:pt x="76" y="272"/>
                  </a:lnTo>
                  <a:lnTo>
                    <a:pt x="76" y="270"/>
                  </a:lnTo>
                  <a:lnTo>
                    <a:pt x="75" y="267"/>
                  </a:lnTo>
                  <a:lnTo>
                    <a:pt x="77" y="264"/>
                  </a:lnTo>
                  <a:lnTo>
                    <a:pt x="80" y="259"/>
                  </a:lnTo>
                  <a:lnTo>
                    <a:pt x="82" y="260"/>
                  </a:lnTo>
                  <a:lnTo>
                    <a:pt x="84" y="260"/>
                  </a:lnTo>
                  <a:lnTo>
                    <a:pt x="82" y="261"/>
                  </a:lnTo>
                  <a:lnTo>
                    <a:pt x="79" y="263"/>
                  </a:lnTo>
                  <a:lnTo>
                    <a:pt x="77" y="267"/>
                  </a:lnTo>
                  <a:lnTo>
                    <a:pt x="77" y="269"/>
                  </a:lnTo>
                  <a:lnTo>
                    <a:pt x="79" y="271"/>
                  </a:lnTo>
                  <a:lnTo>
                    <a:pt x="79" y="273"/>
                  </a:lnTo>
                  <a:lnTo>
                    <a:pt x="83" y="279"/>
                  </a:lnTo>
                  <a:lnTo>
                    <a:pt x="84" y="281"/>
                  </a:lnTo>
                  <a:lnTo>
                    <a:pt x="86" y="284"/>
                  </a:lnTo>
                  <a:lnTo>
                    <a:pt x="84" y="286"/>
                  </a:lnTo>
                  <a:lnTo>
                    <a:pt x="82" y="289"/>
                  </a:lnTo>
                  <a:lnTo>
                    <a:pt x="84" y="291"/>
                  </a:lnTo>
                  <a:lnTo>
                    <a:pt x="87" y="293"/>
                  </a:lnTo>
                  <a:lnTo>
                    <a:pt x="84" y="294"/>
                  </a:lnTo>
                  <a:lnTo>
                    <a:pt x="85" y="299"/>
                  </a:lnTo>
                  <a:lnTo>
                    <a:pt x="83" y="301"/>
                  </a:lnTo>
                  <a:lnTo>
                    <a:pt x="80" y="301"/>
                  </a:lnTo>
                  <a:lnTo>
                    <a:pt x="88" y="302"/>
                  </a:lnTo>
                  <a:lnTo>
                    <a:pt x="91" y="301"/>
                  </a:lnTo>
                  <a:lnTo>
                    <a:pt x="92" y="298"/>
                  </a:lnTo>
                  <a:lnTo>
                    <a:pt x="94" y="298"/>
                  </a:lnTo>
                  <a:lnTo>
                    <a:pt x="100" y="296"/>
                  </a:lnTo>
                  <a:lnTo>
                    <a:pt x="102" y="294"/>
                  </a:lnTo>
                  <a:lnTo>
                    <a:pt x="105" y="293"/>
                  </a:lnTo>
                  <a:lnTo>
                    <a:pt x="106" y="296"/>
                  </a:lnTo>
                  <a:lnTo>
                    <a:pt x="110" y="297"/>
                  </a:lnTo>
                  <a:lnTo>
                    <a:pt x="112" y="298"/>
                  </a:lnTo>
                  <a:lnTo>
                    <a:pt x="113" y="296"/>
                  </a:lnTo>
                  <a:lnTo>
                    <a:pt x="116" y="297"/>
                  </a:lnTo>
                  <a:lnTo>
                    <a:pt x="119" y="301"/>
                  </a:lnTo>
                  <a:lnTo>
                    <a:pt x="122" y="305"/>
                  </a:lnTo>
                  <a:lnTo>
                    <a:pt x="123" y="306"/>
                  </a:lnTo>
                  <a:lnTo>
                    <a:pt x="127" y="304"/>
                  </a:lnTo>
                  <a:lnTo>
                    <a:pt x="125" y="301"/>
                  </a:lnTo>
                  <a:lnTo>
                    <a:pt x="130" y="293"/>
                  </a:lnTo>
                  <a:lnTo>
                    <a:pt x="129" y="290"/>
                  </a:lnTo>
                  <a:lnTo>
                    <a:pt x="131" y="293"/>
                  </a:lnTo>
                  <a:lnTo>
                    <a:pt x="135" y="294"/>
                  </a:lnTo>
                  <a:lnTo>
                    <a:pt x="136" y="295"/>
                  </a:lnTo>
                  <a:lnTo>
                    <a:pt x="133" y="294"/>
                  </a:lnTo>
                  <a:lnTo>
                    <a:pt x="130" y="296"/>
                  </a:lnTo>
                  <a:lnTo>
                    <a:pt x="129" y="298"/>
                  </a:lnTo>
                  <a:lnTo>
                    <a:pt x="134" y="302"/>
                  </a:lnTo>
                  <a:lnTo>
                    <a:pt x="136" y="302"/>
                  </a:lnTo>
                  <a:lnTo>
                    <a:pt x="142" y="299"/>
                  </a:lnTo>
                  <a:lnTo>
                    <a:pt x="150" y="296"/>
                  </a:lnTo>
                  <a:lnTo>
                    <a:pt x="153" y="294"/>
                  </a:lnTo>
                  <a:lnTo>
                    <a:pt x="154" y="291"/>
                  </a:lnTo>
                  <a:lnTo>
                    <a:pt x="153" y="294"/>
                  </a:lnTo>
                  <a:lnTo>
                    <a:pt x="151" y="297"/>
                  </a:lnTo>
                  <a:lnTo>
                    <a:pt x="152" y="299"/>
                  </a:lnTo>
                  <a:lnTo>
                    <a:pt x="148" y="301"/>
                  </a:lnTo>
                  <a:lnTo>
                    <a:pt x="143" y="306"/>
                  </a:lnTo>
                  <a:lnTo>
                    <a:pt x="144" y="308"/>
                  </a:lnTo>
                  <a:lnTo>
                    <a:pt x="146" y="310"/>
                  </a:lnTo>
                  <a:lnTo>
                    <a:pt x="148" y="311"/>
                  </a:lnTo>
                  <a:lnTo>
                    <a:pt x="146" y="310"/>
                  </a:lnTo>
                  <a:lnTo>
                    <a:pt x="143" y="311"/>
                  </a:lnTo>
                  <a:lnTo>
                    <a:pt x="143" y="313"/>
                  </a:lnTo>
                  <a:lnTo>
                    <a:pt x="142" y="316"/>
                  </a:lnTo>
                  <a:lnTo>
                    <a:pt x="142" y="319"/>
                  </a:lnTo>
                  <a:lnTo>
                    <a:pt x="143" y="324"/>
                  </a:lnTo>
                  <a:lnTo>
                    <a:pt x="145" y="323"/>
                  </a:lnTo>
                  <a:lnTo>
                    <a:pt x="145" y="324"/>
                  </a:lnTo>
                  <a:lnTo>
                    <a:pt x="142" y="324"/>
                  </a:lnTo>
                  <a:lnTo>
                    <a:pt x="142" y="323"/>
                  </a:lnTo>
                  <a:lnTo>
                    <a:pt x="138" y="324"/>
                  </a:lnTo>
                  <a:lnTo>
                    <a:pt x="136" y="327"/>
                  </a:lnTo>
                  <a:lnTo>
                    <a:pt x="133" y="328"/>
                  </a:lnTo>
                  <a:lnTo>
                    <a:pt x="128" y="332"/>
                  </a:lnTo>
                  <a:lnTo>
                    <a:pt x="128" y="336"/>
                  </a:lnTo>
                  <a:lnTo>
                    <a:pt x="126" y="338"/>
                  </a:lnTo>
                  <a:lnTo>
                    <a:pt x="123" y="337"/>
                  </a:lnTo>
                  <a:lnTo>
                    <a:pt x="120" y="340"/>
                  </a:lnTo>
                  <a:lnTo>
                    <a:pt x="112" y="342"/>
                  </a:lnTo>
                  <a:lnTo>
                    <a:pt x="106" y="347"/>
                  </a:lnTo>
                  <a:lnTo>
                    <a:pt x="104" y="349"/>
                  </a:lnTo>
                  <a:lnTo>
                    <a:pt x="103" y="352"/>
                  </a:lnTo>
                  <a:lnTo>
                    <a:pt x="103" y="355"/>
                  </a:lnTo>
                  <a:lnTo>
                    <a:pt x="104" y="357"/>
                  </a:lnTo>
                  <a:lnTo>
                    <a:pt x="102" y="356"/>
                  </a:lnTo>
                  <a:lnTo>
                    <a:pt x="99" y="356"/>
                  </a:lnTo>
                  <a:lnTo>
                    <a:pt x="99" y="358"/>
                  </a:lnTo>
                  <a:lnTo>
                    <a:pt x="97" y="356"/>
                  </a:lnTo>
                  <a:lnTo>
                    <a:pt x="97" y="354"/>
                  </a:lnTo>
                  <a:lnTo>
                    <a:pt x="95" y="355"/>
                  </a:lnTo>
                  <a:lnTo>
                    <a:pt x="92" y="354"/>
                  </a:lnTo>
                  <a:lnTo>
                    <a:pt x="80" y="357"/>
                  </a:lnTo>
                  <a:lnTo>
                    <a:pt x="78" y="359"/>
                  </a:lnTo>
                  <a:lnTo>
                    <a:pt x="76" y="363"/>
                  </a:lnTo>
                  <a:lnTo>
                    <a:pt x="76" y="365"/>
                  </a:lnTo>
                  <a:lnTo>
                    <a:pt x="72" y="366"/>
                  </a:lnTo>
                  <a:lnTo>
                    <a:pt x="70" y="368"/>
                  </a:lnTo>
                  <a:lnTo>
                    <a:pt x="67" y="368"/>
                  </a:lnTo>
                  <a:lnTo>
                    <a:pt x="65" y="370"/>
                  </a:lnTo>
                  <a:lnTo>
                    <a:pt x="65" y="373"/>
                  </a:lnTo>
                  <a:lnTo>
                    <a:pt x="66" y="375"/>
                  </a:lnTo>
                  <a:lnTo>
                    <a:pt x="67" y="373"/>
                  </a:lnTo>
                  <a:lnTo>
                    <a:pt x="66" y="370"/>
                  </a:lnTo>
                  <a:lnTo>
                    <a:pt x="69" y="373"/>
                  </a:lnTo>
                  <a:lnTo>
                    <a:pt x="71" y="374"/>
                  </a:lnTo>
                  <a:lnTo>
                    <a:pt x="75" y="373"/>
                  </a:lnTo>
                  <a:lnTo>
                    <a:pt x="74" y="370"/>
                  </a:lnTo>
                  <a:lnTo>
                    <a:pt x="72" y="367"/>
                  </a:lnTo>
                  <a:lnTo>
                    <a:pt x="76" y="368"/>
                  </a:lnTo>
                  <a:lnTo>
                    <a:pt x="77" y="372"/>
                  </a:lnTo>
                  <a:lnTo>
                    <a:pt x="80" y="370"/>
                  </a:lnTo>
                  <a:lnTo>
                    <a:pt x="83" y="370"/>
                  </a:lnTo>
                  <a:lnTo>
                    <a:pt x="84" y="367"/>
                  </a:lnTo>
                  <a:lnTo>
                    <a:pt x="86" y="364"/>
                  </a:lnTo>
                  <a:lnTo>
                    <a:pt x="87" y="362"/>
                  </a:lnTo>
                  <a:lnTo>
                    <a:pt x="89" y="361"/>
                  </a:lnTo>
                  <a:lnTo>
                    <a:pt x="93" y="362"/>
                  </a:lnTo>
                  <a:lnTo>
                    <a:pt x="89" y="363"/>
                  </a:lnTo>
                  <a:lnTo>
                    <a:pt x="89" y="365"/>
                  </a:lnTo>
                  <a:lnTo>
                    <a:pt x="93" y="366"/>
                  </a:lnTo>
                  <a:lnTo>
                    <a:pt x="97" y="363"/>
                  </a:lnTo>
                  <a:lnTo>
                    <a:pt x="101" y="362"/>
                  </a:lnTo>
                  <a:lnTo>
                    <a:pt x="103" y="363"/>
                  </a:lnTo>
                  <a:lnTo>
                    <a:pt x="104" y="359"/>
                  </a:lnTo>
                  <a:lnTo>
                    <a:pt x="106" y="359"/>
                  </a:lnTo>
                  <a:lnTo>
                    <a:pt x="110" y="357"/>
                  </a:lnTo>
                  <a:lnTo>
                    <a:pt x="111" y="357"/>
                  </a:lnTo>
                  <a:lnTo>
                    <a:pt x="114" y="358"/>
                  </a:lnTo>
                  <a:lnTo>
                    <a:pt x="113" y="361"/>
                  </a:lnTo>
                  <a:lnTo>
                    <a:pt x="116" y="361"/>
                  </a:lnTo>
                  <a:lnTo>
                    <a:pt x="117" y="357"/>
                  </a:lnTo>
                  <a:lnTo>
                    <a:pt x="120" y="355"/>
                  </a:lnTo>
                  <a:lnTo>
                    <a:pt x="122" y="355"/>
                  </a:lnTo>
                  <a:lnTo>
                    <a:pt x="126" y="353"/>
                  </a:lnTo>
                  <a:lnTo>
                    <a:pt x="128" y="354"/>
                  </a:lnTo>
                  <a:lnTo>
                    <a:pt x="129" y="350"/>
                  </a:lnTo>
                  <a:lnTo>
                    <a:pt x="130" y="354"/>
                  </a:lnTo>
                  <a:lnTo>
                    <a:pt x="131" y="353"/>
                  </a:lnTo>
                  <a:lnTo>
                    <a:pt x="133" y="350"/>
                  </a:lnTo>
                  <a:lnTo>
                    <a:pt x="135" y="349"/>
                  </a:lnTo>
                  <a:lnTo>
                    <a:pt x="133" y="349"/>
                  </a:lnTo>
                  <a:lnTo>
                    <a:pt x="133" y="347"/>
                  </a:lnTo>
                  <a:lnTo>
                    <a:pt x="129" y="347"/>
                  </a:lnTo>
                  <a:lnTo>
                    <a:pt x="133" y="344"/>
                  </a:lnTo>
                  <a:lnTo>
                    <a:pt x="135" y="344"/>
                  </a:lnTo>
                  <a:lnTo>
                    <a:pt x="138" y="342"/>
                  </a:lnTo>
                  <a:lnTo>
                    <a:pt x="135" y="342"/>
                  </a:lnTo>
                  <a:lnTo>
                    <a:pt x="138" y="341"/>
                  </a:lnTo>
                  <a:lnTo>
                    <a:pt x="140" y="340"/>
                  </a:lnTo>
                  <a:lnTo>
                    <a:pt x="143" y="339"/>
                  </a:lnTo>
                  <a:lnTo>
                    <a:pt x="146" y="337"/>
                  </a:lnTo>
                  <a:lnTo>
                    <a:pt x="150" y="337"/>
                  </a:lnTo>
                  <a:lnTo>
                    <a:pt x="152" y="335"/>
                  </a:lnTo>
                  <a:lnTo>
                    <a:pt x="157" y="332"/>
                  </a:lnTo>
                  <a:lnTo>
                    <a:pt x="159" y="330"/>
                  </a:lnTo>
                  <a:lnTo>
                    <a:pt x="157" y="328"/>
                  </a:lnTo>
                  <a:lnTo>
                    <a:pt x="160" y="325"/>
                  </a:lnTo>
                  <a:lnTo>
                    <a:pt x="165" y="323"/>
                  </a:lnTo>
                  <a:lnTo>
                    <a:pt x="168" y="323"/>
                  </a:lnTo>
                  <a:lnTo>
                    <a:pt x="169" y="321"/>
                  </a:lnTo>
                  <a:lnTo>
                    <a:pt x="172" y="319"/>
                  </a:lnTo>
                  <a:lnTo>
                    <a:pt x="177" y="316"/>
                  </a:lnTo>
                  <a:lnTo>
                    <a:pt x="179" y="314"/>
                  </a:lnTo>
                  <a:lnTo>
                    <a:pt x="185" y="312"/>
                  </a:lnTo>
                  <a:lnTo>
                    <a:pt x="187" y="313"/>
                  </a:lnTo>
                  <a:lnTo>
                    <a:pt x="189" y="310"/>
                  </a:lnTo>
                  <a:lnTo>
                    <a:pt x="189" y="307"/>
                  </a:lnTo>
                  <a:lnTo>
                    <a:pt x="190" y="305"/>
                  </a:lnTo>
                  <a:lnTo>
                    <a:pt x="194" y="302"/>
                  </a:lnTo>
                  <a:lnTo>
                    <a:pt x="196" y="302"/>
                  </a:lnTo>
                  <a:lnTo>
                    <a:pt x="198" y="301"/>
                  </a:lnTo>
                  <a:lnTo>
                    <a:pt x="200" y="297"/>
                  </a:lnTo>
                  <a:lnTo>
                    <a:pt x="199" y="295"/>
                  </a:lnTo>
                  <a:lnTo>
                    <a:pt x="197" y="294"/>
                  </a:lnTo>
                  <a:lnTo>
                    <a:pt x="195" y="293"/>
                  </a:lnTo>
                  <a:lnTo>
                    <a:pt x="189" y="293"/>
                  </a:lnTo>
                  <a:lnTo>
                    <a:pt x="189" y="291"/>
                  </a:lnTo>
                  <a:lnTo>
                    <a:pt x="190" y="287"/>
                  </a:lnTo>
                  <a:lnTo>
                    <a:pt x="193" y="286"/>
                  </a:lnTo>
                  <a:lnTo>
                    <a:pt x="194" y="284"/>
                  </a:lnTo>
                  <a:lnTo>
                    <a:pt x="196" y="281"/>
                  </a:lnTo>
                  <a:lnTo>
                    <a:pt x="202" y="280"/>
                  </a:lnTo>
                  <a:lnTo>
                    <a:pt x="204" y="280"/>
                  </a:lnTo>
                  <a:lnTo>
                    <a:pt x="205" y="277"/>
                  </a:lnTo>
                  <a:lnTo>
                    <a:pt x="202" y="277"/>
                  </a:lnTo>
                  <a:lnTo>
                    <a:pt x="207" y="276"/>
                  </a:lnTo>
                  <a:lnTo>
                    <a:pt x="211" y="273"/>
                  </a:lnTo>
                  <a:lnTo>
                    <a:pt x="211" y="272"/>
                  </a:lnTo>
                  <a:lnTo>
                    <a:pt x="206" y="268"/>
                  </a:lnTo>
                  <a:lnTo>
                    <a:pt x="208" y="269"/>
                  </a:lnTo>
                  <a:lnTo>
                    <a:pt x="211" y="269"/>
                  </a:lnTo>
                  <a:lnTo>
                    <a:pt x="214" y="268"/>
                  </a:lnTo>
                  <a:lnTo>
                    <a:pt x="214" y="264"/>
                  </a:lnTo>
                  <a:lnTo>
                    <a:pt x="216" y="262"/>
                  </a:lnTo>
                  <a:lnTo>
                    <a:pt x="220" y="260"/>
                  </a:lnTo>
                  <a:lnTo>
                    <a:pt x="222" y="258"/>
                  </a:lnTo>
                  <a:lnTo>
                    <a:pt x="223" y="255"/>
                  </a:lnTo>
                  <a:lnTo>
                    <a:pt x="225" y="253"/>
                  </a:lnTo>
                  <a:lnTo>
                    <a:pt x="231" y="252"/>
                  </a:lnTo>
                  <a:lnTo>
                    <a:pt x="233" y="248"/>
                  </a:lnTo>
                  <a:lnTo>
                    <a:pt x="237" y="248"/>
                  </a:lnTo>
                  <a:lnTo>
                    <a:pt x="239" y="245"/>
                  </a:lnTo>
                  <a:lnTo>
                    <a:pt x="241" y="248"/>
                  </a:lnTo>
                  <a:lnTo>
                    <a:pt x="247" y="248"/>
                  </a:lnTo>
                  <a:lnTo>
                    <a:pt x="249" y="245"/>
                  </a:lnTo>
                  <a:lnTo>
                    <a:pt x="251" y="243"/>
                  </a:lnTo>
                  <a:lnTo>
                    <a:pt x="255" y="244"/>
                  </a:lnTo>
                  <a:lnTo>
                    <a:pt x="249" y="246"/>
                  </a:lnTo>
                  <a:lnTo>
                    <a:pt x="247" y="248"/>
                  </a:lnTo>
                  <a:lnTo>
                    <a:pt x="247" y="251"/>
                  </a:lnTo>
                  <a:lnTo>
                    <a:pt x="251" y="253"/>
                  </a:lnTo>
                  <a:lnTo>
                    <a:pt x="257" y="255"/>
                  </a:lnTo>
                  <a:lnTo>
                    <a:pt x="249" y="254"/>
                  </a:lnTo>
                  <a:lnTo>
                    <a:pt x="246" y="255"/>
                  </a:lnTo>
                  <a:lnTo>
                    <a:pt x="240" y="253"/>
                  </a:lnTo>
                  <a:lnTo>
                    <a:pt x="237" y="254"/>
                  </a:lnTo>
                  <a:lnTo>
                    <a:pt x="232" y="258"/>
                  </a:lnTo>
                  <a:lnTo>
                    <a:pt x="229" y="258"/>
                  </a:lnTo>
                  <a:lnTo>
                    <a:pt x="228" y="261"/>
                  </a:lnTo>
                  <a:lnTo>
                    <a:pt x="229" y="263"/>
                  </a:lnTo>
                  <a:lnTo>
                    <a:pt x="229" y="267"/>
                  </a:lnTo>
                  <a:lnTo>
                    <a:pt x="228" y="269"/>
                  </a:lnTo>
                  <a:lnTo>
                    <a:pt x="223" y="273"/>
                  </a:lnTo>
                  <a:lnTo>
                    <a:pt x="221" y="278"/>
                  </a:lnTo>
                  <a:lnTo>
                    <a:pt x="223" y="280"/>
                  </a:lnTo>
                  <a:lnTo>
                    <a:pt x="225" y="281"/>
                  </a:lnTo>
                  <a:lnTo>
                    <a:pt x="229" y="280"/>
                  </a:lnTo>
                  <a:lnTo>
                    <a:pt x="231" y="280"/>
                  </a:lnTo>
                  <a:lnTo>
                    <a:pt x="229" y="282"/>
                  </a:lnTo>
                  <a:lnTo>
                    <a:pt x="227" y="285"/>
                  </a:lnTo>
                  <a:lnTo>
                    <a:pt x="223" y="285"/>
                  </a:lnTo>
                  <a:lnTo>
                    <a:pt x="221" y="286"/>
                  </a:lnTo>
                  <a:lnTo>
                    <a:pt x="220" y="289"/>
                  </a:lnTo>
                  <a:lnTo>
                    <a:pt x="222" y="290"/>
                  </a:lnTo>
                  <a:lnTo>
                    <a:pt x="231" y="288"/>
                  </a:lnTo>
                  <a:lnTo>
                    <a:pt x="233" y="289"/>
                  </a:lnTo>
                  <a:lnTo>
                    <a:pt x="236" y="287"/>
                  </a:lnTo>
                  <a:lnTo>
                    <a:pt x="238" y="285"/>
                  </a:lnTo>
                  <a:lnTo>
                    <a:pt x="239" y="282"/>
                  </a:lnTo>
                  <a:lnTo>
                    <a:pt x="241" y="282"/>
                  </a:lnTo>
                  <a:lnTo>
                    <a:pt x="244" y="279"/>
                  </a:lnTo>
                  <a:lnTo>
                    <a:pt x="244" y="282"/>
                  </a:lnTo>
                  <a:lnTo>
                    <a:pt x="247" y="281"/>
                  </a:lnTo>
                  <a:lnTo>
                    <a:pt x="247" y="278"/>
                  </a:lnTo>
                  <a:lnTo>
                    <a:pt x="250" y="279"/>
                  </a:lnTo>
                  <a:lnTo>
                    <a:pt x="249" y="277"/>
                  </a:lnTo>
                  <a:lnTo>
                    <a:pt x="251" y="277"/>
                  </a:lnTo>
                  <a:lnTo>
                    <a:pt x="253" y="279"/>
                  </a:lnTo>
                  <a:lnTo>
                    <a:pt x="253" y="277"/>
                  </a:lnTo>
                  <a:lnTo>
                    <a:pt x="255" y="273"/>
                  </a:lnTo>
                  <a:lnTo>
                    <a:pt x="256" y="273"/>
                  </a:lnTo>
                  <a:lnTo>
                    <a:pt x="256" y="277"/>
                  </a:lnTo>
                  <a:lnTo>
                    <a:pt x="257" y="273"/>
                  </a:lnTo>
                  <a:lnTo>
                    <a:pt x="264" y="274"/>
                  </a:lnTo>
                  <a:lnTo>
                    <a:pt x="266" y="273"/>
                  </a:lnTo>
                  <a:lnTo>
                    <a:pt x="268" y="273"/>
                  </a:lnTo>
                  <a:lnTo>
                    <a:pt x="268" y="271"/>
                  </a:lnTo>
                  <a:lnTo>
                    <a:pt x="272" y="271"/>
                  </a:lnTo>
                  <a:lnTo>
                    <a:pt x="270" y="268"/>
                  </a:lnTo>
                  <a:lnTo>
                    <a:pt x="273" y="265"/>
                  </a:lnTo>
                  <a:lnTo>
                    <a:pt x="274" y="263"/>
                  </a:lnTo>
                  <a:lnTo>
                    <a:pt x="272" y="262"/>
                  </a:lnTo>
                  <a:lnTo>
                    <a:pt x="268" y="263"/>
                  </a:lnTo>
                  <a:lnTo>
                    <a:pt x="266" y="263"/>
                  </a:lnTo>
                  <a:lnTo>
                    <a:pt x="268" y="262"/>
                  </a:lnTo>
                  <a:lnTo>
                    <a:pt x="271" y="261"/>
                  </a:lnTo>
                  <a:lnTo>
                    <a:pt x="271" y="258"/>
                  </a:lnTo>
                  <a:lnTo>
                    <a:pt x="268" y="261"/>
                  </a:lnTo>
                  <a:lnTo>
                    <a:pt x="267" y="258"/>
                  </a:lnTo>
                  <a:lnTo>
                    <a:pt x="265" y="260"/>
                  </a:lnTo>
                  <a:lnTo>
                    <a:pt x="266" y="256"/>
                  </a:lnTo>
                  <a:lnTo>
                    <a:pt x="270" y="256"/>
                  </a:lnTo>
                  <a:lnTo>
                    <a:pt x="271" y="254"/>
                  </a:lnTo>
                  <a:lnTo>
                    <a:pt x="271" y="251"/>
                  </a:lnTo>
                  <a:lnTo>
                    <a:pt x="273" y="253"/>
                  </a:lnTo>
                  <a:lnTo>
                    <a:pt x="275" y="250"/>
                  </a:lnTo>
                  <a:lnTo>
                    <a:pt x="278" y="247"/>
                  </a:lnTo>
                  <a:lnTo>
                    <a:pt x="278" y="250"/>
                  </a:lnTo>
                  <a:lnTo>
                    <a:pt x="275" y="252"/>
                  </a:lnTo>
                  <a:lnTo>
                    <a:pt x="274" y="255"/>
                  </a:lnTo>
                  <a:lnTo>
                    <a:pt x="280" y="256"/>
                  </a:lnTo>
                  <a:lnTo>
                    <a:pt x="280" y="253"/>
                  </a:lnTo>
                  <a:lnTo>
                    <a:pt x="281" y="251"/>
                  </a:lnTo>
                  <a:lnTo>
                    <a:pt x="281" y="253"/>
                  </a:lnTo>
                  <a:lnTo>
                    <a:pt x="287" y="253"/>
                  </a:lnTo>
                  <a:lnTo>
                    <a:pt x="289" y="254"/>
                  </a:lnTo>
                  <a:lnTo>
                    <a:pt x="292" y="252"/>
                  </a:lnTo>
                  <a:lnTo>
                    <a:pt x="295" y="251"/>
                  </a:lnTo>
                  <a:lnTo>
                    <a:pt x="298" y="252"/>
                  </a:lnTo>
                  <a:lnTo>
                    <a:pt x="295" y="252"/>
                  </a:lnTo>
                  <a:lnTo>
                    <a:pt x="292" y="253"/>
                  </a:lnTo>
                  <a:lnTo>
                    <a:pt x="292" y="255"/>
                  </a:lnTo>
                  <a:lnTo>
                    <a:pt x="295" y="258"/>
                  </a:lnTo>
                  <a:lnTo>
                    <a:pt x="298" y="256"/>
                  </a:lnTo>
                  <a:lnTo>
                    <a:pt x="300" y="256"/>
                  </a:lnTo>
                  <a:lnTo>
                    <a:pt x="296" y="258"/>
                  </a:lnTo>
                  <a:lnTo>
                    <a:pt x="293" y="260"/>
                  </a:lnTo>
                  <a:lnTo>
                    <a:pt x="296" y="260"/>
                  </a:lnTo>
                  <a:lnTo>
                    <a:pt x="301" y="258"/>
                  </a:lnTo>
                  <a:lnTo>
                    <a:pt x="300" y="261"/>
                  </a:lnTo>
                  <a:lnTo>
                    <a:pt x="302" y="260"/>
                  </a:lnTo>
                  <a:lnTo>
                    <a:pt x="306" y="262"/>
                  </a:lnTo>
                  <a:lnTo>
                    <a:pt x="304" y="264"/>
                  </a:lnTo>
                  <a:lnTo>
                    <a:pt x="307" y="264"/>
                  </a:lnTo>
                  <a:lnTo>
                    <a:pt x="309" y="267"/>
                  </a:lnTo>
                  <a:lnTo>
                    <a:pt x="313" y="265"/>
                  </a:lnTo>
                  <a:lnTo>
                    <a:pt x="317" y="261"/>
                  </a:lnTo>
                  <a:lnTo>
                    <a:pt x="321" y="259"/>
                  </a:lnTo>
                  <a:lnTo>
                    <a:pt x="321" y="260"/>
                  </a:lnTo>
                  <a:lnTo>
                    <a:pt x="317" y="262"/>
                  </a:lnTo>
                  <a:lnTo>
                    <a:pt x="317" y="268"/>
                  </a:lnTo>
                  <a:lnTo>
                    <a:pt x="319" y="269"/>
                  </a:lnTo>
                  <a:lnTo>
                    <a:pt x="323" y="270"/>
                  </a:lnTo>
                  <a:lnTo>
                    <a:pt x="325" y="271"/>
                  </a:lnTo>
                  <a:lnTo>
                    <a:pt x="326" y="273"/>
                  </a:lnTo>
                  <a:lnTo>
                    <a:pt x="331" y="273"/>
                  </a:lnTo>
                  <a:lnTo>
                    <a:pt x="333" y="273"/>
                  </a:lnTo>
                  <a:lnTo>
                    <a:pt x="347" y="271"/>
                  </a:lnTo>
                  <a:lnTo>
                    <a:pt x="349" y="272"/>
                  </a:lnTo>
                  <a:lnTo>
                    <a:pt x="358" y="273"/>
                  </a:lnTo>
                  <a:lnTo>
                    <a:pt x="360" y="274"/>
                  </a:lnTo>
                  <a:lnTo>
                    <a:pt x="364" y="273"/>
                  </a:lnTo>
                  <a:lnTo>
                    <a:pt x="365" y="271"/>
                  </a:lnTo>
                  <a:lnTo>
                    <a:pt x="366" y="273"/>
                  </a:lnTo>
                  <a:lnTo>
                    <a:pt x="365" y="277"/>
                  </a:lnTo>
                  <a:lnTo>
                    <a:pt x="373" y="279"/>
                  </a:lnTo>
                  <a:lnTo>
                    <a:pt x="378" y="280"/>
                  </a:lnTo>
                  <a:lnTo>
                    <a:pt x="381" y="279"/>
                  </a:lnTo>
                  <a:lnTo>
                    <a:pt x="384" y="278"/>
                  </a:lnTo>
                  <a:lnTo>
                    <a:pt x="386" y="277"/>
                  </a:lnTo>
                  <a:lnTo>
                    <a:pt x="390" y="273"/>
                  </a:lnTo>
                  <a:lnTo>
                    <a:pt x="392" y="273"/>
                  </a:lnTo>
                  <a:lnTo>
                    <a:pt x="393" y="276"/>
                  </a:lnTo>
                  <a:lnTo>
                    <a:pt x="399" y="278"/>
                  </a:lnTo>
                  <a:lnTo>
                    <a:pt x="396" y="277"/>
                  </a:lnTo>
                  <a:lnTo>
                    <a:pt x="393" y="279"/>
                  </a:lnTo>
                  <a:lnTo>
                    <a:pt x="393" y="282"/>
                  </a:lnTo>
                  <a:lnTo>
                    <a:pt x="393" y="277"/>
                  </a:lnTo>
                  <a:lnTo>
                    <a:pt x="390" y="274"/>
                  </a:lnTo>
                  <a:lnTo>
                    <a:pt x="390" y="277"/>
                  </a:lnTo>
                  <a:lnTo>
                    <a:pt x="391" y="280"/>
                  </a:lnTo>
                  <a:lnTo>
                    <a:pt x="389" y="282"/>
                  </a:lnTo>
                  <a:lnTo>
                    <a:pt x="385" y="284"/>
                  </a:lnTo>
                  <a:lnTo>
                    <a:pt x="389" y="285"/>
                  </a:lnTo>
                  <a:lnTo>
                    <a:pt x="391" y="286"/>
                  </a:lnTo>
                  <a:lnTo>
                    <a:pt x="393" y="287"/>
                  </a:lnTo>
                  <a:lnTo>
                    <a:pt x="396" y="288"/>
                  </a:lnTo>
                  <a:lnTo>
                    <a:pt x="399" y="289"/>
                  </a:lnTo>
                  <a:lnTo>
                    <a:pt x="402" y="291"/>
                  </a:lnTo>
                  <a:lnTo>
                    <a:pt x="404" y="290"/>
                  </a:lnTo>
                  <a:lnTo>
                    <a:pt x="403" y="293"/>
                  </a:lnTo>
                  <a:lnTo>
                    <a:pt x="407" y="293"/>
                  </a:lnTo>
                  <a:lnTo>
                    <a:pt x="409" y="295"/>
                  </a:lnTo>
                  <a:lnTo>
                    <a:pt x="411" y="297"/>
                  </a:lnTo>
                  <a:lnTo>
                    <a:pt x="416" y="302"/>
                  </a:lnTo>
                  <a:lnTo>
                    <a:pt x="421" y="305"/>
                  </a:lnTo>
                  <a:lnTo>
                    <a:pt x="427" y="307"/>
                  </a:lnTo>
                  <a:lnTo>
                    <a:pt x="429" y="310"/>
                  </a:lnTo>
                  <a:lnTo>
                    <a:pt x="429" y="307"/>
                  </a:lnTo>
                  <a:lnTo>
                    <a:pt x="433" y="306"/>
                  </a:lnTo>
                  <a:lnTo>
                    <a:pt x="435" y="307"/>
                  </a:lnTo>
                  <a:lnTo>
                    <a:pt x="437" y="306"/>
                  </a:lnTo>
                  <a:lnTo>
                    <a:pt x="435" y="304"/>
                  </a:lnTo>
                  <a:lnTo>
                    <a:pt x="435" y="301"/>
                  </a:lnTo>
                  <a:lnTo>
                    <a:pt x="432" y="301"/>
                  </a:lnTo>
                  <a:lnTo>
                    <a:pt x="432" y="298"/>
                  </a:lnTo>
                  <a:lnTo>
                    <a:pt x="426" y="296"/>
                  </a:lnTo>
                  <a:lnTo>
                    <a:pt x="424" y="297"/>
                  </a:lnTo>
                  <a:lnTo>
                    <a:pt x="426" y="296"/>
                  </a:lnTo>
                  <a:lnTo>
                    <a:pt x="424" y="293"/>
                  </a:lnTo>
                  <a:lnTo>
                    <a:pt x="426" y="295"/>
                  </a:lnTo>
                  <a:lnTo>
                    <a:pt x="429" y="294"/>
                  </a:lnTo>
                  <a:lnTo>
                    <a:pt x="432" y="297"/>
                  </a:lnTo>
                  <a:lnTo>
                    <a:pt x="434" y="298"/>
                  </a:lnTo>
                  <a:lnTo>
                    <a:pt x="437" y="297"/>
                  </a:lnTo>
                  <a:lnTo>
                    <a:pt x="437" y="294"/>
                  </a:lnTo>
                  <a:lnTo>
                    <a:pt x="437" y="297"/>
                  </a:lnTo>
                  <a:lnTo>
                    <a:pt x="441" y="297"/>
                  </a:lnTo>
                  <a:lnTo>
                    <a:pt x="437" y="298"/>
                  </a:lnTo>
                  <a:lnTo>
                    <a:pt x="441" y="304"/>
                  </a:lnTo>
                  <a:lnTo>
                    <a:pt x="441" y="306"/>
                  </a:lnTo>
                  <a:lnTo>
                    <a:pt x="443" y="305"/>
                  </a:lnTo>
                  <a:lnTo>
                    <a:pt x="446" y="306"/>
                  </a:lnTo>
                  <a:lnTo>
                    <a:pt x="447" y="308"/>
                  </a:lnTo>
                  <a:lnTo>
                    <a:pt x="450" y="310"/>
                  </a:lnTo>
                  <a:lnTo>
                    <a:pt x="451" y="307"/>
                  </a:lnTo>
                  <a:lnTo>
                    <a:pt x="450" y="305"/>
                  </a:lnTo>
                  <a:lnTo>
                    <a:pt x="450" y="302"/>
                  </a:lnTo>
                  <a:lnTo>
                    <a:pt x="446" y="295"/>
                  </a:lnTo>
                  <a:lnTo>
                    <a:pt x="446" y="293"/>
                  </a:lnTo>
                  <a:lnTo>
                    <a:pt x="445" y="289"/>
                  </a:lnTo>
                  <a:lnTo>
                    <a:pt x="447" y="290"/>
                  </a:lnTo>
                  <a:lnTo>
                    <a:pt x="445" y="288"/>
                  </a:lnTo>
                  <a:lnTo>
                    <a:pt x="446" y="288"/>
                  </a:lnTo>
                  <a:lnTo>
                    <a:pt x="447" y="285"/>
                  </a:lnTo>
                  <a:lnTo>
                    <a:pt x="447" y="287"/>
                  </a:lnTo>
                  <a:lnTo>
                    <a:pt x="447" y="289"/>
                  </a:lnTo>
                  <a:lnTo>
                    <a:pt x="449" y="293"/>
                  </a:lnTo>
                  <a:lnTo>
                    <a:pt x="450" y="297"/>
                  </a:lnTo>
                  <a:lnTo>
                    <a:pt x="453" y="298"/>
                  </a:lnTo>
                  <a:lnTo>
                    <a:pt x="452" y="302"/>
                  </a:lnTo>
                  <a:lnTo>
                    <a:pt x="455" y="306"/>
                  </a:lnTo>
                  <a:lnTo>
                    <a:pt x="459" y="307"/>
                  </a:lnTo>
                  <a:lnTo>
                    <a:pt x="461" y="310"/>
                  </a:lnTo>
                  <a:lnTo>
                    <a:pt x="464" y="310"/>
                  </a:lnTo>
                  <a:lnTo>
                    <a:pt x="467" y="304"/>
                  </a:lnTo>
                  <a:lnTo>
                    <a:pt x="469" y="304"/>
                  </a:lnTo>
                  <a:lnTo>
                    <a:pt x="467" y="306"/>
                  </a:lnTo>
                  <a:lnTo>
                    <a:pt x="464" y="308"/>
                  </a:lnTo>
                  <a:lnTo>
                    <a:pt x="464" y="311"/>
                  </a:lnTo>
                  <a:lnTo>
                    <a:pt x="467" y="314"/>
                  </a:lnTo>
                  <a:lnTo>
                    <a:pt x="469" y="313"/>
                  </a:lnTo>
                  <a:lnTo>
                    <a:pt x="468" y="315"/>
                  </a:lnTo>
                  <a:lnTo>
                    <a:pt x="470" y="319"/>
                  </a:lnTo>
                  <a:lnTo>
                    <a:pt x="472" y="315"/>
                  </a:lnTo>
                  <a:lnTo>
                    <a:pt x="475" y="316"/>
                  </a:lnTo>
                  <a:lnTo>
                    <a:pt x="477" y="318"/>
                  </a:lnTo>
                  <a:lnTo>
                    <a:pt x="475" y="316"/>
                  </a:lnTo>
                  <a:lnTo>
                    <a:pt x="472" y="318"/>
                  </a:lnTo>
                  <a:lnTo>
                    <a:pt x="473" y="320"/>
                  </a:lnTo>
                  <a:lnTo>
                    <a:pt x="479" y="323"/>
                  </a:lnTo>
                  <a:lnTo>
                    <a:pt x="471" y="320"/>
                  </a:lnTo>
                  <a:lnTo>
                    <a:pt x="472" y="323"/>
                  </a:lnTo>
                  <a:lnTo>
                    <a:pt x="475" y="322"/>
                  </a:lnTo>
                  <a:lnTo>
                    <a:pt x="472" y="325"/>
                  </a:lnTo>
                  <a:lnTo>
                    <a:pt x="476" y="328"/>
                  </a:lnTo>
                  <a:lnTo>
                    <a:pt x="478" y="328"/>
                  </a:lnTo>
                  <a:lnTo>
                    <a:pt x="472" y="329"/>
                  </a:lnTo>
                  <a:lnTo>
                    <a:pt x="473" y="331"/>
                  </a:lnTo>
                  <a:lnTo>
                    <a:pt x="477" y="331"/>
                  </a:lnTo>
                  <a:lnTo>
                    <a:pt x="479" y="332"/>
                  </a:lnTo>
                  <a:lnTo>
                    <a:pt x="481" y="333"/>
                  </a:lnTo>
                  <a:lnTo>
                    <a:pt x="481" y="336"/>
                  </a:lnTo>
                  <a:lnTo>
                    <a:pt x="484" y="338"/>
                  </a:lnTo>
                  <a:lnTo>
                    <a:pt x="487" y="339"/>
                  </a:lnTo>
                  <a:lnTo>
                    <a:pt x="486" y="341"/>
                  </a:lnTo>
                  <a:lnTo>
                    <a:pt x="489" y="341"/>
                  </a:lnTo>
                  <a:lnTo>
                    <a:pt x="489" y="344"/>
                  </a:lnTo>
                  <a:lnTo>
                    <a:pt x="493" y="346"/>
                  </a:lnTo>
                  <a:lnTo>
                    <a:pt x="494" y="349"/>
                  </a:lnTo>
                  <a:lnTo>
                    <a:pt x="498" y="349"/>
                  </a:lnTo>
                  <a:lnTo>
                    <a:pt x="496" y="349"/>
                  </a:lnTo>
                  <a:lnTo>
                    <a:pt x="494" y="352"/>
                  </a:lnTo>
                  <a:lnTo>
                    <a:pt x="494" y="354"/>
                  </a:lnTo>
                  <a:lnTo>
                    <a:pt x="490" y="359"/>
                  </a:lnTo>
                  <a:lnTo>
                    <a:pt x="492" y="362"/>
                  </a:lnTo>
                  <a:lnTo>
                    <a:pt x="495" y="361"/>
                  </a:lnTo>
                  <a:lnTo>
                    <a:pt x="496" y="358"/>
                  </a:lnTo>
                  <a:lnTo>
                    <a:pt x="496" y="356"/>
                  </a:lnTo>
                  <a:lnTo>
                    <a:pt x="498" y="354"/>
                  </a:lnTo>
                  <a:lnTo>
                    <a:pt x="504" y="354"/>
                  </a:lnTo>
                  <a:lnTo>
                    <a:pt x="509" y="358"/>
                  </a:lnTo>
                  <a:lnTo>
                    <a:pt x="509" y="364"/>
                  </a:lnTo>
                  <a:lnTo>
                    <a:pt x="510" y="367"/>
                  </a:lnTo>
                  <a:lnTo>
                    <a:pt x="507" y="367"/>
                  </a:lnTo>
                  <a:lnTo>
                    <a:pt x="509" y="371"/>
                  </a:lnTo>
                  <a:lnTo>
                    <a:pt x="511" y="370"/>
                  </a:lnTo>
                  <a:lnTo>
                    <a:pt x="514" y="366"/>
                  </a:lnTo>
                  <a:lnTo>
                    <a:pt x="511" y="370"/>
                  </a:lnTo>
                  <a:lnTo>
                    <a:pt x="509" y="371"/>
                  </a:lnTo>
                  <a:lnTo>
                    <a:pt x="507" y="373"/>
                  </a:lnTo>
                  <a:lnTo>
                    <a:pt x="507" y="376"/>
                  </a:lnTo>
                  <a:lnTo>
                    <a:pt x="511" y="374"/>
                  </a:lnTo>
                  <a:lnTo>
                    <a:pt x="511" y="376"/>
                  </a:lnTo>
                  <a:lnTo>
                    <a:pt x="514" y="375"/>
                  </a:lnTo>
                  <a:lnTo>
                    <a:pt x="517" y="373"/>
                  </a:lnTo>
                  <a:lnTo>
                    <a:pt x="518" y="370"/>
                  </a:lnTo>
                  <a:lnTo>
                    <a:pt x="520" y="367"/>
                  </a:lnTo>
                  <a:lnTo>
                    <a:pt x="519" y="363"/>
                  </a:lnTo>
                  <a:lnTo>
                    <a:pt x="518" y="357"/>
                  </a:lnTo>
                  <a:lnTo>
                    <a:pt x="520" y="355"/>
                  </a:lnTo>
                  <a:lnTo>
                    <a:pt x="520" y="355"/>
                  </a:lnTo>
                  <a:lnTo>
                    <a:pt x="519" y="357"/>
                  </a:lnTo>
                  <a:lnTo>
                    <a:pt x="520" y="366"/>
                  </a:lnTo>
                  <a:lnTo>
                    <a:pt x="520" y="371"/>
                  </a:lnTo>
                  <a:lnTo>
                    <a:pt x="521" y="370"/>
                  </a:lnTo>
                  <a:lnTo>
                    <a:pt x="523" y="366"/>
                  </a:lnTo>
                  <a:lnTo>
                    <a:pt x="523" y="362"/>
                  </a:lnTo>
                  <a:lnTo>
                    <a:pt x="526" y="364"/>
                  </a:lnTo>
                  <a:lnTo>
                    <a:pt x="524" y="367"/>
                  </a:lnTo>
                  <a:lnTo>
                    <a:pt x="522" y="370"/>
                  </a:lnTo>
                  <a:lnTo>
                    <a:pt x="523" y="372"/>
                  </a:lnTo>
                  <a:lnTo>
                    <a:pt x="526" y="372"/>
                  </a:lnTo>
                  <a:lnTo>
                    <a:pt x="520" y="373"/>
                  </a:lnTo>
                  <a:lnTo>
                    <a:pt x="518" y="378"/>
                  </a:lnTo>
                  <a:lnTo>
                    <a:pt x="519" y="379"/>
                  </a:lnTo>
                  <a:lnTo>
                    <a:pt x="515" y="380"/>
                  </a:lnTo>
                  <a:lnTo>
                    <a:pt x="518" y="382"/>
                  </a:lnTo>
                  <a:lnTo>
                    <a:pt x="520" y="382"/>
                  </a:lnTo>
                  <a:lnTo>
                    <a:pt x="520" y="382"/>
                  </a:lnTo>
                  <a:lnTo>
                    <a:pt x="520" y="382"/>
                  </a:lnTo>
                  <a:lnTo>
                    <a:pt x="520" y="385"/>
                  </a:lnTo>
                  <a:lnTo>
                    <a:pt x="520" y="384"/>
                  </a:lnTo>
                  <a:lnTo>
                    <a:pt x="514" y="380"/>
                  </a:lnTo>
                  <a:lnTo>
                    <a:pt x="514" y="384"/>
                  </a:lnTo>
                  <a:lnTo>
                    <a:pt x="517" y="384"/>
                  </a:lnTo>
                  <a:lnTo>
                    <a:pt x="517" y="387"/>
                  </a:lnTo>
                  <a:lnTo>
                    <a:pt x="518" y="388"/>
                  </a:lnTo>
                  <a:lnTo>
                    <a:pt x="520" y="388"/>
                  </a:lnTo>
                  <a:lnTo>
                    <a:pt x="522" y="387"/>
                  </a:lnTo>
                  <a:lnTo>
                    <a:pt x="528" y="387"/>
                  </a:lnTo>
                  <a:lnTo>
                    <a:pt x="521" y="388"/>
                  </a:lnTo>
                  <a:lnTo>
                    <a:pt x="523" y="391"/>
                  </a:lnTo>
                  <a:lnTo>
                    <a:pt x="520" y="388"/>
                  </a:lnTo>
                  <a:lnTo>
                    <a:pt x="520" y="391"/>
                  </a:lnTo>
                  <a:lnTo>
                    <a:pt x="520" y="393"/>
                  </a:lnTo>
                  <a:lnTo>
                    <a:pt x="528" y="401"/>
                  </a:lnTo>
                  <a:lnTo>
                    <a:pt x="530" y="402"/>
                  </a:lnTo>
                  <a:lnTo>
                    <a:pt x="531" y="398"/>
                  </a:lnTo>
                  <a:lnTo>
                    <a:pt x="534" y="396"/>
                  </a:lnTo>
                  <a:lnTo>
                    <a:pt x="537" y="393"/>
                  </a:lnTo>
                  <a:lnTo>
                    <a:pt x="538" y="391"/>
                  </a:lnTo>
                  <a:lnTo>
                    <a:pt x="539" y="391"/>
                  </a:lnTo>
                  <a:lnTo>
                    <a:pt x="538" y="393"/>
                  </a:lnTo>
                  <a:lnTo>
                    <a:pt x="541" y="395"/>
                  </a:lnTo>
                  <a:lnTo>
                    <a:pt x="538" y="395"/>
                  </a:lnTo>
                  <a:lnTo>
                    <a:pt x="537" y="397"/>
                  </a:lnTo>
                  <a:lnTo>
                    <a:pt x="538" y="399"/>
                  </a:lnTo>
                  <a:lnTo>
                    <a:pt x="540" y="401"/>
                  </a:lnTo>
                  <a:lnTo>
                    <a:pt x="544" y="401"/>
                  </a:lnTo>
                  <a:lnTo>
                    <a:pt x="546" y="401"/>
                  </a:lnTo>
                  <a:lnTo>
                    <a:pt x="547" y="401"/>
                  </a:lnTo>
                  <a:lnTo>
                    <a:pt x="548" y="405"/>
                  </a:lnTo>
                  <a:lnTo>
                    <a:pt x="546" y="401"/>
                  </a:lnTo>
                  <a:lnTo>
                    <a:pt x="544" y="401"/>
                  </a:lnTo>
                  <a:lnTo>
                    <a:pt x="541" y="402"/>
                  </a:lnTo>
                  <a:lnTo>
                    <a:pt x="538" y="401"/>
                  </a:lnTo>
                  <a:lnTo>
                    <a:pt x="536" y="401"/>
                  </a:lnTo>
                  <a:lnTo>
                    <a:pt x="536" y="405"/>
                  </a:lnTo>
                  <a:lnTo>
                    <a:pt x="541" y="408"/>
                  </a:lnTo>
                  <a:lnTo>
                    <a:pt x="541" y="410"/>
                  </a:lnTo>
                  <a:lnTo>
                    <a:pt x="543" y="414"/>
                  </a:lnTo>
                  <a:lnTo>
                    <a:pt x="546" y="413"/>
                  </a:lnTo>
                  <a:lnTo>
                    <a:pt x="545" y="419"/>
                  </a:lnTo>
                  <a:lnTo>
                    <a:pt x="545" y="422"/>
                  </a:lnTo>
                  <a:lnTo>
                    <a:pt x="547" y="419"/>
                  </a:lnTo>
                  <a:lnTo>
                    <a:pt x="548" y="422"/>
                  </a:lnTo>
                  <a:lnTo>
                    <a:pt x="549" y="419"/>
                  </a:lnTo>
                  <a:lnTo>
                    <a:pt x="549" y="422"/>
                  </a:lnTo>
                  <a:lnTo>
                    <a:pt x="549" y="425"/>
                  </a:lnTo>
                  <a:lnTo>
                    <a:pt x="558" y="419"/>
                  </a:lnTo>
                  <a:lnTo>
                    <a:pt x="562" y="414"/>
                  </a:lnTo>
                  <a:lnTo>
                    <a:pt x="561" y="417"/>
                  </a:lnTo>
                  <a:lnTo>
                    <a:pt x="558" y="419"/>
                  </a:lnTo>
                  <a:lnTo>
                    <a:pt x="560" y="422"/>
                  </a:lnTo>
                  <a:lnTo>
                    <a:pt x="564" y="422"/>
                  </a:lnTo>
                  <a:lnTo>
                    <a:pt x="563" y="424"/>
                  </a:lnTo>
                  <a:lnTo>
                    <a:pt x="564" y="426"/>
                  </a:lnTo>
                  <a:lnTo>
                    <a:pt x="562" y="424"/>
                  </a:lnTo>
                  <a:lnTo>
                    <a:pt x="560" y="423"/>
                  </a:lnTo>
                  <a:lnTo>
                    <a:pt x="557" y="424"/>
                  </a:lnTo>
                  <a:lnTo>
                    <a:pt x="555" y="427"/>
                  </a:lnTo>
                  <a:lnTo>
                    <a:pt x="553" y="427"/>
                  </a:lnTo>
                  <a:lnTo>
                    <a:pt x="551" y="430"/>
                  </a:lnTo>
                  <a:lnTo>
                    <a:pt x="549" y="432"/>
                  </a:lnTo>
                  <a:lnTo>
                    <a:pt x="551" y="436"/>
                  </a:lnTo>
                  <a:lnTo>
                    <a:pt x="553" y="438"/>
                  </a:lnTo>
                  <a:lnTo>
                    <a:pt x="554" y="435"/>
                  </a:lnTo>
                  <a:lnTo>
                    <a:pt x="554" y="434"/>
                  </a:lnTo>
                  <a:lnTo>
                    <a:pt x="557" y="432"/>
                  </a:lnTo>
                  <a:lnTo>
                    <a:pt x="558" y="434"/>
                  </a:lnTo>
                  <a:lnTo>
                    <a:pt x="563" y="434"/>
                  </a:lnTo>
                  <a:lnTo>
                    <a:pt x="566" y="432"/>
                  </a:lnTo>
                  <a:lnTo>
                    <a:pt x="565" y="435"/>
                  </a:lnTo>
                  <a:lnTo>
                    <a:pt x="557" y="435"/>
                  </a:lnTo>
                  <a:lnTo>
                    <a:pt x="555" y="436"/>
                  </a:lnTo>
                  <a:lnTo>
                    <a:pt x="552" y="441"/>
                  </a:lnTo>
                  <a:lnTo>
                    <a:pt x="557" y="441"/>
                  </a:lnTo>
                  <a:lnTo>
                    <a:pt x="560" y="440"/>
                  </a:lnTo>
                  <a:lnTo>
                    <a:pt x="557" y="441"/>
                  </a:lnTo>
                  <a:lnTo>
                    <a:pt x="553" y="442"/>
                  </a:lnTo>
                  <a:lnTo>
                    <a:pt x="552" y="444"/>
                  </a:lnTo>
                  <a:lnTo>
                    <a:pt x="557" y="445"/>
                  </a:lnTo>
                  <a:lnTo>
                    <a:pt x="563" y="445"/>
                  </a:lnTo>
                  <a:lnTo>
                    <a:pt x="565" y="444"/>
                  </a:lnTo>
                  <a:lnTo>
                    <a:pt x="563" y="445"/>
                  </a:lnTo>
                  <a:lnTo>
                    <a:pt x="560" y="445"/>
                  </a:lnTo>
                  <a:lnTo>
                    <a:pt x="557" y="445"/>
                  </a:lnTo>
                  <a:lnTo>
                    <a:pt x="555" y="445"/>
                  </a:lnTo>
                  <a:lnTo>
                    <a:pt x="556" y="448"/>
                  </a:lnTo>
                  <a:lnTo>
                    <a:pt x="558" y="449"/>
                  </a:lnTo>
                  <a:lnTo>
                    <a:pt x="562" y="449"/>
                  </a:lnTo>
                  <a:lnTo>
                    <a:pt x="558" y="448"/>
                  </a:lnTo>
                  <a:lnTo>
                    <a:pt x="562" y="449"/>
                  </a:lnTo>
                  <a:lnTo>
                    <a:pt x="568" y="449"/>
                  </a:lnTo>
                  <a:lnTo>
                    <a:pt x="570" y="448"/>
                  </a:lnTo>
                  <a:lnTo>
                    <a:pt x="572" y="448"/>
                  </a:lnTo>
                  <a:lnTo>
                    <a:pt x="570" y="449"/>
                  </a:lnTo>
                  <a:lnTo>
                    <a:pt x="572" y="450"/>
                  </a:lnTo>
                  <a:lnTo>
                    <a:pt x="573" y="452"/>
                  </a:lnTo>
                  <a:lnTo>
                    <a:pt x="577" y="452"/>
                  </a:lnTo>
                  <a:lnTo>
                    <a:pt x="579" y="451"/>
                  </a:lnTo>
                  <a:lnTo>
                    <a:pt x="581" y="445"/>
                  </a:lnTo>
                  <a:lnTo>
                    <a:pt x="581" y="449"/>
                  </a:lnTo>
                  <a:lnTo>
                    <a:pt x="580" y="451"/>
                  </a:lnTo>
                  <a:lnTo>
                    <a:pt x="577" y="452"/>
                  </a:lnTo>
                  <a:lnTo>
                    <a:pt x="572" y="453"/>
                  </a:lnTo>
                  <a:lnTo>
                    <a:pt x="572" y="453"/>
                  </a:lnTo>
                  <a:lnTo>
                    <a:pt x="575" y="453"/>
                  </a:lnTo>
                  <a:lnTo>
                    <a:pt x="572" y="456"/>
                  </a:lnTo>
                  <a:lnTo>
                    <a:pt x="575" y="456"/>
                  </a:lnTo>
                  <a:lnTo>
                    <a:pt x="578" y="455"/>
                  </a:lnTo>
                  <a:lnTo>
                    <a:pt x="580" y="457"/>
                  </a:lnTo>
                  <a:lnTo>
                    <a:pt x="581" y="453"/>
                  </a:lnTo>
                  <a:lnTo>
                    <a:pt x="582" y="457"/>
                  </a:lnTo>
                  <a:lnTo>
                    <a:pt x="584" y="457"/>
                  </a:lnTo>
                  <a:lnTo>
                    <a:pt x="588" y="456"/>
                  </a:lnTo>
                  <a:lnTo>
                    <a:pt x="590" y="453"/>
                  </a:lnTo>
                  <a:lnTo>
                    <a:pt x="589" y="450"/>
                  </a:lnTo>
                  <a:lnTo>
                    <a:pt x="591" y="448"/>
                  </a:lnTo>
                  <a:lnTo>
                    <a:pt x="591" y="449"/>
                  </a:lnTo>
                  <a:lnTo>
                    <a:pt x="590" y="455"/>
                  </a:lnTo>
                  <a:lnTo>
                    <a:pt x="588" y="456"/>
                  </a:lnTo>
                  <a:lnTo>
                    <a:pt x="588" y="459"/>
                  </a:lnTo>
                  <a:lnTo>
                    <a:pt x="591" y="459"/>
                  </a:lnTo>
                  <a:lnTo>
                    <a:pt x="594" y="457"/>
                  </a:lnTo>
                  <a:lnTo>
                    <a:pt x="596" y="457"/>
                  </a:lnTo>
                  <a:lnTo>
                    <a:pt x="594" y="459"/>
                  </a:lnTo>
                  <a:lnTo>
                    <a:pt x="594" y="462"/>
                  </a:lnTo>
                  <a:lnTo>
                    <a:pt x="594" y="465"/>
                  </a:lnTo>
                  <a:lnTo>
                    <a:pt x="591" y="465"/>
                  </a:lnTo>
                  <a:lnTo>
                    <a:pt x="596" y="468"/>
                  </a:lnTo>
                  <a:lnTo>
                    <a:pt x="598" y="469"/>
                  </a:lnTo>
                  <a:lnTo>
                    <a:pt x="601" y="468"/>
                  </a:lnTo>
                  <a:lnTo>
                    <a:pt x="604" y="467"/>
                  </a:lnTo>
                  <a:lnTo>
                    <a:pt x="603" y="465"/>
                  </a:lnTo>
                  <a:lnTo>
                    <a:pt x="605" y="462"/>
                  </a:lnTo>
                  <a:lnTo>
                    <a:pt x="604" y="465"/>
                  </a:lnTo>
                  <a:lnTo>
                    <a:pt x="604" y="466"/>
                  </a:lnTo>
                  <a:lnTo>
                    <a:pt x="604" y="469"/>
                  </a:lnTo>
                  <a:lnTo>
                    <a:pt x="606" y="470"/>
                  </a:lnTo>
                  <a:lnTo>
                    <a:pt x="609" y="470"/>
                  </a:lnTo>
                  <a:lnTo>
                    <a:pt x="607" y="470"/>
                  </a:lnTo>
                  <a:lnTo>
                    <a:pt x="601" y="472"/>
                  </a:lnTo>
                  <a:lnTo>
                    <a:pt x="604" y="474"/>
                  </a:lnTo>
                  <a:lnTo>
                    <a:pt x="609" y="475"/>
                  </a:lnTo>
                  <a:lnTo>
                    <a:pt x="611" y="473"/>
                  </a:lnTo>
                  <a:lnTo>
                    <a:pt x="614" y="472"/>
                  </a:lnTo>
                  <a:lnTo>
                    <a:pt x="613" y="474"/>
                  </a:lnTo>
                  <a:lnTo>
                    <a:pt x="614" y="476"/>
                  </a:lnTo>
                  <a:lnTo>
                    <a:pt x="616" y="477"/>
                  </a:lnTo>
                  <a:lnTo>
                    <a:pt x="615" y="479"/>
                  </a:lnTo>
                  <a:lnTo>
                    <a:pt x="616" y="479"/>
                  </a:lnTo>
                  <a:lnTo>
                    <a:pt x="615" y="483"/>
                  </a:lnTo>
                  <a:lnTo>
                    <a:pt x="616" y="483"/>
                  </a:lnTo>
                  <a:lnTo>
                    <a:pt x="617" y="481"/>
                  </a:lnTo>
                  <a:lnTo>
                    <a:pt x="620" y="483"/>
                  </a:lnTo>
                  <a:lnTo>
                    <a:pt x="620" y="485"/>
                  </a:lnTo>
                  <a:lnTo>
                    <a:pt x="623" y="486"/>
                  </a:lnTo>
                  <a:lnTo>
                    <a:pt x="624" y="490"/>
                  </a:lnTo>
                  <a:lnTo>
                    <a:pt x="623" y="492"/>
                  </a:lnTo>
                  <a:lnTo>
                    <a:pt x="621" y="492"/>
                  </a:lnTo>
                  <a:lnTo>
                    <a:pt x="624" y="494"/>
                  </a:lnTo>
                  <a:lnTo>
                    <a:pt x="625" y="498"/>
                  </a:lnTo>
                  <a:lnTo>
                    <a:pt x="626" y="500"/>
                  </a:lnTo>
                  <a:lnTo>
                    <a:pt x="625" y="503"/>
                  </a:lnTo>
                  <a:lnTo>
                    <a:pt x="624" y="506"/>
                  </a:lnTo>
                  <a:lnTo>
                    <a:pt x="625" y="511"/>
                  </a:lnTo>
                  <a:lnTo>
                    <a:pt x="623" y="512"/>
                  </a:lnTo>
                  <a:lnTo>
                    <a:pt x="621" y="516"/>
                  </a:lnTo>
                  <a:lnTo>
                    <a:pt x="618" y="516"/>
                  </a:lnTo>
                  <a:lnTo>
                    <a:pt x="616" y="515"/>
                  </a:lnTo>
                  <a:lnTo>
                    <a:pt x="620" y="511"/>
                  </a:lnTo>
                  <a:lnTo>
                    <a:pt x="620" y="515"/>
                  </a:lnTo>
                  <a:lnTo>
                    <a:pt x="622" y="511"/>
                  </a:lnTo>
                  <a:lnTo>
                    <a:pt x="623" y="509"/>
                  </a:lnTo>
                  <a:lnTo>
                    <a:pt x="622" y="506"/>
                  </a:lnTo>
                  <a:lnTo>
                    <a:pt x="623" y="503"/>
                  </a:lnTo>
                  <a:lnTo>
                    <a:pt x="621" y="503"/>
                  </a:lnTo>
                  <a:lnTo>
                    <a:pt x="618" y="506"/>
                  </a:lnTo>
                  <a:lnTo>
                    <a:pt x="616" y="508"/>
                  </a:lnTo>
                  <a:lnTo>
                    <a:pt x="617" y="510"/>
                  </a:lnTo>
                  <a:lnTo>
                    <a:pt x="614" y="511"/>
                  </a:lnTo>
                  <a:lnTo>
                    <a:pt x="616" y="508"/>
                  </a:lnTo>
                  <a:lnTo>
                    <a:pt x="621" y="503"/>
                  </a:lnTo>
                  <a:lnTo>
                    <a:pt x="621" y="500"/>
                  </a:lnTo>
                  <a:lnTo>
                    <a:pt x="620" y="498"/>
                  </a:lnTo>
                  <a:lnTo>
                    <a:pt x="617" y="498"/>
                  </a:lnTo>
                  <a:lnTo>
                    <a:pt x="614" y="496"/>
                  </a:lnTo>
                  <a:lnTo>
                    <a:pt x="612" y="498"/>
                  </a:lnTo>
                  <a:lnTo>
                    <a:pt x="604" y="496"/>
                  </a:lnTo>
                  <a:lnTo>
                    <a:pt x="598" y="495"/>
                  </a:lnTo>
                  <a:lnTo>
                    <a:pt x="596" y="493"/>
                  </a:lnTo>
                  <a:lnTo>
                    <a:pt x="592" y="493"/>
                  </a:lnTo>
                  <a:lnTo>
                    <a:pt x="594" y="495"/>
                  </a:lnTo>
                  <a:lnTo>
                    <a:pt x="594" y="498"/>
                  </a:lnTo>
                  <a:lnTo>
                    <a:pt x="594" y="500"/>
                  </a:lnTo>
                  <a:lnTo>
                    <a:pt x="596" y="503"/>
                  </a:lnTo>
                  <a:lnTo>
                    <a:pt x="598" y="506"/>
                  </a:lnTo>
                  <a:lnTo>
                    <a:pt x="598" y="509"/>
                  </a:lnTo>
                  <a:lnTo>
                    <a:pt x="599" y="511"/>
                  </a:lnTo>
                  <a:lnTo>
                    <a:pt x="599" y="511"/>
                  </a:lnTo>
                  <a:lnTo>
                    <a:pt x="600" y="515"/>
                  </a:lnTo>
                  <a:lnTo>
                    <a:pt x="603" y="517"/>
                  </a:lnTo>
                  <a:lnTo>
                    <a:pt x="605" y="518"/>
                  </a:lnTo>
                  <a:lnTo>
                    <a:pt x="601" y="519"/>
                  </a:lnTo>
                  <a:lnTo>
                    <a:pt x="603" y="522"/>
                  </a:lnTo>
                  <a:lnTo>
                    <a:pt x="604" y="524"/>
                  </a:lnTo>
                  <a:lnTo>
                    <a:pt x="603" y="526"/>
                  </a:lnTo>
                  <a:lnTo>
                    <a:pt x="601" y="524"/>
                  </a:lnTo>
                  <a:lnTo>
                    <a:pt x="603" y="527"/>
                  </a:lnTo>
                  <a:lnTo>
                    <a:pt x="603" y="529"/>
                  </a:lnTo>
                  <a:lnTo>
                    <a:pt x="608" y="529"/>
                  </a:lnTo>
                  <a:lnTo>
                    <a:pt x="612" y="530"/>
                  </a:lnTo>
                  <a:lnTo>
                    <a:pt x="614" y="532"/>
                  </a:lnTo>
                  <a:lnTo>
                    <a:pt x="612" y="532"/>
                  </a:lnTo>
                  <a:lnTo>
                    <a:pt x="608" y="530"/>
                  </a:lnTo>
                  <a:lnTo>
                    <a:pt x="603" y="530"/>
                  </a:lnTo>
                  <a:lnTo>
                    <a:pt x="604" y="534"/>
                  </a:lnTo>
                  <a:lnTo>
                    <a:pt x="604" y="544"/>
                  </a:lnTo>
                  <a:lnTo>
                    <a:pt x="601" y="554"/>
                  </a:lnTo>
                  <a:lnTo>
                    <a:pt x="600" y="570"/>
                  </a:lnTo>
                  <a:lnTo>
                    <a:pt x="601" y="573"/>
                  </a:lnTo>
                  <a:lnTo>
                    <a:pt x="599" y="575"/>
                  </a:lnTo>
                  <a:lnTo>
                    <a:pt x="600" y="577"/>
                  </a:lnTo>
                  <a:lnTo>
                    <a:pt x="598" y="580"/>
                  </a:lnTo>
                  <a:lnTo>
                    <a:pt x="596" y="586"/>
                  </a:lnTo>
                  <a:lnTo>
                    <a:pt x="596" y="589"/>
                  </a:lnTo>
                  <a:lnTo>
                    <a:pt x="597" y="592"/>
                  </a:lnTo>
                  <a:lnTo>
                    <a:pt x="597" y="596"/>
                  </a:lnTo>
                  <a:lnTo>
                    <a:pt x="598" y="598"/>
                  </a:lnTo>
                  <a:lnTo>
                    <a:pt x="600" y="602"/>
                  </a:lnTo>
                  <a:lnTo>
                    <a:pt x="600" y="604"/>
                  </a:lnTo>
                  <a:lnTo>
                    <a:pt x="601" y="609"/>
                  </a:lnTo>
                  <a:lnTo>
                    <a:pt x="601" y="613"/>
                  </a:lnTo>
                  <a:lnTo>
                    <a:pt x="600" y="615"/>
                  </a:lnTo>
                  <a:lnTo>
                    <a:pt x="601" y="619"/>
                  </a:lnTo>
                  <a:lnTo>
                    <a:pt x="600" y="621"/>
                  </a:lnTo>
                  <a:lnTo>
                    <a:pt x="598" y="623"/>
                  </a:lnTo>
                  <a:lnTo>
                    <a:pt x="598" y="626"/>
                  </a:lnTo>
                  <a:lnTo>
                    <a:pt x="598" y="629"/>
                  </a:lnTo>
                  <a:lnTo>
                    <a:pt x="600" y="631"/>
                  </a:lnTo>
                  <a:lnTo>
                    <a:pt x="604" y="635"/>
                  </a:lnTo>
                  <a:lnTo>
                    <a:pt x="605" y="638"/>
                  </a:lnTo>
                  <a:lnTo>
                    <a:pt x="606" y="640"/>
                  </a:lnTo>
                  <a:lnTo>
                    <a:pt x="606" y="646"/>
                  </a:lnTo>
                  <a:lnTo>
                    <a:pt x="607" y="648"/>
                  </a:lnTo>
                  <a:lnTo>
                    <a:pt x="607" y="652"/>
                  </a:lnTo>
                  <a:lnTo>
                    <a:pt x="615" y="658"/>
                  </a:lnTo>
                  <a:lnTo>
                    <a:pt x="617" y="663"/>
                  </a:lnTo>
                  <a:lnTo>
                    <a:pt x="618" y="665"/>
                  </a:lnTo>
                  <a:lnTo>
                    <a:pt x="621" y="667"/>
                  </a:lnTo>
                  <a:lnTo>
                    <a:pt x="623" y="666"/>
                  </a:lnTo>
                  <a:lnTo>
                    <a:pt x="625" y="664"/>
                  </a:lnTo>
                  <a:lnTo>
                    <a:pt x="629" y="665"/>
                  </a:lnTo>
                  <a:lnTo>
                    <a:pt x="629" y="665"/>
                  </a:lnTo>
                  <a:lnTo>
                    <a:pt x="632" y="665"/>
                  </a:lnTo>
                  <a:lnTo>
                    <a:pt x="634" y="664"/>
                  </a:lnTo>
                  <a:lnTo>
                    <a:pt x="637" y="665"/>
                  </a:lnTo>
                  <a:lnTo>
                    <a:pt x="633" y="666"/>
                  </a:lnTo>
                  <a:lnTo>
                    <a:pt x="631" y="665"/>
                  </a:lnTo>
                  <a:lnTo>
                    <a:pt x="625" y="666"/>
                  </a:lnTo>
                  <a:lnTo>
                    <a:pt x="625" y="669"/>
                  </a:lnTo>
                  <a:lnTo>
                    <a:pt x="629" y="671"/>
                  </a:lnTo>
                  <a:lnTo>
                    <a:pt x="629" y="674"/>
                  </a:lnTo>
                  <a:lnTo>
                    <a:pt x="626" y="672"/>
                  </a:lnTo>
                  <a:lnTo>
                    <a:pt x="623" y="670"/>
                  </a:lnTo>
                  <a:lnTo>
                    <a:pt x="623" y="673"/>
                  </a:lnTo>
                  <a:lnTo>
                    <a:pt x="624" y="675"/>
                  </a:lnTo>
                  <a:lnTo>
                    <a:pt x="624" y="678"/>
                  </a:lnTo>
                  <a:lnTo>
                    <a:pt x="626" y="681"/>
                  </a:lnTo>
                  <a:lnTo>
                    <a:pt x="630" y="682"/>
                  </a:lnTo>
                  <a:lnTo>
                    <a:pt x="632" y="683"/>
                  </a:lnTo>
                  <a:lnTo>
                    <a:pt x="633" y="686"/>
                  </a:lnTo>
                  <a:lnTo>
                    <a:pt x="631" y="690"/>
                  </a:lnTo>
                  <a:lnTo>
                    <a:pt x="632" y="693"/>
                  </a:lnTo>
                  <a:lnTo>
                    <a:pt x="634" y="695"/>
                  </a:lnTo>
                  <a:lnTo>
                    <a:pt x="638" y="698"/>
                  </a:lnTo>
                  <a:lnTo>
                    <a:pt x="639" y="700"/>
                  </a:lnTo>
                  <a:lnTo>
                    <a:pt x="641" y="703"/>
                  </a:lnTo>
                  <a:lnTo>
                    <a:pt x="646" y="707"/>
                  </a:lnTo>
                  <a:lnTo>
                    <a:pt x="647" y="710"/>
                  </a:lnTo>
                  <a:lnTo>
                    <a:pt x="649" y="712"/>
                  </a:lnTo>
                  <a:lnTo>
                    <a:pt x="649" y="715"/>
                  </a:lnTo>
                  <a:lnTo>
                    <a:pt x="649" y="720"/>
                  </a:lnTo>
                  <a:lnTo>
                    <a:pt x="651" y="722"/>
                  </a:lnTo>
                  <a:lnTo>
                    <a:pt x="658" y="722"/>
                  </a:lnTo>
                  <a:lnTo>
                    <a:pt x="663" y="722"/>
                  </a:lnTo>
                  <a:lnTo>
                    <a:pt x="666" y="723"/>
                  </a:lnTo>
                  <a:lnTo>
                    <a:pt x="668" y="726"/>
                  </a:lnTo>
                  <a:lnTo>
                    <a:pt x="671" y="727"/>
                  </a:lnTo>
                  <a:lnTo>
                    <a:pt x="674" y="729"/>
                  </a:lnTo>
                  <a:lnTo>
                    <a:pt x="676" y="727"/>
                  </a:lnTo>
                  <a:lnTo>
                    <a:pt x="680" y="730"/>
                  </a:lnTo>
                  <a:lnTo>
                    <a:pt x="681" y="733"/>
                  </a:lnTo>
                  <a:lnTo>
                    <a:pt x="682" y="732"/>
                  </a:lnTo>
                  <a:lnTo>
                    <a:pt x="684" y="733"/>
                  </a:lnTo>
                  <a:lnTo>
                    <a:pt x="690" y="737"/>
                  </a:lnTo>
                  <a:lnTo>
                    <a:pt x="692" y="740"/>
                  </a:lnTo>
                  <a:lnTo>
                    <a:pt x="694" y="742"/>
                  </a:lnTo>
                  <a:lnTo>
                    <a:pt x="694" y="746"/>
                  </a:lnTo>
                  <a:lnTo>
                    <a:pt x="694" y="748"/>
                  </a:lnTo>
                  <a:lnTo>
                    <a:pt x="697" y="750"/>
                  </a:lnTo>
                  <a:lnTo>
                    <a:pt x="698" y="752"/>
                  </a:lnTo>
                  <a:lnTo>
                    <a:pt x="700" y="756"/>
                  </a:lnTo>
                  <a:lnTo>
                    <a:pt x="700" y="758"/>
                  </a:lnTo>
                  <a:lnTo>
                    <a:pt x="702" y="761"/>
                  </a:lnTo>
                  <a:lnTo>
                    <a:pt x="703" y="766"/>
                  </a:lnTo>
                  <a:lnTo>
                    <a:pt x="708" y="772"/>
                  </a:lnTo>
                  <a:lnTo>
                    <a:pt x="709" y="775"/>
                  </a:lnTo>
                  <a:lnTo>
                    <a:pt x="711" y="777"/>
                  </a:lnTo>
                  <a:lnTo>
                    <a:pt x="711" y="780"/>
                  </a:lnTo>
                  <a:lnTo>
                    <a:pt x="714" y="783"/>
                  </a:lnTo>
                  <a:lnTo>
                    <a:pt x="715" y="784"/>
                  </a:lnTo>
                  <a:lnTo>
                    <a:pt x="715" y="786"/>
                  </a:lnTo>
                  <a:lnTo>
                    <a:pt x="715" y="790"/>
                  </a:lnTo>
                  <a:lnTo>
                    <a:pt x="716" y="791"/>
                  </a:lnTo>
                  <a:lnTo>
                    <a:pt x="717" y="793"/>
                  </a:lnTo>
                  <a:lnTo>
                    <a:pt x="720" y="795"/>
                  </a:lnTo>
                  <a:lnTo>
                    <a:pt x="720" y="797"/>
                  </a:lnTo>
                  <a:lnTo>
                    <a:pt x="724" y="798"/>
                  </a:lnTo>
                  <a:lnTo>
                    <a:pt x="725" y="798"/>
                  </a:lnTo>
                  <a:lnTo>
                    <a:pt x="727" y="799"/>
                  </a:lnTo>
                  <a:lnTo>
                    <a:pt x="727" y="800"/>
                  </a:lnTo>
                  <a:lnTo>
                    <a:pt x="728" y="801"/>
                  </a:lnTo>
                  <a:lnTo>
                    <a:pt x="732" y="806"/>
                  </a:lnTo>
                  <a:lnTo>
                    <a:pt x="737" y="810"/>
                  </a:lnTo>
                  <a:lnTo>
                    <a:pt x="737" y="811"/>
                  </a:lnTo>
                  <a:lnTo>
                    <a:pt x="739" y="814"/>
                  </a:lnTo>
                  <a:lnTo>
                    <a:pt x="739" y="817"/>
                  </a:lnTo>
                  <a:lnTo>
                    <a:pt x="737" y="819"/>
                  </a:lnTo>
                  <a:lnTo>
                    <a:pt x="737" y="821"/>
                  </a:lnTo>
                  <a:lnTo>
                    <a:pt x="737" y="824"/>
                  </a:lnTo>
                  <a:lnTo>
                    <a:pt x="741" y="821"/>
                  </a:lnTo>
                  <a:lnTo>
                    <a:pt x="741" y="824"/>
                  </a:lnTo>
                  <a:lnTo>
                    <a:pt x="741" y="827"/>
                  </a:lnTo>
                  <a:lnTo>
                    <a:pt x="740" y="824"/>
                  </a:lnTo>
                  <a:lnTo>
                    <a:pt x="737" y="824"/>
                  </a:lnTo>
                  <a:lnTo>
                    <a:pt x="734" y="821"/>
                  </a:lnTo>
                  <a:lnTo>
                    <a:pt x="732" y="823"/>
                  </a:lnTo>
                  <a:lnTo>
                    <a:pt x="728" y="823"/>
                  </a:lnTo>
                  <a:lnTo>
                    <a:pt x="726" y="824"/>
                  </a:lnTo>
                  <a:lnTo>
                    <a:pt x="728" y="825"/>
                  </a:lnTo>
                  <a:lnTo>
                    <a:pt x="732" y="827"/>
                  </a:lnTo>
                  <a:lnTo>
                    <a:pt x="733" y="829"/>
                  </a:lnTo>
                  <a:lnTo>
                    <a:pt x="735" y="832"/>
                  </a:lnTo>
                  <a:lnTo>
                    <a:pt x="739" y="833"/>
                  </a:lnTo>
                  <a:lnTo>
                    <a:pt x="739" y="833"/>
                  </a:lnTo>
                  <a:lnTo>
                    <a:pt x="742" y="835"/>
                  </a:lnTo>
                  <a:lnTo>
                    <a:pt x="744" y="837"/>
                  </a:lnTo>
                  <a:lnTo>
                    <a:pt x="746" y="837"/>
                  </a:lnTo>
                  <a:lnTo>
                    <a:pt x="749" y="837"/>
                  </a:lnTo>
                  <a:lnTo>
                    <a:pt x="751" y="835"/>
                  </a:lnTo>
                  <a:lnTo>
                    <a:pt x="751" y="834"/>
                  </a:lnTo>
                  <a:lnTo>
                    <a:pt x="751" y="837"/>
                  </a:lnTo>
                  <a:lnTo>
                    <a:pt x="752" y="840"/>
                  </a:lnTo>
                  <a:lnTo>
                    <a:pt x="756" y="842"/>
                  </a:lnTo>
                  <a:lnTo>
                    <a:pt x="758" y="844"/>
                  </a:lnTo>
                  <a:lnTo>
                    <a:pt x="758" y="844"/>
                  </a:lnTo>
                  <a:lnTo>
                    <a:pt x="761" y="845"/>
                  </a:lnTo>
                  <a:lnTo>
                    <a:pt x="761" y="845"/>
                  </a:lnTo>
                  <a:lnTo>
                    <a:pt x="763" y="849"/>
                  </a:lnTo>
                  <a:lnTo>
                    <a:pt x="763" y="849"/>
                  </a:lnTo>
                  <a:lnTo>
                    <a:pt x="766" y="851"/>
                  </a:lnTo>
                  <a:lnTo>
                    <a:pt x="766" y="854"/>
                  </a:lnTo>
                  <a:lnTo>
                    <a:pt x="766" y="857"/>
                  </a:lnTo>
                  <a:lnTo>
                    <a:pt x="766" y="859"/>
                  </a:lnTo>
                  <a:lnTo>
                    <a:pt x="766" y="860"/>
                  </a:lnTo>
                  <a:lnTo>
                    <a:pt x="765" y="862"/>
                  </a:lnTo>
                  <a:lnTo>
                    <a:pt x="765" y="864"/>
                  </a:lnTo>
                  <a:lnTo>
                    <a:pt x="768" y="867"/>
                  </a:lnTo>
                  <a:lnTo>
                    <a:pt x="769" y="869"/>
                  </a:lnTo>
                  <a:lnTo>
                    <a:pt x="773" y="871"/>
                  </a:lnTo>
                  <a:lnTo>
                    <a:pt x="773" y="871"/>
                  </a:lnTo>
                  <a:lnTo>
                    <a:pt x="778" y="875"/>
                  </a:lnTo>
                  <a:lnTo>
                    <a:pt x="780" y="877"/>
                  </a:lnTo>
                  <a:lnTo>
                    <a:pt x="783" y="879"/>
                  </a:lnTo>
                  <a:lnTo>
                    <a:pt x="786" y="881"/>
                  </a:lnTo>
                  <a:lnTo>
                    <a:pt x="788" y="883"/>
                  </a:lnTo>
                  <a:lnTo>
                    <a:pt x="791" y="886"/>
                  </a:lnTo>
                  <a:lnTo>
                    <a:pt x="792" y="888"/>
                  </a:lnTo>
                  <a:lnTo>
                    <a:pt x="793" y="891"/>
                  </a:lnTo>
                  <a:lnTo>
                    <a:pt x="794" y="893"/>
                  </a:lnTo>
                  <a:lnTo>
                    <a:pt x="795" y="894"/>
                  </a:lnTo>
                  <a:lnTo>
                    <a:pt x="796" y="893"/>
                  </a:lnTo>
                  <a:lnTo>
                    <a:pt x="799" y="891"/>
                  </a:lnTo>
                  <a:lnTo>
                    <a:pt x="802" y="889"/>
                  </a:lnTo>
                  <a:lnTo>
                    <a:pt x="802" y="886"/>
                  </a:lnTo>
                  <a:lnTo>
                    <a:pt x="801" y="884"/>
                  </a:lnTo>
                  <a:lnTo>
                    <a:pt x="799" y="883"/>
                  </a:lnTo>
                  <a:lnTo>
                    <a:pt x="797" y="880"/>
                  </a:lnTo>
                  <a:lnTo>
                    <a:pt x="797" y="877"/>
                  </a:lnTo>
                  <a:lnTo>
                    <a:pt x="794" y="876"/>
                  </a:lnTo>
                  <a:lnTo>
                    <a:pt x="793" y="875"/>
                  </a:lnTo>
                  <a:lnTo>
                    <a:pt x="790" y="874"/>
                  </a:lnTo>
                  <a:lnTo>
                    <a:pt x="788" y="875"/>
                  </a:lnTo>
                  <a:lnTo>
                    <a:pt x="787" y="875"/>
                  </a:lnTo>
                  <a:lnTo>
                    <a:pt x="785" y="872"/>
                  </a:lnTo>
                  <a:lnTo>
                    <a:pt x="784" y="870"/>
                  </a:lnTo>
                  <a:lnTo>
                    <a:pt x="784" y="867"/>
                  </a:lnTo>
                  <a:lnTo>
                    <a:pt x="784" y="864"/>
                  </a:lnTo>
                  <a:lnTo>
                    <a:pt x="782" y="861"/>
                  </a:lnTo>
                  <a:lnTo>
                    <a:pt x="782" y="859"/>
                  </a:lnTo>
                  <a:lnTo>
                    <a:pt x="780" y="857"/>
                  </a:lnTo>
                  <a:lnTo>
                    <a:pt x="778" y="853"/>
                  </a:lnTo>
                  <a:lnTo>
                    <a:pt x="776" y="851"/>
                  </a:lnTo>
                  <a:lnTo>
                    <a:pt x="776" y="848"/>
                  </a:lnTo>
                  <a:lnTo>
                    <a:pt x="775" y="845"/>
                  </a:lnTo>
                  <a:lnTo>
                    <a:pt x="775" y="843"/>
                  </a:lnTo>
                  <a:lnTo>
                    <a:pt x="773" y="840"/>
                  </a:lnTo>
                  <a:lnTo>
                    <a:pt x="771" y="837"/>
                  </a:lnTo>
                  <a:lnTo>
                    <a:pt x="768" y="835"/>
                  </a:lnTo>
                  <a:lnTo>
                    <a:pt x="768" y="838"/>
                  </a:lnTo>
                  <a:lnTo>
                    <a:pt x="768" y="835"/>
                  </a:lnTo>
                  <a:lnTo>
                    <a:pt x="768" y="833"/>
                  </a:lnTo>
                  <a:lnTo>
                    <a:pt x="766" y="832"/>
                  </a:lnTo>
                  <a:lnTo>
                    <a:pt x="763" y="829"/>
                  </a:lnTo>
                  <a:lnTo>
                    <a:pt x="762" y="826"/>
                  </a:lnTo>
                  <a:lnTo>
                    <a:pt x="760" y="825"/>
                  </a:lnTo>
                  <a:lnTo>
                    <a:pt x="757" y="821"/>
                  </a:lnTo>
                  <a:lnTo>
                    <a:pt x="757" y="819"/>
                  </a:lnTo>
                  <a:lnTo>
                    <a:pt x="756" y="818"/>
                  </a:lnTo>
                  <a:lnTo>
                    <a:pt x="756" y="815"/>
                  </a:lnTo>
                  <a:lnTo>
                    <a:pt x="751" y="809"/>
                  </a:lnTo>
                  <a:lnTo>
                    <a:pt x="746" y="806"/>
                  </a:lnTo>
                  <a:lnTo>
                    <a:pt x="745" y="802"/>
                  </a:lnTo>
                  <a:lnTo>
                    <a:pt x="744" y="800"/>
                  </a:lnTo>
                  <a:lnTo>
                    <a:pt x="737" y="793"/>
                  </a:lnTo>
                  <a:lnTo>
                    <a:pt x="734" y="792"/>
                  </a:lnTo>
                  <a:lnTo>
                    <a:pt x="732" y="790"/>
                  </a:lnTo>
                  <a:lnTo>
                    <a:pt x="731" y="785"/>
                  </a:lnTo>
                  <a:lnTo>
                    <a:pt x="731" y="782"/>
                  </a:lnTo>
                  <a:lnTo>
                    <a:pt x="729" y="780"/>
                  </a:lnTo>
                  <a:lnTo>
                    <a:pt x="729" y="777"/>
                  </a:lnTo>
                  <a:lnTo>
                    <a:pt x="728" y="774"/>
                  </a:lnTo>
                  <a:lnTo>
                    <a:pt x="727" y="772"/>
                  </a:lnTo>
                  <a:lnTo>
                    <a:pt x="728" y="764"/>
                  </a:lnTo>
                  <a:lnTo>
                    <a:pt x="726" y="760"/>
                  </a:lnTo>
                  <a:lnTo>
                    <a:pt x="725" y="759"/>
                  </a:lnTo>
                  <a:lnTo>
                    <a:pt x="726" y="760"/>
                  </a:lnTo>
                  <a:lnTo>
                    <a:pt x="727" y="760"/>
                  </a:lnTo>
                  <a:lnTo>
                    <a:pt x="735" y="766"/>
                  </a:lnTo>
                  <a:lnTo>
                    <a:pt x="739" y="767"/>
                  </a:lnTo>
                  <a:lnTo>
                    <a:pt x="741" y="765"/>
                  </a:lnTo>
                  <a:lnTo>
                    <a:pt x="744" y="766"/>
                  </a:lnTo>
                  <a:lnTo>
                    <a:pt x="744" y="769"/>
                  </a:lnTo>
                  <a:lnTo>
                    <a:pt x="746" y="770"/>
                  </a:lnTo>
                  <a:lnTo>
                    <a:pt x="750" y="770"/>
                  </a:lnTo>
                  <a:lnTo>
                    <a:pt x="752" y="772"/>
                  </a:lnTo>
                  <a:lnTo>
                    <a:pt x="752" y="773"/>
                  </a:lnTo>
                  <a:lnTo>
                    <a:pt x="752" y="778"/>
                  </a:lnTo>
                  <a:lnTo>
                    <a:pt x="757" y="786"/>
                  </a:lnTo>
                  <a:lnTo>
                    <a:pt x="757" y="790"/>
                  </a:lnTo>
                  <a:lnTo>
                    <a:pt x="759" y="794"/>
                  </a:lnTo>
                  <a:lnTo>
                    <a:pt x="761" y="797"/>
                  </a:lnTo>
                  <a:lnTo>
                    <a:pt x="761" y="799"/>
                  </a:lnTo>
                  <a:lnTo>
                    <a:pt x="765" y="801"/>
                  </a:lnTo>
                  <a:lnTo>
                    <a:pt x="765" y="802"/>
                  </a:lnTo>
                  <a:lnTo>
                    <a:pt x="766" y="806"/>
                  </a:lnTo>
                  <a:lnTo>
                    <a:pt x="769" y="808"/>
                  </a:lnTo>
                  <a:lnTo>
                    <a:pt x="770" y="810"/>
                  </a:lnTo>
                  <a:lnTo>
                    <a:pt x="775" y="815"/>
                  </a:lnTo>
                  <a:lnTo>
                    <a:pt x="777" y="818"/>
                  </a:lnTo>
                  <a:lnTo>
                    <a:pt x="779" y="820"/>
                  </a:lnTo>
                  <a:lnTo>
                    <a:pt x="783" y="821"/>
                  </a:lnTo>
                  <a:lnTo>
                    <a:pt x="783" y="819"/>
                  </a:lnTo>
                  <a:lnTo>
                    <a:pt x="783" y="819"/>
                  </a:lnTo>
                  <a:lnTo>
                    <a:pt x="783" y="820"/>
                  </a:lnTo>
                  <a:lnTo>
                    <a:pt x="787" y="821"/>
                  </a:lnTo>
                  <a:lnTo>
                    <a:pt x="785" y="824"/>
                  </a:lnTo>
                  <a:lnTo>
                    <a:pt x="786" y="827"/>
                  </a:lnTo>
                  <a:lnTo>
                    <a:pt x="790" y="831"/>
                  </a:lnTo>
                  <a:lnTo>
                    <a:pt x="792" y="832"/>
                  </a:lnTo>
                  <a:lnTo>
                    <a:pt x="795" y="833"/>
                  </a:lnTo>
                  <a:lnTo>
                    <a:pt x="797" y="837"/>
                  </a:lnTo>
                  <a:lnTo>
                    <a:pt x="799" y="838"/>
                  </a:lnTo>
                  <a:lnTo>
                    <a:pt x="802" y="838"/>
                  </a:lnTo>
                  <a:lnTo>
                    <a:pt x="804" y="841"/>
                  </a:lnTo>
                  <a:lnTo>
                    <a:pt x="804" y="844"/>
                  </a:lnTo>
                  <a:lnTo>
                    <a:pt x="807" y="843"/>
                  </a:lnTo>
                  <a:lnTo>
                    <a:pt x="805" y="845"/>
                  </a:lnTo>
                  <a:lnTo>
                    <a:pt x="804" y="845"/>
                  </a:lnTo>
                  <a:lnTo>
                    <a:pt x="802" y="848"/>
                  </a:lnTo>
                  <a:lnTo>
                    <a:pt x="802" y="851"/>
                  </a:lnTo>
                  <a:lnTo>
                    <a:pt x="803" y="852"/>
                  </a:lnTo>
                  <a:lnTo>
                    <a:pt x="805" y="854"/>
                  </a:lnTo>
                  <a:lnTo>
                    <a:pt x="808" y="854"/>
                  </a:lnTo>
                  <a:lnTo>
                    <a:pt x="810" y="854"/>
                  </a:lnTo>
                  <a:lnTo>
                    <a:pt x="813" y="858"/>
                  </a:lnTo>
                  <a:lnTo>
                    <a:pt x="814" y="859"/>
                  </a:lnTo>
                  <a:lnTo>
                    <a:pt x="818" y="860"/>
                  </a:lnTo>
                  <a:lnTo>
                    <a:pt x="821" y="862"/>
                  </a:lnTo>
                  <a:lnTo>
                    <a:pt x="821" y="863"/>
                  </a:lnTo>
                  <a:lnTo>
                    <a:pt x="821" y="867"/>
                  </a:lnTo>
                  <a:lnTo>
                    <a:pt x="822" y="869"/>
                  </a:lnTo>
                  <a:lnTo>
                    <a:pt x="826" y="870"/>
                  </a:lnTo>
                  <a:lnTo>
                    <a:pt x="827" y="872"/>
                  </a:lnTo>
                  <a:lnTo>
                    <a:pt x="834" y="877"/>
                  </a:lnTo>
                  <a:lnTo>
                    <a:pt x="842" y="887"/>
                  </a:lnTo>
                  <a:lnTo>
                    <a:pt x="844" y="889"/>
                  </a:lnTo>
                  <a:lnTo>
                    <a:pt x="850" y="894"/>
                  </a:lnTo>
                  <a:lnTo>
                    <a:pt x="853" y="900"/>
                  </a:lnTo>
                  <a:lnTo>
                    <a:pt x="854" y="902"/>
                  </a:lnTo>
                  <a:lnTo>
                    <a:pt x="854" y="908"/>
                  </a:lnTo>
                  <a:lnTo>
                    <a:pt x="857" y="913"/>
                  </a:lnTo>
                  <a:lnTo>
                    <a:pt x="860" y="913"/>
                  </a:lnTo>
                  <a:lnTo>
                    <a:pt x="860" y="919"/>
                  </a:lnTo>
                  <a:lnTo>
                    <a:pt x="857" y="921"/>
                  </a:lnTo>
                  <a:lnTo>
                    <a:pt x="856" y="925"/>
                  </a:lnTo>
                  <a:lnTo>
                    <a:pt x="860" y="926"/>
                  </a:lnTo>
                  <a:lnTo>
                    <a:pt x="860" y="926"/>
                  </a:lnTo>
                  <a:lnTo>
                    <a:pt x="859" y="927"/>
                  </a:lnTo>
                  <a:lnTo>
                    <a:pt x="854" y="930"/>
                  </a:lnTo>
                  <a:lnTo>
                    <a:pt x="855" y="932"/>
                  </a:lnTo>
                  <a:lnTo>
                    <a:pt x="856" y="935"/>
                  </a:lnTo>
                  <a:lnTo>
                    <a:pt x="862" y="943"/>
                  </a:lnTo>
                  <a:lnTo>
                    <a:pt x="865" y="946"/>
                  </a:lnTo>
                  <a:lnTo>
                    <a:pt x="872" y="948"/>
                  </a:lnTo>
                  <a:lnTo>
                    <a:pt x="877" y="952"/>
                  </a:lnTo>
                  <a:lnTo>
                    <a:pt x="880" y="954"/>
                  </a:lnTo>
                  <a:lnTo>
                    <a:pt x="885" y="960"/>
                  </a:lnTo>
                  <a:lnTo>
                    <a:pt x="890" y="961"/>
                  </a:lnTo>
                  <a:lnTo>
                    <a:pt x="893" y="963"/>
                  </a:lnTo>
                  <a:lnTo>
                    <a:pt x="902" y="964"/>
                  </a:lnTo>
                  <a:lnTo>
                    <a:pt x="903" y="964"/>
                  </a:lnTo>
                  <a:lnTo>
                    <a:pt x="906" y="964"/>
                  </a:lnTo>
                  <a:lnTo>
                    <a:pt x="908" y="968"/>
                  </a:lnTo>
                  <a:lnTo>
                    <a:pt x="916" y="974"/>
                  </a:lnTo>
                  <a:lnTo>
                    <a:pt x="931" y="979"/>
                  </a:lnTo>
                  <a:lnTo>
                    <a:pt x="935" y="981"/>
                  </a:lnTo>
                  <a:lnTo>
                    <a:pt x="949" y="985"/>
                  </a:lnTo>
                  <a:lnTo>
                    <a:pt x="950" y="987"/>
                  </a:lnTo>
                  <a:lnTo>
                    <a:pt x="957" y="989"/>
                  </a:lnTo>
                  <a:lnTo>
                    <a:pt x="962" y="992"/>
                  </a:lnTo>
                  <a:lnTo>
                    <a:pt x="965" y="992"/>
                  </a:lnTo>
                  <a:lnTo>
                    <a:pt x="970" y="994"/>
                  </a:lnTo>
                  <a:lnTo>
                    <a:pt x="974" y="996"/>
                  </a:lnTo>
                  <a:lnTo>
                    <a:pt x="980" y="997"/>
                  </a:lnTo>
                  <a:lnTo>
                    <a:pt x="980" y="996"/>
                  </a:lnTo>
                  <a:lnTo>
                    <a:pt x="982" y="996"/>
                  </a:lnTo>
                  <a:lnTo>
                    <a:pt x="985" y="995"/>
                  </a:lnTo>
                  <a:lnTo>
                    <a:pt x="987" y="994"/>
                  </a:lnTo>
                  <a:lnTo>
                    <a:pt x="992" y="992"/>
                  </a:lnTo>
                  <a:lnTo>
                    <a:pt x="998" y="989"/>
                  </a:lnTo>
                  <a:lnTo>
                    <a:pt x="998" y="989"/>
                  </a:lnTo>
                  <a:lnTo>
                    <a:pt x="1000" y="989"/>
                  </a:lnTo>
                  <a:lnTo>
                    <a:pt x="1002" y="989"/>
                  </a:lnTo>
                  <a:lnTo>
                    <a:pt x="1000" y="988"/>
                  </a:lnTo>
                  <a:lnTo>
                    <a:pt x="1000" y="987"/>
                  </a:lnTo>
                  <a:lnTo>
                    <a:pt x="1002" y="986"/>
                  </a:lnTo>
                  <a:lnTo>
                    <a:pt x="1004" y="989"/>
                  </a:lnTo>
                  <a:lnTo>
                    <a:pt x="1006" y="989"/>
                  </a:lnTo>
                  <a:lnTo>
                    <a:pt x="1013" y="991"/>
                  </a:lnTo>
                  <a:lnTo>
                    <a:pt x="1012" y="990"/>
                  </a:lnTo>
                  <a:lnTo>
                    <a:pt x="1009" y="989"/>
                  </a:lnTo>
                  <a:lnTo>
                    <a:pt x="1013" y="989"/>
                  </a:lnTo>
                  <a:lnTo>
                    <a:pt x="1015" y="990"/>
                  </a:lnTo>
                  <a:lnTo>
                    <a:pt x="1017" y="994"/>
                  </a:lnTo>
                  <a:lnTo>
                    <a:pt x="1027" y="1002"/>
                  </a:lnTo>
                  <a:lnTo>
                    <a:pt x="1030" y="1003"/>
                  </a:lnTo>
                  <a:lnTo>
                    <a:pt x="1031" y="1006"/>
                  </a:lnTo>
                  <a:lnTo>
                    <a:pt x="1038" y="1012"/>
                  </a:lnTo>
                  <a:lnTo>
                    <a:pt x="1047" y="1020"/>
                  </a:lnTo>
                  <a:lnTo>
                    <a:pt x="1050" y="1021"/>
                  </a:lnTo>
                  <a:lnTo>
                    <a:pt x="1053" y="1021"/>
                  </a:lnTo>
                  <a:lnTo>
                    <a:pt x="1059" y="1021"/>
                  </a:lnTo>
                  <a:lnTo>
                    <a:pt x="1061" y="1021"/>
                  </a:lnTo>
                  <a:lnTo>
                    <a:pt x="1068" y="1024"/>
                  </a:lnTo>
                  <a:lnTo>
                    <a:pt x="1070" y="1026"/>
                  </a:lnTo>
                  <a:lnTo>
                    <a:pt x="1077" y="1028"/>
                  </a:lnTo>
                  <a:lnTo>
                    <a:pt x="1079" y="1028"/>
                  </a:lnTo>
                  <a:lnTo>
                    <a:pt x="1084" y="1030"/>
                  </a:lnTo>
                  <a:lnTo>
                    <a:pt x="1090" y="1031"/>
                  </a:lnTo>
                  <a:lnTo>
                    <a:pt x="1086" y="1030"/>
                  </a:lnTo>
                  <a:lnTo>
                    <a:pt x="1091" y="1031"/>
                  </a:lnTo>
                  <a:lnTo>
                    <a:pt x="1091" y="1031"/>
                  </a:lnTo>
                  <a:lnTo>
                    <a:pt x="1095" y="1031"/>
                  </a:lnTo>
                  <a:lnTo>
                    <a:pt x="1098" y="1030"/>
                  </a:lnTo>
                  <a:lnTo>
                    <a:pt x="1098" y="1028"/>
                  </a:lnTo>
                  <a:lnTo>
                    <a:pt x="1098" y="1029"/>
                  </a:lnTo>
                  <a:lnTo>
                    <a:pt x="1100" y="1029"/>
                  </a:lnTo>
                  <a:lnTo>
                    <a:pt x="1101" y="1029"/>
                  </a:lnTo>
                  <a:lnTo>
                    <a:pt x="1104" y="1029"/>
                  </a:lnTo>
                  <a:lnTo>
                    <a:pt x="1103" y="1029"/>
                  </a:lnTo>
                  <a:lnTo>
                    <a:pt x="1103" y="1032"/>
                  </a:lnTo>
                  <a:lnTo>
                    <a:pt x="1106" y="1033"/>
                  </a:lnTo>
                  <a:lnTo>
                    <a:pt x="1106" y="1034"/>
                  </a:lnTo>
                  <a:lnTo>
                    <a:pt x="1104" y="1034"/>
                  </a:lnTo>
                  <a:lnTo>
                    <a:pt x="1101" y="1033"/>
                  </a:lnTo>
                  <a:lnTo>
                    <a:pt x="1100" y="1033"/>
                  </a:lnTo>
                  <a:lnTo>
                    <a:pt x="1102" y="1037"/>
                  </a:lnTo>
                  <a:lnTo>
                    <a:pt x="1107" y="1041"/>
                  </a:lnTo>
                  <a:lnTo>
                    <a:pt x="1108" y="1041"/>
                  </a:lnTo>
                  <a:lnTo>
                    <a:pt x="1108" y="1041"/>
                  </a:lnTo>
                  <a:lnTo>
                    <a:pt x="1107" y="1041"/>
                  </a:lnTo>
                  <a:lnTo>
                    <a:pt x="1112" y="1045"/>
                  </a:lnTo>
                  <a:lnTo>
                    <a:pt x="1113" y="1048"/>
                  </a:lnTo>
                  <a:lnTo>
                    <a:pt x="1118" y="1052"/>
                  </a:lnTo>
                  <a:lnTo>
                    <a:pt x="1120" y="1055"/>
                  </a:lnTo>
                  <a:lnTo>
                    <a:pt x="1127" y="1060"/>
                  </a:lnTo>
                  <a:lnTo>
                    <a:pt x="1125" y="1063"/>
                  </a:lnTo>
                  <a:lnTo>
                    <a:pt x="1125" y="1064"/>
                  </a:lnTo>
                  <a:lnTo>
                    <a:pt x="1128" y="1065"/>
                  </a:lnTo>
                  <a:lnTo>
                    <a:pt x="1127" y="1067"/>
                  </a:lnTo>
                  <a:lnTo>
                    <a:pt x="1125" y="1071"/>
                  </a:lnTo>
                  <a:lnTo>
                    <a:pt x="1125" y="1073"/>
                  </a:lnTo>
                  <a:lnTo>
                    <a:pt x="1128" y="1076"/>
                  </a:lnTo>
                  <a:lnTo>
                    <a:pt x="1130" y="1077"/>
                  </a:lnTo>
                  <a:lnTo>
                    <a:pt x="1134" y="1079"/>
                  </a:lnTo>
                  <a:lnTo>
                    <a:pt x="1135" y="1081"/>
                  </a:lnTo>
                  <a:lnTo>
                    <a:pt x="1137" y="1079"/>
                  </a:lnTo>
                  <a:lnTo>
                    <a:pt x="1137" y="1076"/>
                  </a:lnTo>
                  <a:lnTo>
                    <a:pt x="1135" y="1075"/>
                  </a:lnTo>
                  <a:lnTo>
                    <a:pt x="1134" y="1074"/>
                  </a:lnTo>
                  <a:lnTo>
                    <a:pt x="1133" y="1072"/>
                  </a:lnTo>
                  <a:lnTo>
                    <a:pt x="1134" y="1072"/>
                  </a:lnTo>
                  <a:lnTo>
                    <a:pt x="1134" y="1073"/>
                  </a:lnTo>
                  <a:lnTo>
                    <a:pt x="1136" y="1073"/>
                  </a:lnTo>
                  <a:lnTo>
                    <a:pt x="1142" y="1079"/>
                  </a:lnTo>
                  <a:lnTo>
                    <a:pt x="1142" y="1080"/>
                  </a:lnTo>
                  <a:lnTo>
                    <a:pt x="1143" y="1082"/>
                  </a:lnTo>
                  <a:lnTo>
                    <a:pt x="1147" y="1083"/>
                  </a:lnTo>
                  <a:lnTo>
                    <a:pt x="1153" y="1086"/>
                  </a:lnTo>
                  <a:lnTo>
                    <a:pt x="1155" y="1090"/>
                  </a:lnTo>
                  <a:lnTo>
                    <a:pt x="1157" y="1091"/>
                  </a:lnTo>
                  <a:lnTo>
                    <a:pt x="1154" y="1093"/>
                  </a:lnTo>
                  <a:lnTo>
                    <a:pt x="1154" y="1096"/>
                  </a:lnTo>
                  <a:lnTo>
                    <a:pt x="1160" y="1098"/>
                  </a:lnTo>
                  <a:lnTo>
                    <a:pt x="1160" y="1096"/>
                  </a:lnTo>
                  <a:lnTo>
                    <a:pt x="1159" y="1093"/>
                  </a:lnTo>
                  <a:lnTo>
                    <a:pt x="1161" y="1094"/>
                  </a:lnTo>
                  <a:lnTo>
                    <a:pt x="1166" y="1102"/>
                  </a:lnTo>
                  <a:lnTo>
                    <a:pt x="1164" y="1099"/>
                  </a:lnTo>
                  <a:lnTo>
                    <a:pt x="1164" y="1099"/>
                  </a:lnTo>
                  <a:lnTo>
                    <a:pt x="1164" y="1098"/>
                  </a:lnTo>
                  <a:lnTo>
                    <a:pt x="1166" y="1097"/>
                  </a:lnTo>
                  <a:lnTo>
                    <a:pt x="1167" y="1097"/>
                  </a:lnTo>
                  <a:lnTo>
                    <a:pt x="1167" y="1096"/>
                  </a:lnTo>
                  <a:lnTo>
                    <a:pt x="1166" y="1092"/>
                  </a:lnTo>
                  <a:lnTo>
                    <a:pt x="1167" y="1091"/>
                  </a:lnTo>
                  <a:lnTo>
                    <a:pt x="1168" y="1090"/>
                  </a:lnTo>
                  <a:lnTo>
                    <a:pt x="1168" y="1090"/>
                  </a:lnTo>
                  <a:lnTo>
                    <a:pt x="1164" y="1089"/>
                  </a:lnTo>
                  <a:lnTo>
                    <a:pt x="1164" y="1085"/>
                  </a:lnTo>
                  <a:lnTo>
                    <a:pt x="1167" y="1082"/>
                  </a:lnTo>
                  <a:lnTo>
                    <a:pt x="1166" y="1081"/>
                  </a:lnTo>
                  <a:lnTo>
                    <a:pt x="1167" y="1081"/>
                  </a:lnTo>
                  <a:lnTo>
                    <a:pt x="1169" y="1082"/>
                  </a:lnTo>
                  <a:lnTo>
                    <a:pt x="1170" y="1081"/>
                  </a:lnTo>
                  <a:lnTo>
                    <a:pt x="1166" y="1079"/>
                  </a:lnTo>
                  <a:lnTo>
                    <a:pt x="1163" y="1075"/>
                  </a:lnTo>
                  <a:lnTo>
                    <a:pt x="1163" y="1075"/>
                  </a:lnTo>
                  <a:lnTo>
                    <a:pt x="1160" y="1072"/>
                  </a:lnTo>
                  <a:lnTo>
                    <a:pt x="1157" y="1067"/>
                  </a:lnTo>
                  <a:lnTo>
                    <a:pt x="1155" y="1065"/>
                  </a:lnTo>
                  <a:lnTo>
                    <a:pt x="1155" y="1065"/>
                  </a:lnTo>
                  <a:lnTo>
                    <a:pt x="1155" y="1063"/>
                  </a:lnTo>
                  <a:lnTo>
                    <a:pt x="1154" y="1063"/>
                  </a:lnTo>
                  <a:lnTo>
                    <a:pt x="1153" y="1060"/>
                  </a:lnTo>
                  <a:lnTo>
                    <a:pt x="1152" y="1057"/>
                  </a:lnTo>
                  <a:lnTo>
                    <a:pt x="1155" y="1051"/>
                  </a:lnTo>
                  <a:lnTo>
                    <a:pt x="1153" y="1049"/>
                  </a:lnTo>
                  <a:lnTo>
                    <a:pt x="1154" y="1046"/>
                  </a:lnTo>
                  <a:lnTo>
                    <a:pt x="1155" y="1043"/>
                  </a:lnTo>
                  <a:lnTo>
                    <a:pt x="1154" y="1042"/>
                  </a:lnTo>
                  <a:lnTo>
                    <a:pt x="1155" y="1039"/>
                  </a:lnTo>
                  <a:lnTo>
                    <a:pt x="1155" y="1037"/>
                  </a:lnTo>
                  <a:lnTo>
                    <a:pt x="1157" y="1037"/>
                  </a:lnTo>
                  <a:lnTo>
                    <a:pt x="1155" y="1040"/>
                  </a:lnTo>
                  <a:lnTo>
                    <a:pt x="1155" y="1040"/>
                  </a:lnTo>
                  <a:lnTo>
                    <a:pt x="1155" y="1042"/>
                  </a:lnTo>
                  <a:lnTo>
                    <a:pt x="1157" y="1040"/>
                  </a:lnTo>
                  <a:lnTo>
                    <a:pt x="1157" y="1038"/>
                  </a:lnTo>
                  <a:lnTo>
                    <a:pt x="1158" y="1035"/>
                  </a:lnTo>
                  <a:lnTo>
                    <a:pt x="1157" y="1033"/>
                  </a:lnTo>
                  <a:lnTo>
                    <a:pt x="1157" y="1029"/>
                  </a:lnTo>
                  <a:lnTo>
                    <a:pt x="1158" y="1021"/>
                  </a:lnTo>
                  <a:lnTo>
                    <a:pt x="1161" y="1016"/>
                  </a:lnTo>
                  <a:lnTo>
                    <a:pt x="1161" y="1014"/>
                  </a:lnTo>
                  <a:lnTo>
                    <a:pt x="1160" y="1009"/>
                  </a:lnTo>
                  <a:lnTo>
                    <a:pt x="1162" y="1006"/>
                  </a:lnTo>
                  <a:lnTo>
                    <a:pt x="1161" y="1005"/>
                  </a:lnTo>
                  <a:lnTo>
                    <a:pt x="1159" y="1003"/>
                  </a:lnTo>
                  <a:lnTo>
                    <a:pt x="1157" y="1002"/>
                  </a:lnTo>
                  <a:lnTo>
                    <a:pt x="1157" y="1002"/>
                  </a:lnTo>
                  <a:lnTo>
                    <a:pt x="1153" y="1003"/>
                  </a:lnTo>
                  <a:lnTo>
                    <a:pt x="1151" y="1000"/>
                  </a:lnTo>
                  <a:lnTo>
                    <a:pt x="1152" y="1003"/>
                  </a:lnTo>
                  <a:lnTo>
                    <a:pt x="1151" y="1002"/>
                  </a:lnTo>
                  <a:lnTo>
                    <a:pt x="1149" y="999"/>
                  </a:lnTo>
                  <a:lnTo>
                    <a:pt x="1151" y="998"/>
                  </a:lnTo>
                  <a:lnTo>
                    <a:pt x="1154" y="1000"/>
                  </a:lnTo>
                  <a:lnTo>
                    <a:pt x="1154" y="1000"/>
                  </a:lnTo>
                  <a:lnTo>
                    <a:pt x="1151" y="998"/>
                  </a:lnTo>
                  <a:lnTo>
                    <a:pt x="1146" y="994"/>
                  </a:lnTo>
                  <a:lnTo>
                    <a:pt x="1144" y="995"/>
                  </a:lnTo>
                  <a:lnTo>
                    <a:pt x="1142" y="994"/>
                  </a:lnTo>
                  <a:lnTo>
                    <a:pt x="1137" y="992"/>
                  </a:lnTo>
                  <a:lnTo>
                    <a:pt x="1130" y="994"/>
                  </a:lnTo>
                  <a:lnTo>
                    <a:pt x="1127" y="992"/>
                  </a:lnTo>
                  <a:lnTo>
                    <a:pt x="1127" y="992"/>
                  </a:lnTo>
                  <a:lnTo>
                    <a:pt x="1125" y="992"/>
                  </a:lnTo>
                  <a:lnTo>
                    <a:pt x="1124" y="994"/>
                  </a:lnTo>
                  <a:lnTo>
                    <a:pt x="1120" y="994"/>
                  </a:lnTo>
                  <a:lnTo>
                    <a:pt x="1118" y="995"/>
                  </a:lnTo>
                  <a:lnTo>
                    <a:pt x="1117" y="995"/>
                  </a:lnTo>
                  <a:lnTo>
                    <a:pt x="1108" y="995"/>
                  </a:lnTo>
                  <a:lnTo>
                    <a:pt x="1104" y="994"/>
                  </a:lnTo>
                  <a:lnTo>
                    <a:pt x="1102" y="995"/>
                  </a:lnTo>
                  <a:lnTo>
                    <a:pt x="1099" y="992"/>
                  </a:lnTo>
                  <a:lnTo>
                    <a:pt x="1095" y="995"/>
                  </a:lnTo>
                  <a:lnTo>
                    <a:pt x="1093" y="996"/>
                  </a:lnTo>
                  <a:lnTo>
                    <a:pt x="1090" y="994"/>
                  </a:lnTo>
                  <a:lnTo>
                    <a:pt x="1089" y="994"/>
                  </a:lnTo>
                  <a:lnTo>
                    <a:pt x="1087" y="996"/>
                  </a:lnTo>
                  <a:lnTo>
                    <a:pt x="1087" y="995"/>
                  </a:lnTo>
                  <a:lnTo>
                    <a:pt x="1083" y="994"/>
                  </a:lnTo>
                  <a:lnTo>
                    <a:pt x="1083" y="992"/>
                  </a:lnTo>
                  <a:lnTo>
                    <a:pt x="1086" y="988"/>
                  </a:lnTo>
                  <a:lnTo>
                    <a:pt x="1089" y="987"/>
                  </a:lnTo>
                  <a:lnTo>
                    <a:pt x="1090" y="985"/>
                  </a:lnTo>
                  <a:lnTo>
                    <a:pt x="1091" y="985"/>
                  </a:lnTo>
                  <a:lnTo>
                    <a:pt x="1092" y="981"/>
                  </a:lnTo>
                  <a:lnTo>
                    <a:pt x="1092" y="973"/>
                  </a:lnTo>
                  <a:lnTo>
                    <a:pt x="1093" y="971"/>
                  </a:lnTo>
                  <a:lnTo>
                    <a:pt x="1092" y="970"/>
                  </a:lnTo>
                  <a:lnTo>
                    <a:pt x="1094" y="962"/>
                  </a:lnTo>
                  <a:lnTo>
                    <a:pt x="1094" y="960"/>
                  </a:lnTo>
                  <a:lnTo>
                    <a:pt x="1092" y="956"/>
                  </a:lnTo>
                  <a:lnTo>
                    <a:pt x="1092" y="954"/>
                  </a:lnTo>
                  <a:lnTo>
                    <a:pt x="1095" y="953"/>
                  </a:lnTo>
                  <a:lnTo>
                    <a:pt x="1094" y="955"/>
                  </a:lnTo>
                  <a:lnTo>
                    <a:pt x="1098" y="961"/>
                  </a:lnTo>
                  <a:lnTo>
                    <a:pt x="1103" y="945"/>
                  </a:lnTo>
                  <a:lnTo>
                    <a:pt x="1101" y="946"/>
                  </a:lnTo>
                  <a:lnTo>
                    <a:pt x="1100" y="945"/>
                  </a:lnTo>
                  <a:lnTo>
                    <a:pt x="1102" y="941"/>
                  </a:lnTo>
                  <a:lnTo>
                    <a:pt x="1100" y="941"/>
                  </a:lnTo>
                  <a:lnTo>
                    <a:pt x="1103" y="936"/>
                  </a:lnTo>
                  <a:lnTo>
                    <a:pt x="1103" y="934"/>
                  </a:lnTo>
                  <a:lnTo>
                    <a:pt x="1104" y="931"/>
                  </a:lnTo>
                  <a:lnTo>
                    <a:pt x="1106" y="929"/>
                  </a:lnTo>
                  <a:lnTo>
                    <a:pt x="1109" y="926"/>
                  </a:lnTo>
                  <a:lnTo>
                    <a:pt x="1111" y="923"/>
                  </a:lnTo>
                  <a:lnTo>
                    <a:pt x="1111" y="921"/>
                  </a:lnTo>
                  <a:lnTo>
                    <a:pt x="1111" y="917"/>
                  </a:lnTo>
                  <a:lnTo>
                    <a:pt x="1110" y="914"/>
                  </a:lnTo>
                  <a:lnTo>
                    <a:pt x="1108" y="912"/>
                  </a:lnTo>
                  <a:lnTo>
                    <a:pt x="1104" y="914"/>
                  </a:lnTo>
                  <a:lnTo>
                    <a:pt x="1094" y="912"/>
                  </a:lnTo>
                  <a:lnTo>
                    <a:pt x="1091" y="913"/>
                  </a:lnTo>
                  <a:lnTo>
                    <a:pt x="1090" y="913"/>
                  </a:lnTo>
                  <a:lnTo>
                    <a:pt x="1084" y="915"/>
                  </a:lnTo>
                  <a:lnTo>
                    <a:pt x="1070" y="917"/>
                  </a:lnTo>
                  <a:lnTo>
                    <a:pt x="1065" y="920"/>
                  </a:lnTo>
                  <a:lnTo>
                    <a:pt x="1063" y="922"/>
                  </a:lnTo>
                  <a:lnTo>
                    <a:pt x="1064" y="923"/>
                  </a:lnTo>
                  <a:lnTo>
                    <a:pt x="1063" y="925"/>
                  </a:lnTo>
                  <a:lnTo>
                    <a:pt x="1061" y="927"/>
                  </a:lnTo>
                  <a:lnTo>
                    <a:pt x="1061" y="930"/>
                  </a:lnTo>
                  <a:lnTo>
                    <a:pt x="1061" y="932"/>
                  </a:lnTo>
                  <a:lnTo>
                    <a:pt x="1061" y="935"/>
                  </a:lnTo>
                  <a:lnTo>
                    <a:pt x="1061" y="936"/>
                  </a:lnTo>
                  <a:lnTo>
                    <a:pt x="1059" y="938"/>
                  </a:lnTo>
                  <a:lnTo>
                    <a:pt x="1058" y="944"/>
                  </a:lnTo>
                  <a:lnTo>
                    <a:pt x="1056" y="947"/>
                  </a:lnTo>
                  <a:lnTo>
                    <a:pt x="1050" y="949"/>
                  </a:lnTo>
                  <a:lnTo>
                    <a:pt x="1048" y="952"/>
                  </a:lnTo>
                  <a:lnTo>
                    <a:pt x="1049" y="952"/>
                  </a:lnTo>
                  <a:lnTo>
                    <a:pt x="1051" y="955"/>
                  </a:lnTo>
                  <a:lnTo>
                    <a:pt x="1050" y="955"/>
                  </a:lnTo>
                  <a:lnTo>
                    <a:pt x="1048" y="957"/>
                  </a:lnTo>
                  <a:lnTo>
                    <a:pt x="1046" y="957"/>
                  </a:lnTo>
                  <a:lnTo>
                    <a:pt x="1043" y="957"/>
                  </a:lnTo>
                  <a:lnTo>
                    <a:pt x="1041" y="955"/>
                  </a:lnTo>
                  <a:lnTo>
                    <a:pt x="1042" y="955"/>
                  </a:lnTo>
                  <a:lnTo>
                    <a:pt x="1040" y="954"/>
                  </a:lnTo>
                  <a:lnTo>
                    <a:pt x="1034" y="954"/>
                  </a:lnTo>
                  <a:lnTo>
                    <a:pt x="1033" y="955"/>
                  </a:lnTo>
                  <a:lnTo>
                    <a:pt x="1032" y="957"/>
                  </a:lnTo>
                  <a:lnTo>
                    <a:pt x="1031" y="956"/>
                  </a:lnTo>
                  <a:lnTo>
                    <a:pt x="1029" y="957"/>
                  </a:lnTo>
                  <a:lnTo>
                    <a:pt x="1025" y="957"/>
                  </a:lnTo>
                  <a:lnTo>
                    <a:pt x="1021" y="957"/>
                  </a:lnTo>
                  <a:lnTo>
                    <a:pt x="1010" y="961"/>
                  </a:lnTo>
                  <a:lnTo>
                    <a:pt x="1007" y="962"/>
                  </a:lnTo>
                  <a:lnTo>
                    <a:pt x="1006" y="961"/>
                  </a:lnTo>
                  <a:lnTo>
                    <a:pt x="1002" y="956"/>
                  </a:lnTo>
                  <a:lnTo>
                    <a:pt x="1000" y="956"/>
                  </a:lnTo>
                  <a:lnTo>
                    <a:pt x="996" y="954"/>
                  </a:lnTo>
                  <a:lnTo>
                    <a:pt x="991" y="953"/>
                  </a:lnTo>
                  <a:lnTo>
                    <a:pt x="989" y="953"/>
                  </a:lnTo>
                  <a:lnTo>
                    <a:pt x="989" y="953"/>
                  </a:lnTo>
                  <a:lnTo>
                    <a:pt x="988" y="954"/>
                  </a:lnTo>
                  <a:lnTo>
                    <a:pt x="988" y="955"/>
                  </a:lnTo>
                  <a:lnTo>
                    <a:pt x="987" y="955"/>
                  </a:lnTo>
                  <a:lnTo>
                    <a:pt x="988" y="954"/>
                  </a:lnTo>
                  <a:lnTo>
                    <a:pt x="987" y="952"/>
                  </a:lnTo>
                  <a:lnTo>
                    <a:pt x="989" y="953"/>
                  </a:lnTo>
                  <a:lnTo>
                    <a:pt x="987" y="952"/>
                  </a:lnTo>
                  <a:lnTo>
                    <a:pt x="985" y="948"/>
                  </a:lnTo>
                  <a:lnTo>
                    <a:pt x="982" y="945"/>
                  </a:lnTo>
                  <a:lnTo>
                    <a:pt x="981" y="944"/>
                  </a:lnTo>
                  <a:lnTo>
                    <a:pt x="980" y="938"/>
                  </a:lnTo>
                  <a:lnTo>
                    <a:pt x="979" y="935"/>
                  </a:lnTo>
                  <a:lnTo>
                    <a:pt x="971" y="927"/>
                  </a:lnTo>
                  <a:lnTo>
                    <a:pt x="967" y="919"/>
                  </a:lnTo>
                  <a:lnTo>
                    <a:pt x="965" y="914"/>
                  </a:lnTo>
                  <a:lnTo>
                    <a:pt x="964" y="912"/>
                  </a:lnTo>
                  <a:lnTo>
                    <a:pt x="963" y="910"/>
                  </a:lnTo>
                  <a:lnTo>
                    <a:pt x="963" y="906"/>
                  </a:lnTo>
                  <a:lnTo>
                    <a:pt x="964" y="910"/>
                  </a:lnTo>
                  <a:lnTo>
                    <a:pt x="967" y="913"/>
                  </a:lnTo>
                  <a:lnTo>
                    <a:pt x="966" y="915"/>
                  </a:lnTo>
                  <a:lnTo>
                    <a:pt x="967" y="917"/>
                  </a:lnTo>
                  <a:lnTo>
                    <a:pt x="968" y="913"/>
                  </a:lnTo>
                  <a:lnTo>
                    <a:pt x="967" y="912"/>
                  </a:lnTo>
                  <a:lnTo>
                    <a:pt x="964" y="910"/>
                  </a:lnTo>
                  <a:lnTo>
                    <a:pt x="963" y="906"/>
                  </a:lnTo>
                  <a:lnTo>
                    <a:pt x="962" y="904"/>
                  </a:lnTo>
                  <a:lnTo>
                    <a:pt x="962" y="903"/>
                  </a:lnTo>
                  <a:lnTo>
                    <a:pt x="961" y="901"/>
                  </a:lnTo>
                  <a:lnTo>
                    <a:pt x="961" y="896"/>
                  </a:lnTo>
                  <a:lnTo>
                    <a:pt x="962" y="893"/>
                  </a:lnTo>
                  <a:lnTo>
                    <a:pt x="962" y="891"/>
                  </a:lnTo>
                  <a:lnTo>
                    <a:pt x="962" y="884"/>
                  </a:lnTo>
                  <a:lnTo>
                    <a:pt x="961" y="880"/>
                  </a:lnTo>
                  <a:lnTo>
                    <a:pt x="962" y="880"/>
                  </a:lnTo>
                  <a:lnTo>
                    <a:pt x="962" y="878"/>
                  </a:lnTo>
                  <a:lnTo>
                    <a:pt x="962" y="872"/>
                  </a:lnTo>
                  <a:lnTo>
                    <a:pt x="961" y="869"/>
                  </a:lnTo>
                  <a:lnTo>
                    <a:pt x="963" y="867"/>
                  </a:lnTo>
                  <a:lnTo>
                    <a:pt x="963" y="864"/>
                  </a:lnTo>
                  <a:lnTo>
                    <a:pt x="963" y="863"/>
                  </a:lnTo>
                  <a:lnTo>
                    <a:pt x="963" y="858"/>
                  </a:lnTo>
                  <a:lnTo>
                    <a:pt x="965" y="859"/>
                  </a:lnTo>
                  <a:lnTo>
                    <a:pt x="965" y="863"/>
                  </a:lnTo>
                  <a:lnTo>
                    <a:pt x="964" y="869"/>
                  </a:lnTo>
                  <a:lnTo>
                    <a:pt x="962" y="879"/>
                  </a:lnTo>
                  <a:lnTo>
                    <a:pt x="963" y="879"/>
                  </a:lnTo>
                  <a:lnTo>
                    <a:pt x="963" y="871"/>
                  </a:lnTo>
                  <a:lnTo>
                    <a:pt x="965" y="862"/>
                  </a:lnTo>
                  <a:lnTo>
                    <a:pt x="970" y="854"/>
                  </a:lnTo>
                  <a:lnTo>
                    <a:pt x="971" y="849"/>
                  </a:lnTo>
                  <a:lnTo>
                    <a:pt x="968" y="846"/>
                  </a:lnTo>
                  <a:lnTo>
                    <a:pt x="964" y="834"/>
                  </a:lnTo>
                  <a:lnTo>
                    <a:pt x="966" y="832"/>
                  </a:lnTo>
                  <a:lnTo>
                    <a:pt x="964" y="831"/>
                  </a:lnTo>
                  <a:lnTo>
                    <a:pt x="962" y="827"/>
                  </a:lnTo>
                  <a:lnTo>
                    <a:pt x="964" y="828"/>
                  </a:lnTo>
                  <a:lnTo>
                    <a:pt x="966" y="829"/>
                  </a:lnTo>
                  <a:lnTo>
                    <a:pt x="968" y="824"/>
                  </a:lnTo>
                  <a:lnTo>
                    <a:pt x="967" y="821"/>
                  </a:lnTo>
                  <a:lnTo>
                    <a:pt x="965" y="821"/>
                  </a:lnTo>
                  <a:lnTo>
                    <a:pt x="970" y="821"/>
                  </a:lnTo>
                  <a:lnTo>
                    <a:pt x="972" y="818"/>
                  </a:lnTo>
                  <a:lnTo>
                    <a:pt x="972" y="817"/>
                  </a:lnTo>
                  <a:lnTo>
                    <a:pt x="975" y="816"/>
                  </a:lnTo>
                  <a:lnTo>
                    <a:pt x="974" y="814"/>
                  </a:lnTo>
                  <a:lnTo>
                    <a:pt x="975" y="812"/>
                  </a:lnTo>
                  <a:lnTo>
                    <a:pt x="978" y="815"/>
                  </a:lnTo>
                  <a:lnTo>
                    <a:pt x="981" y="812"/>
                  </a:lnTo>
                  <a:lnTo>
                    <a:pt x="978" y="810"/>
                  </a:lnTo>
                  <a:lnTo>
                    <a:pt x="978" y="810"/>
                  </a:lnTo>
                  <a:lnTo>
                    <a:pt x="979" y="809"/>
                  </a:lnTo>
                  <a:lnTo>
                    <a:pt x="980" y="810"/>
                  </a:lnTo>
                  <a:lnTo>
                    <a:pt x="980" y="808"/>
                  </a:lnTo>
                  <a:lnTo>
                    <a:pt x="983" y="809"/>
                  </a:lnTo>
                  <a:lnTo>
                    <a:pt x="984" y="810"/>
                  </a:lnTo>
                  <a:lnTo>
                    <a:pt x="983" y="810"/>
                  </a:lnTo>
                  <a:lnTo>
                    <a:pt x="987" y="810"/>
                  </a:lnTo>
                  <a:lnTo>
                    <a:pt x="983" y="812"/>
                  </a:lnTo>
                  <a:lnTo>
                    <a:pt x="991" y="808"/>
                  </a:lnTo>
                  <a:lnTo>
                    <a:pt x="993" y="807"/>
                  </a:lnTo>
                  <a:lnTo>
                    <a:pt x="995" y="807"/>
                  </a:lnTo>
                  <a:lnTo>
                    <a:pt x="997" y="804"/>
                  </a:lnTo>
                  <a:lnTo>
                    <a:pt x="998" y="802"/>
                  </a:lnTo>
                  <a:lnTo>
                    <a:pt x="1001" y="800"/>
                  </a:lnTo>
                  <a:lnTo>
                    <a:pt x="999" y="794"/>
                  </a:lnTo>
                  <a:lnTo>
                    <a:pt x="999" y="793"/>
                  </a:lnTo>
                  <a:lnTo>
                    <a:pt x="1001" y="794"/>
                  </a:lnTo>
                  <a:lnTo>
                    <a:pt x="1004" y="793"/>
                  </a:lnTo>
                  <a:lnTo>
                    <a:pt x="1005" y="797"/>
                  </a:lnTo>
                  <a:lnTo>
                    <a:pt x="1007" y="797"/>
                  </a:lnTo>
                  <a:lnTo>
                    <a:pt x="1006" y="797"/>
                  </a:lnTo>
                  <a:lnTo>
                    <a:pt x="1002" y="799"/>
                  </a:lnTo>
                  <a:lnTo>
                    <a:pt x="1008" y="795"/>
                  </a:lnTo>
                  <a:lnTo>
                    <a:pt x="1012" y="794"/>
                  </a:lnTo>
                  <a:lnTo>
                    <a:pt x="1014" y="794"/>
                  </a:lnTo>
                  <a:lnTo>
                    <a:pt x="1015" y="793"/>
                  </a:lnTo>
                  <a:lnTo>
                    <a:pt x="1014" y="792"/>
                  </a:lnTo>
                  <a:lnTo>
                    <a:pt x="1016" y="790"/>
                  </a:lnTo>
                  <a:lnTo>
                    <a:pt x="1015" y="792"/>
                  </a:lnTo>
                  <a:lnTo>
                    <a:pt x="1015" y="793"/>
                  </a:lnTo>
                  <a:lnTo>
                    <a:pt x="1021" y="793"/>
                  </a:lnTo>
                  <a:lnTo>
                    <a:pt x="1022" y="792"/>
                  </a:lnTo>
                  <a:lnTo>
                    <a:pt x="1023" y="790"/>
                  </a:lnTo>
                  <a:lnTo>
                    <a:pt x="1023" y="790"/>
                  </a:lnTo>
                  <a:lnTo>
                    <a:pt x="1022" y="792"/>
                  </a:lnTo>
                  <a:lnTo>
                    <a:pt x="1027" y="793"/>
                  </a:lnTo>
                  <a:lnTo>
                    <a:pt x="1031" y="795"/>
                  </a:lnTo>
                  <a:lnTo>
                    <a:pt x="1036" y="797"/>
                  </a:lnTo>
                  <a:lnTo>
                    <a:pt x="1039" y="795"/>
                  </a:lnTo>
                  <a:lnTo>
                    <a:pt x="1040" y="795"/>
                  </a:lnTo>
                  <a:lnTo>
                    <a:pt x="1041" y="792"/>
                  </a:lnTo>
                  <a:lnTo>
                    <a:pt x="1043" y="793"/>
                  </a:lnTo>
                  <a:lnTo>
                    <a:pt x="1049" y="797"/>
                  </a:lnTo>
                  <a:lnTo>
                    <a:pt x="1051" y="795"/>
                  </a:lnTo>
                  <a:lnTo>
                    <a:pt x="1051" y="797"/>
                  </a:lnTo>
                  <a:lnTo>
                    <a:pt x="1055" y="802"/>
                  </a:lnTo>
                  <a:lnTo>
                    <a:pt x="1059" y="802"/>
                  </a:lnTo>
                  <a:lnTo>
                    <a:pt x="1059" y="801"/>
                  </a:lnTo>
                  <a:lnTo>
                    <a:pt x="1063" y="799"/>
                  </a:lnTo>
                  <a:lnTo>
                    <a:pt x="1066" y="802"/>
                  </a:lnTo>
                  <a:lnTo>
                    <a:pt x="1067" y="801"/>
                  </a:lnTo>
                  <a:lnTo>
                    <a:pt x="1067" y="799"/>
                  </a:lnTo>
                  <a:lnTo>
                    <a:pt x="1066" y="795"/>
                  </a:lnTo>
                  <a:lnTo>
                    <a:pt x="1070" y="798"/>
                  </a:lnTo>
                  <a:lnTo>
                    <a:pt x="1074" y="801"/>
                  </a:lnTo>
                  <a:lnTo>
                    <a:pt x="1076" y="802"/>
                  </a:lnTo>
                  <a:lnTo>
                    <a:pt x="1076" y="806"/>
                  </a:lnTo>
                  <a:lnTo>
                    <a:pt x="1078" y="803"/>
                  </a:lnTo>
                  <a:lnTo>
                    <a:pt x="1082" y="802"/>
                  </a:lnTo>
                  <a:lnTo>
                    <a:pt x="1082" y="801"/>
                  </a:lnTo>
                  <a:lnTo>
                    <a:pt x="1079" y="800"/>
                  </a:lnTo>
                  <a:lnTo>
                    <a:pt x="1077" y="799"/>
                  </a:lnTo>
                  <a:lnTo>
                    <a:pt x="1074" y="797"/>
                  </a:lnTo>
                  <a:lnTo>
                    <a:pt x="1073" y="794"/>
                  </a:lnTo>
                  <a:lnTo>
                    <a:pt x="1076" y="792"/>
                  </a:lnTo>
                  <a:lnTo>
                    <a:pt x="1076" y="790"/>
                  </a:lnTo>
                  <a:lnTo>
                    <a:pt x="1074" y="790"/>
                  </a:lnTo>
                  <a:lnTo>
                    <a:pt x="1072" y="790"/>
                  </a:lnTo>
                  <a:lnTo>
                    <a:pt x="1070" y="790"/>
                  </a:lnTo>
                  <a:lnTo>
                    <a:pt x="1073" y="787"/>
                  </a:lnTo>
                  <a:lnTo>
                    <a:pt x="1073" y="787"/>
                  </a:lnTo>
                  <a:lnTo>
                    <a:pt x="1070" y="787"/>
                  </a:lnTo>
                  <a:lnTo>
                    <a:pt x="1068" y="789"/>
                  </a:lnTo>
                  <a:lnTo>
                    <a:pt x="1066" y="789"/>
                  </a:lnTo>
                  <a:lnTo>
                    <a:pt x="1063" y="787"/>
                  </a:lnTo>
                  <a:lnTo>
                    <a:pt x="1064" y="785"/>
                  </a:lnTo>
                  <a:lnTo>
                    <a:pt x="1067" y="784"/>
                  </a:lnTo>
                  <a:lnTo>
                    <a:pt x="1070" y="786"/>
                  </a:lnTo>
                  <a:lnTo>
                    <a:pt x="1072" y="785"/>
                  </a:lnTo>
                  <a:lnTo>
                    <a:pt x="1074" y="786"/>
                  </a:lnTo>
                  <a:lnTo>
                    <a:pt x="1074" y="787"/>
                  </a:lnTo>
                  <a:lnTo>
                    <a:pt x="1077" y="785"/>
                  </a:lnTo>
                  <a:lnTo>
                    <a:pt x="1077" y="784"/>
                  </a:lnTo>
                  <a:lnTo>
                    <a:pt x="1084" y="784"/>
                  </a:lnTo>
                  <a:lnTo>
                    <a:pt x="1084" y="783"/>
                  </a:lnTo>
                  <a:lnTo>
                    <a:pt x="1083" y="783"/>
                  </a:lnTo>
                  <a:lnTo>
                    <a:pt x="1086" y="784"/>
                  </a:lnTo>
                  <a:lnTo>
                    <a:pt x="1093" y="784"/>
                  </a:lnTo>
                  <a:lnTo>
                    <a:pt x="1094" y="781"/>
                  </a:lnTo>
                  <a:lnTo>
                    <a:pt x="1095" y="778"/>
                  </a:lnTo>
                  <a:lnTo>
                    <a:pt x="1096" y="780"/>
                  </a:lnTo>
                  <a:lnTo>
                    <a:pt x="1096" y="782"/>
                  </a:lnTo>
                  <a:lnTo>
                    <a:pt x="1099" y="784"/>
                  </a:lnTo>
                  <a:lnTo>
                    <a:pt x="1095" y="785"/>
                  </a:lnTo>
                  <a:lnTo>
                    <a:pt x="1099" y="786"/>
                  </a:lnTo>
                  <a:lnTo>
                    <a:pt x="1101" y="785"/>
                  </a:lnTo>
                  <a:lnTo>
                    <a:pt x="1103" y="783"/>
                  </a:lnTo>
                  <a:lnTo>
                    <a:pt x="1103" y="782"/>
                  </a:lnTo>
                  <a:lnTo>
                    <a:pt x="1104" y="783"/>
                  </a:lnTo>
                  <a:lnTo>
                    <a:pt x="1107" y="783"/>
                  </a:lnTo>
                  <a:lnTo>
                    <a:pt x="1107" y="782"/>
                  </a:lnTo>
                  <a:lnTo>
                    <a:pt x="1109" y="781"/>
                  </a:lnTo>
                  <a:lnTo>
                    <a:pt x="1109" y="783"/>
                  </a:lnTo>
                  <a:lnTo>
                    <a:pt x="1108" y="784"/>
                  </a:lnTo>
                  <a:lnTo>
                    <a:pt x="1115" y="783"/>
                  </a:lnTo>
                  <a:lnTo>
                    <a:pt x="1120" y="782"/>
                  </a:lnTo>
                  <a:lnTo>
                    <a:pt x="1121" y="783"/>
                  </a:lnTo>
                  <a:lnTo>
                    <a:pt x="1121" y="784"/>
                  </a:lnTo>
                  <a:lnTo>
                    <a:pt x="1120" y="783"/>
                  </a:lnTo>
                  <a:lnTo>
                    <a:pt x="1116" y="783"/>
                  </a:lnTo>
                  <a:lnTo>
                    <a:pt x="1121" y="784"/>
                  </a:lnTo>
                  <a:lnTo>
                    <a:pt x="1127" y="787"/>
                  </a:lnTo>
                  <a:lnTo>
                    <a:pt x="1125" y="785"/>
                  </a:lnTo>
                  <a:lnTo>
                    <a:pt x="1128" y="785"/>
                  </a:lnTo>
                  <a:lnTo>
                    <a:pt x="1127" y="786"/>
                  </a:lnTo>
                  <a:lnTo>
                    <a:pt x="1132" y="789"/>
                  </a:lnTo>
                  <a:lnTo>
                    <a:pt x="1128" y="787"/>
                  </a:lnTo>
                  <a:lnTo>
                    <a:pt x="1129" y="790"/>
                  </a:lnTo>
                  <a:lnTo>
                    <a:pt x="1132" y="791"/>
                  </a:lnTo>
                  <a:lnTo>
                    <a:pt x="1133" y="794"/>
                  </a:lnTo>
                  <a:lnTo>
                    <a:pt x="1134" y="793"/>
                  </a:lnTo>
                  <a:lnTo>
                    <a:pt x="1137" y="793"/>
                  </a:lnTo>
                  <a:lnTo>
                    <a:pt x="1144" y="791"/>
                  </a:lnTo>
                  <a:lnTo>
                    <a:pt x="1144" y="790"/>
                  </a:lnTo>
                  <a:lnTo>
                    <a:pt x="1145" y="790"/>
                  </a:lnTo>
                  <a:lnTo>
                    <a:pt x="1147" y="787"/>
                  </a:lnTo>
                  <a:lnTo>
                    <a:pt x="1151" y="789"/>
                  </a:lnTo>
                  <a:lnTo>
                    <a:pt x="1155" y="791"/>
                  </a:lnTo>
                  <a:lnTo>
                    <a:pt x="1159" y="797"/>
                  </a:lnTo>
                  <a:lnTo>
                    <a:pt x="1161" y="799"/>
                  </a:lnTo>
                  <a:lnTo>
                    <a:pt x="1162" y="800"/>
                  </a:lnTo>
                  <a:lnTo>
                    <a:pt x="1168" y="803"/>
                  </a:lnTo>
                  <a:lnTo>
                    <a:pt x="1169" y="806"/>
                  </a:lnTo>
                  <a:lnTo>
                    <a:pt x="1169" y="811"/>
                  </a:lnTo>
                  <a:lnTo>
                    <a:pt x="1167" y="817"/>
                  </a:lnTo>
                  <a:lnTo>
                    <a:pt x="1167" y="819"/>
                  </a:lnTo>
                  <a:lnTo>
                    <a:pt x="1166" y="821"/>
                  </a:lnTo>
                  <a:lnTo>
                    <a:pt x="1168" y="824"/>
                  </a:lnTo>
                  <a:lnTo>
                    <a:pt x="1169" y="821"/>
                  </a:lnTo>
                  <a:lnTo>
                    <a:pt x="1168" y="819"/>
                  </a:lnTo>
                  <a:lnTo>
                    <a:pt x="1170" y="821"/>
                  </a:lnTo>
                  <a:lnTo>
                    <a:pt x="1171" y="824"/>
                  </a:lnTo>
                  <a:lnTo>
                    <a:pt x="1170" y="825"/>
                  </a:lnTo>
                  <a:lnTo>
                    <a:pt x="1169" y="828"/>
                  </a:lnTo>
                  <a:lnTo>
                    <a:pt x="1171" y="831"/>
                  </a:lnTo>
                  <a:lnTo>
                    <a:pt x="1172" y="835"/>
                  </a:lnTo>
                  <a:lnTo>
                    <a:pt x="1176" y="836"/>
                  </a:lnTo>
                  <a:lnTo>
                    <a:pt x="1174" y="834"/>
                  </a:lnTo>
                  <a:lnTo>
                    <a:pt x="1177" y="835"/>
                  </a:lnTo>
                  <a:lnTo>
                    <a:pt x="1177" y="840"/>
                  </a:lnTo>
                  <a:lnTo>
                    <a:pt x="1180" y="838"/>
                  </a:lnTo>
                  <a:lnTo>
                    <a:pt x="1179" y="841"/>
                  </a:lnTo>
                  <a:lnTo>
                    <a:pt x="1180" y="846"/>
                  </a:lnTo>
                  <a:lnTo>
                    <a:pt x="1181" y="849"/>
                  </a:lnTo>
                  <a:lnTo>
                    <a:pt x="1181" y="850"/>
                  </a:lnTo>
                  <a:lnTo>
                    <a:pt x="1187" y="851"/>
                  </a:lnTo>
                  <a:lnTo>
                    <a:pt x="1189" y="857"/>
                  </a:lnTo>
                  <a:lnTo>
                    <a:pt x="1192" y="859"/>
                  </a:lnTo>
                  <a:lnTo>
                    <a:pt x="1189" y="859"/>
                  </a:lnTo>
                  <a:lnTo>
                    <a:pt x="1192" y="861"/>
                  </a:lnTo>
                  <a:lnTo>
                    <a:pt x="1195" y="861"/>
                  </a:lnTo>
                  <a:lnTo>
                    <a:pt x="1200" y="859"/>
                  </a:lnTo>
                  <a:lnTo>
                    <a:pt x="1202" y="853"/>
                  </a:lnTo>
                  <a:lnTo>
                    <a:pt x="1203" y="852"/>
                  </a:lnTo>
                  <a:lnTo>
                    <a:pt x="1203" y="850"/>
                  </a:lnTo>
                  <a:lnTo>
                    <a:pt x="1204" y="838"/>
                  </a:lnTo>
                  <a:lnTo>
                    <a:pt x="1204" y="836"/>
                  </a:lnTo>
                  <a:lnTo>
                    <a:pt x="1204" y="835"/>
                  </a:lnTo>
                  <a:lnTo>
                    <a:pt x="1203" y="832"/>
                  </a:lnTo>
                  <a:lnTo>
                    <a:pt x="1202" y="831"/>
                  </a:lnTo>
                  <a:lnTo>
                    <a:pt x="1202" y="831"/>
                  </a:lnTo>
                  <a:lnTo>
                    <a:pt x="1201" y="825"/>
                  </a:lnTo>
                  <a:lnTo>
                    <a:pt x="1195" y="814"/>
                  </a:lnTo>
                  <a:lnTo>
                    <a:pt x="1194" y="811"/>
                  </a:lnTo>
                  <a:lnTo>
                    <a:pt x="1194" y="808"/>
                  </a:lnTo>
                  <a:lnTo>
                    <a:pt x="1196" y="810"/>
                  </a:lnTo>
                  <a:lnTo>
                    <a:pt x="1197" y="812"/>
                  </a:lnTo>
                  <a:lnTo>
                    <a:pt x="1196" y="816"/>
                  </a:lnTo>
                  <a:lnTo>
                    <a:pt x="1197" y="818"/>
                  </a:lnTo>
                  <a:lnTo>
                    <a:pt x="1198" y="821"/>
                  </a:lnTo>
                  <a:lnTo>
                    <a:pt x="1197" y="816"/>
                  </a:lnTo>
                  <a:lnTo>
                    <a:pt x="1197" y="810"/>
                  </a:lnTo>
                  <a:lnTo>
                    <a:pt x="1193" y="803"/>
                  </a:lnTo>
                  <a:lnTo>
                    <a:pt x="1191" y="799"/>
                  </a:lnTo>
                  <a:lnTo>
                    <a:pt x="1188" y="793"/>
                  </a:lnTo>
                  <a:lnTo>
                    <a:pt x="1186" y="784"/>
                  </a:lnTo>
                  <a:lnTo>
                    <a:pt x="1185" y="781"/>
                  </a:lnTo>
                  <a:lnTo>
                    <a:pt x="1185" y="773"/>
                  </a:lnTo>
                  <a:lnTo>
                    <a:pt x="1187" y="772"/>
                  </a:lnTo>
                  <a:lnTo>
                    <a:pt x="1185" y="768"/>
                  </a:lnTo>
                  <a:lnTo>
                    <a:pt x="1187" y="769"/>
                  </a:lnTo>
                  <a:lnTo>
                    <a:pt x="1188" y="768"/>
                  </a:lnTo>
                  <a:lnTo>
                    <a:pt x="1187" y="766"/>
                  </a:lnTo>
                  <a:lnTo>
                    <a:pt x="1189" y="764"/>
                  </a:lnTo>
                  <a:lnTo>
                    <a:pt x="1189" y="761"/>
                  </a:lnTo>
                  <a:lnTo>
                    <a:pt x="1193" y="760"/>
                  </a:lnTo>
                  <a:lnTo>
                    <a:pt x="1193" y="759"/>
                  </a:lnTo>
                  <a:lnTo>
                    <a:pt x="1195" y="756"/>
                  </a:lnTo>
                  <a:lnTo>
                    <a:pt x="1194" y="752"/>
                  </a:lnTo>
                  <a:lnTo>
                    <a:pt x="1196" y="755"/>
                  </a:lnTo>
                  <a:lnTo>
                    <a:pt x="1198" y="755"/>
                  </a:lnTo>
                  <a:lnTo>
                    <a:pt x="1198" y="751"/>
                  </a:lnTo>
                  <a:lnTo>
                    <a:pt x="1201" y="751"/>
                  </a:lnTo>
                  <a:lnTo>
                    <a:pt x="1203" y="750"/>
                  </a:lnTo>
                  <a:lnTo>
                    <a:pt x="1205" y="750"/>
                  </a:lnTo>
                  <a:lnTo>
                    <a:pt x="1206" y="746"/>
                  </a:lnTo>
                  <a:lnTo>
                    <a:pt x="1209" y="747"/>
                  </a:lnTo>
                  <a:lnTo>
                    <a:pt x="1211" y="744"/>
                  </a:lnTo>
                  <a:lnTo>
                    <a:pt x="1213" y="743"/>
                  </a:lnTo>
                  <a:lnTo>
                    <a:pt x="1215" y="739"/>
                  </a:lnTo>
                  <a:lnTo>
                    <a:pt x="1222" y="732"/>
                  </a:lnTo>
                  <a:lnTo>
                    <a:pt x="1224" y="731"/>
                  </a:lnTo>
                  <a:lnTo>
                    <a:pt x="1224" y="731"/>
                  </a:lnTo>
                  <a:lnTo>
                    <a:pt x="1230" y="730"/>
                  </a:lnTo>
                  <a:lnTo>
                    <a:pt x="1234" y="729"/>
                  </a:lnTo>
                  <a:lnTo>
                    <a:pt x="1234" y="726"/>
                  </a:lnTo>
                  <a:lnTo>
                    <a:pt x="1234" y="729"/>
                  </a:lnTo>
                  <a:lnTo>
                    <a:pt x="1235" y="726"/>
                  </a:lnTo>
                  <a:lnTo>
                    <a:pt x="1236" y="724"/>
                  </a:lnTo>
                  <a:lnTo>
                    <a:pt x="1239" y="722"/>
                  </a:lnTo>
                  <a:lnTo>
                    <a:pt x="1241" y="720"/>
                  </a:lnTo>
                  <a:lnTo>
                    <a:pt x="1249" y="717"/>
                  </a:lnTo>
                  <a:lnTo>
                    <a:pt x="1252" y="717"/>
                  </a:lnTo>
                  <a:lnTo>
                    <a:pt x="1255" y="715"/>
                  </a:lnTo>
                  <a:lnTo>
                    <a:pt x="1255" y="713"/>
                  </a:lnTo>
                  <a:lnTo>
                    <a:pt x="1253" y="713"/>
                  </a:lnTo>
                  <a:lnTo>
                    <a:pt x="1249" y="715"/>
                  </a:lnTo>
                  <a:lnTo>
                    <a:pt x="1247" y="714"/>
                  </a:lnTo>
                  <a:lnTo>
                    <a:pt x="1246" y="713"/>
                  </a:lnTo>
                  <a:lnTo>
                    <a:pt x="1251" y="713"/>
                  </a:lnTo>
                  <a:lnTo>
                    <a:pt x="1252" y="710"/>
                  </a:lnTo>
                  <a:lnTo>
                    <a:pt x="1251" y="708"/>
                  </a:lnTo>
                  <a:lnTo>
                    <a:pt x="1248" y="706"/>
                  </a:lnTo>
                  <a:lnTo>
                    <a:pt x="1251" y="706"/>
                  </a:lnTo>
                  <a:lnTo>
                    <a:pt x="1254" y="705"/>
                  </a:lnTo>
                  <a:lnTo>
                    <a:pt x="1254" y="707"/>
                  </a:lnTo>
                  <a:lnTo>
                    <a:pt x="1257" y="708"/>
                  </a:lnTo>
                  <a:lnTo>
                    <a:pt x="1260" y="705"/>
                  </a:lnTo>
                  <a:lnTo>
                    <a:pt x="1263" y="704"/>
                  </a:lnTo>
                  <a:lnTo>
                    <a:pt x="1264" y="701"/>
                  </a:lnTo>
                  <a:lnTo>
                    <a:pt x="1263" y="699"/>
                  </a:lnTo>
                  <a:lnTo>
                    <a:pt x="1260" y="699"/>
                  </a:lnTo>
                  <a:lnTo>
                    <a:pt x="1260" y="701"/>
                  </a:lnTo>
                  <a:lnTo>
                    <a:pt x="1260" y="699"/>
                  </a:lnTo>
                  <a:lnTo>
                    <a:pt x="1256" y="698"/>
                  </a:lnTo>
                  <a:lnTo>
                    <a:pt x="1251" y="698"/>
                  </a:lnTo>
                  <a:lnTo>
                    <a:pt x="1249" y="696"/>
                  </a:lnTo>
                  <a:lnTo>
                    <a:pt x="1251" y="693"/>
                  </a:lnTo>
                  <a:lnTo>
                    <a:pt x="1251" y="696"/>
                  </a:lnTo>
                  <a:lnTo>
                    <a:pt x="1253" y="698"/>
                  </a:lnTo>
                  <a:lnTo>
                    <a:pt x="1255" y="696"/>
                  </a:lnTo>
                  <a:lnTo>
                    <a:pt x="1258" y="696"/>
                  </a:lnTo>
                  <a:lnTo>
                    <a:pt x="1257" y="693"/>
                  </a:lnTo>
                  <a:lnTo>
                    <a:pt x="1262" y="696"/>
                  </a:lnTo>
                  <a:lnTo>
                    <a:pt x="1262" y="693"/>
                  </a:lnTo>
                  <a:lnTo>
                    <a:pt x="1260" y="691"/>
                  </a:lnTo>
                  <a:lnTo>
                    <a:pt x="1260" y="689"/>
                  </a:lnTo>
                  <a:lnTo>
                    <a:pt x="1262" y="689"/>
                  </a:lnTo>
                  <a:lnTo>
                    <a:pt x="1263" y="695"/>
                  </a:lnTo>
                  <a:lnTo>
                    <a:pt x="1265" y="700"/>
                  </a:lnTo>
                  <a:lnTo>
                    <a:pt x="1263" y="695"/>
                  </a:lnTo>
                  <a:lnTo>
                    <a:pt x="1260" y="683"/>
                  </a:lnTo>
                  <a:lnTo>
                    <a:pt x="1257" y="683"/>
                  </a:lnTo>
                  <a:lnTo>
                    <a:pt x="1255" y="683"/>
                  </a:lnTo>
                  <a:lnTo>
                    <a:pt x="1256" y="684"/>
                  </a:lnTo>
                  <a:lnTo>
                    <a:pt x="1252" y="681"/>
                  </a:lnTo>
                  <a:lnTo>
                    <a:pt x="1248" y="679"/>
                  </a:lnTo>
                  <a:lnTo>
                    <a:pt x="1246" y="678"/>
                  </a:lnTo>
                  <a:lnTo>
                    <a:pt x="1244" y="678"/>
                  </a:lnTo>
                  <a:lnTo>
                    <a:pt x="1243" y="677"/>
                  </a:lnTo>
                  <a:lnTo>
                    <a:pt x="1246" y="678"/>
                  </a:lnTo>
                  <a:lnTo>
                    <a:pt x="1248" y="677"/>
                  </a:lnTo>
                  <a:lnTo>
                    <a:pt x="1251" y="679"/>
                  </a:lnTo>
                  <a:lnTo>
                    <a:pt x="1253" y="681"/>
                  </a:lnTo>
                  <a:lnTo>
                    <a:pt x="1255" y="682"/>
                  </a:lnTo>
                  <a:lnTo>
                    <a:pt x="1255" y="679"/>
                  </a:lnTo>
                  <a:lnTo>
                    <a:pt x="1253" y="678"/>
                  </a:lnTo>
                  <a:lnTo>
                    <a:pt x="1251" y="675"/>
                  </a:lnTo>
                  <a:lnTo>
                    <a:pt x="1252" y="677"/>
                  </a:lnTo>
                  <a:lnTo>
                    <a:pt x="1255" y="678"/>
                  </a:lnTo>
                  <a:lnTo>
                    <a:pt x="1256" y="675"/>
                  </a:lnTo>
                  <a:lnTo>
                    <a:pt x="1248" y="667"/>
                  </a:lnTo>
                  <a:lnTo>
                    <a:pt x="1247" y="665"/>
                  </a:lnTo>
                  <a:lnTo>
                    <a:pt x="1245" y="663"/>
                  </a:lnTo>
                  <a:lnTo>
                    <a:pt x="1247" y="664"/>
                  </a:lnTo>
                  <a:lnTo>
                    <a:pt x="1249" y="667"/>
                  </a:lnTo>
                  <a:lnTo>
                    <a:pt x="1254" y="671"/>
                  </a:lnTo>
                  <a:lnTo>
                    <a:pt x="1255" y="669"/>
                  </a:lnTo>
                  <a:lnTo>
                    <a:pt x="1256" y="667"/>
                  </a:lnTo>
                  <a:lnTo>
                    <a:pt x="1254" y="666"/>
                  </a:lnTo>
                  <a:lnTo>
                    <a:pt x="1252" y="664"/>
                  </a:lnTo>
                  <a:lnTo>
                    <a:pt x="1247" y="663"/>
                  </a:lnTo>
                  <a:lnTo>
                    <a:pt x="1244" y="661"/>
                  </a:lnTo>
                  <a:lnTo>
                    <a:pt x="1243" y="661"/>
                  </a:lnTo>
                  <a:lnTo>
                    <a:pt x="1243" y="660"/>
                  </a:lnTo>
                  <a:lnTo>
                    <a:pt x="1243" y="657"/>
                  </a:lnTo>
                  <a:lnTo>
                    <a:pt x="1245" y="656"/>
                  </a:lnTo>
                  <a:lnTo>
                    <a:pt x="1245" y="655"/>
                  </a:lnTo>
                  <a:lnTo>
                    <a:pt x="1246" y="654"/>
                  </a:lnTo>
                  <a:lnTo>
                    <a:pt x="1246" y="654"/>
                  </a:lnTo>
                  <a:lnTo>
                    <a:pt x="1245" y="652"/>
                  </a:lnTo>
                  <a:lnTo>
                    <a:pt x="1246" y="653"/>
                  </a:lnTo>
                  <a:lnTo>
                    <a:pt x="1246" y="654"/>
                  </a:lnTo>
                  <a:lnTo>
                    <a:pt x="1246" y="654"/>
                  </a:lnTo>
                  <a:lnTo>
                    <a:pt x="1246" y="654"/>
                  </a:lnTo>
                  <a:lnTo>
                    <a:pt x="1245" y="656"/>
                  </a:lnTo>
                  <a:lnTo>
                    <a:pt x="1243" y="658"/>
                  </a:lnTo>
                  <a:lnTo>
                    <a:pt x="1245" y="660"/>
                  </a:lnTo>
                  <a:lnTo>
                    <a:pt x="1248" y="662"/>
                  </a:lnTo>
                  <a:lnTo>
                    <a:pt x="1248" y="661"/>
                  </a:lnTo>
                  <a:lnTo>
                    <a:pt x="1252" y="663"/>
                  </a:lnTo>
                  <a:lnTo>
                    <a:pt x="1254" y="663"/>
                  </a:lnTo>
                  <a:lnTo>
                    <a:pt x="1253" y="661"/>
                  </a:lnTo>
                  <a:lnTo>
                    <a:pt x="1252" y="658"/>
                  </a:lnTo>
                  <a:lnTo>
                    <a:pt x="1251" y="658"/>
                  </a:lnTo>
                  <a:lnTo>
                    <a:pt x="1251" y="655"/>
                  </a:lnTo>
                  <a:lnTo>
                    <a:pt x="1252" y="658"/>
                  </a:lnTo>
                  <a:lnTo>
                    <a:pt x="1254" y="661"/>
                  </a:lnTo>
                  <a:lnTo>
                    <a:pt x="1253" y="655"/>
                  </a:lnTo>
                  <a:lnTo>
                    <a:pt x="1253" y="647"/>
                  </a:lnTo>
                  <a:lnTo>
                    <a:pt x="1255" y="645"/>
                  </a:lnTo>
                  <a:lnTo>
                    <a:pt x="1255" y="645"/>
                  </a:lnTo>
                  <a:lnTo>
                    <a:pt x="1257" y="643"/>
                  </a:lnTo>
                  <a:lnTo>
                    <a:pt x="1258" y="641"/>
                  </a:lnTo>
                  <a:lnTo>
                    <a:pt x="1261" y="641"/>
                  </a:lnTo>
                  <a:lnTo>
                    <a:pt x="1260" y="644"/>
                  </a:lnTo>
                  <a:lnTo>
                    <a:pt x="1257" y="646"/>
                  </a:lnTo>
                  <a:lnTo>
                    <a:pt x="1257" y="649"/>
                  </a:lnTo>
                  <a:lnTo>
                    <a:pt x="1257" y="649"/>
                  </a:lnTo>
                  <a:lnTo>
                    <a:pt x="1255" y="650"/>
                  </a:lnTo>
                  <a:lnTo>
                    <a:pt x="1256" y="652"/>
                  </a:lnTo>
                  <a:lnTo>
                    <a:pt x="1258" y="654"/>
                  </a:lnTo>
                  <a:lnTo>
                    <a:pt x="1255" y="654"/>
                  </a:lnTo>
                  <a:lnTo>
                    <a:pt x="1258" y="655"/>
                  </a:lnTo>
                  <a:lnTo>
                    <a:pt x="1260" y="657"/>
                  </a:lnTo>
                  <a:lnTo>
                    <a:pt x="1256" y="656"/>
                  </a:lnTo>
                  <a:lnTo>
                    <a:pt x="1256" y="658"/>
                  </a:lnTo>
                  <a:lnTo>
                    <a:pt x="1258" y="662"/>
                  </a:lnTo>
                  <a:lnTo>
                    <a:pt x="1261" y="662"/>
                  </a:lnTo>
                  <a:lnTo>
                    <a:pt x="1262" y="664"/>
                  </a:lnTo>
                  <a:lnTo>
                    <a:pt x="1262" y="667"/>
                  </a:lnTo>
                  <a:lnTo>
                    <a:pt x="1264" y="666"/>
                  </a:lnTo>
                  <a:lnTo>
                    <a:pt x="1264" y="670"/>
                  </a:lnTo>
                  <a:lnTo>
                    <a:pt x="1261" y="675"/>
                  </a:lnTo>
                  <a:lnTo>
                    <a:pt x="1260" y="678"/>
                  </a:lnTo>
                  <a:lnTo>
                    <a:pt x="1261" y="680"/>
                  </a:lnTo>
                  <a:lnTo>
                    <a:pt x="1263" y="674"/>
                  </a:lnTo>
                  <a:lnTo>
                    <a:pt x="1265" y="671"/>
                  </a:lnTo>
                  <a:lnTo>
                    <a:pt x="1272" y="658"/>
                  </a:lnTo>
                  <a:lnTo>
                    <a:pt x="1273" y="658"/>
                  </a:lnTo>
                  <a:lnTo>
                    <a:pt x="1272" y="656"/>
                  </a:lnTo>
                  <a:lnTo>
                    <a:pt x="1271" y="654"/>
                  </a:lnTo>
                  <a:lnTo>
                    <a:pt x="1269" y="648"/>
                  </a:lnTo>
                  <a:lnTo>
                    <a:pt x="1268" y="645"/>
                  </a:lnTo>
                  <a:lnTo>
                    <a:pt x="1265" y="643"/>
                  </a:lnTo>
                  <a:lnTo>
                    <a:pt x="1265" y="640"/>
                  </a:lnTo>
                  <a:lnTo>
                    <a:pt x="1268" y="637"/>
                  </a:lnTo>
                  <a:lnTo>
                    <a:pt x="1271" y="637"/>
                  </a:lnTo>
                  <a:lnTo>
                    <a:pt x="1270" y="637"/>
                  </a:lnTo>
                  <a:lnTo>
                    <a:pt x="1269" y="637"/>
                  </a:lnTo>
                  <a:lnTo>
                    <a:pt x="1266" y="640"/>
                  </a:lnTo>
                  <a:lnTo>
                    <a:pt x="1266" y="643"/>
                  </a:lnTo>
                  <a:lnTo>
                    <a:pt x="1269" y="645"/>
                  </a:lnTo>
                  <a:lnTo>
                    <a:pt x="1271" y="646"/>
                  </a:lnTo>
                  <a:lnTo>
                    <a:pt x="1274" y="647"/>
                  </a:lnTo>
                  <a:lnTo>
                    <a:pt x="1274" y="649"/>
                  </a:lnTo>
                  <a:lnTo>
                    <a:pt x="1277" y="650"/>
                  </a:lnTo>
                  <a:lnTo>
                    <a:pt x="1278" y="648"/>
                  </a:lnTo>
                  <a:lnTo>
                    <a:pt x="1279" y="645"/>
                  </a:lnTo>
                  <a:lnTo>
                    <a:pt x="1281" y="645"/>
                  </a:lnTo>
                  <a:lnTo>
                    <a:pt x="1281" y="641"/>
                  </a:lnTo>
                  <a:lnTo>
                    <a:pt x="1283" y="640"/>
                  </a:lnTo>
                  <a:lnTo>
                    <a:pt x="1285" y="638"/>
                  </a:lnTo>
                  <a:lnTo>
                    <a:pt x="1286" y="636"/>
                  </a:lnTo>
                  <a:lnTo>
                    <a:pt x="1286" y="635"/>
                  </a:lnTo>
                  <a:lnTo>
                    <a:pt x="1287" y="635"/>
                  </a:lnTo>
                  <a:lnTo>
                    <a:pt x="1288" y="629"/>
                  </a:lnTo>
                  <a:lnTo>
                    <a:pt x="1283" y="626"/>
                  </a:lnTo>
                  <a:lnTo>
                    <a:pt x="1286" y="623"/>
                  </a:lnTo>
                  <a:lnTo>
                    <a:pt x="1286" y="623"/>
                  </a:lnTo>
                  <a:lnTo>
                    <a:pt x="1287" y="622"/>
                  </a:lnTo>
                  <a:lnTo>
                    <a:pt x="1288" y="619"/>
                  </a:lnTo>
                  <a:lnTo>
                    <a:pt x="1289" y="615"/>
                  </a:lnTo>
                  <a:lnTo>
                    <a:pt x="1288" y="613"/>
                  </a:lnTo>
                  <a:lnTo>
                    <a:pt x="1289" y="615"/>
                  </a:lnTo>
                  <a:lnTo>
                    <a:pt x="1289" y="619"/>
                  </a:lnTo>
                  <a:lnTo>
                    <a:pt x="1287" y="622"/>
                  </a:lnTo>
                  <a:lnTo>
                    <a:pt x="1290" y="621"/>
                  </a:lnTo>
                  <a:lnTo>
                    <a:pt x="1292" y="618"/>
                  </a:lnTo>
                  <a:lnTo>
                    <a:pt x="1303" y="614"/>
                  </a:lnTo>
                  <a:lnTo>
                    <a:pt x="1309" y="613"/>
                  </a:lnTo>
                  <a:lnTo>
                    <a:pt x="1315" y="612"/>
                  </a:lnTo>
                  <a:lnTo>
                    <a:pt x="1316" y="613"/>
                  </a:lnTo>
                  <a:lnTo>
                    <a:pt x="1320" y="612"/>
                  </a:lnTo>
                  <a:lnTo>
                    <a:pt x="1322" y="611"/>
                  </a:lnTo>
                  <a:lnTo>
                    <a:pt x="1323" y="605"/>
                  </a:lnTo>
                  <a:lnTo>
                    <a:pt x="1325" y="606"/>
                  </a:lnTo>
                  <a:lnTo>
                    <a:pt x="1325" y="610"/>
                  </a:lnTo>
                  <a:lnTo>
                    <a:pt x="1329" y="609"/>
                  </a:lnTo>
                  <a:lnTo>
                    <a:pt x="1333" y="606"/>
                  </a:lnTo>
                  <a:lnTo>
                    <a:pt x="1333" y="609"/>
                  </a:lnTo>
                  <a:lnTo>
                    <a:pt x="1335" y="609"/>
                  </a:lnTo>
                  <a:lnTo>
                    <a:pt x="1339" y="607"/>
                  </a:lnTo>
                  <a:lnTo>
                    <a:pt x="1341" y="606"/>
                  </a:lnTo>
                  <a:lnTo>
                    <a:pt x="1342" y="607"/>
                  </a:lnTo>
                  <a:lnTo>
                    <a:pt x="1342" y="604"/>
                  </a:lnTo>
                  <a:lnTo>
                    <a:pt x="1342" y="602"/>
                  </a:lnTo>
                  <a:lnTo>
                    <a:pt x="1339" y="601"/>
                  </a:lnTo>
                  <a:lnTo>
                    <a:pt x="1341" y="603"/>
                  </a:lnTo>
                  <a:lnTo>
                    <a:pt x="1342" y="603"/>
                  </a:lnTo>
                  <a:lnTo>
                    <a:pt x="1342" y="605"/>
                  </a:lnTo>
                  <a:lnTo>
                    <a:pt x="1339" y="606"/>
                  </a:lnTo>
                  <a:lnTo>
                    <a:pt x="1337" y="606"/>
                  </a:lnTo>
                  <a:lnTo>
                    <a:pt x="1335" y="605"/>
                  </a:lnTo>
                  <a:lnTo>
                    <a:pt x="1333" y="600"/>
                  </a:lnTo>
                  <a:lnTo>
                    <a:pt x="1331" y="597"/>
                  </a:lnTo>
                  <a:lnTo>
                    <a:pt x="1328" y="597"/>
                  </a:lnTo>
                  <a:lnTo>
                    <a:pt x="1330" y="594"/>
                  </a:lnTo>
                  <a:lnTo>
                    <a:pt x="1332" y="592"/>
                  </a:lnTo>
                  <a:lnTo>
                    <a:pt x="1330" y="588"/>
                  </a:lnTo>
                  <a:lnTo>
                    <a:pt x="1332" y="584"/>
                  </a:lnTo>
                  <a:lnTo>
                    <a:pt x="1332" y="584"/>
                  </a:lnTo>
                  <a:lnTo>
                    <a:pt x="1337" y="578"/>
                  </a:lnTo>
                  <a:lnTo>
                    <a:pt x="1339" y="573"/>
                  </a:lnTo>
                  <a:lnTo>
                    <a:pt x="1342" y="570"/>
                  </a:lnTo>
                  <a:lnTo>
                    <a:pt x="1342" y="572"/>
                  </a:lnTo>
                  <a:lnTo>
                    <a:pt x="1345" y="573"/>
                  </a:lnTo>
                  <a:lnTo>
                    <a:pt x="1345" y="570"/>
                  </a:lnTo>
                  <a:lnTo>
                    <a:pt x="1343" y="569"/>
                  </a:lnTo>
                  <a:lnTo>
                    <a:pt x="1346" y="567"/>
                  </a:lnTo>
                  <a:lnTo>
                    <a:pt x="1345" y="570"/>
                  </a:lnTo>
                  <a:lnTo>
                    <a:pt x="1348" y="571"/>
                  </a:lnTo>
                  <a:lnTo>
                    <a:pt x="1348" y="568"/>
                  </a:lnTo>
                  <a:lnTo>
                    <a:pt x="1348" y="571"/>
                  </a:lnTo>
                  <a:lnTo>
                    <a:pt x="1349" y="571"/>
                  </a:lnTo>
                  <a:lnTo>
                    <a:pt x="1350" y="568"/>
                  </a:lnTo>
                  <a:lnTo>
                    <a:pt x="1352" y="569"/>
                  </a:lnTo>
                  <a:lnTo>
                    <a:pt x="1355" y="567"/>
                  </a:lnTo>
                  <a:lnTo>
                    <a:pt x="1356" y="563"/>
                  </a:lnTo>
                  <a:lnTo>
                    <a:pt x="1356" y="561"/>
                  </a:lnTo>
                  <a:lnTo>
                    <a:pt x="1358" y="559"/>
                  </a:lnTo>
                  <a:lnTo>
                    <a:pt x="1358" y="561"/>
                  </a:lnTo>
                  <a:lnTo>
                    <a:pt x="1363" y="564"/>
                  </a:lnTo>
                  <a:lnTo>
                    <a:pt x="1362" y="561"/>
                  </a:lnTo>
                  <a:lnTo>
                    <a:pt x="1367" y="560"/>
                  </a:lnTo>
                  <a:lnTo>
                    <a:pt x="1368" y="561"/>
                  </a:lnTo>
                  <a:lnTo>
                    <a:pt x="1371" y="560"/>
                  </a:lnTo>
                  <a:lnTo>
                    <a:pt x="1373" y="560"/>
                  </a:lnTo>
                  <a:lnTo>
                    <a:pt x="1376" y="558"/>
                  </a:lnTo>
                  <a:lnTo>
                    <a:pt x="1379" y="556"/>
                  </a:lnTo>
                  <a:lnTo>
                    <a:pt x="1382" y="556"/>
                  </a:lnTo>
                  <a:lnTo>
                    <a:pt x="1383" y="553"/>
                  </a:lnTo>
                  <a:lnTo>
                    <a:pt x="1382" y="550"/>
                  </a:lnTo>
                  <a:lnTo>
                    <a:pt x="1381" y="549"/>
                  </a:lnTo>
                  <a:lnTo>
                    <a:pt x="1381" y="549"/>
                  </a:lnTo>
                  <a:lnTo>
                    <a:pt x="1382" y="550"/>
                  </a:lnTo>
                  <a:lnTo>
                    <a:pt x="1384" y="551"/>
                  </a:lnTo>
                  <a:lnTo>
                    <a:pt x="1388" y="550"/>
                  </a:lnTo>
                  <a:lnTo>
                    <a:pt x="1390" y="549"/>
                  </a:lnTo>
                  <a:lnTo>
                    <a:pt x="1393" y="550"/>
                  </a:lnTo>
                  <a:lnTo>
                    <a:pt x="1394" y="549"/>
                  </a:lnTo>
                  <a:lnTo>
                    <a:pt x="1394" y="546"/>
                  </a:lnTo>
                  <a:lnTo>
                    <a:pt x="1397" y="544"/>
                  </a:lnTo>
                  <a:lnTo>
                    <a:pt x="1396" y="546"/>
                  </a:lnTo>
                  <a:lnTo>
                    <a:pt x="1398" y="547"/>
                  </a:lnTo>
                  <a:lnTo>
                    <a:pt x="1400" y="547"/>
                  </a:lnTo>
                  <a:lnTo>
                    <a:pt x="1408" y="543"/>
                  </a:lnTo>
                  <a:lnTo>
                    <a:pt x="1414" y="541"/>
                  </a:lnTo>
                  <a:lnTo>
                    <a:pt x="1416" y="538"/>
                  </a:lnTo>
                  <a:lnTo>
                    <a:pt x="1416" y="536"/>
                  </a:lnTo>
                  <a:lnTo>
                    <a:pt x="1414" y="533"/>
                  </a:lnTo>
                  <a:lnTo>
                    <a:pt x="1418" y="538"/>
                  </a:lnTo>
                  <a:lnTo>
                    <a:pt x="1420" y="537"/>
                  </a:lnTo>
                  <a:lnTo>
                    <a:pt x="1420" y="538"/>
                  </a:lnTo>
                  <a:lnTo>
                    <a:pt x="1413" y="544"/>
                  </a:lnTo>
                  <a:lnTo>
                    <a:pt x="1414" y="546"/>
                  </a:lnTo>
                  <a:lnTo>
                    <a:pt x="1417" y="545"/>
                  </a:lnTo>
                  <a:lnTo>
                    <a:pt x="1419" y="545"/>
                  </a:lnTo>
                  <a:lnTo>
                    <a:pt x="1422" y="545"/>
                  </a:lnTo>
                  <a:lnTo>
                    <a:pt x="1427" y="545"/>
                  </a:lnTo>
                  <a:lnTo>
                    <a:pt x="1433" y="545"/>
                  </a:lnTo>
                  <a:lnTo>
                    <a:pt x="1430" y="546"/>
                  </a:lnTo>
                  <a:lnTo>
                    <a:pt x="1427" y="546"/>
                  </a:lnTo>
                  <a:lnTo>
                    <a:pt x="1422" y="549"/>
                  </a:lnTo>
                  <a:lnTo>
                    <a:pt x="1423" y="552"/>
                  </a:lnTo>
                  <a:lnTo>
                    <a:pt x="1422" y="552"/>
                  </a:lnTo>
                  <a:lnTo>
                    <a:pt x="1422" y="551"/>
                  </a:lnTo>
                  <a:lnTo>
                    <a:pt x="1419" y="549"/>
                  </a:lnTo>
                  <a:lnTo>
                    <a:pt x="1419" y="546"/>
                  </a:lnTo>
                  <a:lnTo>
                    <a:pt x="1416" y="547"/>
                  </a:lnTo>
                  <a:lnTo>
                    <a:pt x="1414" y="549"/>
                  </a:lnTo>
                  <a:lnTo>
                    <a:pt x="1403" y="554"/>
                  </a:lnTo>
                  <a:lnTo>
                    <a:pt x="1400" y="558"/>
                  </a:lnTo>
                  <a:lnTo>
                    <a:pt x="1403" y="556"/>
                  </a:lnTo>
                  <a:lnTo>
                    <a:pt x="1400" y="558"/>
                  </a:lnTo>
                  <a:lnTo>
                    <a:pt x="1400" y="556"/>
                  </a:lnTo>
                  <a:lnTo>
                    <a:pt x="1397" y="559"/>
                  </a:lnTo>
                  <a:lnTo>
                    <a:pt x="1394" y="561"/>
                  </a:lnTo>
                  <a:lnTo>
                    <a:pt x="1398" y="560"/>
                  </a:lnTo>
                  <a:lnTo>
                    <a:pt x="1396" y="562"/>
                  </a:lnTo>
                  <a:lnTo>
                    <a:pt x="1394" y="566"/>
                  </a:lnTo>
                  <a:lnTo>
                    <a:pt x="1394" y="571"/>
                  </a:lnTo>
                  <a:lnTo>
                    <a:pt x="1397" y="573"/>
                  </a:lnTo>
                  <a:lnTo>
                    <a:pt x="1397" y="571"/>
                  </a:lnTo>
                  <a:lnTo>
                    <a:pt x="1402" y="576"/>
                  </a:lnTo>
                  <a:lnTo>
                    <a:pt x="1405" y="576"/>
                  </a:lnTo>
                  <a:lnTo>
                    <a:pt x="1406" y="573"/>
                  </a:lnTo>
                  <a:lnTo>
                    <a:pt x="1409" y="573"/>
                  </a:lnTo>
                  <a:lnTo>
                    <a:pt x="1410" y="573"/>
                  </a:lnTo>
                  <a:lnTo>
                    <a:pt x="1411" y="570"/>
                  </a:lnTo>
                  <a:lnTo>
                    <a:pt x="1415" y="569"/>
                  </a:lnTo>
                  <a:lnTo>
                    <a:pt x="1416" y="567"/>
                  </a:lnTo>
                  <a:lnTo>
                    <a:pt x="1418" y="564"/>
                  </a:lnTo>
                  <a:lnTo>
                    <a:pt x="1420" y="562"/>
                  </a:lnTo>
                  <a:lnTo>
                    <a:pt x="1420" y="562"/>
                  </a:lnTo>
                  <a:lnTo>
                    <a:pt x="1422" y="559"/>
                  </a:lnTo>
                  <a:lnTo>
                    <a:pt x="1424" y="560"/>
                  </a:lnTo>
                  <a:lnTo>
                    <a:pt x="1426" y="556"/>
                  </a:lnTo>
                  <a:lnTo>
                    <a:pt x="1425" y="560"/>
                  </a:lnTo>
                  <a:lnTo>
                    <a:pt x="1428" y="561"/>
                  </a:lnTo>
                  <a:lnTo>
                    <a:pt x="1431" y="559"/>
                  </a:lnTo>
                  <a:lnTo>
                    <a:pt x="1430" y="556"/>
                  </a:lnTo>
                  <a:lnTo>
                    <a:pt x="1432" y="558"/>
                  </a:lnTo>
                  <a:lnTo>
                    <a:pt x="1434" y="558"/>
                  </a:lnTo>
                  <a:lnTo>
                    <a:pt x="1435" y="556"/>
                  </a:lnTo>
                  <a:lnTo>
                    <a:pt x="1439" y="556"/>
                  </a:lnTo>
                  <a:lnTo>
                    <a:pt x="1447" y="553"/>
                  </a:lnTo>
                  <a:lnTo>
                    <a:pt x="1451" y="552"/>
                  </a:lnTo>
                  <a:lnTo>
                    <a:pt x="1457" y="549"/>
                  </a:lnTo>
                  <a:lnTo>
                    <a:pt x="1459" y="550"/>
                  </a:lnTo>
                  <a:lnTo>
                    <a:pt x="1465" y="545"/>
                  </a:lnTo>
                  <a:lnTo>
                    <a:pt x="1461" y="546"/>
                  </a:lnTo>
                  <a:lnTo>
                    <a:pt x="1459" y="545"/>
                  </a:lnTo>
                  <a:lnTo>
                    <a:pt x="1462" y="544"/>
                  </a:lnTo>
                  <a:lnTo>
                    <a:pt x="1460" y="542"/>
                  </a:lnTo>
                  <a:lnTo>
                    <a:pt x="1460" y="541"/>
                  </a:lnTo>
                  <a:lnTo>
                    <a:pt x="1459" y="539"/>
                  </a:lnTo>
                  <a:lnTo>
                    <a:pt x="1456" y="541"/>
                  </a:lnTo>
                  <a:lnTo>
                    <a:pt x="1453" y="539"/>
                  </a:lnTo>
                  <a:lnTo>
                    <a:pt x="1452" y="536"/>
                  </a:lnTo>
                  <a:lnTo>
                    <a:pt x="1450" y="538"/>
                  </a:lnTo>
                  <a:lnTo>
                    <a:pt x="1447" y="541"/>
                  </a:lnTo>
                  <a:lnTo>
                    <a:pt x="1444" y="541"/>
                  </a:lnTo>
                  <a:lnTo>
                    <a:pt x="1441" y="541"/>
                  </a:lnTo>
                  <a:lnTo>
                    <a:pt x="1443" y="539"/>
                  </a:lnTo>
                  <a:lnTo>
                    <a:pt x="1440" y="538"/>
                  </a:lnTo>
                  <a:lnTo>
                    <a:pt x="1434" y="537"/>
                  </a:lnTo>
                  <a:lnTo>
                    <a:pt x="1432" y="536"/>
                  </a:lnTo>
                  <a:lnTo>
                    <a:pt x="1430" y="537"/>
                  </a:lnTo>
                  <a:lnTo>
                    <a:pt x="1426" y="536"/>
                  </a:lnTo>
                  <a:lnTo>
                    <a:pt x="1424" y="535"/>
                  </a:lnTo>
                  <a:lnTo>
                    <a:pt x="1424" y="534"/>
                  </a:lnTo>
                  <a:lnTo>
                    <a:pt x="1427" y="532"/>
                  </a:lnTo>
                  <a:lnTo>
                    <a:pt x="1425" y="532"/>
                  </a:lnTo>
                  <a:lnTo>
                    <a:pt x="1419" y="530"/>
                  </a:lnTo>
                  <a:lnTo>
                    <a:pt x="1416" y="529"/>
                  </a:lnTo>
                  <a:lnTo>
                    <a:pt x="1415" y="524"/>
                  </a:lnTo>
                  <a:lnTo>
                    <a:pt x="1413" y="521"/>
                  </a:lnTo>
                  <a:lnTo>
                    <a:pt x="1413" y="519"/>
                  </a:lnTo>
                  <a:lnTo>
                    <a:pt x="1413" y="516"/>
                  </a:lnTo>
                  <a:lnTo>
                    <a:pt x="1410" y="516"/>
                  </a:lnTo>
                  <a:lnTo>
                    <a:pt x="1408" y="517"/>
                  </a:lnTo>
                  <a:lnTo>
                    <a:pt x="1406" y="516"/>
                  </a:lnTo>
                  <a:lnTo>
                    <a:pt x="1409" y="515"/>
                  </a:lnTo>
                  <a:lnTo>
                    <a:pt x="1411" y="511"/>
                  </a:lnTo>
                  <a:lnTo>
                    <a:pt x="1414" y="506"/>
                  </a:lnTo>
                  <a:lnTo>
                    <a:pt x="1413" y="503"/>
                  </a:lnTo>
                  <a:lnTo>
                    <a:pt x="1410" y="502"/>
                  </a:lnTo>
                  <a:lnTo>
                    <a:pt x="1408" y="503"/>
                  </a:lnTo>
                  <a:lnTo>
                    <a:pt x="1402" y="507"/>
                  </a:lnTo>
                  <a:lnTo>
                    <a:pt x="1401" y="504"/>
                  </a:lnTo>
                  <a:lnTo>
                    <a:pt x="1399" y="501"/>
                  </a:lnTo>
                  <a:lnTo>
                    <a:pt x="1397" y="501"/>
                  </a:lnTo>
                  <a:lnTo>
                    <a:pt x="1391" y="499"/>
                  </a:lnTo>
                  <a:lnTo>
                    <a:pt x="1388" y="500"/>
                  </a:lnTo>
                  <a:lnTo>
                    <a:pt x="1386" y="500"/>
                  </a:lnTo>
                  <a:lnTo>
                    <a:pt x="1385" y="500"/>
                  </a:lnTo>
                  <a:lnTo>
                    <a:pt x="1391" y="498"/>
                  </a:lnTo>
                  <a:lnTo>
                    <a:pt x="1393" y="498"/>
                  </a:lnTo>
                  <a:lnTo>
                    <a:pt x="1399" y="498"/>
                  </a:lnTo>
                  <a:lnTo>
                    <a:pt x="1401" y="499"/>
                  </a:lnTo>
                  <a:lnTo>
                    <a:pt x="1407" y="500"/>
                  </a:lnTo>
                  <a:lnTo>
                    <a:pt x="1413" y="496"/>
                  </a:lnTo>
                  <a:lnTo>
                    <a:pt x="1415" y="494"/>
                  </a:lnTo>
                  <a:lnTo>
                    <a:pt x="1418" y="493"/>
                  </a:lnTo>
                  <a:lnTo>
                    <a:pt x="1422" y="491"/>
                  </a:lnTo>
                  <a:lnTo>
                    <a:pt x="1422" y="489"/>
                  </a:lnTo>
                  <a:lnTo>
                    <a:pt x="1419" y="486"/>
                  </a:lnTo>
                  <a:lnTo>
                    <a:pt x="1418" y="486"/>
                  </a:lnTo>
                  <a:lnTo>
                    <a:pt x="1419" y="486"/>
                  </a:lnTo>
                  <a:lnTo>
                    <a:pt x="1417" y="485"/>
                  </a:lnTo>
                  <a:lnTo>
                    <a:pt x="1418" y="485"/>
                  </a:lnTo>
                  <a:lnTo>
                    <a:pt x="1422" y="484"/>
                  </a:lnTo>
                  <a:lnTo>
                    <a:pt x="1418" y="482"/>
                  </a:lnTo>
                  <a:lnTo>
                    <a:pt x="1413" y="479"/>
                  </a:lnTo>
                  <a:lnTo>
                    <a:pt x="1408" y="478"/>
                  </a:lnTo>
                  <a:lnTo>
                    <a:pt x="1405" y="477"/>
                  </a:lnTo>
                  <a:lnTo>
                    <a:pt x="1394" y="478"/>
                  </a:lnTo>
                  <a:lnTo>
                    <a:pt x="1386" y="481"/>
                  </a:lnTo>
                  <a:lnTo>
                    <a:pt x="1382" y="483"/>
                  </a:lnTo>
                  <a:lnTo>
                    <a:pt x="1373" y="486"/>
                  </a:lnTo>
                  <a:lnTo>
                    <a:pt x="1367" y="489"/>
                  </a:lnTo>
                  <a:lnTo>
                    <a:pt x="1363" y="492"/>
                  </a:lnTo>
                  <a:lnTo>
                    <a:pt x="1357" y="494"/>
                  </a:lnTo>
                  <a:lnTo>
                    <a:pt x="1349" y="501"/>
                  </a:lnTo>
                  <a:lnTo>
                    <a:pt x="1347" y="504"/>
                  </a:lnTo>
                  <a:lnTo>
                    <a:pt x="1345" y="507"/>
                  </a:lnTo>
                  <a:lnTo>
                    <a:pt x="1341" y="509"/>
                  </a:lnTo>
                  <a:lnTo>
                    <a:pt x="1338" y="515"/>
                  </a:lnTo>
                  <a:lnTo>
                    <a:pt x="1335" y="517"/>
                  </a:lnTo>
                  <a:lnTo>
                    <a:pt x="1329" y="519"/>
                  </a:lnTo>
                  <a:lnTo>
                    <a:pt x="1326" y="520"/>
                  </a:lnTo>
                  <a:lnTo>
                    <a:pt x="1324" y="521"/>
                  </a:lnTo>
                  <a:lnTo>
                    <a:pt x="1328" y="519"/>
                  </a:lnTo>
                  <a:lnTo>
                    <a:pt x="1330" y="517"/>
                  </a:lnTo>
                  <a:lnTo>
                    <a:pt x="1333" y="515"/>
                  </a:lnTo>
                  <a:lnTo>
                    <a:pt x="1334" y="512"/>
                  </a:lnTo>
                  <a:lnTo>
                    <a:pt x="1337" y="510"/>
                  </a:lnTo>
                  <a:lnTo>
                    <a:pt x="1339" y="507"/>
                  </a:lnTo>
                  <a:lnTo>
                    <a:pt x="1342" y="506"/>
                  </a:lnTo>
                  <a:lnTo>
                    <a:pt x="1343" y="503"/>
                  </a:lnTo>
                  <a:lnTo>
                    <a:pt x="1345" y="500"/>
                  </a:lnTo>
                  <a:lnTo>
                    <a:pt x="1345" y="498"/>
                  </a:lnTo>
                  <a:lnTo>
                    <a:pt x="1342" y="495"/>
                  </a:lnTo>
                  <a:lnTo>
                    <a:pt x="1341" y="495"/>
                  </a:lnTo>
                  <a:lnTo>
                    <a:pt x="1335" y="494"/>
                  </a:lnTo>
                  <a:lnTo>
                    <a:pt x="1333" y="494"/>
                  </a:lnTo>
                  <a:lnTo>
                    <a:pt x="1330" y="493"/>
                  </a:lnTo>
                  <a:lnTo>
                    <a:pt x="1328" y="492"/>
                  </a:lnTo>
                  <a:lnTo>
                    <a:pt x="1329" y="492"/>
                  </a:lnTo>
                  <a:lnTo>
                    <a:pt x="1337" y="493"/>
                  </a:lnTo>
                  <a:lnTo>
                    <a:pt x="1339" y="494"/>
                  </a:lnTo>
                  <a:lnTo>
                    <a:pt x="1342" y="495"/>
                  </a:lnTo>
                  <a:lnTo>
                    <a:pt x="1347" y="498"/>
                  </a:lnTo>
                  <a:lnTo>
                    <a:pt x="1349" y="495"/>
                  </a:lnTo>
                  <a:lnTo>
                    <a:pt x="1354" y="490"/>
                  </a:lnTo>
                  <a:lnTo>
                    <a:pt x="1355" y="487"/>
                  </a:lnTo>
                  <a:lnTo>
                    <a:pt x="1358" y="484"/>
                  </a:lnTo>
                  <a:lnTo>
                    <a:pt x="1364" y="479"/>
                  </a:lnTo>
                  <a:lnTo>
                    <a:pt x="1365" y="479"/>
                  </a:lnTo>
                  <a:lnTo>
                    <a:pt x="1368" y="477"/>
                  </a:lnTo>
                  <a:lnTo>
                    <a:pt x="1376" y="476"/>
                  </a:lnTo>
                  <a:lnTo>
                    <a:pt x="1379" y="475"/>
                  </a:lnTo>
                  <a:lnTo>
                    <a:pt x="1381" y="470"/>
                  </a:lnTo>
                  <a:lnTo>
                    <a:pt x="1383" y="467"/>
                  </a:lnTo>
                  <a:lnTo>
                    <a:pt x="1384" y="465"/>
                  </a:lnTo>
                  <a:lnTo>
                    <a:pt x="1386" y="464"/>
                  </a:lnTo>
                  <a:lnTo>
                    <a:pt x="1388" y="461"/>
                  </a:lnTo>
                  <a:lnTo>
                    <a:pt x="1390" y="461"/>
                  </a:lnTo>
                  <a:lnTo>
                    <a:pt x="1394" y="461"/>
                  </a:lnTo>
                  <a:lnTo>
                    <a:pt x="1398" y="459"/>
                  </a:lnTo>
                  <a:lnTo>
                    <a:pt x="1400" y="460"/>
                  </a:lnTo>
                  <a:lnTo>
                    <a:pt x="1406" y="459"/>
                  </a:lnTo>
                  <a:lnTo>
                    <a:pt x="1413" y="460"/>
                  </a:lnTo>
                  <a:lnTo>
                    <a:pt x="1418" y="459"/>
                  </a:lnTo>
                  <a:lnTo>
                    <a:pt x="1422" y="460"/>
                  </a:lnTo>
                  <a:lnTo>
                    <a:pt x="1426" y="459"/>
                  </a:lnTo>
                  <a:lnTo>
                    <a:pt x="1432" y="460"/>
                  </a:lnTo>
                  <a:lnTo>
                    <a:pt x="1433" y="460"/>
                  </a:lnTo>
                  <a:lnTo>
                    <a:pt x="1435" y="460"/>
                  </a:lnTo>
                  <a:lnTo>
                    <a:pt x="1437" y="459"/>
                  </a:lnTo>
                  <a:lnTo>
                    <a:pt x="1453" y="461"/>
                  </a:lnTo>
                  <a:lnTo>
                    <a:pt x="1454" y="462"/>
                  </a:lnTo>
                  <a:lnTo>
                    <a:pt x="1458" y="461"/>
                  </a:lnTo>
                  <a:lnTo>
                    <a:pt x="1458" y="461"/>
                  </a:lnTo>
                  <a:lnTo>
                    <a:pt x="1454" y="462"/>
                  </a:lnTo>
                  <a:lnTo>
                    <a:pt x="1460" y="461"/>
                  </a:lnTo>
                  <a:lnTo>
                    <a:pt x="1466" y="461"/>
                  </a:lnTo>
                  <a:lnTo>
                    <a:pt x="1471" y="461"/>
                  </a:lnTo>
                  <a:lnTo>
                    <a:pt x="1476" y="460"/>
                  </a:lnTo>
                  <a:lnTo>
                    <a:pt x="1479" y="460"/>
                  </a:lnTo>
                  <a:lnTo>
                    <a:pt x="1480" y="459"/>
                  </a:lnTo>
                  <a:lnTo>
                    <a:pt x="1482" y="457"/>
                  </a:lnTo>
                  <a:lnTo>
                    <a:pt x="1485" y="456"/>
                  </a:lnTo>
                  <a:lnTo>
                    <a:pt x="1487" y="452"/>
                  </a:lnTo>
                  <a:lnTo>
                    <a:pt x="1490" y="451"/>
                  </a:lnTo>
                  <a:lnTo>
                    <a:pt x="1492" y="451"/>
                  </a:lnTo>
                  <a:lnTo>
                    <a:pt x="1494" y="447"/>
                  </a:lnTo>
                  <a:lnTo>
                    <a:pt x="1496" y="444"/>
                  </a:lnTo>
                  <a:lnTo>
                    <a:pt x="1497" y="442"/>
                  </a:lnTo>
                  <a:lnTo>
                    <a:pt x="1503" y="441"/>
                  </a:lnTo>
                  <a:lnTo>
                    <a:pt x="1505" y="441"/>
                  </a:lnTo>
                  <a:lnTo>
                    <a:pt x="1511" y="439"/>
                  </a:lnTo>
                  <a:lnTo>
                    <a:pt x="1513" y="439"/>
                  </a:lnTo>
                  <a:lnTo>
                    <a:pt x="1516" y="438"/>
                  </a:lnTo>
                  <a:lnTo>
                    <a:pt x="1519" y="439"/>
                  </a:lnTo>
                  <a:lnTo>
                    <a:pt x="1521" y="438"/>
                  </a:lnTo>
                  <a:lnTo>
                    <a:pt x="1527" y="434"/>
                  </a:lnTo>
                  <a:lnTo>
                    <a:pt x="1533" y="431"/>
                  </a:lnTo>
                  <a:lnTo>
                    <a:pt x="1538" y="426"/>
                  </a:lnTo>
                  <a:lnTo>
                    <a:pt x="1537" y="423"/>
                  </a:lnTo>
                  <a:lnTo>
                    <a:pt x="1531" y="421"/>
                  </a:lnTo>
                  <a:close/>
                  <a:moveTo>
                    <a:pt x="688" y="144"/>
                  </a:moveTo>
                  <a:lnTo>
                    <a:pt x="685" y="143"/>
                  </a:lnTo>
                  <a:lnTo>
                    <a:pt x="682" y="147"/>
                  </a:lnTo>
                  <a:lnTo>
                    <a:pt x="682" y="149"/>
                  </a:lnTo>
                  <a:lnTo>
                    <a:pt x="685" y="149"/>
                  </a:lnTo>
                  <a:lnTo>
                    <a:pt x="688" y="148"/>
                  </a:lnTo>
                  <a:lnTo>
                    <a:pt x="685" y="150"/>
                  </a:lnTo>
                  <a:lnTo>
                    <a:pt x="688" y="151"/>
                  </a:lnTo>
                  <a:lnTo>
                    <a:pt x="685" y="151"/>
                  </a:lnTo>
                  <a:lnTo>
                    <a:pt x="683" y="152"/>
                  </a:lnTo>
                  <a:lnTo>
                    <a:pt x="681" y="152"/>
                  </a:lnTo>
                  <a:lnTo>
                    <a:pt x="677" y="152"/>
                  </a:lnTo>
                  <a:lnTo>
                    <a:pt x="675" y="152"/>
                  </a:lnTo>
                  <a:lnTo>
                    <a:pt x="673" y="150"/>
                  </a:lnTo>
                  <a:lnTo>
                    <a:pt x="669" y="149"/>
                  </a:lnTo>
                  <a:lnTo>
                    <a:pt x="667" y="150"/>
                  </a:lnTo>
                  <a:lnTo>
                    <a:pt x="664" y="150"/>
                  </a:lnTo>
                  <a:lnTo>
                    <a:pt x="662" y="149"/>
                  </a:lnTo>
                  <a:lnTo>
                    <a:pt x="660" y="152"/>
                  </a:lnTo>
                  <a:lnTo>
                    <a:pt x="657" y="153"/>
                  </a:lnTo>
                  <a:lnTo>
                    <a:pt x="657" y="154"/>
                  </a:lnTo>
                  <a:lnTo>
                    <a:pt x="660" y="157"/>
                  </a:lnTo>
                  <a:lnTo>
                    <a:pt x="663" y="157"/>
                  </a:lnTo>
                  <a:lnTo>
                    <a:pt x="665" y="160"/>
                  </a:lnTo>
                  <a:lnTo>
                    <a:pt x="662" y="160"/>
                  </a:lnTo>
                  <a:lnTo>
                    <a:pt x="659" y="160"/>
                  </a:lnTo>
                  <a:lnTo>
                    <a:pt x="657" y="161"/>
                  </a:lnTo>
                  <a:lnTo>
                    <a:pt x="655" y="164"/>
                  </a:lnTo>
                  <a:lnTo>
                    <a:pt x="651" y="165"/>
                  </a:lnTo>
                  <a:lnTo>
                    <a:pt x="649" y="167"/>
                  </a:lnTo>
                  <a:lnTo>
                    <a:pt x="647" y="168"/>
                  </a:lnTo>
                  <a:lnTo>
                    <a:pt x="643" y="169"/>
                  </a:lnTo>
                  <a:lnTo>
                    <a:pt x="641" y="171"/>
                  </a:lnTo>
                  <a:lnTo>
                    <a:pt x="639" y="171"/>
                  </a:lnTo>
                  <a:lnTo>
                    <a:pt x="637" y="169"/>
                  </a:lnTo>
                  <a:lnTo>
                    <a:pt x="640" y="168"/>
                  </a:lnTo>
                  <a:lnTo>
                    <a:pt x="642" y="168"/>
                  </a:lnTo>
                  <a:lnTo>
                    <a:pt x="643" y="165"/>
                  </a:lnTo>
                  <a:lnTo>
                    <a:pt x="647" y="164"/>
                  </a:lnTo>
                  <a:lnTo>
                    <a:pt x="649" y="161"/>
                  </a:lnTo>
                  <a:lnTo>
                    <a:pt x="651" y="159"/>
                  </a:lnTo>
                  <a:lnTo>
                    <a:pt x="652" y="157"/>
                  </a:lnTo>
                  <a:lnTo>
                    <a:pt x="650" y="153"/>
                  </a:lnTo>
                  <a:lnTo>
                    <a:pt x="647" y="153"/>
                  </a:lnTo>
                  <a:lnTo>
                    <a:pt x="645" y="154"/>
                  </a:lnTo>
                  <a:lnTo>
                    <a:pt x="641" y="156"/>
                  </a:lnTo>
                  <a:lnTo>
                    <a:pt x="639" y="158"/>
                  </a:lnTo>
                  <a:lnTo>
                    <a:pt x="637" y="159"/>
                  </a:lnTo>
                  <a:lnTo>
                    <a:pt x="635" y="161"/>
                  </a:lnTo>
                  <a:lnTo>
                    <a:pt x="635" y="164"/>
                  </a:lnTo>
                  <a:lnTo>
                    <a:pt x="633" y="167"/>
                  </a:lnTo>
                  <a:lnTo>
                    <a:pt x="630" y="168"/>
                  </a:lnTo>
                  <a:lnTo>
                    <a:pt x="628" y="168"/>
                  </a:lnTo>
                  <a:lnTo>
                    <a:pt x="624" y="167"/>
                  </a:lnTo>
                  <a:lnTo>
                    <a:pt x="620" y="166"/>
                  </a:lnTo>
                  <a:lnTo>
                    <a:pt x="616" y="166"/>
                  </a:lnTo>
                  <a:lnTo>
                    <a:pt x="614" y="166"/>
                  </a:lnTo>
                  <a:lnTo>
                    <a:pt x="611" y="165"/>
                  </a:lnTo>
                  <a:lnTo>
                    <a:pt x="609" y="164"/>
                  </a:lnTo>
                  <a:lnTo>
                    <a:pt x="613" y="162"/>
                  </a:lnTo>
                  <a:lnTo>
                    <a:pt x="615" y="162"/>
                  </a:lnTo>
                  <a:lnTo>
                    <a:pt x="618" y="161"/>
                  </a:lnTo>
                  <a:lnTo>
                    <a:pt x="620" y="159"/>
                  </a:lnTo>
                  <a:lnTo>
                    <a:pt x="620" y="156"/>
                  </a:lnTo>
                  <a:lnTo>
                    <a:pt x="622" y="154"/>
                  </a:lnTo>
                  <a:lnTo>
                    <a:pt x="624" y="153"/>
                  </a:lnTo>
                  <a:lnTo>
                    <a:pt x="628" y="151"/>
                  </a:lnTo>
                  <a:lnTo>
                    <a:pt x="626" y="148"/>
                  </a:lnTo>
                  <a:lnTo>
                    <a:pt x="624" y="148"/>
                  </a:lnTo>
                  <a:lnTo>
                    <a:pt x="621" y="145"/>
                  </a:lnTo>
                  <a:lnTo>
                    <a:pt x="624" y="144"/>
                  </a:lnTo>
                  <a:lnTo>
                    <a:pt x="626" y="144"/>
                  </a:lnTo>
                  <a:lnTo>
                    <a:pt x="629" y="145"/>
                  </a:lnTo>
                  <a:lnTo>
                    <a:pt x="632" y="147"/>
                  </a:lnTo>
                  <a:lnTo>
                    <a:pt x="638" y="147"/>
                  </a:lnTo>
                  <a:lnTo>
                    <a:pt x="640" y="144"/>
                  </a:lnTo>
                  <a:lnTo>
                    <a:pt x="638" y="142"/>
                  </a:lnTo>
                  <a:lnTo>
                    <a:pt x="634" y="141"/>
                  </a:lnTo>
                  <a:lnTo>
                    <a:pt x="632" y="140"/>
                  </a:lnTo>
                  <a:lnTo>
                    <a:pt x="629" y="139"/>
                  </a:lnTo>
                  <a:lnTo>
                    <a:pt x="617" y="139"/>
                  </a:lnTo>
                  <a:lnTo>
                    <a:pt x="616" y="142"/>
                  </a:lnTo>
                  <a:lnTo>
                    <a:pt x="614" y="142"/>
                  </a:lnTo>
                  <a:lnTo>
                    <a:pt x="611" y="141"/>
                  </a:lnTo>
                  <a:lnTo>
                    <a:pt x="608" y="142"/>
                  </a:lnTo>
                  <a:lnTo>
                    <a:pt x="605" y="142"/>
                  </a:lnTo>
                  <a:lnTo>
                    <a:pt x="603" y="142"/>
                  </a:lnTo>
                  <a:lnTo>
                    <a:pt x="599" y="141"/>
                  </a:lnTo>
                  <a:lnTo>
                    <a:pt x="597" y="141"/>
                  </a:lnTo>
                  <a:lnTo>
                    <a:pt x="595" y="141"/>
                  </a:lnTo>
                  <a:lnTo>
                    <a:pt x="595" y="144"/>
                  </a:lnTo>
                  <a:lnTo>
                    <a:pt x="592" y="144"/>
                  </a:lnTo>
                  <a:lnTo>
                    <a:pt x="591" y="147"/>
                  </a:lnTo>
                  <a:lnTo>
                    <a:pt x="589" y="144"/>
                  </a:lnTo>
                  <a:lnTo>
                    <a:pt x="587" y="142"/>
                  </a:lnTo>
                  <a:lnTo>
                    <a:pt x="588" y="139"/>
                  </a:lnTo>
                  <a:lnTo>
                    <a:pt x="590" y="139"/>
                  </a:lnTo>
                  <a:lnTo>
                    <a:pt x="594" y="139"/>
                  </a:lnTo>
                  <a:lnTo>
                    <a:pt x="596" y="140"/>
                  </a:lnTo>
                  <a:lnTo>
                    <a:pt x="598" y="136"/>
                  </a:lnTo>
                  <a:lnTo>
                    <a:pt x="601" y="137"/>
                  </a:lnTo>
                  <a:lnTo>
                    <a:pt x="604" y="137"/>
                  </a:lnTo>
                  <a:lnTo>
                    <a:pt x="609" y="135"/>
                  </a:lnTo>
                  <a:lnTo>
                    <a:pt x="612" y="134"/>
                  </a:lnTo>
                  <a:lnTo>
                    <a:pt x="615" y="134"/>
                  </a:lnTo>
                  <a:lnTo>
                    <a:pt x="617" y="132"/>
                  </a:lnTo>
                  <a:lnTo>
                    <a:pt x="623" y="132"/>
                  </a:lnTo>
                  <a:lnTo>
                    <a:pt x="625" y="132"/>
                  </a:lnTo>
                  <a:lnTo>
                    <a:pt x="631" y="131"/>
                  </a:lnTo>
                  <a:lnTo>
                    <a:pt x="634" y="128"/>
                  </a:lnTo>
                  <a:lnTo>
                    <a:pt x="637" y="128"/>
                  </a:lnTo>
                  <a:lnTo>
                    <a:pt x="639" y="127"/>
                  </a:lnTo>
                  <a:lnTo>
                    <a:pt x="642" y="125"/>
                  </a:lnTo>
                  <a:lnTo>
                    <a:pt x="645" y="125"/>
                  </a:lnTo>
                  <a:lnTo>
                    <a:pt x="648" y="124"/>
                  </a:lnTo>
                  <a:lnTo>
                    <a:pt x="650" y="123"/>
                  </a:lnTo>
                  <a:lnTo>
                    <a:pt x="654" y="123"/>
                  </a:lnTo>
                  <a:lnTo>
                    <a:pt x="657" y="122"/>
                  </a:lnTo>
                  <a:lnTo>
                    <a:pt x="660" y="120"/>
                  </a:lnTo>
                  <a:lnTo>
                    <a:pt x="663" y="123"/>
                  </a:lnTo>
                  <a:lnTo>
                    <a:pt x="666" y="124"/>
                  </a:lnTo>
                  <a:lnTo>
                    <a:pt x="668" y="124"/>
                  </a:lnTo>
                  <a:lnTo>
                    <a:pt x="672" y="124"/>
                  </a:lnTo>
                  <a:lnTo>
                    <a:pt x="668" y="126"/>
                  </a:lnTo>
                  <a:lnTo>
                    <a:pt x="666" y="127"/>
                  </a:lnTo>
                  <a:lnTo>
                    <a:pt x="660" y="130"/>
                  </a:lnTo>
                  <a:lnTo>
                    <a:pt x="658" y="130"/>
                  </a:lnTo>
                  <a:lnTo>
                    <a:pt x="657" y="130"/>
                  </a:lnTo>
                  <a:lnTo>
                    <a:pt x="655" y="132"/>
                  </a:lnTo>
                  <a:lnTo>
                    <a:pt x="651" y="134"/>
                  </a:lnTo>
                  <a:lnTo>
                    <a:pt x="655" y="136"/>
                  </a:lnTo>
                  <a:lnTo>
                    <a:pt x="657" y="136"/>
                  </a:lnTo>
                  <a:lnTo>
                    <a:pt x="657" y="136"/>
                  </a:lnTo>
                  <a:lnTo>
                    <a:pt x="660" y="137"/>
                  </a:lnTo>
                  <a:lnTo>
                    <a:pt x="663" y="137"/>
                  </a:lnTo>
                  <a:lnTo>
                    <a:pt x="666" y="137"/>
                  </a:lnTo>
                  <a:lnTo>
                    <a:pt x="668" y="137"/>
                  </a:lnTo>
                  <a:lnTo>
                    <a:pt x="674" y="137"/>
                  </a:lnTo>
                  <a:lnTo>
                    <a:pt x="676" y="137"/>
                  </a:lnTo>
                  <a:lnTo>
                    <a:pt x="680" y="136"/>
                  </a:lnTo>
                  <a:lnTo>
                    <a:pt x="682" y="135"/>
                  </a:lnTo>
                  <a:lnTo>
                    <a:pt x="683" y="132"/>
                  </a:lnTo>
                  <a:lnTo>
                    <a:pt x="686" y="131"/>
                  </a:lnTo>
                  <a:lnTo>
                    <a:pt x="689" y="130"/>
                  </a:lnTo>
                  <a:lnTo>
                    <a:pt x="689" y="132"/>
                  </a:lnTo>
                  <a:lnTo>
                    <a:pt x="686" y="135"/>
                  </a:lnTo>
                  <a:lnTo>
                    <a:pt x="689" y="135"/>
                  </a:lnTo>
                  <a:lnTo>
                    <a:pt x="692" y="134"/>
                  </a:lnTo>
                  <a:lnTo>
                    <a:pt x="690" y="137"/>
                  </a:lnTo>
                  <a:lnTo>
                    <a:pt x="689" y="140"/>
                  </a:lnTo>
                  <a:lnTo>
                    <a:pt x="685" y="141"/>
                  </a:lnTo>
                  <a:lnTo>
                    <a:pt x="688" y="144"/>
                  </a:lnTo>
                  <a:close/>
                  <a:moveTo>
                    <a:pt x="805" y="218"/>
                  </a:moveTo>
                  <a:lnTo>
                    <a:pt x="803" y="217"/>
                  </a:lnTo>
                  <a:lnTo>
                    <a:pt x="800" y="217"/>
                  </a:lnTo>
                  <a:lnTo>
                    <a:pt x="797" y="216"/>
                  </a:lnTo>
                  <a:lnTo>
                    <a:pt x="793" y="214"/>
                  </a:lnTo>
                  <a:lnTo>
                    <a:pt x="787" y="214"/>
                  </a:lnTo>
                  <a:lnTo>
                    <a:pt x="785" y="216"/>
                  </a:lnTo>
                  <a:lnTo>
                    <a:pt x="782" y="217"/>
                  </a:lnTo>
                  <a:lnTo>
                    <a:pt x="777" y="218"/>
                  </a:lnTo>
                  <a:lnTo>
                    <a:pt x="774" y="220"/>
                  </a:lnTo>
                  <a:lnTo>
                    <a:pt x="773" y="224"/>
                  </a:lnTo>
                  <a:lnTo>
                    <a:pt x="778" y="219"/>
                  </a:lnTo>
                  <a:lnTo>
                    <a:pt x="780" y="219"/>
                  </a:lnTo>
                  <a:lnTo>
                    <a:pt x="784" y="218"/>
                  </a:lnTo>
                  <a:lnTo>
                    <a:pt x="786" y="218"/>
                  </a:lnTo>
                  <a:lnTo>
                    <a:pt x="790" y="216"/>
                  </a:lnTo>
                  <a:lnTo>
                    <a:pt x="794" y="216"/>
                  </a:lnTo>
                  <a:lnTo>
                    <a:pt x="797" y="217"/>
                  </a:lnTo>
                  <a:lnTo>
                    <a:pt x="792" y="217"/>
                  </a:lnTo>
                  <a:lnTo>
                    <a:pt x="788" y="218"/>
                  </a:lnTo>
                  <a:lnTo>
                    <a:pt x="794" y="218"/>
                  </a:lnTo>
                  <a:lnTo>
                    <a:pt x="797" y="219"/>
                  </a:lnTo>
                  <a:lnTo>
                    <a:pt x="794" y="220"/>
                  </a:lnTo>
                  <a:lnTo>
                    <a:pt x="788" y="220"/>
                  </a:lnTo>
                  <a:lnTo>
                    <a:pt x="786" y="221"/>
                  </a:lnTo>
                  <a:lnTo>
                    <a:pt x="788" y="221"/>
                  </a:lnTo>
                  <a:lnTo>
                    <a:pt x="786" y="222"/>
                  </a:lnTo>
                  <a:lnTo>
                    <a:pt x="790" y="221"/>
                  </a:lnTo>
                  <a:lnTo>
                    <a:pt x="792" y="222"/>
                  </a:lnTo>
                  <a:lnTo>
                    <a:pt x="794" y="221"/>
                  </a:lnTo>
                  <a:lnTo>
                    <a:pt x="794" y="221"/>
                  </a:lnTo>
                  <a:lnTo>
                    <a:pt x="790" y="225"/>
                  </a:lnTo>
                  <a:lnTo>
                    <a:pt x="786" y="225"/>
                  </a:lnTo>
                  <a:lnTo>
                    <a:pt x="782" y="224"/>
                  </a:lnTo>
                  <a:lnTo>
                    <a:pt x="776" y="228"/>
                  </a:lnTo>
                  <a:lnTo>
                    <a:pt x="773" y="229"/>
                  </a:lnTo>
                  <a:lnTo>
                    <a:pt x="773" y="231"/>
                  </a:lnTo>
                  <a:lnTo>
                    <a:pt x="765" y="238"/>
                  </a:lnTo>
                  <a:lnTo>
                    <a:pt x="762" y="241"/>
                  </a:lnTo>
                  <a:lnTo>
                    <a:pt x="760" y="243"/>
                  </a:lnTo>
                  <a:lnTo>
                    <a:pt x="757" y="244"/>
                  </a:lnTo>
                  <a:lnTo>
                    <a:pt x="753" y="245"/>
                  </a:lnTo>
                  <a:lnTo>
                    <a:pt x="753" y="244"/>
                  </a:lnTo>
                  <a:lnTo>
                    <a:pt x="750" y="244"/>
                  </a:lnTo>
                  <a:lnTo>
                    <a:pt x="745" y="246"/>
                  </a:lnTo>
                  <a:lnTo>
                    <a:pt x="744" y="247"/>
                  </a:lnTo>
                  <a:lnTo>
                    <a:pt x="743" y="248"/>
                  </a:lnTo>
                  <a:lnTo>
                    <a:pt x="744" y="251"/>
                  </a:lnTo>
                  <a:lnTo>
                    <a:pt x="742" y="253"/>
                  </a:lnTo>
                  <a:lnTo>
                    <a:pt x="740" y="254"/>
                  </a:lnTo>
                  <a:lnTo>
                    <a:pt x="736" y="253"/>
                  </a:lnTo>
                  <a:lnTo>
                    <a:pt x="731" y="255"/>
                  </a:lnTo>
                  <a:lnTo>
                    <a:pt x="728" y="255"/>
                  </a:lnTo>
                  <a:lnTo>
                    <a:pt x="720" y="256"/>
                  </a:lnTo>
                  <a:lnTo>
                    <a:pt x="715" y="256"/>
                  </a:lnTo>
                  <a:lnTo>
                    <a:pt x="712" y="256"/>
                  </a:lnTo>
                  <a:lnTo>
                    <a:pt x="707" y="254"/>
                  </a:lnTo>
                  <a:lnTo>
                    <a:pt x="705" y="253"/>
                  </a:lnTo>
                  <a:lnTo>
                    <a:pt x="697" y="252"/>
                  </a:lnTo>
                  <a:lnTo>
                    <a:pt x="694" y="251"/>
                  </a:lnTo>
                  <a:lnTo>
                    <a:pt x="692" y="248"/>
                  </a:lnTo>
                  <a:lnTo>
                    <a:pt x="689" y="247"/>
                  </a:lnTo>
                  <a:lnTo>
                    <a:pt x="692" y="247"/>
                  </a:lnTo>
                  <a:lnTo>
                    <a:pt x="695" y="250"/>
                  </a:lnTo>
                  <a:lnTo>
                    <a:pt x="698" y="250"/>
                  </a:lnTo>
                  <a:lnTo>
                    <a:pt x="701" y="248"/>
                  </a:lnTo>
                  <a:lnTo>
                    <a:pt x="703" y="246"/>
                  </a:lnTo>
                  <a:lnTo>
                    <a:pt x="706" y="247"/>
                  </a:lnTo>
                  <a:lnTo>
                    <a:pt x="709" y="247"/>
                  </a:lnTo>
                  <a:lnTo>
                    <a:pt x="711" y="248"/>
                  </a:lnTo>
                  <a:lnTo>
                    <a:pt x="715" y="247"/>
                  </a:lnTo>
                  <a:lnTo>
                    <a:pt x="714" y="244"/>
                  </a:lnTo>
                  <a:lnTo>
                    <a:pt x="716" y="243"/>
                  </a:lnTo>
                  <a:lnTo>
                    <a:pt x="717" y="241"/>
                  </a:lnTo>
                  <a:lnTo>
                    <a:pt x="719" y="237"/>
                  </a:lnTo>
                  <a:lnTo>
                    <a:pt x="722" y="237"/>
                  </a:lnTo>
                  <a:lnTo>
                    <a:pt x="725" y="238"/>
                  </a:lnTo>
                  <a:lnTo>
                    <a:pt x="727" y="237"/>
                  </a:lnTo>
                  <a:lnTo>
                    <a:pt x="731" y="235"/>
                  </a:lnTo>
                  <a:lnTo>
                    <a:pt x="728" y="231"/>
                  </a:lnTo>
                  <a:lnTo>
                    <a:pt x="726" y="230"/>
                  </a:lnTo>
                  <a:lnTo>
                    <a:pt x="724" y="228"/>
                  </a:lnTo>
                  <a:lnTo>
                    <a:pt x="722" y="227"/>
                  </a:lnTo>
                  <a:lnTo>
                    <a:pt x="722" y="225"/>
                  </a:lnTo>
                  <a:lnTo>
                    <a:pt x="722" y="222"/>
                  </a:lnTo>
                  <a:lnTo>
                    <a:pt x="718" y="222"/>
                  </a:lnTo>
                  <a:lnTo>
                    <a:pt x="712" y="219"/>
                  </a:lnTo>
                  <a:lnTo>
                    <a:pt x="712" y="216"/>
                  </a:lnTo>
                  <a:lnTo>
                    <a:pt x="714" y="216"/>
                  </a:lnTo>
                  <a:lnTo>
                    <a:pt x="716" y="218"/>
                  </a:lnTo>
                  <a:lnTo>
                    <a:pt x="722" y="219"/>
                  </a:lnTo>
                  <a:lnTo>
                    <a:pt x="724" y="221"/>
                  </a:lnTo>
                  <a:lnTo>
                    <a:pt x="727" y="222"/>
                  </a:lnTo>
                  <a:lnTo>
                    <a:pt x="729" y="225"/>
                  </a:lnTo>
                  <a:lnTo>
                    <a:pt x="733" y="225"/>
                  </a:lnTo>
                  <a:lnTo>
                    <a:pt x="735" y="224"/>
                  </a:lnTo>
                  <a:lnTo>
                    <a:pt x="736" y="224"/>
                  </a:lnTo>
                  <a:lnTo>
                    <a:pt x="737" y="227"/>
                  </a:lnTo>
                  <a:lnTo>
                    <a:pt x="741" y="228"/>
                  </a:lnTo>
                  <a:lnTo>
                    <a:pt x="743" y="230"/>
                  </a:lnTo>
                  <a:lnTo>
                    <a:pt x="745" y="231"/>
                  </a:lnTo>
                  <a:lnTo>
                    <a:pt x="749" y="233"/>
                  </a:lnTo>
                  <a:lnTo>
                    <a:pt x="751" y="231"/>
                  </a:lnTo>
                  <a:lnTo>
                    <a:pt x="752" y="231"/>
                  </a:lnTo>
                  <a:lnTo>
                    <a:pt x="760" y="231"/>
                  </a:lnTo>
                  <a:lnTo>
                    <a:pt x="762" y="229"/>
                  </a:lnTo>
                  <a:lnTo>
                    <a:pt x="768" y="226"/>
                  </a:lnTo>
                  <a:lnTo>
                    <a:pt x="770" y="225"/>
                  </a:lnTo>
                  <a:lnTo>
                    <a:pt x="776" y="217"/>
                  </a:lnTo>
                  <a:lnTo>
                    <a:pt x="778" y="214"/>
                  </a:lnTo>
                  <a:lnTo>
                    <a:pt x="784" y="212"/>
                  </a:lnTo>
                  <a:lnTo>
                    <a:pt x="787" y="212"/>
                  </a:lnTo>
                  <a:lnTo>
                    <a:pt x="794" y="212"/>
                  </a:lnTo>
                  <a:lnTo>
                    <a:pt x="800" y="213"/>
                  </a:lnTo>
                  <a:lnTo>
                    <a:pt x="808" y="214"/>
                  </a:lnTo>
                  <a:lnTo>
                    <a:pt x="808" y="218"/>
                  </a:lnTo>
                  <a:lnTo>
                    <a:pt x="805" y="218"/>
                  </a:lnTo>
                  <a:close/>
                  <a:moveTo>
                    <a:pt x="981" y="448"/>
                  </a:moveTo>
                  <a:lnTo>
                    <a:pt x="981" y="451"/>
                  </a:lnTo>
                  <a:lnTo>
                    <a:pt x="982" y="453"/>
                  </a:lnTo>
                  <a:lnTo>
                    <a:pt x="981" y="453"/>
                  </a:lnTo>
                  <a:lnTo>
                    <a:pt x="979" y="451"/>
                  </a:lnTo>
                  <a:lnTo>
                    <a:pt x="978" y="455"/>
                  </a:lnTo>
                  <a:lnTo>
                    <a:pt x="978" y="457"/>
                  </a:lnTo>
                  <a:lnTo>
                    <a:pt x="975" y="458"/>
                  </a:lnTo>
                  <a:lnTo>
                    <a:pt x="973" y="456"/>
                  </a:lnTo>
                  <a:lnTo>
                    <a:pt x="973" y="453"/>
                  </a:lnTo>
                  <a:lnTo>
                    <a:pt x="973" y="451"/>
                  </a:lnTo>
                  <a:lnTo>
                    <a:pt x="973" y="448"/>
                  </a:lnTo>
                  <a:lnTo>
                    <a:pt x="973" y="445"/>
                  </a:lnTo>
                  <a:lnTo>
                    <a:pt x="975" y="442"/>
                  </a:lnTo>
                  <a:lnTo>
                    <a:pt x="976" y="440"/>
                  </a:lnTo>
                  <a:lnTo>
                    <a:pt x="973" y="441"/>
                  </a:lnTo>
                  <a:lnTo>
                    <a:pt x="975" y="439"/>
                  </a:lnTo>
                  <a:lnTo>
                    <a:pt x="976" y="435"/>
                  </a:lnTo>
                  <a:lnTo>
                    <a:pt x="973" y="434"/>
                  </a:lnTo>
                  <a:lnTo>
                    <a:pt x="971" y="436"/>
                  </a:lnTo>
                  <a:lnTo>
                    <a:pt x="968" y="439"/>
                  </a:lnTo>
                  <a:lnTo>
                    <a:pt x="968" y="436"/>
                  </a:lnTo>
                  <a:lnTo>
                    <a:pt x="968" y="433"/>
                  </a:lnTo>
                  <a:lnTo>
                    <a:pt x="968" y="431"/>
                  </a:lnTo>
                  <a:lnTo>
                    <a:pt x="966" y="427"/>
                  </a:lnTo>
                  <a:lnTo>
                    <a:pt x="964" y="429"/>
                  </a:lnTo>
                  <a:lnTo>
                    <a:pt x="965" y="426"/>
                  </a:lnTo>
                  <a:lnTo>
                    <a:pt x="962" y="427"/>
                  </a:lnTo>
                  <a:lnTo>
                    <a:pt x="961" y="431"/>
                  </a:lnTo>
                  <a:lnTo>
                    <a:pt x="958" y="430"/>
                  </a:lnTo>
                  <a:lnTo>
                    <a:pt x="958" y="429"/>
                  </a:lnTo>
                  <a:lnTo>
                    <a:pt x="957" y="425"/>
                  </a:lnTo>
                  <a:lnTo>
                    <a:pt x="955" y="423"/>
                  </a:lnTo>
                  <a:lnTo>
                    <a:pt x="953" y="421"/>
                  </a:lnTo>
                  <a:lnTo>
                    <a:pt x="950" y="418"/>
                  </a:lnTo>
                  <a:lnTo>
                    <a:pt x="948" y="416"/>
                  </a:lnTo>
                  <a:lnTo>
                    <a:pt x="947" y="413"/>
                  </a:lnTo>
                  <a:lnTo>
                    <a:pt x="949" y="410"/>
                  </a:lnTo>
                  <a:lnTo>
                    <a:pt x="951" y="409"/>
                  </a:lnTo>
                  <a:lnTo>
                    <a:pt x="950" y="409"/>
                  </a:lnTo>
                  <a:lnTo>
                    <a:pt x="947" y="409"/>
                  </a:lnTo>
                  <a:lnTo>
                    <a:pt x="945" y="409"/>
                  </a:lnTo>
                  <a:lnTo>
                    <a:pt x="941" y="407"/>
                  </a:lnTo>
                  <a:lnTo>
                    <a:pt x="942" y="405"/>
                  </a:lnTo>
                  <a:lnTo>
                    <a:pt x="944" y="401"/>
                  </a:lnTo>
                  <a:lnTo>
                    <a:pt x="945" y="399"/>
                  </a:lnTo>
                  <a:lnTo>
                    <a:pt x="945" y="397"/>
                  </a:lnTo>
                  <a:lnTo>
                    <a:pt x="946" y="393"/>
                  </a:lnTo>
                  <a:lnTo>
                    <a:pt x="947" y="393"/>
                  </a:lnTo>
                  <a:lnTo>
                    <a:pt x="950" y="395"/>
                  </a:lnTo>
                  <a:lnTo>
                    <a:pt x="953" y="393"/>
                  </a:lnTo>
                  <a:lnTo>
                    <a:pt x="955" y="395"/>
                  </a:lnTo>
                  <a:lnTo>
                    <a:pt x="958" y="396"/>
                  </a:lnTo>
                  <a:lnTo>
                    <a:pt x="959" y="396"/>
                  </a:lnTo>
                  <a:lnTo>
                    <a:pt x="957" y="395"/>
                  </a:lnTo>
                  <a:lnTo>
                    <a:pt x="955" y="392"/>
                  </a:lnTo>
                  <a:lnTo>
                    <a:pt x="956" y="389"/>
                  </a:lnTo>
                  <a:lnTo>
                    <a:pt x="957" y="387"/>
                  </a:lnTo>
                  <a:lnTo>
                    <a:pt x="958" y="383"/>
                  </a:lnTo>
                  <a:lnTo>
                    <a:pt x="959" y="384"/>
                  </a:lnTo>
                  <a:lnTo>
                    <a:pt x="959" y="387"/>
                  </a:lnTo>
                  <a:lnTo>
                    <a:pt x="956" y="389"/>
                  </a:lnTo>
                  <a:lnTo>
                    <a:pt x="957" y="392"/>
                  </a:lnTo>
                  <a:lnTo>
                    <a:pt x="959" y="391"/>
                  </a:lnTo>
                  <a:lnTo>
                    <a:pt x="963" y="390"/>
                  </a:lnTo>
                  <a:lnTo>
                    <a:pt x="962" y="391"/>
                  </a:lnTo>
                  <a:lnTo>
                    <a:pt x="959" y="392"/>
                  </a:lnTo>
                  <a:lnTo>
                    <a:pt x="959" y="393"/>
                  </a:lnTo>
                  <a:lnTo>
                    <a:pt x="961" y="396"/>
                  </a:lnTo>
                  <a:lnTo>
                    <a:pt x="961" y="397"/>
                  </a:lnTo>
                  <a:lnTo>
                    <a:pt x="962" y="399"/>
                  </a:lnTo>
                  <a:lnTo>
                    <a:pt x="963" y="401"/>
                  </a:lnTo>
                  <a:lnTo>
                    <a:pt x="964" y="405"/>
                  </a:lnTo>
                  <a:lnTo>
                    <a:pt x="966" y="407"/>
                  </a:lnTo>
                  <a:lnTo>
                    <a:pt x="968" y="410"/>
                  </a:lnTo>
                  <a:lnTo>
                    <a:pt x="966" y="410"/>
                  </a:lnTo>
                  <a:lnTo>
                    <a:pt x="967" y="414"/>
                  </a:lnTo>
                  <a:lnTo>
                    <a:pt x="970" y="416"/>
                  </a:lnTo>
                  <a:lnTo>
                    <a:pt x="971" y="419"/>
                  </a:lnTo>
                  <a:lnTo>
                    <a:pt x="972" y="422"/>
                  </a:lnTo>
                  <a:lnTo>
                    <a:pt x="972" y="424"/>
                  </a:lnTo>
                  <a:lnTo>
                    <a:pt x="973" y="427"/>
                  </a:lnTo>
                  <a:lnTo>
                    <a:pt x="974" y="430"/>
                  </a:lnTo>
                  <a:lnTo>
                    <a:pt x="976" y="432"/>
                  </a:lnTo>
                  <a:lnTo>
                    <a:pt x="976" y="434"/>
                  </a:lnTo>
                  <a:lnTo>
                    <a:pt x="979" y="438"/>
                  </a:lnTo>
                  <a:lnTo>
                    <a:pt x="980" y="440"/>
                  </a:lnTo>
                  <a:lnTo>
                    <a:pt x="982" y="442"/>
                  </a:lnTo>
                  <a:lnTo>
                    <a:pt x="981" y="445"/>
                  </a:lnTo>
                  <a:lnTo>
                    <a:pt x="981" y="448"/>
                  </a:lnTo>
                  <a:close/>
                  <a:moveTo>
                    <a:pt x="1152" y="575"/>
                  </a:moveTo>
                  <a:lnTo>
                    <a:pt x="1152" y="573"/>
                  </a:lnTo>
                  <a:lnTo>
                    <a:pt x="1151" y="571"/>
                  </a:lnTo>
                  <a:lnTo>
                    <a:pt x="1153" y="569"/>
                  </a:lnTo>
                  <a:lnTo>
                    <a:pt x="1157" y="567"/>
                  </a:lnTo>
                  <a:lnTo>
                    <a:pt x="1158" y="564"/>
                  </a:lnTo>
                  <a:lnTo>
                    <a:pt x="1160" y="561"/>
                  </a:lnTo>
                  <a:lnTo>
                    <a:pt x="1160" y="560"/>
                  </a:lnTo>
                  <a:lnTo>
                    <a:pt x="1160" y="556"/>
                  </a:lnTo>
                  <a:lnTo>
                    <a:pt x="1160" y="554"/>
                  </a:lnTo>
                  <a:lnTo>
                    <a:pt x="1158" y="552"/>
                  </a:lnTo>
                  <a:lnTo>
                    <a:pt x="1160" y="551"/>
                  </a:lnTo>
                  <a:lnTo>
                    <a:pt x="1159" y="549"/>
                  </a:lnTo>
                  <a:lnTo>
                    <a:pt x="1157" y="545"/>
                  </a:lnTo>
                  <a:lnTo>
                    <a:pt x="1154" y="544"/>
                  </a:lnTo>
                  <a:lnTo>
                    <a:pt x="1151" y="543"/>
                  </a:lnTo>
                  <a:lnTo>
                    <a:pt x="1149" y="542"/>
                  </a:lnTo>
                  <a:lnTo>
                    <a:pt x="1146" y="541"/>
                  </a:lnTo>
                  <a:lnTo>
                    <a:pt x="1145" y="541"/>
                  </a:lnTo>
                  <a:lnTo>
                    <a:pt x="1142" y="539"/>
                  </a:lnTo>
                  <a:lnTo>
                    <a:pt x="1140" y="538"/>
                  </a:lnTo>
                  <a:lnTo>
                    <a:pt x="1137" y="541"/>
                  </a:lnTo>
                  <a:lnTo>
                    <a:pt x="1135" y="542"/>
                  </a:lnTo>
                  <a:lnTo>
                    <a:pt x="1137" y="544"/>
                  </a:lnTo>
                  <a:lnTo>
                    <a:pt x="1137" y="545"/>
                  </a:lnTo>
                  <a:lnTo>
                    <a:pt x="1135" y="545"/>
                  </a:lnTo>
                  <a:lnTo>
                    <a:pt x="1133" y="546"/>
                  </a:lnTo>
                  <a:lnTo>
                    <a:pt x="1132" y="549"/>
                  </a:lnTo>
                  <a:lnTo>
                    <a:pt x="1132" y="552"/>
                  </a:lnTo>
                  <a:lnTo>
                    <a:pt x="1129" y="554"/>
                  </a:lnTo>
                  <a:lnTo>
                    <a:pt x="1129" y="552"/>
                  </a:lnTo>
                  <a:lnTo>
                    <a:pt x="1128" y="554"/>
                  </a:lnTo>
                  <a:lnTo>
                    <a:pt x="1128" y="552"/>
                  </a:lnTo>
                  <a:lnTo>
                    <a:pt x="1128" y="549"/>
                  </a:lnTo>
                  <a:lnTo>
                    <a:pt x="1126" y="552"/>
                  </a:lnTo>
                  <a:lnTo>
                    <a:pt x="1125" y="552"/>
                  </a:lnTo>
                  <a:lnTo>
                    <a:pt x="1121" y="554"/>
                  </a:lnTo>
                  <a:lnTo>
                    <a:pt x="1119" y="556"/>
                  </a:lnTo>
                  <a:lnTo>
                    <a:pt x="1120" y="559"/>
                  </a:lnTo>
                  <a:lnTo>
                    <a:pt x="1119" y="562"/>
                  </a:lnTo>
                  <a:lnTo>
                    <a:pt x="1118" y="564"/>
                  </a:lnTo>
                  <a:lnTo>
                    <a:pt x="1116" y="567"/>
                  </a:lnTo>
                  <a:lnTo>
                    <a:pt x="1117" y="570"/>
                  </a:lnTo>
                  <a:lnTo>
                    <a:pt x="1116" y="572"/>
                  </a:lnTo>
                  <a:lnTo>
                    <a:pt x="1116" y="576"/>
                  </a:lnTo>
                  <a:lnTo>
                    <a:pt x="1117" y="578"/>
                  </a:lnTo>
                  <a:lnTo>
                    <a:pt x="1119" y="580"/>
                  </a:lnTo>
                  <a:lnTo>
                    <a:pt x="1119" y="581"/>
                  </a:lnTo>
                  <a:lnTo>
                    <a:pt x="1119" y="584"/>
                  </a:lnTo>
                  <a:lnTo>
                    <a:pt x="1120" y="585"/>
                  </a:lnTo>
                  <a:lnTo>
                    <a:pt x="1120" y="588"/>
                  </a:lnTo>
                  <a:lnTo>
                    <a:pt x="1120" y="590"/>
                  </a:lnTo>
                  <a:lnTo>
                    <a:pt x="1119" y="593"/>
                  </a:lnTo>
                  <a:lnTo>
                    <a:pt x="1118" y="596"/>
                  </a:lnTo>
                  <a:lnTo>
                    <a:pt x="1117" y="598"/>
                  </a:lnTo>
                  <a:lnTo>
                    <a:pt x="1116" y="602"/>
                  </a:lnTo>
                  <a:lnTo>
                    <a:pt x="1113" y="604"/>
                  </a:lnTo>
                  <a:lnTo>
                    <a:pt x="1111" y="605"/>
                  </a:lnTo>
                  <a:lnTo>
                    <a:pt x="1109" y="606"/>
                  </a:lnTo>
                  <a:lnTo>
                    <a:pt x="1107" y="607"/>
                  </a:lnTo>
                  <a:lnTo>
                    <a:pt x="1103" y="607"/>
                  </a:lnTo>
                  <a:lnTo>
                    <a:pt x="1102" y="606"/>
                  </a:lnTo>
                  <a:lnTo>
                    <a:pt x="1102" y="606"/>
                  </a:lnTo>
                  <a:lnTo>
                    <a:pt x="1101" y="603"/>
                  </a:lnTo>
                  <a:lnTo>
                    <a:pt x="1100" y="602"/>
                  </a:lnTo>
                  <a:lnTo>
                    <a:pt x="1099" y="598"/>
                  </a:lnTo>
                  <a:lnTo>
                    <a:pt x="1098" y="596"/>
                  </a:lnTo>
                  <a:lnTo>
                    <a:pt x="1099" y="594"/>
                  </a:lnTo>
                  <a:lnTo>
                    <a:pt x="1099" y="592"/>
                  </a:lnTo>
                  <a:lnTo>
                    <a:pt x="1099" y="589"/>
                  </a:lnTo>
                  <a:lnTo>
                    <a:pt x="1098" y="586"/>
                  </a:lnTo>
                  <a:lnTo>
                    <a:pt x="1096" y="581"/>
                  </a:lnTo>
                  <a:lnTo>
                    <a:pt x="1098" y="578"/>
                  </a:lnTo>
                  <a:lnTo>
                    <a:pt x="1099" y="576"/>
                  </a:lnTo>
                  <a:lnTo>
                    <a:pt x="1100" y="572"/>
                  </a:lnTo>
                  <a:lnTo>
                    <a:pt x="1099" y="570"/>
                  </a:lnTo>
                  <a:lnTo>
                    <a:pt x="1100" y="567"/>
                  </a:lnTo>
                  <a:lnTo>
                    <a:pt x="1102" y="564"/>
                  </a:lnTo>
                  <a:lnTo>
                    <a:pt x="1102" y="562"/>
                  </a:lnTo>
                  <a:lnTo>
                    <a:pt x="1103" y="559"/>
                  </a:lnTo>
                  <a:lnTo>
                    <a:pt x="1104" y="556"/>
                  </a:lnTo>
                  <a:lnTo>
                    <a:pt x="1103" y="554"/>
                  </a:lnTo>
                  <a:lnTo>
                    <a:pt x="1100" y="555"/>
                  </a:lnTo>
                  <a:lnTo>
                    <a:pt x="1098" y="558"/>
                  </a:lnTo>
                  <a:lnTo>
                    <a:pt x="1095" y="558"/>
                  </a:lnTo>
                  <a:lnTo>
                    <a:pt x="1096" y="555"/>
                  </a:lnTo>
                  <a:lnTo>
                    <a:pt x="1098" y="552"/>
                  </a:lnTo>
                  <a:lnTo>
                    <a:pt x="1101" y="552"/>
                  </a:lnTo>
                  <a:lnTo>
                    <a:pt x="1101" y="550"/>
                  </a:lnTo>
                  <a:lnTo>
                    <a:pt x="1102" y="547"/>
                  </a:lnTo>
                  <a:lnTo>
                    <a:pt x="1104" y="545"/>
                  </a:lnTo>
                  <a:lnTo>
                    <a:pt x="1106" y="542"/>
                  </a:lnTo>
                  <a:lnTo>
                    <a:pt x="1108" y="539"/>
                  </a:lnTo>
                  <a:lnTo>
                    <a:pt x="1110" y="536"/>
                  </a:lnTo>
                  <a:lnTo>
                    <a:pt x="1110" y="539"/>
                  </a:lnTo>
                  <a:lnTo>
                    <a:pt x="1112" y="537"/>
                  </a:lnTo>
                  <a:lnTo>
                    <a:pt x="1116" y="536"/>
                  </a:lnTo>
                  <a:lnTo>
                    <a:pt x="1116" y="539"/>
                  </a:lnTo>
                  <a:lnTo>
                    <a:pt x="1118" y="537"/>
                  </a:lnTo>
                  <a:lnTo>
                    <a:pt x="1120" y="535"/>
                  </a:lnTo>
                  <a:lnTo>
                    <a:pt x="1123" y="535"/>
                  </a:lnTo>
                  <a:lnTo>
                    <a:pt x="1126" y="535"/>
                  </a:lnTo>
                  <a:lnTo>
                    <a:pt x="1128" y="534"/>
                  </a:lnTo>
                  <a:lnTo>
                    <a:pt x="1132" y="533"/>
                  </a:lnTo>
                  <a:lnTo>
                    <a:pt x="1134" y="533"/>
                  </a:lnTo>
                  <a:lnTo>
                    <a:pt x="1137" y="534"/>
                  </a:lnTo>
                  <a:lnTo>
                    <a:pt x="1138" y="536"/>
                  </a:lnTo>
                  <a:lnTo>
                    <a:pt x="1141" y="535"/>
                  </a:lnTo>
                  <a:lnTo>
                    <a:pt x="1144" y="535"/>
                  </a:lnTo>
                  <a:lnTo>
                    <a:pt x="1146" y="535"/>
                  </a:lnTo>
                  <a:lnTo>
                    <a:pt x="1149" y="535"/>
                  </a:lnTo>
                  <a:lnTo>
                    <a:pt x="1152" y="535"/>
                  </a:lnTo>
                  <a:lnTo>
                    <a:pt x="1150" y="532"/>
                  </a:lnTo>
                  <a:lnTo>
                    <a:pt x="1147" y="532"/>
                  </a:lnTo>
                  <a:lnTo>
                    <a:pt x="1147" y="528"/>
                  </a:lnTo>
                  <a:lnTo>
                    <a:pt x="1145" y="526"/>
                  </a:lnTo>
                  <a:lnTo>
                    <a:pt x="1145" y="526"/>
                  </a:lnTo>
                  <a:lnTo>
                    <a:pt x="1145" y="526"/>
                  </a:lnTo>
                  <a:lnTo>
                    <a:pt x="1140" y="527"/>
                  </a:lnTo>
                  <a:lnTo>
                    <a:pt x="1137" y="526"/>
                  </a:lnTo>
                  <a:lnTo>
                    <a:pt x="1136" y="525"/>
                  </a:lnTo>
                  <a:lnTo>
                    <a:pt x="1137" y="521"/>
                  </a:lnTo>
                  <a:lnTo>
                    <a:pt x="1137" y="521"/>
                  </a:lnTo>
                  <a:lnTo>
                    <a:pt x="1134" y="521"/>
                  </a:lnTo>
                  <a:lnTo>
                    <a:pt x="1130" y="522"/>
                  </a:lnTo>
                  <a:lnTo>
                    <a:pt x="1128" y="522"/>
                  </a:lnTo>
                  <a:lnTo>
                    <a:pt x="1126" y="522"/>
                  </a:lnTo>
                  <a:lnTo>
                    <a:pt x="1120" y="522"/>
                  </a:lnTo>
                  <a:lnTo>
                    <a:pt x="1118" y="525"/>
                  </a:lnTo>
                  <a:lnTo>
                    <a:pt x="1115" y="527"/>
                  </a:lnTo>
                  <a:lnTo>
                    <a:pt x="1112" y="526"/>
                  </a:lnTo>
                  <a:lnTo>
                    <a:pt x="1109" y="525"/>
                  </a:lnTo>
                  <a:lnTo>
                    <a:pt x="1107" y="526"/>
                  </a:lnTo>
                  <a:lnTo>
                    <a:pt x="1104" y="526"/>
                  </a:lnTo>
                  <a:lnTo>
                    <a:pt x="1102" y="522"/>
                  </a:lnTo>
                  <a:lnTo>
                    <a:pt x="1100" y="520"/>
                  </a:lnTo>
                  <a:lnTo>
                    <a:pt x="1098" y="519"/>
                  </a:lnTo>
                  <a:lnTo>
                    <a:pt x="1094" y="519"/>
                  </a:lnTo>
                  <a:lnTo>
                    <a:pt x="1092" y="519"/>
                  </a:lnTo>
                  <a:lnTo>
                    <a:pt x="1090" y="519"/>
                  </a:lnTo>
                  <a:lnTo>
                    <a:pt x="1089" y="516"/>
                  </a:lnTo>
                  <a:lnTo>
                    <a:pt x="1087" y="513"/>
                  </a:lnTo>
                  <a:lnTo>
                    <a:pt x="1084" y="515"/>
                  </a:lnTo>
                  <a:lnTo>
                    <a:pt x="1082" y="517"/>
                  </a:lnTo>
                  <a:lnTo>
                    <a:pt x="1079" y="518"/>
                  </a:lnTo>
                  <a:lnTo>
                    <a:pt x="1076" y="520"/>
                  </a:lnTo>
                  <a:lnTo>
                    <a:pt x="1074" y="520"/>
                  </a:lnTo>
                  <a:lnTo>
                    <a:pt x="1070" y="520"/>
                  </a:lnTo>
                  <a:lnTo>
                    <a:pt x="1068" y="522"/>
                  </a:lnTo>
                  <a:lnTo>
                    <a:pt x="1068" y="522"/>
                  </a:lnTo>
                  <a:lnTo>
                    <a:pt x="1065" y="524"/>
                  </a:lnTo>
                  <a:lnTo>
                    <a:pt x="1063" y="525"/>
                  </a:lnTo>
                  <a:lnTo>
                    <a:pt x="1060" y="524"/>
                  </a:lnTo>
                  <a:lnTo>
                    <a:pt x="1058" y="522"/>
                  </a:lnTo>
                  <a:lnTo>
                    <a:pt x="1056" y="524"/>
                  </a:lnTo>
                  <a:lnTo>
                    <a:pt x="1057" y="521"/>
                  </a:lnTo>
                  <a:lnTo>
                    <a:pt x="1056" y="518"/>
                  </a:lnTo>
                  <a:lnTo>
                    <a:pt x="1052" y="519"/>
                  </a:lnTo>
                  <a:lnTo>
                    <a:pt x="1050" y="520"/>
                  </a:lnTo>
                  <a:lnTo>
                    <a:pt x="1048" y="521"/>
                  </a:lnTo>
                  <a:lnTo>
                    <a:pt x="1042" y="522"/>
                  </a:lnTo>
                  <a:lnTo>
                    <a:pt x="1039" y="521"/>
                  </a:lnTo>
                  <a:lnTo>
                    <a:pt x="1041" y="519"/>
                  </a:lnTo>
                  <a:lnTo>
                    <a:pt x="1044" y="518"/>
                  </a:lnTo>
                  <a:lnTo>
                    <a:pt x="1047" y="516"/>
                  </a:lnTo>
                  <a:lnTo>
                    <a:pt x="1050" y="513"/>
                  </a:lnTo>
                  <a:lnTo>
                    <a:pt x="1052" y="511"/>
                  </a:lnTo>
                  <a:lnTo>
                    <a:pt x="1055" y="509"/>
                  </a:lnTo>
                  <a:lnTo>
                    <a:pt x="1057" y="507"/>
                  </a:lnTo>
                  <a:lnTo>
                    <a:pt x="1060" y="506"/>
                  </a:lnTo>
                  <a:lnTo>
                    <a:pt x="1063" y="504"/>
                  </a:lnTo>
                  <a:lnTo>
                    <a:pt x="1068" y="503"/>
                  </a:lnTo>
                  <a:lnTo>
                    <a:pt x="1068" y="502"/>
                  </a:lnTo>
                  <a:lnTo>
                    <a:pt x="1072" y="501"/>
                  </a:lnTo>
                  <a:lnTo>
                    <a:pt x="1074" y="500"/>
                  </a:lnTo>
                  <a:lnTo>
                    <a:pt x="1076" y="498"/>
                  </a:lnTo>
                  <a:lnTo>
                    <a:pt x="1078" y="495"/>
                  </a:lnTo>
                  <a:lnTo>
                    <a:pt x="1078" y="493"/>
                  </a:lnTo>
                  <a:lnTo>
                    <a:pt x="1082" y="491"/>
                  </a:lnTo>
                  <a:lnTo>
                    <a:pt x="1084" y="492"/>
                  </a:lnTo>
                  <a:lnTo>
                    <a:pt x="1084" y="494"/>
                  </a:lnTo>
                  <a:lnTo>
                    <a:pt x="1086" y="492"/>
                  </a:lnTo>
                  <a:lnTo>
                    <a:pt x="1089" y="489"/>
                  </a:lnTo>
                  <a:lnTo>
                    <a:pt x="1089" y="486"/>
                  </a:lnTo>
                  <a:lnTo>
                    <a:pt x="1091" y="486"/>
                  </a:lnTo>
                  <a:lnTo>
                    <a:pt x="1090" y="489"/>
                  </a:lnTo>
                  <a:lnTo>
                    <a:pt x="1089" y="491"/>
                  </a:lnTo>
                  <a:lnTo>
                    <a:pt x="1091" y="489"/>
                  </a:lnTo>
                  <a:lnTo>
                    <a:pt x="1094" y="487"/>
                  </a:lnTo>
                  <a:lnTo>
                    <a:pt x="1093" y="485"/>
                  </a:lnTo>
                  <a:lnTo>
                    <a:pt x="1092" y="483"/>
                  </a:lnTo>
                  <a:lnTo>
                    <a:pt x="1093" y="483"/>
                  </a:lnTo>
                  <a:lnTo>
                    <a:pt x="1096" y="483"/>
                  </a:lnTo>
                  <a:lnTo>
                    <a:pt x="1099" y="484"/>
                  </a:lnTo>
                  <a:lnTo>
                    <a:pt x="1102" y="485"/>
                  </a:lnTo>
                  <a:lnTo>
                    <a:pt x="1104" y="486"/>
                  </a:lnTo>
                  <a:lnTo>
                    <a:pt x="1107" y="486"/>
                  </a:lnTo>
                  <a:lnTo>
                    <a:pt x="1110" y="485"/>
                  </a:lnTo>
                  <a:lnTo>
                    <a:pt x="1112" y="486"/>
                  </a:lnTo>
                  <a:lnTo>
                    <a:pt x="1116" y="487"/>
                  </a:lnTo>
                  <a:lnTo>
                    <a:pt x="1118" y="487"/>
                  </a:lnTo>
                  <a:lnTo>
                    <a:pt x="1119" y="491"/>
                  </a:lnTo>
                  <a:lnTo>
                    <a:pt x="1120" y="493"/>
                  </a:lnTo>
                  <a:lnTo>
                    <a:pt x="1121" y="495"/>
                  </a:lnTo>
                  <a:lnTo>
                    <a:pt x="1124" y="499"/>
                  </a:lnTo>
                  <a:lnTo>
                    <a:pt x="1126" y="501"/>
                  </a:lnTo>
                  <a:lnTo>
                    <a:pt x="1132" y="501"/>
                  </a:lnTo>
                  <a:lnTo>
                    <a:pt x="1134" y="501"/>
                  </a:lnTo>
                  <a:lnTo>
                    <a:pt x="1137" y="501"/>
                  </a:lnTo>
                  <a:lnTo>
                    <a:pt x="1137" y="503"/>
                  </a:lnTo>
                  <a:lnTo>
                    <a:pt x="1137" y="506"/>
                  </a:lnTo>
                  <a:lnTo>
                    <a:pt x="1137" y="507"/>
                  </a:lnTo>
                  <a:lnTo>
                    <a:pt x="1140" y="509"/>
                  </a:lnTo>
                  <a:lnTo>
                    <a:pt x="1142" y="511"/>
                  </a:lnTo>
                  <a:lnTo>
                    <a:pt x="1141" y="515"/>
                  </a:lnTo>
                  <a:lnTo>
                    <a:pt x="1140" y="517"/>
                  </a:lnTo>
                  <a:lnTo>
                    <a:pt x="1142" y="518"/>
                  </a:lnTo>
                  <a:lnTo>
                    <a:pt x="1145" y="519"/>
                  </a:lnTo>
                  <a:lnTo>
                    <a:pt x="1143" y="521"/>
                  </a:lnTo>
                  <a:lnTo>
                    <a:pt x="1143" y="525"/>
                  </a:lnTo>
                  <a:lnTo>
                    <a:pt x="1145" y="526"/>
                  </a:lnTo>
                  <a:lnTo>
                    <a:pt x="1145" y="526"/>
                  </a:lnTo>
                  <a:lnTo>
                    <a:pt x="1149" y="525"/>
                  </a:lnTo>
                  <a:lnTo>
                    <a:pt x="1149" y="528"/>
                  </a:lnTo>
                  <a:lnTo>
                    <a:pt x="1154" y="529"/>
                  </a:lnTo>
                  <a:lnTo>
                    <a:pt x="1155" y="529"/>
                  </a:lnTo>
                  <a:lnTo>
                    <a:pt x="1159" y="530"/>
                  </a:lnTo>
                  <a:lnTo>
                    <a:pt x="1161" y="532"/>
                  </a:lnTo>
                  <a:lnTo>
                    <a:pt x="1164" y="532"/>
                  </a:lnTo>
                  <a:lnTo>
                    <a:pt x="1167" y="532"/>
                  </a:lnTo>
                  <a:lnTo>
                    <a:pt x="1169" y="532"/>
                  </a:lnTo>
                  <a:lnTo>
                    <a:pt x="1172" y="532"/>
                  </a:lnTo>
                  <a:lnTo>
                    <a:pt x="1175" y="532"/>
                  </a:lnTo>
                  <a:lnTo>
                    <a:pt x="1180" y="533"/>
                  </a:lnTo>
                  <a:lnTo>
                    <a:pt x="1183" y="533"/>
                  </a:lnTo>
                  <a:lnTo>
                    <a:pt x="1184" y="535"/>
                  </a:lnTo>
                  <a:lnTo>
                    <a:pt x="1186" y="535"/>
                  </a:lnTo>
                  <a:lnTo>
                    <a:pt x="1189" y="535"/>
                  </a:lnTo>
                  <a:lnTo>
                    <a:pt x="1192" y="535"/>
                  </a:lnTo>
                  <a:lnTo>
                    <a:pt x="1195" y="536"/>
                  </a:lnTo>
                  <a:lnTo>
                    <a:pt x="1196" y="538"/>
                  </a:lnTo>
                  <a:lnTo>
                    <a:pt x="1198" y="541"/>
                  </a:lnTo>
                  <a:lnTo>
                    <a:pt x="1200" y="544"/>
                  </a:lnTo>
                  <a:lnTo>
                    <a:pt x="1203" y="545"/>
                  </a:lnTo>
                  <a:lnTo>
                    <a:pt x="1203" y="545"/>
                  </a:lnTo>
                  <a:lnTo>
                    <a:pt x="1205" y="549"/>
                  </a:lnTo>
                  <a:lnTo>
                    <a:pt x="1205" y="549"/>
                  </a:lnTo>
                  <a:lnTo>
                    <a:pt x="1205" y="551"/>
                  </a:lnTo>
                  <a:lnTo>
                    <a:pt x="1206" y="552"/>
                  </a:lnTo>
                  <a:lnTo>
                    <a:pt x="1209" y="554"/>
                  </a:lnTo>
                  <a:lnTo>
                    <a:pt x="1210" y="554"/>
                  </a:lnTo>
                  <a:lnTo>
                    <a:pt x="1209" y="554"/>
                  </a:lnTo>
                  <a:lnTo>
                    <a:pt x="1209" y="554"/>
                  </a:lnTo>
                  <a:lnTo>
                    <a:pt x="1206" y="554"/>
                  </a:lnTo>
                  <a:lnTo>
                    <a:pt x="1205" y="554"/>
                  </a:lnTo>
                  <a:lnTo>
                    <a:pt x="1205" y="559"/>
                  </a:lnTo>
                  <a:lnTo>
                    <a:pt x="1203" y="560"/>
                  </a:lnTo>
                  <a:lnTo>
                    <a:pt x="1200" y="559"/>
                  </a:lnTo>
                  <a:lnTo>
                    <a:pt x="1197" y="558"/>
                  </a:lnTo>
                  <a:lnTo>
                    <a:pt x="1195" y="556"/>
                  </a:lnTo>
                  <a:lnTo>
                    <a:pt x="1192" y="554"/>
                  </a:lnTo>
                  <a:lnTo>
                    <a:pt x="1192" y="552"/>
                  </a:lnTo>
                  <a:lnTo>
                    <a:pt x="1189" y="552"/>
                  </a:lnTo>
                  <a:lnTo>
                    <a:pt x="1189" y="552"/>
                  </a:lnTo>
                  <a:lnTo>
                    <a:pt x="1188" y="552"/>
                  </a:lnTo>
                  <a:lnTo>
                    <a:pt x="1187" y="549"/>
                  </a:lnTo>
                  <a:lnTo>
                    <a:pt x="1184" y="547"/>
                  </a:lnTo>
                  <a:lnTo>
                    <a:pt x="1181" y="547"/>
                  </a:lnTo>
                  <a:lnTo>
                    <a:pt x="1185" y="550"/>
                  </a:lnTo>
                  <a:lnTo>
                    <a:pt x="1186" y="552"/>
                  </a:lnTo>
                  <a:lnTo>
                    <a:pt x="1186" y="553"/>
                  </a:lnTo>
                  <a:lnTo>
                    <a:pt x="1187" y="555"/>
                  </a:lnTo>
                  <a:lnTo>
                    <a:pt x="1187" y="559"/>
                  </a:lnTo>
                  <a:lnTo>
                    <a:pt x="1185" y="561"/>
                  </a:lnTo>
                  <a:lnTo>
                    <a:pt x="1184" y="563"/>
                  </a:lnTo>
                  <a:lnTo>
                    <a:pt x="1181" y="567"/>
                  </a:lnTo>
                  <a:lnTo>
                    <a:pt x="1181" y="569"/>
                  </a:lnTo>
                  <a:lnTo>
                    <a:pt x="1181" y="577"/>
                  </a:lnTo>
                  <a:lnTo>
                    <a:pt x="1180" y="580"/>
                  </a:lnTo>
                  <a:lnTo>
                    <a:pt x="1177" y="581"/>
                  </a:lnTo>
                  <a:lnTo>
                    <a:pt x="1175" y="584"/>
                  </a:lnTo>
                  <a:lnTo>
                    <a:pt x="1172" y="585"/>
                  </a:lnTo>
                  <a:lnTo>
                    <a:pt x="1171" y="584"/>
                  </a:lnTo>
                  <a:lnTo>
                    <a:pt x="1171" y="581"/>
                  </a:lnTo>
                  <a:lnTo>
                    <a:pt x="1170" y="579"/>
                  </a:lnTo>
                  <a:lnTo>
                    <a:pt x="1169" y="573"/>
                  </a:lnTo>
                  <a:lnTo>
                    <a:pt x="1169" y="571"/>
                  </a:lnTo>
                  <a:lnTo>
                    <a:pt x="1167" y="568"/>
                  </a:lnTo>
                  <a:lnTo>
                    <a:pt x="1164" y="568"/>
                  </a:lnTo>
                  <a:lnTo>
                    <a:pt x="1161" y="569"/>
                  </a:lnTo>
                  <a:lnTo>
                    <a:pt x="1159" y="570"/>
                  </a:lnTo>
                  <a:lnTo>
                    <a:pt x="1158" y="572"/>
                  </a:lnTo>
                  <a:lnTo>
                    <a:pt x="1155" y="575"/>
                  </a:lnTo>
                  <a:lnTo>
                    <a:pt x="1152" y="575"/>
                  </a:lnTo>
                  <a:close/>
                  <a:moveTo>
                    <a:pt x="1218" y="589"/>
                  </a:moveTo>
                  <a:lnTo>
                    <a:pt x="1215" y="593"/>
                  </a:lnTo>
                  <a:lnTo>
                    <a:pt x="1213" y="594"/>
                  </a:lnTo>
                  <a:lnTo>
                    <a:pt x="1210" y="596"/>
                  </a:lnTo>
                  <a:lnTo>
                    <a:pt x="1209" y="597"/>
                  </a:lnTo>
                  <a:lnTo>
                    <a:pt x="1205" y="598"/>
                  </a:lnTo>
                  <a:lnTo>
                    <a:pt x="1205" y="598"/>
                  </a:lnTo>
                  <a:lnTo>
                    <a:pt x="1204" y="600"/>
                  </a:lnTo>
                  <a:lnTo>
                    <a:pt x="1201" y="601"/>
                  </a:lnTo>
                  <a:lnTo>
                    <a:pt x="1198" y="602"/>
                  </a:lnTo>
                  <a:lnTo>
                    <a:pt x="1198" y="602"/>
                  </a:lnTo>
                  <a:lnTo>
                    <a:pt x="1193" y="604"/>
                  </a:lnTo>
                  <a:lnTo>
                    <a:pt x="1191" y="605"/>
                  </a:lnTo>
                  <a:lnTo>
                    <a:pt x="1187" y="606"/>
                  </a:lnTo>
                  <a:lnTo>
                    <a:pt x="1185" y="607"/>
                  </a:lnTo>
                  <a:lnTo>
                    <a:pt x="1181" y="610"/>
                  </a:lnTo>
                  <a:lnTo>
                    <a:pt x="1177" y="610"/>
                  </a:lnTo>
                  <a:lnTo>
                    <a:pt x="1174" y="611"/>
                  </a:lnTo>
                  <a:lnTo>
                    <a:pt x="1171" y="611"/>
                  </a:lnTo>
                  <a:lnTo>
                    <a:pt x="1168" y="610"/>
                  </a:lnTo>
                  <a:lnTo>
                    <a:pt x="1166" y="611"/>
                  </a:lnTo>
                  <a:lnTo>
                    <a:pt x="1168" y="610"/>
                  </a:lnTo>
                  <a:lnTo>
                    <a:pt x="1166" y="610"/>
                  </a:lnTo>
                  <a:lnTo>
                    <a:pt x="1160" y="606"/>
                  </a:lnTo>
                  <a:lnTo>
                    <a:pt x="1158" y="606"/>
                  </a:lnTo>
                  <a:lnTo>
                    <a:pt x="1158" y="606"/>
                  </a:lnTo>
                  <a:lnTo>
                    <a:pt x="1160" y="603"/>
                  </a:lnTo>
                  <a:lnTo>
                    <a:pt x="1161" y="601"/>
                  </a:lnTo>
                  <a:lnTo>
                    <a:pt x="1162" y="597"/>
                  </a:lnTo>
                  <a:lnTo>
                    <a:pt x="1163" y="596"/>
                  </a:lnTo>
                  <a:lnTo>
                    <a:pt x="1166" y="594"/>
                  </a:lnTo>
                  <a:lnTo>
                    <a:pt x="1167" y="592"/>
                  </a:lnTo>
                  <a:lnTo>
                    <a:pt x="1169" y="592"/>
                  </a:lnTo>
                  <a:lnTo>
                    <a:pt x="1169" y="593"/>
                  </a:lnTo>
                  <a:lnTo>
                    <a:pt x="1170" y="593"/>
                  </a:lnTo>
                  <a:lnTo>
                    <a:pt x="1172" y="596"/>
                  </a:lnTo>
                  <a:lnTo>
                    <a:pt x="1169" y="596"/>
                  </a:lnTo>
                  <a:lnTo>
                    <a:pt x="1167" y="596"/>
                  </a:lnTo>
                  <a:lnTo>
                    <a:pt x="1163" y="596"/>
                  </a:lnTo>
                  <a:lnTo>
                    <a:pt x="1163" y="596"/>
                  </a:lnTo>
                  <a:lnTo>
                    <a:pt x="1162" y="600"/>
                  </a:lnTo>
                  <a:lnTo>
                    <a:pt x="1166" y="602"/>
                  </a:lnTo>
                  <a:lnTo>
                    <a:pt x="1168" y="601"/>
                  </a:lnTo>
                  <a:lnTo>
                    <a:pt x="1170" y="602"/>
                  </a:lnTo>
                  <a:lnTo>
                    <a:pt x="1172" y="600"/>
                  </a:lnTo>
                  <a:lnTo>
                    <a:pt x="1175" y="598"/>
                  </a:lnTo>
                  <a:lnTo>
                    <a:pt x="1178" y="597"/>
                  </a:lnTo>
                  <a:lnTo>
                    <a:pt x="1180" y="595"/>
                  </a:lnTo>
                  <a:lnTo>
                    <a:pt x="1183" y="593"/>
                  </a:lnTo>
                  <a:lnTo>
                    <a:pt x="1186" y="592"/>
                  </a:lnTo>
                  <a:lnTo>
                    <a:pt x="1188" y="590"/>
                  </a:lnTo>
                  <a:lnTo>
                    <a:pt x="1191" y="590"/>
                  </a:lnTo>
                  <a:lnTo>
                    <a:pt x="1194" y="590"/>
                  </a:lnTo>
                  <a:lnTo>
                    <a:pt x="1196" y="592"/>
                  </a:lnTo>
                  <a:lnTo>
                    <a:pt x="1200" y="592"/>
                  </a:lnTo>
                  <a:lnTo>
                    <a:pt x="1202" y="593"/>
                  </a:lnTo>
                  <a:lnTo>
                    <a:pt x="1200" y="592"/>
                  </a:lnTo>
                  <a:lnTo>
                    <a:pt x="1202" y="589"/>
                  </a:lnTo>
                  <a:lnTo>
                    <a:pt x="1204" y="588"/>
                  </a:lnTo>
                  <a:lnTo>
                    <a:pt x="1205" y="588"/>
                  </a:lnTo>
                  <a:lnTo>
                    <a:pt x="1207" y="588"/>
                  </a:lnTo>
                  <a:lnTo>
                    <a:pt x="1211" y="587"/>
                  </a:lnTo>
                  <a:lnTo>
                    <a:pt x="1211" y="587"/>
                  </a:lnTo>
                  <a:lnTo>
                    <a:pt x="1213" y="587"/>
                  </a:lnTo>
                  <a:lnTo>
                    <a:pt x="1215" y="587"/>
                  </a:lnTo>
                  <a:lnTo>
                    <a:pt x="1218" y="587"/>
                  </a:lnTo>
                  <a:lnTo>
                    <a:pt x="1220" y="586"/>
                  </a:lnTo>
                  <a:lnTo>
                    <a:pt x="1218" y="584"/>
                  </a:lnTo>
                  <a:lnTo>
                    <a:pt x="1218" y="584"/>
                  </a:lnTo>
                  <a:lnTo>
                    <a:pt x="1220" y="585"/>
                  </a:lnTo>
                  <a:lnTo>
                    <a:pt x="1220" y="587"/>
                  </a:lnTo>
                  <a:lnTo>
                    <a:pt x="1218" y="589"/>
                  </a:lnTo>
                  <a:close/>
                  <a:moveTo>
                    <a:pt x="1261" y="563"/>
                  </a:moveTo>
                  <a:lnTo>
                    <a:pt x="1255" y="567"/>
                  </a:lnTo>
                  <a:lnTo>
                    <a:pt x="1256" y="569"/>
                  </a:lnTo>
                  <a:lnTo>
                    <a:pt x="1258" y="568"/>
                  </a:lnTo>
                  <a:lnTo>
                    <a:pt x="1260" y="568"/>
                  </a:lnTo>
                  <a:lnTo>
                    <a:pt x="1256" y="570"/>
                  </a:lnTo>
                  <a:lnTo>
                    <a:pt x="1257" y="573"/>
                  </a:lnTo>
                  <a:lnTo>
                    <a:pt x="1256" y="576"/>
                  </a:lnTo>
                  <a:lnTo>
                    <a:pt x="1254" y="576"/>
                  </a:lnTo>
                  <a:lnTo>
                    <a:pt x="1253" y="577"/>
                  </a:lnTo>
                  <a:lnTo>
                    <a:pt x="1251" y="579"/>
                  </a:lnTo>
                  <a:lnTo>
                    <a:pt x="1247" y="580"/>
                  </a:lnTo>
                  <a:lnTo>
                    <a:pt x="1245" y="580"/>
                  </a:lnTo>
                  <a:lnTo>
                    <a:pt x="1243" y="580"/>
                  </a:lnTo>
                  <a:lnTo>
                    <a:pt x="1239" y="580"/>
                  </a:lnTo>
                  <a:lnTo>
                    <a:pt x="1237" y="580"/>
                  </a:lnTo>
                  <a:lnTo>
                    <a:pt x="1231" y="579"/>
                  </a:lnTo>
                  <a:lnTo>
                    <a:pt x="1226" y="579"/>
                  </a:lnTo>
                  <a:lnTo>
                    <a:pt x="1223" y="579"/>
                  </a:lnTo>
                  <a:lnTo>
                    <a:pt x="1220" y="580"/>
                  </a:lnTo>
                  <a:lnTo>
                    <a:pt x="1218" y="580"/>
                  </a:lnTo>
                  <a:lnTo>
                    <a:pt x="1215" y="581"/>
                  </a:lnTo>
                  <a:lnTo>
                    <a:pt x="1212" y="581"/>
                  </a:lnTo>
                  <a:lnTo>
                    <a:pt x="1210" y="581"/>
                  </a:lnTo>
                  <a:lnTo>
                    <a:pt x="1210" y="578"/>
                  </a:lnTo>
                  <a:lnTo>
                    <a:pt x="1211" y="576"/>
                  </a:lnTo>
                  <a:lnTo>
                    <a:pt x="1219" y="571"/>
                  </a:lnTo>
                  <a:lnTo>
                    <a:pt x="1221" y="570"/>
                  </a:lnTo>
                  <a:lnTo>
                    <a:pt x="1224" y="570"/>
                  </a:lnTo>
                  <a:lnTo>
                    <a:pt x="1227" y="570"/>
                  </a:lnTo>
                  <a:lnTo>
                    <a:pt x="1229" y="569"/>
                  </a:lnTo>
                  <a:lnTo>
                    <a:pt x="1232" y="569"/>
                  </a:lnTo>
                  <a:lnTo>
                    <a:pt x="1235" y="568"/>
                  </a:lnTo>
                  <a:lnTo>
                    <a:pt x="1238" y="568"/>
                  </a:lnTo>
                  <a:lnTo>
                    <a:pt x="1240" y="569"/>
                  </a:lnTo>
                  <a:lnTo>
                    <a:pt x="1243" y="570"/>
                  </a:lnTo>
                  <a:lnTo>
                    <a:pt x="1246" y="570"/>
                  </a:lnTo>
                  <a:lnTo>
                    <a:pt x="1247" y="568"/>
                  </a:lnTo>
                  <a:lnTo>
                    <a:pt x="1245" y="568"/>
                  </a:lnTo>
                  <a:lnTo>
                    <a:pt x="1243" y="567"/>
                  </a:lnTo>
                  <a:lnTo>
                    <a:pt x="1238" y="567"/>
                  </a:lnTo>
                  <a:lnTo>
                    <a:pt x="1241" y="566"/>
                  </a:lnTo>
                  <a:lnTo>
                    <a:pt x="1246" y="566"/>
                  </a:lnTo>
                  <a:lnTo>
                    <a:pt x="1249" y="566"/>
                  </a:lnTo>
                  <a:lnTo>
                    <a:pt x="1252" y="564"/>
                  </a:lnTo>
                  <a:lnTo>
                    <a:pt x="1255" y="563"/>
                  </a:lnTo>
                  <a:lnTo>
                    <a:pt x="1257" y="563"/>
                  </a:lnTo>
                  <a:lnTo>
                    <a:pt x="1260" y="562"/>
                  </a:lnTo>
                  <a:lnTo>
                    <a:pt x="1263" y="560"/>
                  </a:lnTo>
                  <a:lnTo>
                    <a:pt x="1263" y="560"/>
                  </a:lnTo>
                  <a:lnTo>
                    <a:pt x="1261" y="5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20" name="Freeform 220">
              <a:extLst>
                <a:ext uri="{FF2B5EF4-FFF2-40B4-BE49-F238E27FC236}">
                  <a16:creationId xmlns:a16="http://schemas.microsoft.com/office/drawing/2014/main" id="{9642CEA9-EB30-4925-84F8-17AACF9CF1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46500" y="2101850"/>
              <a:ext cx="4141787" cy="160338"/>
            </a:xfrm>
            <a:custGeom>
              <a:avLst/>
              <a:gdLst>
                <a:gd name="T0" fmla="*/ 103 w 2609"/>
                <a:gd name="T1" fmla="*/ 28 h 101"/>
                <a:gd name="T2" fmla="*/ 111 w 2609"/>
                <a:gd name="T3" fmla="*/ 41 h 101"/>
                <a:gd name="T4" fmla="*/ 110 w 2609"/>
                <a:gd name="T5" fmla="*/ 32 h 101"/>
                <a:gd name="T6" fmla="*/ 125 w 2609"/>
                <a:gd name="T7" fmla="*/ 36 h 101"/>
                <a:gd name="T8" fmla="*/ 128 w 2609"/>
                <a:gd name="T9" fmla="*/ 42 h 101"/>
                <a:gd name="T10" fmla="*/ 134 w 2609"/>
                <a:gd name="T11" fmla="*/ 49 h 101"/>
                <a:gd name="T12" fmla="*/ 133 w 2609"/>
                <a:gd name="T13" fmla="*/ 57 h 101"/>
                <a:gd name="T14" fmla="*/ 147 w 2609"/>
                <a:gd name="T15" fmla="*/ 61 h 101"/>
                <a:gd name="T16" fmla="*/ 160 w 2609"/>
                <a:gd name="T17" fmla="*/ 64 h 101"/>
                <a:gd name="T18" fmla="*/ 143 w 2609"/>
                <a:gd name="T19" fmla="*/ 72 h 101"/>
                <a:gd name="T20" fmla="*/ 132 w 2609"/>
                <a:gd name="T21" fmla="*/ 79 h 101"/>
                <a:gd name="T22" fmla="*/ 120 w 2609"/>
                <a:gd name="T23" fmla="*/ 78 h 101"/>
                <a:gd name="T24" fmla="*/ 117 w 2609"/>
                <a:gd name="T25" fmla="*/ 83 h 101"/>
                <a:gd name="T26" fmla="*/ 113 w 2609"/>
                <a:gd name="T27" fmla="*/ 87 h 101"/>
                <a:gd name="T28" fmla="*/ 105 w 2609"/>
                <a:gd name="T29" fmla="*/ 100 h 101"/>
                <a:gd name="T30" fmla="*/ 93 w 2609"/>
                <a:gd name="T31" fmla="*/ 93 h 101"/>
                <a:gd name="T32" fmla="*/ 88 w 2609"/>
                <a:gd name="T33" fmla="*/ 95 h 101"/>
                <a:gd name="T34" fmla="*/ 85 w 2609"/>
                <a:gd name="T35" fmla="*/ 101 h 101"/>
                <a:gd name="T36" fmla="*/ 66 w 2609"/>
                <a:gd name="T37" fmla="*/ 98 h 101"/>
                <a:gd name="T38" fmla="*/ 53 w 2609"/>
                <a:gd name="T39" fmla="*/ 91 h 101"/>
                <a:gd name="T40" fmla="*/ 70 w 2609"/>
                <a:gd name="T41" fmla="*/ 88 h 101"/>
                <a:gd name="T42" fmla="*/ 53 w 2609"/>
                <a:gd name="T43" fmla="*/ 86 h 101"/>
                <a:gd name="T44" fmla="*/ 45 w 2609"/>
                <a:gd name="T45" fmla="*/ 83 h 101"/>
                <a:gd name="T46" fmla="*/ 39 w 2609"/>
                <a:gd name="T47" fmla="*/ 80 h 101"/>
                <a:gd name="T48" fmla="*/ 46 w 2609"/>
                <a:gd name="T49" fmla="*/ 70 h 101"/>
                <a:gd name="T50" fmla="*/ 63 w 2609"/>
                <a:gd name="T51" fmla="*/ 70 h 101"/>
                <a:gd name="T52" fmla="*/ 79 w 2609"/>
                <a:gd name="T53" fmla="*/ 69 h 101"/>
                <a:gd name="T54" fmla="*/ 71 w 2609"/>
                <a:gd name="T55" fmla="*/ 68 h 101"/>
                <a:gd name="T56" fmla="*/ 59 w 2609"/>
                <a:gd name="T57" fmla="*/ 66 h 101"/>
                <a:gd name="T58" fmla="*/ 76 w 2609"/>
                <a:gd name="T59" fmla="*/ 63 h 101"/>
                <a:gd name="T60" fmla="*/ 58 w 2609"/>
                <a:gd name="T61" fmla="*/ 62 h 101"/>
                <a:gd name="T62" fmla="*/ 49 w 2609"/>
                <a:gd name="T63" fmla="*/ 64 h 101"/>
                <a:gd name="T64" fmla="*/ 36 w 2609"/>
                <a:gd name="T65" fmla="*/ 66 h 101"/>
                <a:gd name="T66" fmla="*/ 23 w 2609"/>
                <a:gd name="T67" fmla="*/ 67 h 101"/>
                <a:gd name="T68" fmla="*/ 17 w 2609"/>
                <a:gd name="T69" fmla="*/ 58 h 101"/>
                <a:gd name="T70" fmla="*/ 30 w 2609"/>
                <a:gd name="T71" fmla="*/ 52 h 101"/>
                <a:gd name="T72" fmla="*/ 13 w 2609"/>
                <a:gd name="T73" fmla="*/ 55 h 101"/>
                <a:gd name="T74" fmla="*/ 4 w 2609"/>
                <a:gd name="T75" fmla="*/ 46 h 101"/>
                <a:gd name="T76" fmla="*/ 6 w 2609"/>
                <a:gd name="T77" fmla="*/ 41 h 101"/>
                <a:gd name="T78" fmla="*/ 23 w 2609"/>
                <a:gd name="T79" fmla="*/ 43 h 101"/>
                <a:gd name="T80" fmla="*/ 29 w 2609"/>
                <a:gd name="T81" fmla="*/ 40 h 101"/>
                <a:gd name="T82" fmla="*/ 23 w 2609"/>
                <a:gd name="T83" fmla="*/ 40 h 101"/>
                <a:gd name="T84" fmla="*/ 17 w 2609"/>
                <a:gd name="T85" fmla="*/ 37 h 101"/>
                <a:gd name="T86" fmla="*/ 0 w 2609"/>
                <a:gd name="T87" fmla="*/ 34 h 101"/>
                <a:gd name="T88" fmla="*/ 17 w 2609"/>
                <a:gd name="T89" fmla="*/ 33 h 101"/>
                <a:gd name="T90" fmla="*/ 19 w 2609"/>
                <a:gd name="T91" fmla="*/ 26 h 101"/>
                <a:gd name="T92" fmla="*/ 38 w 2609"/>
                <a:gd name="T93" fmla="*/ 26 h 101"/>
                <a:gd name="T94" fmla="*/ 37 w 2609"/>
                <a:gd name="T95" fmla="*/ 21 h 101"/>
                <a:gd name="T96" fmla="*/ 21 w 2609"/>
                <a:gd name="T97" fmla="*/ 19 h 101"/>
                <a:gd name="T98" fmla="*/ 31 w 2609"/>
                <a:gd name="T99" fmla="*/ 14 h 101"/>
                <a:gd name="T100" fmla="*/ 41 w 2609"/>
                <a:gd name="T101" fmla="*/ 9 h 101"/>
                <a:gd name="T102" fmla="*/ 43 w 2609"/>
                <a:gd name="T103" fmla="*/ 6 h 101"/>
                <a:gd name="T104" fmla="*/ 36 w 2609"/>
                <a:gd name="T105" fmla="*/ 1 h 101"/>
                <a:gd name="T106" fmla="*/ 56 w 2609"/>
                <a:gd name="T107" fmla="*/ 3 h 101"/>
                <a:gd name="T108" fmla="*/ 71 w 2609"/>
                <a:gd name="T109" fmla="*/ 14 h 101"/>
                <a:gd name="T110" fmla="*/ 83 w 2609"/>
                <a:gd name="T111" fmla="*/ 26 h 101"/>
                <a:gd name="T112" fmla="*/ 2573 w 2609"/>
                <a:gd name="T113" fmla="*/ 43 h 101"/>
                <a:gd name="T114" fmla="*/ 2584 w 2609"/>
                <a:gd name="T115" fmla="*/ 43 h 101"/>
                <a:gd name="T116" fmla="*/ 2601 w 2609"/>
                <a:gd name="T117" fmla="*/ 44 h 101"/>
                <a:gd name="T118" fmla="*/ 2601 w 2609"/>
                <a:gd name="T119" fmla="*/ 52 h 101"/>
                <a:gd name="T120" fmla="*/ 2583 w 2609"/>
                <a:gd name="T121" fmla="*/ 53 h 101"/>
                <a:gd name="T122" fmla="*/ 2577 w 2609"/>
                <a:gd name="T123" fmla="*/ 5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09" h="101">
                  <a:moveTo>
                    <a:pt x="92" y="27"/>
                  </a:moveTo>
                  <a:lnTo>
                    <a:pt x="92" y="27"/>
                  </a:lnTo>
                  <a:lnTo>
                    <a:pt x="96" y="27"/>
                  </a:lnTo>
                  <a:lnTo>
                    <a:pt x="98" y="27"/>
                  </a:lnTo>
                  <a:lnTo>
                    <a:pt x="101" y="27"/>
                  </a:lnTo>
                  <a:lnTo>
                    <a:pt x="103" y="28"/>
                  </a:lnTo>
                  <a:lnTo>
                    <a:pt x="102" y="32"/>
                  </a:lnTo>
                  <a:lnTo>
                    <a:pt x="103" y="34"/>
                  </a:lnTo>
                  <a:lnTo>
                    <a:pt x="103" y="37"/>
                  </a:lnTo>
                  <a:lnTo>
                    <a:pt x="106" y="38"/>
                  </a:lnTo>
                  <a:lnTo>
                    <a:pt x="109" y="40"/>
                  </a:lnTo>
                  <a:lnTo>
                    <a:pt x="111" y="41"/>
                  </a:lnTo>
                  <a:lnTo>
                    <a:pt x="115" y="40"/>
                  </a:lnTo>
                  <a:lnTo>
                    <a:pt x="117" y="41"/>
                  </a:lnTo>
                  <a:lnTo>
                    <a:pt x="116" y="38"/>
                  </a:lnTo>
                  <a:lnTo>
                    <a:pt x="113" y="37"/>
                  </a:lnTo>
                  <a:lnTo>
                    <a:pt x="110" y="35"/>
                  </a:lnTo>
                  <a:lnTo>
                    <a:pt x="110" y="32"/>
                  </a:lnTo>
                  <a:lnTo>
                    <a:pt x="114" y="31"/>
                  </a:lnTo>
                  <a:lnTo>
                    <a:pt x="116" y="31"/>
                  </a:lnTo>
                  <a:lnTo>
                    <a:pt x="119" y="31"/>
                  </a:lnTo>
                  <a:lnTo>
                    <a:pt x="122" y="32"/>
                  </a:lnTo>
                  <a:lnTo>
                    <a:pt x="125" y="33"/>
                  </a:lnTo>
                  <a:lnTo>
                    <a:pt x="125" y="36"/>
                  </a:lnTo>
                  <a:lnTo>
                    <a:pt x="125" y="38"/>
                  </a:lnTo>
                  <a:lnTo>
                    <a:pt x="123" y="40"/>
                  </a:lnTo>
                  <a:lnTo>
                    <a:pt x="119" y="41"/>
                  </a:lnTo>
                  <a:lnTo>
                    <a:pt x="123" y="42"/>
                  </a:lnTo>
                  <a:lnTo>
                    <a:pt x="125" y="42"/>
                  </a:lnTo>
                  <a:lnTo>
                    <a:pt x="128" y="42"/>
                  </a:lnTo>
                  <a:lnTo>
                    <a:pt x="131" y="44"/>
                  </a:lnTo>
                  <a:lnTo>
                    <a:pt x="133" y="46"/>
                  </a:lnTo>
                  <a:lnTo>
                    <a:pt x="131" y="46"/>
                  </a:lnTo>
                  <a:lnTo>
                    <a:pt x="127" y="50"/>
                  </a:lnTo>
                  <a:lnTo>
                    <a:pt x="131" y="49"/>
                  </a:lnTo>
                  <a:lnTo>
                    <a:pt x="134" y="49"/>
                  </a:lnTo>
                  <a:lnTo>
                    <a:pt x="132" y="51"/>
                  </a:lnTo>
                  <a:lnTo>
                    <a:pt x="132" y="53"/>
                  </a:lnTo>
                  <a:lnTo>
                    <a:pt x="130" y="57"/>
                  </a:lnTo>
                  <a:lnTo>
                    <a:pt x="127" y="59"/>
                  </a:lnTo>
                  <a:lnTo>
                    <a:pt x="131" y="59"/>
                  </a:lnTo>
                  <a:lnTo>
                    <a:pt x="133" y="57"/>
                  </a:lnTo>
                  <a:lnTo>
                    <a:pt x="136" y="57"/>
                  </a:lnTo>
                  <a:lnTo>
                    <a:pt x="139" y="55"/>
                  </a:lnTo>
                  <a:lnTo>
                    <a:pt x="142" y="55"/>
                  </a:lnTo>
                  <a:lnTo>
                    <a:pt x="144" y="57"/>
                  </a:lnTo>
                  <a:lnTo>
                    <a:pt x="145" y="59"/>
                  </a:lnTo>
                  <a:lnTo>
                    <a:pt x="147" y="61"/>
                  </a:lnTo>
                  <a:lnTo>
                    <a:pt x="149" y="59"/>
                  </a:lnTo>
                  <a:lnTo>
                    <a:pt x="150" y="57"/>
                  </a:lnTo>
                  <a:lnTo>
                    <a:pt x="153" y="58"/>
                  </a:lnTo>
                  <a:lnTo>
                    <a:pt x="154" y="60"/>
                  </a:lnTo>
                  <a:lnTo>
                    <a:pt x="158" y="63"/>
                  </a:lnTo>
                  <a:lnTo>
                    <a:pt x="160" y="64"/>
                  </a:lnTo>
                  <a:lnTo>
                    <a:pt x="161" y="67"/>
                  </a:lnTo>
                  <a:lnTo>
                    <a:pt x="158" y="68"/>
                  </a:lnTo>
                  <a:lnTo>
                    <a:pt x="156" y="69"/>
                  </a:lnTo>
                  <a:lnTo>
                    <a:pt x="152" y="70"/>
                  </a:lnTo>
                  <a:lnTo>
                    <a:pt x="150" y="71"/>
                  </a:lnTo>
                  <a:lnTo>
                    <a:pt x="143" y="72"/>
                  </a:lnTo>
                  <a:lnTo>
                    <a:pt x="141" y="74"/>
                  </a:lnTo>
                  <a:lnTo>
                    <a:pt x="139" y="76"/>
                  </a:lnTo>
                  <a:lnTo>
                    <a:pt x="136" y="76"/>
                  </a:lnTo>
                  <a:lnTo>
                    <a:pt x="133" y="74"/>
                  </a:lnTo>
                  <a:lnTo>
                    <a:pt x="134" y="77"/>
                  </a:lnTo>
                  <a:lnTo>
                    <a:pt x="132" y="79"/>
                  </a:lnTo>
                  <a:lnTo>
                    <a:pt x="128" y="81"/>
                  </a:lnTo>
                  <a:lnTo>
                    <a:pt x="126" y="84"/>
                  </a:lnTo>
                  <a:lnTo>
                    <a:pt x="124" y="86"/>
                  </a:lnTo>
                  <a:lnTo>
                    <a:pt x="122" y="84"/>
                  </a:lnTo>
                  <a:lnTo>
                    <a:pt x="119" y="81"/>
                  </a:lnTo>
                  <a:lnTo>
                    <a:pt x="120" y="78"/>
                  </a:lnTo>
                  <a:lnTo>
                    <a:pt x="120" y="76"/>
                  </a:lnTo>
                  <a:lnTo>
                    <a:pt x="123" y="74"/>
                  </a:lnTo>
                  <a:lnTo>
                    <a:pt x="119" y="75"/>
                  </a:lnTo>
                  <a:lnTo>
                    <a:pt x="117" y="77"/>
                  </a:lnTo>
                  <a:lnTo>
                    <a:pt x="116" y="80"/>
                  </a:lnTo>
                  <a:lnTo>
                    <a:pt x="117" y="83"/>
                  </a:lnTo>
                  <a:lnTo>
                    <a:pt x="117" y="85"/>
                  </a:lnTo>
                  <a:lnTo>
                    <a:pt x="120" y="86"/>
                  </a:lnTo>
                  <a:lnTo>
                    <a:pt x="120" y="89"/>
                  </a:lnTo>
                  <a:lnTo>
                    <a:pt x="118" y="91"/>
                  </a:lnTo>
                  <a:lnTo>
                    <a:pt x="115" y="91"/>
                  </a:lnTo>
                  <a:lnTo>
                    <a:pt x="113" y="87"/>
                  </a:lnTo>
                  <a:lnTo>
                    <a:pt x="109" y="89"/>
                  </a:lnTo>
                  <a:lnTo>
                    <a:pt x="113" y="92"/>
                  </a:lnTo>
                  <a:lnTo>
                    <a:pt x="111" y="95"/>
                  </a:lnTo>
                  <a:lnTo>
                    <a:pt x="110" y="97"/>
                  </a:lnTo>
                  <a:lnTo>
                    <a:pt x="108" y="101"/>
                  </a:lnTo>
                  <a:lnTo>
                    <a:pt x="105" y="100"/>
                  </a:lnTo>
                  <a:lnTo>
                    <a:pt x="100" y="94"/>
                  </a:lnTo>
                  <a:lnTo>
                    <a:pt x="97" y="92"/>
                  </a:lnTo>
                  <a:lnTo>
                    <a:pt x="92" y="87"/>
                  </a:lnTo>
                  <a:lnTo>
                    <a:pt x="91" y="88"/>
                  </a:lnTo>
                  <a:lnTo>
                    <a:pt x="92" y="91"/>
                  </a:lnTo>
                  <a:lnTo>
                    <a:pt x="93" y="93"/>
                  </a:lnTo>
                  <a:lnTo>
                    <a:pt x="97" y="95"/>
                  </a:lnTo>
                  <a:lnTo>
                    <a:pt x="98" y="97"/>
                  </a:lnTo>
                  <a:lnTo>
                    <a:pt x="98" y="101"/>
                  </a:lnTo>
                  <a:lnTo>
                    <a:pt x="92" y="96"/>
                  </a:lnTo>
                  <a:lnTo>
                    <a:pt x="90" y="95"/>
                  </a:lnTo>
                  <a:lnTo>
                    <a:pt x="88" y="95"/>
                  </a:lnTo>
                  <a:lnTo>
                    <a:pt x="84" y="95"/>
                  </a:lnTo>
                  <a:lnTo>
                    <a:pt x="82" y="95"/>
                  </a:lnTo>
                  <a:lnTo>
                    <a:pt x="84" y="96"/>
                  </a:lnTo>
                  <a:lnTo>
                    <a:pt x="88" y="97"/>
                  </a:lnTo>
                  <a:lnTo>
                    <a:pt x="89" y="100"/>
                  </a:lnTo>
                  <a:lnTo>
                    <a:pt x="85" y="101"/>
                  </a:lnTo>
                  <a:lnTo>
                    <a:pt x="80" y="101"/>
                  </a:lnTo>
                  <a:lnTo>
                    <a:pt x="77" y="100"/>
                  </a:lnTo>
                  <a:lnTo>
                    <a:pt x="74" y="100"/>
                  </a:lnTo>
                  <a:lnTo>
                    <a:pt x="72" y="100"/>
                  </a:lnTo>
                  <a:lnTo>
                    <a:pt x="68" y="98"/>
                  </a:lnTo>
                  <a:lnTo>
                    <a:pt x="66" y="98"/>
                  </a:lnTo>
                  <a:lnTo>
                    <a:pt x="63" y="98"/>
                  </a:lnTo>
                  <a:lnTo>
                    <a:pt x="62" y="95"/>
                  </a:lnTo>
                  <a:lnTo>
                    <a:pt x="59" y="96"/>
                  </a:lnTo>
                  <a:lnTo>
                    <a:pt x="56" y="94"/>
                  </a:lnTo>
                  <a:lnTo>
                    <a:pt x="54" y="93"/>
                  </a:lnTo>
                  <a:lnTo>
                    <a:pt x="53" y="91"/>
                  </a:lnTo>
                  <a:lnTo>
                    <a:pt x="55" y="91"/>
                  </a:lnTo>
                  <a:lnTo>
                    <a:pt x="58" y="89"/>
                  </a:lnTo>
                  <a:lnTo>
                    <a:pt x="62" y="89"/>
                  </a:lnTo>
                  <a:lnTo>
                    <a:pt x="64" y="89"/>
                  </a:lnTo>
                  <a:lnTo>
                    <a:pt x="67" y="88"/>
                  </a:lnTo>
                  <a:lnTo>
                    <a:pt x="70" y="88"/>
                  </a:lnTo>
                  <a:lnTo>
                    <a:pt x="67" y="88"/>
                  </a:lnTo>
                  <a:lnTo>
                    <a:pt x="64" y="87"/>
                  </a:lnTo>
                  <a:lnTo>
                    <a:pt x="62" y="87"/>
                  </a:lnTo>
                  <a:lnTo>
                    <a:pt x="58" y="87"/>
                  </a:lnTo>
                  <a:lnTo>
                    <a:pt x="56" y="87"/>
                  </a:lnTo>
                  <a:lnTo>
                    <a:pt x="53" y="86"/>
                  </a:lnTo>
                  <a:lnTo>
                    <a:pt x="50" y="87"/>
                  </a:lnTo>
                  <a:lnTo>
                    <a:pt x="47" y="87"/>
                  </a:lnTo>
                  <a:lnTo>
                    <a:pt x="46" y="85"/>
                  </a:lnTo>
                  <a:lnTo>
                    <a:pt x="43" y="85"/>
                  </a:lnTo>
                  <a:lnTo>
                    <a:pt x="41" y="81"/>
                  </a:lnTo>
                  <a:lnTo>
                    <a:pt x="45" y="83"/>
                  </a:lnTo>
                  <a:lnTo>
                    <a:pt x="48" y="83"/>
                  </a:lnTo>
                  <a:lnTo>
                    <a:pt x="50" y="83"/>
                  </a:lnTo>
                  <a:lnTo>
                    <a:pt x="48" y="81"/>
                  </a:lnTo>
                  <a:lnTo>
                    <a:pt x="45" y="80"/>
                  </a:lnTo>
                  <a:lnTo>
                    <a:pt x="42" y="80"/>
                  </a:lnTo>
                  <a:lnTo>
                    <a:pt x="39" y="80"/>
                  </a:lnTo>
                  <a:lnTo>
                    <a:pt x="37" y="78"/>
                  </a:lnTo>
                  <a:lnTo>
                    <a:pt x="34" y="75"/>
                  </a:lnTo>
                  <a:lnTo>
                    <a:pt x="37" y="75"/>
                  </a:lnTo>
                  <a:lnTo>
                    <a:pt x="40" y="74"/>
                  </a:lnTo>
                  <a:lnTo>
                    <a:pt x="43" y="74"/>
                  </a:lnTo>
                  <a:lnTo>
                    <a:pt x="46" y="70"/>
                  </a:lnTo>
                  <a:lnTo>
                    <a:pt x="48" y="70"/>
                  </a:lnTo>
                  <a:lnTo>
                    <a:pt x="51" y="70"/>
                  </a:lnTo>
                  <a:lnTo>
                    <a:pt x="54" y="70"/>
                  </a:lnTo>
                  <a:lnTo>
                    <a:pt x="57" y="70"/>
                  </a:lnTo>
                  <a:lnTo>
                    <a:pt x="59" y="70"/>
                  </a:lnTo>
                  <a:lnTo>
                    <a:pt x="63" y="70"/>
                  </a:lnTo>
                  <a:lnTo>
                    <a:pt x="65" y="70"/>
                  </a:lnTo>
                  <a:lnTo>
                    <a:pt x="68" y="70"/>
                  </a:lnTo>
                  <a:lnTo>
                    <a:pt x="71" y="69"/>
                  </a:lnTo>
                  <a:lnTo>
                    <a:pt x="73" y="69"/>
                  </a:lnTo>
                  <a:lnTo>
                    <a:pt x="76" y="69"/>
                  </a:lnTo>
                  <a:lnTo>
                    <a:pt x="79" y="69"/>
                  </a:lnTo>
                  <a:lnTo>
                    <a:pt x="82" y="69"/>
                  </a:lnTo>
                  <a:lnTo>
                    <a:pt x="84" y="68"/>
                  </a:lnTo>
                  <a:lnTo>
                    <a:pt x="82" y="68"/>
                  </a:lnTo>
                  <a:lnTo>
                    <a:pt x="76" y="68"/>
                  </a:lnTo>
                  <a:lnTo>
                    <a:pt x="73" y="68"/>
                  </a:lnTo>
                  <a:lnTo>
                    <a:pt x="71" y="68"/>
                  </a:lnTo>
                  <a:lnTo>
                    <a:pt x="67" y="69"/>
                  </a:lnTo>
                  <a:lnTo>
                    <a:pt x="65" y="69"/>
                  </a:lnTo>
                  <a:lnTo>
                    <a:pt x="62" y="69"/>
                  </a:lnTo>
                  <a:lnTo>
                    <a:pt x="59" y="68"/>
                  </a:lnTo>
                  <a:lnTo>
                    <a:pt x="56" y="66"/>
                  </a:lnTo>
                  <a:lnTo>
                    <a:pt x="59" y="66"/>
                  </a:lnTo>
                  <a:lnTo>
                    <a:pt x="62" y="66"/>
                  </a:lnTo>
                  <a:lnTo>
                    <a:pt x="65" y="66"/>
                  </a:lnTo>
                  <a:lnTo>
                    <a:pt x="67" y="66"/>
                  </a:lnTo>
                  <a:lnTo>
                    <a:pt x="70" y="66"/>
                  </a:lnTo>
                  <a:lnTo>
                    <a:pt x="73" y="64"/>
                  </a:lnTo>
                  <a:lnTo>
                    <a:pt x="76" y="63"/>
                  </a:lnTo>
                  <a:lnTo>
                    <a:pt x="73" y="63"/>
                  </a:lnTo>
                  <a:lnTo>
                    <a:pt x="71" y="63"/>
                  </a:lnTo>
                  <a:lnTo>
                    <a:pt x="67" y="64"/>
                  </a:lnTo>
                  <a:lnTo>
                    <a:pt x="64" y="64"/>
                  </a:lnTo>
                  <a:lnTo>
                    <a:pt x="62" y="64"/>
                  </a:lnTo>
                  <a:lnTo>
                    <a:pt x="58" y="62"/>
                  </a:lnTo>
                  <a:lnTo>
                    <a:pt x="60" y="61"/>
                  </a:lnTo>
                  <a:lnTo>
                    <a:pt x="58" y="61"/>
                  </a:lnTo>
                  <a:lnTo>
                    <a:pt x="55" y="62"/>
                  </a:lnTo>
                  <a:lnTo>
                    <a:pt x="53" y="62"/>
                  </a:lnTo>
                  <a:lnTo>
                    <a:pt x="49" y="61"/>
                  </a:lnTo>
                  <a:lnTo>
                    <a:pt x="49" y="64"/>
                  </a:lnTo>
                  <a:lnTo>
                    <a:pt x="46" y="64"/>
                  </a:lnTo>
                  <a:lnTo>
                    <a:pt x="46" y="61"/>
                  </a:lnTo>
                  <a:lnTo>
                    <a:pt x="45" y="64"/>
                  </a:lnTo>
                  <a:lnTo>
                    <a:pt x="41" y="66"/>
                  </a:lnTo>
                  <a:lnTo>
                    <a:pt x="38" y="67"/>
                  </a:lnTo>
                  <a:lnTo>
                    <a:pt x="36" y="66"/>
                  </a:lnTo>
                  <a:lnTo>
                    <a:pt x="38" y="63"/>
                  </a:lnTo>
                  <a:lnTo>
                    <a:pt x="34" y="63"/>
                  </a:lnTo>
                  <a:lnTo>
                    <a:pt x="32" y="64"/>
                  </a:lnTo>
                  <a:lnTo>
                    <a:pt x="29" y="66"/>
                  </a:lnTo>
                  <a:lnTo>
                    <a:pt x="26" y="66"/>
                  </a:lnTo>
                  <a:lnTo>
                    <a:pt x="23" y="67"/>
                  </a:lnTo>
                  <a:lnTo>
                    <a:pt x="21" y="66"/>
                  </a:lnTo>
                  <a:lnTo>
                    <a:pt x="20" y="62"/>
                  </a:lnTo>
                  <a:lnTo>
                    <a:pt x="17" y="63"/>
                  </a:lnTo>
                  <a:lnTo>
                    <a:pt x="14" y="61"/>
                  </a:lnTo>
                  <a:lnTo>
                    <a:pt x="15" y="58"/>
                  </a:lnTo>
                  <a:lnTo>
                    <a:pt x="17" y="58"/>
                  </a:lnTo>
                  <a:lnTo>
                    <a:pt x="21" y="58"/>
                  </a:lnTo>
                  <a:lnTo>
                    <a:pt x="23" y="57"/>
                  </a:lnTo>
                  <a:lnTo>
                    <a:pt x="26" y="57"/>
                  </a:lnTo>
                  <a:lnTo>
                    <a:pt x="32" y="54"/>
                  </a:lnTo>
                  <a:lnTo>
                    <a:pt x="32" y="52"/>
                  </a:lnTo>
                  <a:lnTo>
                    <a:pt x="30" y="52"/>
                  </a:lnTo>
                  <a:lnTo>
                    <a:pt x="26" y="54"/>
                  </a:lnTo>
                  <a:lnTo>
                    <a:pt x="24" y="54"/>
                  </a:lnTo>
                  <a:lnTo>
                    <a:pt x="21" y="55"/>
                  </a:lnTo>
                  <a:lnTo>
                    <a:pt x="19" y="55"/>
                  </a:lnTo>
                  <a:lnTo>
                    <a:pt x="15" y="55"/>
                  </a:lnTo>
                  <a:lnTo>
                    <a:pt x="13" y="55"/>
                  </a:lnTo>
                  <a:lnTo>
                    <a:pt x="9" y="53"/>
                  </a:lnTo>
                  <a:lnTo>
                    <a:pt x="7" y="52"/>
                  </a:lnTo>
                  <a:lnTo>
                    <a:pt x="5" y="50"/>
                  </a:lnTo>
                  <a:lnTo>
                    <a:pt x="4" y="47"/>
                  </a:lnTo>
                  <a:lnTo>
                    <a:pt x="7" y="46"/>
                  </a:lnTo>
                  <a:lnTo>
                    <a:pt x="4" y="46"/>
                  </a:lnTo>
                  <a:lnTo>
                    <a:pt x="2" y="44"/>
                  </a:lnTo>
                  <a:lnTo>
                    <a:pt x="3" y="43"/>
                  </a:lnTo>
                  <a:lnTo>
                    <a:pt x="0" y="43"/>
                  </a:lnTo>
                  <a:lnTo>
                    <a:pt x="0" y="40"/>
                  </a:lnTo>
                  <a:lnTo>
                    <a:pt x="4" y="40"/>
                  </a:lnTo>
                  <a:lnTo>
                    <a:pt x="6" y="41"/>
                  </a:lnTo>
                  <a:lnTo>
                    <a:pt x="9" y="42"/>
                  </a:lnTo>
                  <a:lnTo>
                    <a:pt x="12" y="43"/>
                  </a:lnTo>
                  <a:lnTo>
                    <a:pt x="15" y="43"/>
                  </a:lnTo>
                  <a:lnTo>
                    <a:pt x="17" y="43"/>
                  </a:lnTo>
                  <a:lnTo>
                    <a:pt x="21" y="43"/>
                  </a:lnTo>
                  <a:lnTo>
                    <a:pt x="23" y="43"/>
                  </a:lnTo>
                  <a:lnTo>
                    <a:pt x="26" y="43"/>
                  </a:lnTo>
                  <a:lnTo>
                    <a:pt x="30" y="44"/>
                  </a:lnTo>
                  <a:lnTo>
                    <a:pt x="31" y="44"/>
                  </a:lnTo>
                  <a:lnTo>
                    <a:pt x="31" y="44"/>
                  </a:lnTo>
                  <a:lnTo>
                    <a:pt x="29" y="43"/>
                  </a:lnTo>
                  <a:lnTo>
                    <a:pt x="29" y="40"/>
                  </a:lnTo>
                  <a:lnTo>
                    <a:pt x="32" y="38"/>
                  </a:lnTo>
                  <a:lnTo>
                    <a:pt x="34" y="38"/>
                  </a:lnTo>
                  <a:lnTo>
                    <a:pt x="31" y="38"/>
                  </a:lnTo>
                  <a:lnTo>
                    <a:pt x="29" y="37"/>
                  </a:lnTo>
                  <a:lnTo>
                    <a:pt x="26" y="40"/>
                  </a:lnTo>
                  <a:lnTo>
                    <a:pt x="23" y="40"/>
                  </a:lnTo>
                  <a:lnTo>
                    <a:pt x="21" y="41"/>
                  </a:lnTo>
                  <a:lnTo>
                    <a:pt x="17" y="41"/>
                  </a:lnTo>
                  <a:lnTo>
                    <a:pt x="15" y="38"/>
                  </a:lnTo>
                  <a:lnTo>
                    <a:pt x="17" y="38"/>
                  </a:lnTo>
                  <a:lnTo>
                    <a:pt x="21" y="36"/>
                  </a:lnTo>
                  <a:lnTo>
                    <a:pt x="17" y="37"/>
                  </a:lnTo>
                  <a:lnTo>
                    <a:pt x="15" y="36"/>
                  </a:lnTo>
                  <a:lnTo>
                    <a:pt x="12" y="38"/>
                  </a:lnTo>
                  <a:lnTo>
                    <a:pt x="9" y="37"/>
                  </a:lnTo>
                  <a:lnTo>
                    <a:pt x="6" y="36"/>
                  </a:lnTo>
                  <a:lnTo>
                    <a:pt x="4" y="34"/>
                  </a:lnTo>
                  <a:lnTo>
                    <a:pt x="0" y="34"/>
                  </a:lnTo>
                  <a:lnTo>
                    <a:pt x="4" y="34"/>
                  </a:lnTo>
                  <a:lnTo>
                    <a:pt x="6" y="33"/>
                  </a:lnTo>
                  <a:lnTo>
                    <a:pt x="9" y="32"/>
                  </a:lnTo>
                  <a:lnTo>
                    <a:pt x="12" y="33"/>
                  </a:lnTo>
                  <a:lnTo>
                    <a:pt x="14" y="33"/>
                  </a:lnTo>
                  <a:lnTo>
                    <a:pt x="17" y="33"/>
                  </a:lnTo>
                  <a:lnTo>
                    <a:pt x="15" y="32"/>
                  </a:lnTo>
                  <a:lnTo>
                    <a:pt x="12" y="31"/>
                  </a:lnTo>
                  <a:lnTo>
                    <a:pt x="9" y="28"/>
                  </a:lnTo>
                  <a:lnTo>
                    <a:pt x="12" y="26"/>
                  </a:lnTo>
                  <a:lnTo>
                    <a:pt x="15" y="26"/>
                  </a:lnTo>
                  <a:lnTo>
                    <a:pt x="19" y="26"/>
                  </a:lnTo>
                  <a:lnTo>
                    <a:pt x="21" y="26"/>
                  </a:lnTo>
                  <a:lnTo>
                    <a:pt x="24" y="25"/>
                  </a:lnTo>
                  <a:lnTo>
                    <a:pt x="26" y="26"/>
                  </a:lnTo>
                  <a:lnTo>
                    <a:pt x="30" y="27"/>
                  </a:lnTo>
                  <a:lnTo>
                    <a:pt x="36" y="27"/>
                  </a:lnTo>
                  <a:lnTo>
                    <a:pt x="38" y="26"/>
                  </a:lnTo>
                  <a:lnTo>
                    <a:pt x="36" y="26"/>
                  </a:lnTo>
                  <a:lnTo>
                    <a:pt x="32" y="25"/>
                  </a:lnTo>
                  <a:lnTo>
                    <a:pt x="30" y="25"/>
                  </a:lnTo>
                  <a:lnTo>
                    <a:pt x="31" y="23"/>
                  </a:lnTo>
                  <a:lnTo>
                    <a:pt x="33" y="23"/>
                  </a:lnTo>
                  <a:lnTo>
                    <a:pt x="37" y="21"/>
                  </a:lnTo>
                  <a:lnTo>
                    <a:pt x="33" y="21"/>
                  </a:lnTo>
                  <a:lnTo>
                    <a:pt x="31" y="21"/>
                  </a:lnTo>
                  <a:lnTo>
                    <a:pt x="30" y="21"/>
                  </a:lnTo>
                  <a:lnTo>
                    <a:pt x="26" y="21"/>
                  </a:lnTo>
                  <a:lnTo>
                    <a:pt x="24" y="18"/>
                  </a:lnTo>
                  <a:lnTo>
                    <a:pt x="21" y="19"/>
                  </a:lnTo>
                  <a:lnTo>
                    <a:pt x="19" y="17"/>
                  </a:lnTo>
                  <a:lnTo>
                    <a:pt x="20" y="15"/>
                  </a:lnTo>
                  <a:lnTo>
                    <a:pt x="22" y="11"/>
                  </a:lnTo>
                  <a:lnTo>
                    <a:pt x="25" y="11"/>
                  </a:lnTo>
                  <a:lnTo>
                    <a:pt x="28" y="11"/>
                  </a:lnTo>
                  <a:lnTo>
                    <a:pt x="31" y="14"/>
                  </a:lnTo>
                  <a:lnTo>
                    <a:pt x="33" y="12"/>
                  </a:lnTo>
                  <a:lnTo>
                    <a:pt x="39" y="11"/>
                  </a:lnTo>
                  <a:lnTo>
                    <a:pt x="36" y="11"/>
                  </a:lnTo>
                  <a:lnTo>
                    <a:pt x="32" y="9"/>
                  </a:lnTo>
                  <a:lnTo>
                    <a:pt x="36" y="9"/>
                  </a:lnTo>
                  <a:lnTo>
                    <a:pt x="41" y="9"/>
                  </a:lnTo>
                  <a:lnTo>
                    <a:pt x="43" y="10"/>
                  </a:lnTo>
                  <a:lnTo>
                    <a:pt x="46" y="10"/>
                  </a:lnTo>
                  <a:lnTo>
                    <a:pt x="49" y="9"/>
                  </a:lnTo>
                  <a:lnTo>
                    <a:pt x="49" y="7"/>
                  </a:lnTo>
                  <a:lnTo>
                    <a:pt x="47" y="6"/>
                  </a:lnTo>
                  <a:lnTo>
                    <a:pt x="43" y="6"/>
                  </a:lnTo>
                  <a:lnTo>
                    <a:pt x="40" y="6"/>
                  </a:lnTo>
                  <a:lnTo>
                    <a:pt x="38" y="6"/>
                  </a:lnTo>
                  <a:lnTo>
                    <a:pt x="36" y="6"/>
                  </a:lnTo>
                  <a:lnTo>
                    <a:pt x="32" y="4"/>
                  </a:lnTo>
                  <a:lnTo>
                    <a:pt x="33" y="1"/>
                  </a:lnTo>
                  <a:lnTo>
                    <a:pt x="36" y="1"/>
                  </a:lnTo>
                  <a:lnTo>
                    <a:pt x="39" y="1"/>
                  </a:lnTo>
                  <a:lnTo>
                    <a:pt x="41" y="1"/>
                  </a:lnTo>
                  <a:lnTo>
                    <a:pt x="45" y="0"/>
                  </a:lnTo>
                  <a:lnTo>
                    <a:pt x="50" y="1"/>
                  </a:lnTo>
                  <a:lnTo>
                    <a:pt x="54" y="2"/>
                  </a:lnTo>
                  <a:lnTo>
                    <a:pt x="56" y="3"/>
                  </a:lnTo>
                  <a:lnTo>
                    <a:pt x="58" y="3"/>
                  </a:lnTo>
                  <a:lnTo>
                    <a:pt x="62" y="4"/>
                  </a:lnTo>
                  <a:lnTo>
                    <a:pt x="64" y="6"/>
                  </a:lnTo>
                  <a:lnTo>
                    <a:pt x="67" y="8"/>
                  </a:lnTo>
                  <a:lnTo>
                    <a:pt x="68" y="11"/>
                  </a:lnTo>
                  <a:lnTo>
                    <a:pt x="71" y="14"/>
                  </a:lnTo>
                  <a:lnTo>
                    <a:pt x="74" y="16"/>
                  </a:lnTo>
                  <a:lnTo>
                    <a:pt x="76" y="18"/>
                  </a:lnTo>
                  <a:lnTo>
                    <a:pt x="79" y="21"/>
                  </a:lnTo>
                  <a:lnTo>
                    <a:pt x="81" y="21"/>
                  </a:lnTo>
                  <a:lnTo>
                    <a:pt x="84" y="24"/>
                  </a:lnTo>
                  <a:lnTo>
                    <a:pt x="83" y="26"/>
                  </a:lnTo>
                  <a:lnTo>
                    <a:pt x="87" y="27"/>
                  </a:lnTo>
                  <a:lnTo>
                    <a:pt x="90" y="27"/>
                  </a:lnTo>
                  <a:lnTo>
                    <a:pt x="92" y="27"/>
                  </a:lnTo>
                  <a:lnTo>
                    <a:pt x="92" y="27"/>
                  </a:lnTo>
                  <a:close/>
                  <a:moveTo>
                    <a:pt x="2573" y="44"/>
                  </a:moveTo>
                  <a:lnTo>
                    <a:pt x="2573" y="43"/>
                  </a:lnTo>
                  <a:lnTo>
                    <a:pt x="2571" y="42"/>
                  </a:lnTo>
                  <a:lnTo>
                    <a:pt x="2573" y="43"/>
                  </a:lnTo>
                  <a:lnTo>
                    <a:pt x="2576" y="43"/>
                  </a:lnTo>
                  <a:lnTo>
                    <a:pt x="2579" y="43"/>
                  </a:lnTo>
                  <a:lnTo>
                    <a:pt x="2582" y="43"/>
                  </a:lnTo>
                  <a:lnTo>
                    <a:pt x="2584" y="43"/>
                  </a:lnTo>
                  <a:lnTo>
                    <a:pt x="2588" y="43"/>
                  </a:lnTo>
                  <a:lnTo>
                    <a:pt x="2591" y="43"/>
                  </a:lnTo>
                  <a:lnTo>
                    <a:pt x="2593" y="44"/>
                  </a:lnTo>
                  <a:lnTo>
                    <a:pt x="2597" y="43"/>
                  </a:lnTo>
                  <a:lnTo>
                    <a:pt x="2599" y="44"/>
                  </a:lnTo>
                  <a:lnTo>
                    <a:pt x="2601" y="44"/>
                  </a:lnTo>
                  <a:lnTo>
                    <a:pt x="2603" y="45"/>
                  </a:lnTo>
                  <a:lnTo>
                    <a:pt x="2607" y="46"/>
                  </a:lnTo>
                  <a:lnTo>
                    <a:pt x="2609" y="47"/>
                  </a:lnTo>
                  <a:lnTo>
                    <a:pt x="2607" y="50"/>
                  </a:lnTo>
                  <a:lnTo>
                    <a:pt x="2603" y="51"/>
                  </a:lnTo>
                  <a:lnTo>
                    <a:pt x="2601" y="52"/>
                  </a:lnTo>
                  <a:lnTo>
                    <a:pt x="2598" y="53"/>
                  </a:lnTo>
                  <a:lnTo>
                    <a:pt x="2596" y="54"/>
                  </a:lnTo>
                  <a:lnTo>
                    <a:pt x="2592" y="54"/>
                  </a:lnTo>
                  <a:lnTo>
                    <a:pt x="2590" y="55"/>
                  </a:lnTo>
                  <a:lnTo>
                    <a:pt x="2586" y="54"/>
                  </a:lnTo>
                  <a:lnTo>
                    <a:pt x="2583" y="53"/>
                  </a:lnTo>
                  <a:lnTo>
                    <a:pt x="2586" y="52"/>
                  </a:lnTo>
                  <a:lnTo>
                    <a:pt x="2589" y="52"/>
                  </a:lnTo>
                  <a:lnTo>
                    <a:pt x="2586" y="51"/>
                  </a:lnTo>
                  <a:lnTo>
                    <a:pt x="2583" y="51"/>
                  </a:lnTo>
                  <a:lnTo>
                    <a:pt x="2581" y="50"/>
                  </a:lnTo>
                  <a:lnTo>
                    <a:pt x="2577" y="50"/>
                  </a:lnTo>
                  <a:lnTo>
                    <a:pt x="2575" y="50"/>
                  </a:lnTo>
                  <a:lnTo>
                    <a:pt x="2572" y="47"/>
                  </a:lnTo>
                  <a:lnTo>
                    <a:pt x="2575" y="47"/>
                  </a:lnTo>
                  <a:lnTo>
                    <a:pt x="2573" y="44"/>
                  </a:lnTo>
                  <a:lnTo>
                    <a:pt x="2573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21" name="Freeform 221">
              <a:extLst>
                <a:ext uri="{FF2B5EF4-FFF2-40B4-BE49-F238E27FC236}">
                  <a16:creationId xmlns:a16="http://schemas.microsoft.com/office/drawing/2014/main" id="{1BEEBBBB-95A0-42CF-AFD2-3943A36B2FD9}"/>
                </a:ext>
              </a:extLst>
            </p:cNvPr>
            <p:cNvSpPr>
              <a:spLocks/>
            </p:cNvSpPr>
            <p:nvPr/>
          </p:nvSpPr>
          <p:spPr bwMode="auto">
            <a:xfrm>
              <a:off x="8994775" y="5389563"/>
              <a:ext cx="79375" cy="77788"/>
            </a:xfrm>
            <a:custGeom>
              <a:avLst/>
              <a:gdLst>
                <a:gd name="T0" fmla="*/ 26 w 50"/>
                <a:gd name="T1" fmla="*/ 8 h 49"/>
                <a:gd name="T2" fmla="*/ 31 w 50"/>
                <a:gd name="T3" fmla="*/ 8 h 49"/>
                <a:gd name="T4" fmla="*/ 33 w 50"/>
                <a:gd name="T5" fmla="*/ 6 h 49"/>
                <a:gd name="T6" fmla="*/ 38 w 50"/>
                <a:gd name="T7" fmla="*/ 5 h 49"/>
                <a:gd name="T8" fmla="*/ 44 w 50"/>
                <a:gd name="T9" fmla="*/ 4 h 49"/>
                <a:gd name="T10" fmla="*/ 50 w 50"/>
                <a:gd name="T11" fmla="*/ 4 h 49"/>
                <a:gd name="T12" fmla="*/ 50 w 50"/>
                <a:gd name="T13" fmla="*/ 9 h 49"/>
                <a:gd name="T14" fmla="*/ 50 w 50"/>
                <a:gd name="T15" fmla="*/ 15 h 49"/>
                <a:gd name="T16" fmla="*/ 50 w 50"/>
                <a:gd name="T17" fmla="*/ 21 h 49"/>
                <a:gd name="T18" fmla="*/ 50 w 50"/>
                <a:gd name="T19" fmla="*/ 25 h 49"/>
                <a:gd name="T20" fmla="*/ 46 w 50"/>
                <a:gd name="T21" fmla="*/ 25 h 49"/>
                <a:gd name="T22" fmla="*/ 44 w 50"/>
                <a:gd name="T23" fmla="*/ 31 h 49"/>
                <a:gd name="T24" fmla="*/ 45 w 50"/>
                <a:gd name="T25" fmla="*/ 36 h 49"/>
                <a:gd name="T26" fmla="*/ 45 w 50"/>
                <a:gd name="T27" fmla="*/ 42 h 49"/>
                <a:gd name="T28" fmla="*/ 41 w 50"/>
                <a:gd name="T29" fmla="*/ 38 h 49"/>
                <a:gd name="T30" fmla="*/ 41 w 50"/>
                <a:gd name="T31" fmla="*/ 36 h 49"/>
                <a:gd name="T32" fmla="*/ 36 w 50"/>
                <a:gd name="T33" fmla="*/ 34 h 49"/>
                <a:gd name="T34" fmla="*/ 36 w 50"/>
                <a:gd name="T35" fmla="*/ 38 h 49"/>
                <a:gd name="T36" fmla="*/ 34 w 50"/>
                <a:gd name="T37" fmla="*/ 43 h 49"/>
                <a:gd name="T38" fmla="*/ 31 w 50"/>
                <a:gd name="T39" fmla="*/ 44 h 49"/>
                <a:gd name="T40" fmla="*/ 29 w 50"/>
                <a:gd name="T41" fmla="*/ 49 h 49"/>
                <a:gd name="T42" fmla="*/ 24 w 50"/>
                <a:gd name="T43" fmla="*/ 48 h 49"/>
                <a:gd name="T44" fmla="*/ 19 w 50"/>
                <a:gd name="T45" fmla="*/ 47 h 49"/>
                <a:gd name="T46" fmla="*/ 21 w 50"/>
                <a:gd name="T47" fmla="*/ 43 h 49"/>
                <a:gd name="T48" fmla="*/ 16 w 50"/>
                <a:gd name="T49" fmla="*/ 43 h 49"/>
                <a:gd name="T50" fmla="*/ 11 w 50"/>
                <a:gd name="T51" fmla="*/ 38 h 49"/>
                <a:gd name="T52" fmla="*/ 9 w 50"/>
                <a:gd name="T53" fmla="*/ 32 h 49"/>
                <a:gd name="T54" fmla="*/ 9 w 50"/>
                <a:gd name="T55" fmla="*/ 27 h 49"/>
                <a:gd name="T56" fmla="*/ 10 w 50"/>
                <a:gd name="T57" fmla="*/ 27 h 49"/>
                <a:gd name="T58" fmla="*/ 8 w 50"/>
                <a:gd name="T59" fmla="*/ 23 h 49"/>
                <a:gd name="T60" fmla="*/ 3 w 50"/>
                <a:gd name="T61" fmla="*/ 17 h 49"/>
                <a:gd name="T62" fmla="*/ 1 w 50"/>
                <a:gd name="T63" fmla="*/ 11 h 49"/>
                <a:gd name="T64" fmla="*/ 0 w 50"/>
                <a:gd name="T65" fmla="*/ 6 h 49"/>
                <a:gd name="T66" fmla="*/ 0 w 50"/>
                <a:gd name="T67" fmla="*/ 0 h 49"/>
                <a:gd name="T68" fmla="*/ 5 w 50"/>
                <a:gd name="T69" fmla="*/ 2 h 49"/>
                <a:gd name="T70" fmla="*/ 11 w 50"/>
                <a:gd name="T71" fmla="*/ 4 h 49"/>
                <a:gd name="T72" fmla="*/ 16 w 50"/>
                <a:gd name="T73" fmla="*/ 6 h 49"/>
                <a:gd name="T74" fmla="*/ 21 w 50"/>
                <a:gd name="T75" fmla="*/ 8 h 49"/>
                <a:gd name="T76" fmla="*/ 25 w 50"/>
                <a:gd name="T77" fmla="*/ 8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0" h="49">
                  <a:moveTo>
                    <a:pt x="25" y="8"/>
                  </a:moveTo>
                  <a:lnTo>
                    <a:pt x="26" y="8"/>
                  </a:lnTo>
                  <a:lnTo>
                    <a:pt x="28" y="7"/>
                  </a:lnTo>
                  <a:lnTo>
                    <a:pt x="31" y="8"/>
                  </a:lnTo>
                  <a:lnTo>
                    <a:pt x="30" y="6"/>
                  </a:lnTo>
                  <a:lnTo>
                    <a:pt x="33" y="6"/>
                  </a:lnTo>
                  <a:lnTo>
                    <a:pt x="36" y="5"/>
                  </a:lnTo>
                  <a:lnTo>
                    <a:pt x="38" y="5"/>
                  </a:lnTo>
                  <a:lnTo>
                    <a:pt x="42" y="4"/>
                  </a:lnTo>
                  <a:lnTo>
                    <a:pt x="44" y="4"/>
                  </a:lnTo>
                  <a:lnTo>
                    <a:pt x="46" y="1"/>
                  </a:lnTo>
                  <a:lnTo>
                    <a:pt x="50" y="4"/>
                  </a:lnTo>
                  <a:lnTo>
                    <a:pt x="50" y="7"/>
                  </a:lnTo>
                  <a:lnTo>
                    <a:pt x="50" y="9"/>
                  </a:lnTo>
                  <a:lnTo>
                    <a:pt x="50" y="13"/>
                  </a:lnTo>
                  <a:lnTo>
                    <a:pt x="50" y="15"/>
                  </a:lnTo>
                  <a:lnTo>
                    <a:pt x="50" y="17"/>
                  </a:lnTo>
                  <a:lnTo>
                    <a:pt x="50" y="21"/>
                  </a:lnTo>
                  <a:lnTo>
                    <a:pt x="50" y="23"/>
                  </a:lnTo>
                  <a:lnTo>
                    <a:pt x="50" y="25"/>
                  </a:lnTo>
                  <a:lnTo>
                    <a:pt x="47" y="23"/>
                  </a:lnTo>
                  <a:lnTo>
                    <a:pt x="46" y="25"/>
                  </a:lnTo>
                  <a:lnTo>
                    <a:pt x="45" y="28"/>
                  </a:lnTo>
                  <a:lnTo>
                    <a:pt x="44" y="31"/>
                  </a:lnTo>
                  <a:lnTo>
                    <a:pt x="45" y="34"/>
                  </a:lnTo>
                  <a:lnTo>
                    <a:pt x="45" y="36"/>
                  </a:lnTo>
                  <a:lnTo>
                    <a:pt x="45" y="39"/>
                  </a:lnTo>
                  <a:lnTo>
                    <a:pt x="45" y="42"/>
                  </a:lnTo>
                  <a:lnTo>
                    <a:pt x="42" y="40"/>
                  </a:lnTo>
                  <a:lnTo>
                    <a:pt x="41" y="38"/>
                  </a:lnTo>
                  <a:lnTo>
                    <a:pt x="44" y="39"/>
                  </a:lnTo>
                  <a:lnTo>
                    <a:pt x="41" y="36"/>
                  </a:lnTo>
                  <a:lnTo>
                    <a:pt x="38" y="36"/>
                  </a:lnTo>
                  <a:lnTo>
                    <a:pt x="36" y="34"/>
                  </a:lnTo>
                  <a:lnTo>
                    <a:pt x="35" y="35"/>
                  </a:lnTo>
                  <a:lnTo>
                    <a:pt x="36" y="38"/>
                  </a:lnTo>
                  <a:lnTo>
                    <a:pt x="35" y="40"/>
                  </a:lnTo>
                  <a:lnTo>
                    <a:pt x="34" y="43"/>
                  </a:lnTo>
                  <a:lnTo>
                    <a:pt x="31" y="41"/>
                  </a:lnTo>
                  <a:lnTo>
                    <a:pt x="31" y="44"/>
                  </a:lnTo>
                  <a:lnTo>
                    <a:pt x="30" y="47"/>
                  </a:lnTo>
                  <a:lnTo>
                    <a:pt x="29" y="49"/>
                  </a:lnTo>
                  <a:lnTo>
                    <a:pt x="27" y="48"/>
                  </a:lnTo>
                  <a:lnTo>
                    <a:pt x="24" y="48"/>
                  </a:lnTo>
                  <a:lnTo>
                    <a:pt x="21" y="47"/>
                  </a:lnTo>
                  <a:lnTo>
                    <a:pt x="19" y="47"/>
                  </a:lnTo>
                  <a:lnTo>
                    <a:pt x="18" y="44"/>
                  </a:lnTo>
                  <a:lnTo>
                    <a:pt x="21" y="43"/>
                  </a:lnTo>
                  <a:lnTo>
                    <a:pt x="18" y="44"/>
                  </a:lnTo>
                  <a:lnTo>
                    <a:pt x="16" y="43"/>
                  </a:lnTo>
                  <a:lnTo>
                    <a:pt x="13" y="40"/>
                  </a:lnTo>
                  <a:lnTo>
                    <a:pt x="11" y="38"/>
                  </a:lnTo>
                  <a:lnTo>
                    <a:pt x="10" y="35"/>
                  </a:lnTo>
                  <a:lnTo>
                    <a:pt x="9" y="32"/>
                  </a:lnTo>
                  <a:lnTo>
                    <a:pt x="8" y="30"/>
                  </a:lnTo>
                  <a:lnTo>
                    <a:pt x="9" y="27"/>
                  </a:lnTo>
                  <a:lnTo>
                    <a:pt x="11" y="30"/>
                  </a:lnTo>
                  <a:lnTo>
                    <a:pt x="10" y="27"/>
                  </a:lnTo>
                  <a:lnTo>
                    <a:pt x="8" y="25"/>
                  </a:lnTo>
                  <a:lnTo>
                    <a:pt x="8" y="23"/>
                  </a:lnTo>
                  <a:lnTo>
                    <a:pt x="5" y="19"/>
                  </a:lnTo>
                  <a:lnTo>
                    <a:pt x="3" y="17"/>
                  </a:lnTo>
                  <a:lnTo>
                    <a:pt x="2" y="14"/>
                  </a:lnTo>
                  <a:lnTo>
                    <a:pt x="1" y="11"/>
                  </a:lnTo>
                  <a:lnTo>
                    <a:pt x="0" y="9"/>
                  </a:lnTo>
                  <a:lnTo>
                    <a:pt x="0" y="6"/>
                  </a:lnTo>
                  <a:lnTo>
                    <a:pt x="0" y="4"/>
                  </a:lnTo>
                  <a:lnTo>
                    <a:pt x="0" y="0"/>
                  </a:lnTo>
                  <a:lnTo>
                    <a:pt x="2" y="1"/>
                  </a:lnTo>
                  <a:lnTo>
                    <a:pt x="5" y="2"/>
                  </a:lnTo>
                  <a:lnTo>
                    <a:pt x="8" y="2"/>
                  </a:lnTo>
                  <a:lnTo>
                    <a:pt x="11" y="4"/>
                  </a:lnTo>
                  <a:lnTo>
                    <a:pt x="13" y="5"/>
                  </a:lnTo>
                  <a:lnTo>
                    <a:pt x="16" y="6"/>
                  </a:lnTo>
                  <a:lnTo>
                    <a:pt x="19" y="7"/>
                  </a:lnTo>
                  <a:lnTo>
                    <a:pt x="21" y="8"/>
                  </a:lnTo>
                  <a:lnTo>
                    <a:pt x="24" y="8"/>
                  </a:lnTo>
                  <a:lnTo>
                    <a:pt x="25" y="8"/>
                  </a:lnTo>
                  <a:lnTo>
                    <a:pt x="25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22" name="Freeform 222">
              <a:extLst>
                <a:ext uri="{FF2B5EF4-FFF2-40B4-BE49-F238E27FC236}">
                  <a16:creationId xmlns:a16="http://schemas.microsoft.com/office/drawing/2014/main" id="{5DB93F65-E033-4CD4-8218-CAE338C5CA03}"/>
                </a:ext>
              </a:extLst>
            </p:cNvPr>
            <p:cNvSpPr>
              <a:spLocks/>
            </p:cNvSpPr>
            <p:nvPr/>
          </p:nvSpPr>
          <p:spPr bwMode="auto">
            <a:xfrm>
              <a:off x="8697913" y="4462463"/>
              <a:ext cx="431800" cy="223838"/>
            </a:xfrm>
            <a:custGeom>
              <a:avLst/>
              <a:gdLst>
                <a:gd name="T0" fmla="*/ 254 w 272"/>
                <a:gd name="T1" fmla="*/ 137 h 141"/>
                <a:gd name="T2" fmla="*/ 234 w 272"/>
                <a:gd name="T3" fmla="*/ 133 h 141"/>
                <a:gd name="T4" fmla="*/ 223 w 272"/>
                <a:gd name="T5" fmla="*/ 126 h 141"/>
                <a:gd name="T6" fmla="*/ 215 w 272"/>
                <a:gd name="T7" fmla="*/ 119 h 141"/>
                <a:gd name="T8" fmla="*/ 207 w 272"/>
                <a:gd name="T9" fmla="*/ 107 h 141"/>
                <a:gd name="T10" fmla="*/ 191 w 272"/>
                <a:gd name="T11" fmla="*/ 102 h 141"/>
                <a:gd name="T12" fmla="*/ 184 w 272"/>
                <a:gd name="T13" fmla="*/ 97 h 141"/>
                <a:gd name="T14" fmla="*/ 180 w 272"/>
                <a:gd name="T15" fmla="*/ 102 h 141"/>
                <a:gd name="T16" fmla="*/ 175 w 272"/>
                <a:gd name="T17" fmla="*/ 102 h 141"/>
                <a:gd name="T18" fmla="*/ 170 w 272"/>
                <a:gd name="T19" fmla="*/ 103 h 141"/>
                <a:gd name="T20" fmla="*/ 163 w 272"/>
                <a:gd name="T21" fmla="*/ 109 h 141"/>
                <a:gd name="T22" fmla="*/ 155 w 272"/>
                <a:gd name="T23" fmla="*/ 107 h 141"/>
                <a:gd name="T24" fmla="*/ 170 w 272"/>
                <a:gd name="T25" fmla="*/ 116 h 141"/>
                <a:gd name="T26" fmla="*/ 156 w 272"/>
                <a:gd name="T27" fmla="*/ 121 h 141"/>
                <a:gd name="T28" fmla="*/ 139 w 272"/>
                <a:gd name="T29" fmla="*/ 121 h 141"/>
                <a:gd name="T30" fmla="*/ 126 w 272"/>
                <a:gd name="T31" fmla="*/ 110 h 141"/>
                <a:gd name="T32" fmla="*/ 120 w 272"/>
                <a:gd name="T33" fmla="*/ 106 h 141"/>
                <a:gd name="T34" fmla="*/ 107 w 272"/>
                <a:gd name="T35" fmla="*/ 104 h 141"/>
                <a:gd name="T36" fmla="*/ 111 w 272"/>
                <a:gd name="T37" fmla="*/ 94 h 141"/>
                <a:gd name="T38" fmla="*/ 110 w 272"/>
                <a:gd name="T39" fmla="*/ 89 h 141"/>
                <a:gd name="T40" fmla="*/ 101 w 272"/>
                <a:gd name="T41" fmla="*/ 80 h 141"/>
                <a:gd name="T42" fmla="*/ 97 w 272"/>
                <a:gd name="T43" fmla="*/ 73 h 141"/>
                <a:gd name="T44" fmla="*/ 88 w 272"/>
                <a:gd name="T45" fmla="*/ 64 h 141"/>
                <a:gd name="T46" fmla="*/ 78 w 272"/>
                <a:gd name="T47" fmla="*/ 62 h 141"/>
                <a:gd name="T48" fmla="*/ 64 w 272"/>
                <a:gd name="T49" fmla="*/ 56 h 141"/>
                <a:gd name="T50" fmla="*/ 52 w 272"/>
                <a:gd name="T51" fmla="*/ 53 h 141"/>
                <a:gd name="T52" fmla="*/ 45 w 272"/>
                <a:gd name="T53" fmla="*/ 50 h 141"/>
                <a:gd name="T54" fmla="*/ 36 w 272"/>
                <a:gd name="T55" fmla="*/ 39 h 141"/>
                <a:gd name="T56" fmla="*/ 33 w 272"/>
                <a:gd name="T57" fmla="*/ 47 h 141"/>
                <a:gd name="T58" fmla="*/ 25 w 272"/>
                <a:gd name="T59" fmla="*/ 42 h 141"/>
                <a:gd name="T60" fmla="*/ 17 w 272"/>
                <a:gd name="T61" fmla="*/ 32 h 141"/>
                <a:gd name="T62" fmla="*/ 33 w 272"/>
                <a:gd name="T63" fmla="*/ 29 h 141"/>
                <a:gd name="T64" fmla="*/ 35 w 272"/>
                <a:gd name="T65" fmla="*/ 25 h 141"/>
                <a:gd name="T66" fmla="*/ 19 w 272"/>
                <a:gd name="T67" fmla="*/ 25 h 141"/>
                <a:gd name="T68" fmla="*/ 11 w 272"/>
                <a:gd name="T69" fmla="*/ 17 h 141"/>
                <a:gd name="T70" fmla="*/ 3 w 272"/>
                <a:gd name="T71" fmla="*/ 10 h 141"/>
                <a:gd name="T72" fmla="*/ 15 w 272"/>
                <a:gd name="T73" fmla="*/ 2 h 141"/>
                <a:gd name="T74" fmla="*/ 29 w 272"/>
                <a:gd name="T75" fmla="*/ 2 h 141"/>
                <a:gd name="T76" fmla="*/ 42 w 272"/>
                <a:gd name="T77" fmla="*/ 8 h 141"/>
                <a:gd name="T78" fmla="*/ 43 w 272"/>
                <a:gd name="T79" fmla="*/ 25 h 141"/>
                <a:gd name="T80" fmla="*/ 51 w 272"/>
                <a:gd name="T81" fmla="*/ 35 h 141"/>
                <a:gd name="T82" fmla="*/ 64 w 272"/>
                <a:gd name="T83" fmla="*/ 38 h 141"/>
                <a:gd name="T84" fmla="*/ 76 w 272"/>
                <a:gd name="T85" fmla="*/ 25 h 141"/>
                <a:gd name="T86" fmla="*/ 87 w 272"/>
                <a:gd name="T87" fmla="*/ 18 h 141"/>
                <a:gd name="T88" fmla="*/ 102 w 272"/>
                <a:gd name="T89" fmla="*/ 19 h 141"/>
                <a:gd name="T90" fmla="*/ 121 w 272"/>
                <a:gd name="T91" fmla="*/ 27 h 141"/>
                <a:gd name="T92" fmla="*/ 136 w 272"/>
                <a:gd name="T93" fmla="*/ 30 h 141"/>
                <a:gd name="T94" fmla="*/ 154 w 272"/>
                <a:gd name="T95" fmla="*/ 37 h 141"/>
                <a:gd name="T96" fmla="*/ 171 w 272"/>
                <a:gd name="T97" fmla="*/ 42 h 141"/>
                <a:gd name="T98" fmla="*/ 186 w 272"/>
                <a:gd name="T99" fmla="*/ 50 h 141"/>
                <a:gd name="T100" fmla="*/ 195 w 272"/>
                <a:gd name="T101" fmla="*/ 54 h 141"/>
                <a:gd name="T102" fmla="*/ 203 w 272"/>
                <a:gd name="T103" fmla="*/ 70 h 141"/>
                <a:gd name="T104" fmla="*/ 217 w 272"/>
                <a:gd name="T105" fmla="*/ 75 h 141"/>
                <a:gd name="T106" fmla="*/ 230 w 272"/>
                <a:gd name="T107" fmla="*/ 85 h 141"/>
                <a:gd name="T108" fmla="*/ 218 w 272"/>
                <a:gd name="T109" fmla="*/ 89 h 141"/>
                <a:gd name="T110" fmla="*/ 230 w 272"/>
                <a:gd name="T111" fmla="*/ 104 h 141"/>
                <a:gd name="T112" fmla="*/ 239 w 272"/>
                <a:gd name="T113" fmla="*/ 114 h 141"/>
                <a:gd name="T114" fmla="*/ 249 w 272"/>
                <a:gd name="T115" fmla="*/ 122 h 141"/>
                <a:gd name="T116" fmla="*/ 259 w 272"/>
                <a:gd name="T117" fmla="*/ 128 h 141"/>
                <a:gd name="T118" fmla="*/ 264 w 272"/>
                <a:gd name="T119" fmla="*/ 135 h 141"/>
                <a:gd name="T120" fmla="*/ 268 w 272"/>
                <a:gd name="T121" fmla="*/ 14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72" h="141">
                  <a:moveTo>
                    <a:pt x="259" y="139"/>
                  </a:moveTo>
                  <a:lnTo>
                    <a:pt x="260" y="138"/>
                  </a:lnTo>
                  <a:lnTo>
                    <a:pt x="259" y="138"/>
                  </a:lnTo>
                  <a:lnTo>
                    <a:pt x="258" y="138"/>
                  </a:lnTo>
                  <a:lnTo>
                    <a:pt x="256" y="137"/>
                  </a:lnTo>
                  <a:lnTo>
                    <a:pt x="254" y="137"/>
                  </a:lnTo>
                  <a:lnTo>
                    <a:pt x="248" y="136"/>
                  </a:lnTo>
                  <a:lnTo>
                    <a:pt x="246" y="136"/>
                  </a:lnTo>
                  <a:lnTo>
                    <a:pt x="242" y="133"/>
                  </a:lnTo>
                  <a:lnTo>
                    <a:pt x="240" y="135"/>
                  </a:lnTo>
                  <a:lnTo>
                    <a:pt x="237" y="135"/>
                  </a:lnTo>
                  <a:lnTo>
                    <a:pt x="234" y="133"/>
                  </a:lnTo>
                  <a:lnTo>
                    <a:pt x="232" y="135"/>
                  </a:lnTo>
                  <a:lnTo>
                    <a:pt x="230" y="132"/>
                  </a:lnTo>
                  <a:lnTo>
                    <a:pt x="228" y="132"/>
                  </a:lnTo>
                  <a:lnTo>
                    <a:pt x="226" y="131"/>
                  </a:lnTo>
                  <a:lnTo>
                    <a:pt x="225" y="128"/>
                  </a:lnTo>
                  <a:lnTo>
                    <a:pt x="223" y="126"/>
                  </a:lnTo>
                  <a:lnTo>
                    <a:pt x="220" y="124"/>
                  </a:lnTo>
                  <a:lnTo>
                    <a:pt x="220" y="124"/>
                  </a:lnTo>
                  <a:lnTo>
                    <a:pt x="217" y="122"/>
                  </a:lnTo>
                  <a:lnTo>
                    <a:pt x="218" y="119"/>
                  </a:lnTo>
                  <a:lnTo>
                    <a:pt x="218" y="119"/>
                  </a:lnTo>
                  <a:lnTo>
                    <a:pt x="215" y="119"/>
                  </a:lnTo>
                  <a:lnTo>
                    <a:pt x="213" y="118"/>
                  </a:lnTo>
                  <a:lnTo>
                    <a:pt x="213" y="115"/>
                  </a:lnTo>
                  <a:lnTo>
                    <a:pt x="211" y="113"/>
                  </a:lnTo>
                  <a:lnTo>
                    <a:pt x="211" y="112"/>
                  </a:lnTo>
                  <a:lnTo>
                    <a:pt x="208" y="110"/>
                  </a:lnTo>
                  <a:lnTo>
                    <a:pt x="207" y="107"/>
                  </a:lnTo>
                  <a:lnTo>
                    <a:pt x="205" y="105"/>
                  </a:lnTo>
                  <a:lnTo>
                    <a:pt x="201" y="103"/>
                  </a:lnTo>
                  <a:lnTo>
                    <a:pt x="199" y="104"/>
                  </a:lnTo>
                  <a:lnTo>
                    <a:pt x="196" y="103"/>
                  </a:lnTo>
                  <a:lnTo>
                    <a:pt x="194" y="102"/>
                  </a:lnTo>
                  <a:lnTo>
                    <a:pt x="191" y="102"/>
                  </a:lnTo>
                  <a:lnTo>
                    <a:pt x="189" y="102"/>
                  </a:lnTo>
                  <a:lnTo>
                    <a:pt x="189" y="98"/>
                  </a:lnTo>
                  <a:lnTo>
                    <a:pt x="188" y="99"/>
                  </a:lnTo>
                  <a:lnTo>
                    <a:pt x="187" y="98"/>
                  </a:lnTo>
                  <a:lnTo>
                    <a:pt x="187" y="98"/>
                  </a:lnTo>
                  <a:lnTo>
                    <a:pt x="184" y="97"/>
                  </a:lnTo>
                  <a:lnTo>
                    <a:pt x="183" y="97"/>
                  </a:lnTo>
                  <a:lnTo>
                    <a:pt x="183" y="99"/>
                  </a:lnTo>
                  <a:lnTo>
                    <a:pt x="182" y="99"/>
                  </a:lnTo>
                  <a:lnTo>
                    <a:pt x="181" y="99"/>
                  </a:lnTo>
                  <a:lnTo>
                    <a:pt x="181" y="101"/>
                  </a:lnTo>
                  <a:lnTo>
                    <a:pt x="180" y="102"/>
                  </a:lnTo>
                  <a:lnTo>
                    <a:pt x="179" y="101"/>
                  </a:lnTo>
                  <a:lnTo>
                    <a:pt x="175" y="99"/>
                  </a:lnTo>
                  <a:lnTo>
                    <a:pt x="173" y="97"/>
                  </a:lnTo>
                  <a:lnTo>
                    <a:pt x="173" y="97"/>
                  </a:lnTo>
                  <a:lnTo>
                    <a:pt x="174" y="98"/>
                  </a:lnTo>
                  <a:lnTo>
                    <a:pt x="175" y="102"/>
                  </a:lnTo>
                  <a:lnTo>
                    <a:pt x="177" y="104"/>
                  </a:lnTo>
                  <a:lnTo>
                    <a:pt x="174" y="105"/>
                  </a:lnTo>
                  <a:lnTo>
                    <a:pt x="172" y="104"/>
                  </a:lnTo>
                  <a:lnTo>
                    <a:pt x="169" y="103"/>
                  </a:lnTo>
                  <a:lnTo>
                    <a:pt x="169" y="103"/>
                  </a:lnTo>
                  <a:lnTo>
                    <a:pt x="170" y="103"/>
                  </a:lnTo>
                  <a:lnTo>
                    <a:pt x="170" y="104"/>
                  </a:lnTo>
                  <a:lnTo>
                    <a:pt x="172" y="106"/>
                  </a:lnTo>
                  <a:lnTo>
                    <a:pt x="171" y="107"/>
                  </a:lnTo>
                  <a:lnTo>
                    <a:pt x="169" y="109"/>
                  </a:lnTo>
                  <a:lnTo>
                    <a:pt x="165" y="109"/>
                  </a:lnTo>
                  <a:lnTo>
                    <a:pt x="163" y="109"/>
                  </a:lnTo>
                  <a:lnTo>
                    <a:pt x="161" y="109"/>
                  </a:lnTo>
                  <a:lnTo>
                    <a:pt x="157" y="109"/>
                  </a:lnTo>
                  <a:lnTo>
                    <a:pt x="155" y="106"/>
                  </a:lnTo>
                  <a:lnTo>
                    <a:pt x="152" y="107"/>
                  </a:lnTo>
                  <a:lnTo>
                    <a:pt x="153" y="107"/>
                  </a:lnTo>
                  <a:lnTo>
                    <a:pt x="155" y="107"/>
                  </a:lnTo>
                  <a:lnTo>
                    <a:pt x="157" y="110"/>
                  </a:lnTo>
                  <a:lnTo>
                    <a:pt x="161" y="109"/>
                  </a:lnTo>
                  <a:lnTo>
                    <a:pt x="163" y="111"/>
                  </a:lnTo>
                  <a:lnTo>
                    <a:pt x="165" y="111"/>
                  </a:lnTo>
                  <a:lnTo>
                    <a:pt x="169" y="114"/>
                  </a:lnTo>
                  <a:lnTo>
                    <a:pt x="170" y="116"/>
                  </a:lnTo>
                  <a:lnTo>
                    <a:pt x="167" y="119"/>
                  </a:lnTo>
                  <a:lnTo>
                    <a:pt x="164" y="120"/>
                  </a:lnTo>
                  <a:lnTo>
                    <a:pt x="162" y="121"/>
                  </a:lnTo>
                  <a:lnTo>
                    <a:pt x="158" y="123"/>
                  </a:lnTo>
                  <a:lnTo>
                    <a:pt x="158" y="123"/>
                  </a:lnTo>
                  <a:lnTo>
                    <a:pt x="156" y="121"/>
                  </a:lnTo>
                  <a:lnTo>
                    <a:pt x="153" y="120"/>
                  </a:lnTo>
                  <a:lnTo>
                    <a:pt x="150" y="121"/>
                  </a:lnTo>
                  <a:lnTo>
                    <a:pt x="147" y="121"/>
                  </a:lnTo>
                  <a:lnTo>
                    <a:pt x="145" y="121"/>
                  </a:lnTo>
                  <a:lnTo>
                    <a:pt x="143" y="120"/>
                  </a:lnTo>
                  <a:lnTo>
                    <a:pt x="139" y="121"/>
                  </a:lnTo>
                  <a:lnTo>
                    <a:pt x="137" y="120"/>
                  </a:lnTo>
                  <a:lnTo>
                    <a:pt x="133" y="119"/>
                  </a:lnTo>
                  <a:lnTo>
                    <a:pt x="131" y="115"/>
                  </a:lnTo>
                  <a:lnTo>
                    <a:pt x="129" y="113"/>
                  </a:lnTo>
                  <a:lnTo>
                    <a:pt x="128" y="111"/>
                  </a:lnTo>
                  <a:lnTo>
                    <a:pt x="126" y="110"/>
                  </a:lnTo>
                  <a:lnTo>
                    <a:pt x="123" y="107"/>
                  </a:lnTo>
                  <a:lnTo>
                    <a:pt x="123" y="107"/>
                  </a:lnTo>
                  <a:lnTo>
                    <a:pt x="123" y="106"/>
                  </a:lnTo>
                  <a:lnTo>
                    <a:pt x="124" y="103"/>
                  </a:lnTo>
                  <a:lnTo>
                    <a:pt x="123" y="105"/>
                  </a:lnTo>
                  <a:lnTo>
                    <a:pt x="120" y="106"/>
                  </a:lnTo>
                  <a:lnTo>
                    <a:pt x="118" y="106"/>
                  </a:lnTo>
                  <a:lnTo>
                    <a:pt x="115" y="107"/>
                  </a:lnTo>
                  <a:lnTo>
                    <a:pt x="112" y="104"/>
                  </a:lnTo>
                  <a:lnTo>
                    <a:pt x="110" y="106"/>
                  </a:lnTo>
                  <a:lnTo>
                    <a:pt x="107" y="107"/>
                  </a:lnTo>
                  <a:lnTo>
                    <a:pt x="107" y="104"/>
                  </a:lnTo>
                  <a:lnTo>
                    <a:pt x="110" y="102"/>
                  </a:lnTo>
                  <a:lnTo>
                    <a:pt x="111" y="98"/>
                  </a:lnTo>
                  <a:lnTo>
                    <a:pt x="107" y="96"/>
                  </a:lnTo>
                  <a:lnTo>
                    <a:pt x="105" y="94"/>
                  </a:lnTo>
                  <a:lnTo>
                    <a:pt x="109" y="94"/>
                  </a:lnTo>
                  <a:lnTo>
                    <a:pt x="111" y="94"/>
                  </a:lnTo>
                  <a:lnTo>
                    <a:pt x="112" y="93"/>
                  </a:lnTo>
                  <a:lnTo>
                    <a:pt x="110" y="94"/>
                  </a:lnTo>
                  <a:lnTo>
                    <a:pt x="107" y="93"/>
                  </a:lnTo>
                  <a:lnTo>
                    <a:pt x="104" y="90"/>
                  </a:lnTo>
                  <a:lnTo>
                    <a:pt x="107" y="89"/>
                  </a:lnTo>
                  <a:lnTo>
                    <a:pt x="110" y="89"/>
                  </a:lnTo>
                  <a:lnTo>
                    <a:pt x="112" y="90"/>
                  </a:lnTo>
                  <a:lnTo>
                    <a:pt x="109" y="89"/>
                  </a:lnTo>
                  <a:lnTo>
                    <a:pt x="106" y="88"/>
                  </a:lnTo>
                  <a:lnTo>
                    <a:pt x="105" y="85"/>
                  </a:lnTo>
                  <a:lnTo>
                    <a:pt x="102" y="82"/>
                  </a:lnTo>
                  <a:lnTo>
                    <a:pt x="101" y="80"/>
                  </a:lnTo>
                  <a:lnTo>
                    <a:pt x="100" y="77"/>
                  </a:lnTo>
                  <a:lnTo>
                    <a:pt x="100" y="77"/>
                  </a:lnTo>
                  <a:lnTo>
                    <a:pt x="101" y="75"/>
                  </a:lnTo>
                  <a:lnTo>
                    <a:pt x="98" y="75"/>
                  </a:lnTo>
                  <a:lnTo>
                    <a:pt x="101" y="72"/>
                  </a:lnTo>
                  <a:lnTo>
                    <a:pt x="97" y="73"/>
                  </a:lnTo>
                  <a:lnTo>
                    <a:pt x="97" y="73"/>
                  </a:lnTo>
                  <a:lnTo>
                    <a:pt x="96" y="72"/>
                  </a:lnTo>
                  <a:lnTo>
                    <a:pt x="96" y="69"/>
                  </a:lnTo>
                  <a:lnTo>
                    <a:pt x="94" y="68"/>
                  </a:lnTo>
                  <a:lnTo>
                    <a:pt x="90" y="67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5" y="63"/>
                  </a:lnTo>
                  <a:lnTo>
                    <a:pt x="83" y="62"/>
                  </a:lnTo>
                  <a:lnTo>
                    <a:pt x="80" y="62"/>
                  </a:lnTo>
                  <a:lnTo>
                    <a:pt x="79" y="62"/>
                  </a:lnTo>
                  <a:lnTo>
                    <a:pt x="78" y="62"/>
                  </a:lnTo>
                  <a:lnTo>
                    <a:pt x="78" y="62"/>
                  </a:lnTo>
                  <a:lnTo>
                    <a:pt x="76" y="60"/>
                  </a:lnTo>
                  <a:lnTo>
                    <a:pt x="72" y="59"/>
                  </a:lnTo>
                  <a:lnTo>
                    <a:pt x="70" y="58"/>
                  </a:lnTo>
                  <a:lnTo>
                    <a:pt x="68" y="56"/>
                  </a:lnTo>
                  <a:lnTo>
                    <a:pt x="64" y="56"/>
                  </a:lnTo>
                  <a:lnTo>
                    <a:pt x="63" y="56"/>
                  </a:lnTo>
                  <a:lnTo>
                    <a:pt x="60" y="55"/>
                  </a:lnTo>
                  <a:lnTo>
                    <a:pt x="58" y="55"/>
                  </a:lnTo>
                  <a:lnTo>
                    <a:pt x="54" y="54"/>
                  </a:lnTo>
                  <a:lnTo>
                    <a:pt x="52" y="53"/>
                  </a:lnTo>
                  <a:lnTo>
                    <a:pt x="52" y="53"/>
                  </a:lnTo>
                  <a:lnTo>
                    <a:pt x="51" y="52"/>
                  </a:lnTo>
                  <a:lnTo>
                    <a:pt x="50" y="50"/>
                  </a:lnTo>
                  <a:lnTo>
                    <a:pt x="53" y="48"/>
                  </a:lnTo>
                  <a:lnTo>
                    <a:pt x="50" y="48"/>
                  </a:lnTo>
                  <a:lnTo>
                    <a:pt x="47" y="50"/>
                  </a:lnTo>
                  <a:lnTo>
                    <a:pt x="45" y="50"/>
                  </a:lnTo>
                  <a:lnTo>
                    <a:pt x="43" y="46"/>
                  </a:lnTo>
                  <a:lnTo>
                    <a:pt x="41" y="47"/>
                  </a:lnTo>
                  <a:lnTo>
                    <a:pt x="39" y="46"/>
                  </a:lnTo>
                  <a:lnTo>
                    <a:pt x="37" y="45"/>
                  </a:lnTo>
                  <a:lnTo>
                    <a:pt x="36" y="42"/>
                  </a:lnTo>
                  <a:lnTo>
                    <a:pt x="36" y="39"/>
                  </a:lnTo>
                  <a:lnTo>
                    <a:pt x="38" y="37"/>
                  </a:lnTo>
                  <a:lnTo>
                    <a:pt x="36" y="37"/>
                  </a:lnTo>
                  <a:lnTo>
                    <a:pt x="36" y="41"/>
                  </a:lnTo>
                  <a:lnTo>
                    <a:pt x="35" y="43"/>
                  </a:lnTo>
                  <a:lnTo>
                    <a:pt x="33" y="45"/>
                  </a:lnTo>
                  <a:lnTo>
                    <a:pt x="33" y="47"/>
                  </a:lnTo>
                  <a:lnTo>
                    <a:pt x="30" y="51"/>
                  </a:lnTo>
                  <a:lnTo>
                    <a:pt x="28" y="50"/>
                  </a:lnTo>
                  <a:lnTo>
                    <a:pt x="25" y="50"/>
                  </a:lnTo>
                  <a:lnTo>
                    <a:pt x="24" y="47"/>
                  </a:lnTo>
                  <a:lnTo>
                    <a:pt x="26" y="44"/>
                  </a:lnTo>
                  <a:lnTo>
                    <a:pt x="25" y="42"/>
                  </a:lnTo>
                  <a:lnTo>
                    <a:pt x="22" y="39"/>
                  </a:lnTo>
                  <a:lnTo>
                    <a:pt x="20" y="37"/>
                  </a:lnTo>
                  <a:lnTo>
                    <a:pt x="18" y="35"/>
                  </a:lnTo>
                  <a:lnTo>
                    <a:pt x="15" y="35"/>
                  </a:lnTo>
                  <a:lnTo>
                    <a:pt x="15" y="33"/>
                  </a:lnTo>
                  <a:lnTo>
                    <a:pt x="17" y="32"/>
                  </a:lnTo>
                  <a:lnTo>
                    <a:pt x="20" y="33"/>
                  </a:lnTo>
                  <a:lnTo>
                    <a:pt x="22" y="33"/>
                  </a:lnTo>
                  <a:lnTo>
                    <a:pt x="25" y="33"/>
                  </a:lnTo>
                  <a:lnTo>
                    <a:pt x="27" y="29"/>
                  </a:lnTo>
                  <a:lnTo>
                    <a:pt x="29" y="28"/>
                  </a:lnTo>
                  <a:lnTo>
                    <a:pt x="33" y="29"/>
                  </a:lnTo>
                  <a:lnTo>
                    <a:pt x="37" y="30"/>
                  </a:lnTo>
                  <a:lnTo>
                    <a:pt x="37" y="28"/>
                  </a:lnTo>
                  <a:lnTo>
                    <a:pt x="41" y="28"/>
                  </a:lnTo>
                  <a:lnTo>
                    <a:pt x="41" y="25"/>
                  </a:lnTo>
                  <a:lnTo>
                    <a:pt x="37" y="25"/>
                  </a:lnTo>
                  <a:lnTo>
                    <a:pt x="35" y="25"/>
                  </a:lnTo>
                  <a:lnTo>
                    <a:pt x="29" y="25"/>
                  </a:lnTo>
                  <a:lnTo>
                    <a:pt x="27" y="26"/>
                  </a:lnTo>
                  <a:lnTo>
                    <a:pt x="26" y="26"/>
                  </a:lnTo>
                  <a:lnTo>
                    <a:pt x="24" y="26"/>
                  </a:lnTo>
                  <a:lnTo>
                    <a:pt x="22" y="26"/>
                  </a:lnTo>
                  <a:lnTo>
                    <a:pt x="19" y="25"/>
                  </a:lnTo>
                  <a:lnTo>
                    <a:pt x="17" y="25"/>
                  </a:lnTo>
                  <a:lnTo>
                    <a:pt x="15" y="24"/>
                  </a:lnTo>
                  <a:lnTo>
                    <a:pt x="12" y="20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1" y="17"/>
                  </a:lnTo>
                  <a:lnTo>
                    <a:pt x="8" y="15"/>
                  </a:lnTo>
                  <a:lnTo>
                    <a:pt x="5" y="15"/>
                  </a:lnTo>
                  <a:lnTo>
                    <a:pt x="2" y="16"/>
                  </a:lnTo>
                  <a:lnTo>
                    <a:pt x="0" y="15"/>
                  </a:lnTo>
                  <a:lnTo>
                    <a:pt x="0" y="12"/>
                  </a:lnTo>
                  <a:lnTo>
                    <a:pt x="3" y="10"/>
                  </a:lnTo>
                  <a:lnTo>
                    <a:pt x="3" y="9"/>
                  </a:lnTo>
                  <a:lnTo>
                    <a:pt x="3" y="5"/>
                  </a:lnTo>
                  <a:lnTo>
                    <a:pt x="7" y="4"/>
                  </a:lnTo>
                  <a:lnTo>
                    <a:pt x="9" y="4"/>
                  </a:lnTo>
                  <a:lnTo>
                    <a:pt x="11" y="4"/>
                  </a:lnTo>
                  <a:lnTo>
                    <a:pt x="15" y="2"/>
                  </a:lnTo>
                  <a:lnTo>
                    <a:pt x="17" y="0"/>
                  </a:lnTo>
                  <a:lnTo>
                    <a:pt x="19" y="0"/>
                  </a:lnTo>
                  <a:lnTo>
                    <a:pt x="21" y="0"/>
                  </a:lnTo>
                  <a:lnTo>
                    <a:pt x="24" y="0"/>
                  </a:lnTo>
                  <a:lnTo>
                    <a:pt x="27" y="1"/>
                  </a:lnTo>
                  <a:lnTo>
                    <a:pt x="29" y="2"/>
                  </a:lnTo>
                  <a:lnTo>
                    <a:pt x="33" y="4"/>
                  </a:lnTo>
                  <a:lnTo>
                    <a:pt x="35" y="5"/>
                  </a:lnTo>
                  <a:lnTo>
                    <a:pt x="37" y="4"/>
                  </a:lnTo>
                  <a:lnTo>
                    <a:pt x="38" y="5"/>
                  </a:lnTo>
                  <a:lnTo>
                    <a:pt x="42" y="5"/>
                  </a:lnTo>
                  <a:lnTo>
                    <a:pt x="42" y="8"/>
                  </a:lnTo>
                  <a:lnTo>
                    <a:pt x="43" y="11"/>
                  </a:lnTo>
                  <a:lnTo>
                    <a:pt x="44" y="13"/>
                  </a:lnTo>
                  <a:lnTo>
                    <a:pt x="43" y="16"/>
                  </a:lnTo>
                  <a:lnTo>
                    <a:pt x="42" y="19"/>
                  </a:lnTo>
                  <a:lnTo>
                    <a:pt x="43" y="21"/>
                  </a:lnTo>
                  <a:lnTo>
                    <a:pt x="43" y="25"/>
                  </a:lnTo>
                  <a:lnTo>
                    <a:pt x="43" y="27"/>
                  </a:lnTo>
                  <a:lnTo>
                    <a:pt x="45" y="29"/>
                  </a:lnTo>
                  <a:lnTo>
                    <a:pt x="46" y="33"/>
                  </a:lnTo>
                  <a:lnTo>
                    <a:pt x="47" y="29"/>
                  </a:lnTo>
                  <a:lnTo>
                    <a:pt x="50" y="33"/>
                  </a:lnTo>
                  <a:lnTo>
                    <a:pt x="51" y="35"/>
                  </a:lnTo>
                  <a:lnTo>
                    <a:pt x="52" y="37"/>
                  </a:lnTo>
                  <a:lnTo>
                    <a:pt x="54" y="41"/>
                  </a:lnTo>
                  <a:lnTo>
                    <a:pt x="56" y="41"/>
                  </a:lnTo>
                  <a:lnTo>
                    <a:pt x="59" y="41"/>
                  </a:lnTo>
                  <a:lnTo>
                    <a:pt x="62" y="41"/>
                  </a:lnTo>
                  <a:lnTo>
                    <a:pt x="64" y="38"/>
                  </a:lnTo>
                  <a:lnTo>
                    <a:pt x="67" y="36"/>
                  </a:lnTo>
                  <a:lnTo>
                    <a:pt x="68" y="34"/>
                  </a:lnTo>
                  <a:lnTo>
                    <a:pt x="69" y="32"/>
                  </a:lnTo>
                  <a:lnTo>
                    <a:pt x="71" y="29"/>
                  </a:lnTo>
                  <a:lnTo>
                    <a:pt x="72" y="27"/>
                  </a:lnTo>
                  <a:lnTo>
                    <a:pt x="76" y="25"/>
                  </a:lnTo>
                  <a:lnTo>
                    <a:pt x="78" y="26"/>
                  </a:lnTo>
                  <a:lnTo>
                    <a:pt x="80" y="25"/>
                  </a:lnTo>
                  <a:lnTo>
                    <a:pt x="84" y="24"/>
                  </a:lnTo>
                  <a:lnTo>
                    <a:pt x="85" y="21"/>
                  </a:lnTo>
                  <a:lnTo>
                    <a:pt x="85" y="19"/>
                  </a:lnTo>
                  <a:lnTo>
                    <a:pt x="87" y="18"/>
                  </a:lnTo>
                  <a:lnTo>
                    <a:pt x="90" y="16"/>
                  </a:lnTo>
                  <a:lnTo>
                    <a:pt x="93" y="15"/>
                  </a:lnTo>
                  <a:lnTo>
                    <a:pt x="94" y="15"/>
                  </a:lnTo>
                  <a:lnTo>
                    <a:pt x="97" y="17"/>
                  </a:lnTo>
                  <a:lnTo>
                    <a:pt x="100" y="18"/>
                  </a:lnTo>
                  <a:lnTo>
                    <a:pt x="102" y="19"/>
                  </a:lnTo>
                  <a:lnTo>
                    <a:pt x="105" y="19"/>
                  </a:lnTo>
                  <a:lnTo>
                    <a:pt x="107" y="21"/>
                  </a:lnTo>
                  <a:lnTo>
                    <a:pt x="111" y="22"/>
                  </a:lnTo>
                  <a:lnTo>
                    <a:pt x="113" y="24"/>
                  </a:lnTo>
                  <a:lnTo>
                    <a:pt x="115" y="25"/>
                  </a:lnTo>
                  <a:lnTo>
                    <a:pt x="121" y="27"/>
                  </a:lnTo>
                  <a:lnTo>
                    <a:pt x="123" y="27"/>
                  </a:lnTo>
                  <a:lnTo>
                    <a:pt x="126" y="27"/>
                  </a:lnTo>
                  <a:lnTo>
                    <a:pt x="128" y="28"/>
                  </a:lnTo>
                  <a:lnTo>
                    <a:pt x="131" y="28"/>
                  </a:lnTo>
                  <a:lnTo>
                    <a:pt x="132" y="30"/>
                  </a:lnTo>
                  <a:lnTo>
                    <a:pt x="136" y="30"/>
                  </a:lnTo>
                  <a:lnTo>
                    <a:pt x="137" y="30"/>
                  </a:lnTo>
                  <a:lnTo>
                    <a:pt x="138" y="30"/>
                  </a:lnTo>
                  <a:lnTo>
                    <a:pt x="141" y="32"/>
                  </a:lnTo>
                  <a:lnTo>
                    <a:pt x="144" y="33"/>
                  </a:lnTo>
                  <a:lnTo>
                    <a:pt x="152" y="37"/>
                  </a:lnTo>
                  <a:lnTo>
                    <a:pt x="154" y="37"/>
                  </a:lnTo>
                  <a:lnTo>
                    <a:pt x="157" y="38"/>
                  </a:lnTo>
                  <a:lnTo>
                    <a:pt x="163" y="41"/>
                  </a:lnTo>
                  <a:lnTo>
                    <a:pt x="165" y="41"/>
                  </a:lnTo>
                  <a:lnTo>
                    <a:pt x="167" y="41"/>
                  </a:lnTo>
                  <a:lnTo>
                    <a:pt x="169" y="41"/>
                  </a:lnTo>
                  <a:lnTo>
                    <a:pt x="171" y="42"/>
                  </a:lnTo>
                  <a:lnTo>
                    <a:pt x="173" y="43"/>
                  </a:lnTo>
                  <a:lnTo>
                    <a:pt x="177" y="45"/>
                  </a:lnTo>
                  <a:lnTo>
                    <a:pt x="179" y="46"/>
                  </a:lnTo>
                  <a:lnTo>
                    <a:pt x="182" y="46"/>
                  </a:lnTo>
                  <a:lnTo>
                    <a:pt x="184" y="47"/>
                  </a:lnTo>
                  <a:lnTo>
                    <a:pt x="186" y="50"/>
                  </a:lnTo>
                  <a:lnTo>
                    <a:pt x="187" y="50"/>
                  </a:lnTo>
                  <a:lnTo>
                    <a:pt x="187" y="50"/>
                  </a:lnTo>
                  <a:lnTo>
                    <a:pt x="189" y="51"/>
                  </a:lnTo>
                  <a:lnTo>
                    <a:pt x="191" y="54"/>
                  </a:lnTo>
                  <a:lnTo>
                    <a:pt x="192" y="54"/>
                  </a:lnTo>
                  <a:lnTo>
                    <a:pt x="195" y="54"/>
                  </a:lnTo>
                  <a:lnTo>
                    <a:pt x="198" y="56"/>
                  </a:lnTo>
                  <a:lnTo>
                    <a:pt x="199" y="59"/>
                  </a:lnTo>
                  <a:lnTo>
                    <a:pt x="203" y="62"/>
                  </a:lnTo>
                  <a:lnTo>
                    <a:pt x="203" y="64"/>
                  </a:lnTo>
                  <a:lnTo>
                    <a:pt x="201" y="67"/>
                  </a:lnTo>
                  <a:lnTo>
                    <a:pt x="203" y="70"/>
                  </a:lnTo>
                  <a:lnTo>
                    <a:pt x="205" y="70"/>
                  </a:lnTo>
                  <a:lnTo>
                    <a:pt x="208" y="71"/>
                  </a:lnTo>
                  <a:lnTo>
                    <a:pt x="211" y="71"/>
                  </a:lnTo>
                  <a:lnTo>
                    <a:pt x="213" y="72"/>
                  </a:lnTo>
                  <a:lnTo>
                    <a:pt x="216" y="75"/>
                  </a:lnTo>
                  <a:lnTo>
                    <a:pt x="217" y="75"/>
                  </a:lnTo>
                  <a:lnTo>
                    <a:pt x="220" y="77"/>
                  </a:lnTo>
                  <a:lnTo>
                    <a:pt x="223" y="76"/>
                  </a:lnTo>
                  <a:lnTo>
                    <a:pt x="225" y="77"/>
                  </a:lnTo>
                  <a:lnTo>
                    <a:pt x="228" y="79"/>
                  </a:lnTo>
                  <a:lnTo>
                    <a:pt x="230" y="81"/>
                  </a:lnTo>
                  <a:lnTo>
                    <a:pt x="230" y="85"/>
                  </a:lnTo>
                  <a:lnTo>
                    <a:pt x="229" y="87"/>
                  </a:lnTo>
                  <a:lnTo>
                    <a:pt x="226" y="87"/>
                  </a:lnTo>
                  <a:lnTo>
                    <a:pt x="224" y="87"/>
                  </a:lnTo>
                  <a:lnTo>
                    <a:pt x="221" y="87"/>
                  </a:lnTo>
                  <a:lnTo>
                    <a:pt x="218" y="87"/>
                  </a:lnTo>
                  <a:lnTo>
                    <a:pt x="218" y="89"/>
                  </a:lnTo>
                  <a:lnTo>
                    <a:pt x="220" y="92"/>
                  </a:lnTo>
                  <a:lnTo>
                    <a:pt x="221" y="94"/>
                  </a:lnTo>
                  <a:lnTo>
                    <a:pt x="222" y="97"/>
                  </a:lnTo>
                  <a:lnTo>
                    <a:pt x="224" y="98"/>
                  </a:lnTo>
                  <a:lnTo>
                    <a:pt x="226" y="101"/>
                  </a:lnTo>
                  <a:lnTo>
                    <a:pt x="230" y="104"/>
                  </a:lnTo>
                  <a:lnTo>
                    <a:pt x="232" y="104"/>
                  </a:lnTo>
                  <a:lnTo>
                    <a:pt x="233" y="105"/>
                  </a:lnTo>
                  <a:lnTo>
                    <a:pt x="234" y="106"/>
                  </a:lnTo>
                  <a:lnTo>
                    <a:pt x="234" y="107"/>
                  </a:lnTo>
                  <a:lnTo>
                    <a:pt x="235" y="112"/>
                  </a:lnTo>
                  <a:lnTo>
                    <a:pt x="239" y="114"/>
                  </a:lnTo>
                  <a:lnTo>
                    <a:pt x="240" y="116"/>
                  </a:lnTo>
                  <a:lnTo>
                    <a:pt x="242" y="120"/>
                  </a:lnTo>
                  <a:lnTo>
                    <a:pt x="245" y="119"/>
                  </a:lnTo>
                  <a:lnTo>
                    <a:pt x="248" y="119"/>
                  </a:lnTo>
                  <a:lnTo>
                    <a:pt x="250" y="120"/>
                  </a:lnTo>
                  <a:lnTo>
                    <a:pt x="249" y="122"/>
                  </a:lnTo>
                  <a:lnTo>
                    <a:pt x="250" y="126"/>
                  </a:lnTo>
                  <a:lnTo>
                    <a:pt x="252" y="127"/>
                  </a:lnTo>
                  <a:lnTo>
                    <a:pt x="255" y="127"/>
                  </a:lnTo>
                  <a:lnTo>
                    <a:pt x="257" y="127"/>
                  </a:lnTo>
                  <a:lnTo>
                    <a:pt x="259" y="127"/>
                  </a:lnTo>
                  <a:lnTo>
                    <a:pt x="259" y="128"/>
                  </a:lnTo>
                  <a:lnTo>
                    <a:pt x="259" y="129"/>
                  </a:lnTo>
                  <a:lnTo>
                    <a:pt x="256" y="129"/>
                  </a:lnTo>
                  <a:lnTo>
                    <a:pt x="258" y="132"/>
                  </a:lnTo>
                  <a:lnTo>
                    <a:pt x="259" y="133"/>
                  </a:lnTo>
                  <a:lnTo>
                    <a:pt x="260" y="133"/>
                  </a:lnTo>
                  <a:lnTo>
                    <a:pt x="264" y="135"/>
                  </a:lnTo>
                  <a:lnTo>
                    <a:pt x="266" y="135"/>
                  </a:lnTo>
                  <a:lnTo>
                    <a:pt x="268" y="136"/>
                  </a:lnTo>
                  <a:lnTo>
                    <a:pt x="272" y="136"/>
                  </a:lnTo>
                  <a:lnTo>
                    <a:pt x="268" y="137"/>
                  </a:lnTo>
                  <a:lnTo>
                    <a:pt x="266" y="138"/>
                  </a:lnTo>
                  <a:lnTo>
                    <a:pt x="268" y="140"/>
                  </a:lnTo>
                  <a:lnTo>
                    <a:pt x="265" y="141"/>
                  </a:lnTo>
                  <a:lnTo>
                    <a:pt x="263" y="141"/>
                  </a:lnTo>
                  <a:lnTo>
                    <a:pt x="259" y="140"/>
                  </a:lnTo>
                  <a:lnTo>
                    <a:pt x="259" y="139"/>
                  </a:lnTo>
                  <a:lnTo>
                    <a:pt x="259" y="1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23" name="Freeform 223">
              <a:extLst>
                <a:ext uri="{FF2B5EF4-FFF2-40B4-BE49-F238E27FC236}">
                  <a16:creationId xmlns:a16="http://schemas.microsoft.com/office/drawing/2014/main" id="{D20B03B4-FFC7-4B25-9897-7A8F1A946B30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6900" y="4302125"/>
              <a:ext cx="225425" cy="241300"/>
            </a:xfrm>
            <a:custGeom>
              <a:avLst/>
              <a:gdLst>
                <a:gd name="T0" fmla="*/ 19 w 142"/>
                <a:gd name="T1" fmla="*/ 135 h 152"/>
                <a:gd name="T2" fmla="*/ 15 w 142"/>
                <a:gd name="T3" fmla="*/ 121 h 152"/>
                <a:gd name="T4" fmla="*/ 14 w 142"/>
                <a:gd name="T5" fmla="*/ 111 h 152"/>
                <a:gd name="T6" fmla="*/ 8 w 142"/>
                <a:gd name="T7" fmla="*/ 105 h 152"/>
                <a:gd name="T8" fmla="*/ 3 w 142"/>
                <a:gd name="T9" fmla="*/ 93 h 152"/>
                <a:gd name="T10" fmla="*/ 0 w 142"/>
                <a:gd name="T11" fmla="*/ 82 h 152"/>
                <a:gd name="T12" fmla="*/ 3 w 142"/>
                <a:gd name="T13" fmla="*/ 76 h 152"/>
                <a:gd name="T14" fmla="*/ 11 w 142"/>
                <a:gd name="T15" fmla="*/ 68 h 152"/>
                <a:gd name="T16" fmla="*/ 22 w 142"/>
                <a:gd name="T17" fmla="*/ 72 h 152"/>
                <a:gd name="T18" fmla="*/ 30 w 142"/>
                <a:gd name="T19" fmla="*/ 77 h 152"/>
                <a:gd name="T20" fmla="*/ 29 w 142"/>
                <a:gd name="T21" fmla="*/ 74 h 152"/>
                <a:gd name="T22" fmla="*/ 34 w 142"/>
                <a:gd name="T23" fmla="*/ 66 h 152"/>
                <a:gd name="T24" fmla="*/ 34 w 142"/>
                <a:gd name="T25" fmla="*/ 61 h 152"/>
                <a:gd name="T26" fmla="*/ 46 w 142"/>
                <a:gd name="T27" fmla="*/ 56 h 152"/>
                <a:gd name="T28" fmla="*/ 57 w 142"/>
                <a:gd name="T29" fmla="*/ 52 h 152"/>
                <a:gd name="T30" fmla="*/ 67 w 142"/>
                <a:gd name="T31" fmla="*/ 40 h 152"/>
                <a:gd name="T32" fmla="*/ 75 w 142"/>
                <a:gd name="T33" fmla="*/ 33 h 152"/>
                <a:gd name="T34" fmla="*/ 84 w 142"/>
                <a:gd name="T35" fmla="*/ 27 h 152"/>
                <a:gd name="T36" fmla="*/ 85 w 142"/>
                <a:gd name="T37" fmla="*/ 28 h 152"/>
                <a:gd name="T38" fmla="*/ 90 w 142"/>
                <a:gd name="T39" fmla="*/ 24 h 152"/>
                <a:gd name="T40" fmla="*/ 96 w 142"/>
                <a:gd name="T41" fmla="*/ 19 h 152"/>
                <a:gd name="T42" fmla="*/ 102 w 142"/>
                <a:gd name="T43" fmla="*/ 8 h 152"/>
                <a:gd name="T44" fmla="*/ 108 w 142"/>
                <a:gd name="T45" fmla="*/ 6 h 152"/>
                <a:gd name="T46" fmla="*/ 118 w 142"/>
                <a:gd name="T47" fmla="*/ 5 h 152"/>
                <a:gd name="T48" fmla="*/ 123 w 142"/>
                <a:gd name="T49" fmla="*/ 15 h 152"/>
                <a:gd name="T50" fmla="*/ 130 w 142"/>
                <a:gd name="T51" fmla="*/ 16 h 152"/>
                <a:gd name="T52" fmla="*/ 140 w 142"/>
                <a:gd name="T53" fmla="*/ 22 h 152"/>
                <a:gd name="T54" fmla="*/ 132 w 142"/>
                <a:gd name="T55" fmla="*/ 28 h 152"/>
                <a:gd name="T56" fmla="*/ 132 w 142"/>
                <a:gd name="T57" fmla="*/ 36 h 152"/>
                <a:gd name="T58" fmla="*/ 119 w 142"/>
                <a:gd name="T59" fmla="*/ 36 h 152"/>
                <a:gd name="T60" fmla="*/ 119 w 142"/>
                <a:gd name="T61" fmla="*/ 46 h 152"/>
                <a:gd name="T62" fmla="*/ 117 w 142"/>
                <a:gd name="T63" fmla="*/ 53 h 152"/>
                <a:gd name="T64" fmla="*/ 119 w 142"/>
                <a:gd name="T65" fmla="*/ 57 h 152"/>
                <a:gd name="T66" fmla="*/ 123 w 142"/>
                <a:gd name="T67" fmla="*/ 68 h 152"/>
                <a:gd name="T68" fmla="*/ 139 w 142"/>
                <a:gd name="T69" fmla="*/ 82 h 152"/>
                <a:gd name="T70" fmla="*/ 130 w 142"/>
                <a:gd name="T71" fmla="*/ 85 h 152"/>
                <a:gd name="T72" fmla="*/ 120 w 142"/>
                <a:gd name="T73" fmla="*/ 87 h 152"/>
                <a:gd name="T74" fmla="*/ 117 w 142"/>
                <a:gd name="T75" fmla="*/ 100 h 152"/>
                <a:gd name="T76" fmla="*/ 116 w 142"/>
                <a:gd name="T77" fmla="*/ 108 h 152"/>
                <a:gd name="T78" fmla="*/ 108 w 142"/>
                <a:gd name="T79" fmla="*/ 112 h 152"/>
                <a:gd name="T80" fmla="*/ 103 w 142"/>
                <a:gd name="T81" fmla="*/ 120 h 152"/>
                <a:gd name="T82" fmla="*/ 105 w 142"/>
                <a:gd name="T83" fmla="*/ 130 h 152"/>
                <a:gd name="T84" fmla="*/ 100 w 142"/>
                <a:gd name="T85" fmla="*/ 139 h 152"/>
                <a:gd name="T86" fmla="*/ 86 w 142"/>
                <a:gd name="T87" fmla="*/ 149 h 152"/>
                <a:gd name="T88" fmla="*/ 79 w 142"/>
                <a:gd name="T89" fmla="*/ 147 h 152"/>
                <a:gd name="T90" fmla="*/ 74 w 142"/>
                <a:gd name="T91" fmla="*/ 143 h 152"/>
                <a:gd name="T92" fmla="*/ 67 w 142"/>
                <a:gd name="T93" fmla="*/ 143 h 152"/>
                <a:gd name="T94" fmla="*/ 57 w 142"/>
                <a:gd name="T95" fmla="*/ 137 h 152"/>
                <a:gd name="T96" fmla="*/ 46 w 142"/>
                <a:gd name="T97" fmla="*/ 142 h 152"/>
                <a:gd name="T98" fmla="*/ 40 w 142"/>
                <a:gd name="T99" fmla="*/ 136 h 152"/>
                <a:gd name="T100" fmla="*/ 30 w 142"/>
                <a:gd name="T101" fmla="*/ 138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42" h="152">
                  <a:moveTo>
                    <a:pt x="28" y="135"/>
                  </a:moveTo>
                  <a:lnTo>
                    <a:pt x="26" y="136"/>
                  </a:lnTo>
                  <a:lnTo>
                    <a:pt x="23" y="135"/>
                  </a:lnTo>
                  <a:lnTo>
                    <a:pt x="21" y="136"/>
                  </a:lnTo>
                  <a:lnTo>
                    <a:pt x="19" y="135"/>
                  </a:lnTo>
                  <a:lnTo>
                    <a:pt x="19" y="133"/>
                  </a:lnTo>
                  <a:lnTo>
                    <a:pt x="17" y="129"/>
                  </a:lnTo>
                  <a:lnTo>
                    <a:pt x="17" y="127"/>
                  </a:lnTo>
                  <a:lnTo>
                    <a:pt x="16" y="125"/>
                  </a:lnTo>
                  <a:lnTo>
                    <a:pt x="15" y="121"/>
                  </a:lnTo>
                  <a:lnTo>
                    <a:pt x="15" y="119"/>
                  </a:lnTo>
                  <a:lnTo>
                    <a:pt x="15" y="119"/>
                  </a:lnTo>
                  <a:lnTo>
                    <a:pt x="16" y="116"/>
                  </a:lnTo>
                  <a:lnTo>
                    <a:pt x="15" y="113"/>
                  </a:lnTo>
                  <a:lnTo>
                    <a:pt x="14" y="111"/>
                  </a:lnTo>
                  <a:lnTo>
                    <a:pt x="11" y="109"/>
                  </a:lnTo>
                  <a:lnTo>
                    <a:pt x="8" y="108"/>
                  </a:lnTo>
                  <a:lnTo>
                    <a:pt x="6" y="108"/>
                  </a:lnTo>
                  <a:lnTo>
                    <a:pt x="5" y="105"/>
                  </a:lnTo>
                  <a:lnTo>
                    <a:pt x="8" y="105"/>
                  </a:lnTo>
                  <a:lnTo>
                    <a:pt x="3" y="102"/>
                  </a:lnTo>
                  <a:lnTo>
                    <a:pt x="5" y="99"/>
                  </a:lnTo>
                  <a:lnTo>
                    <a:pt x="4" y="99"/>
                  </a:lnTo>
                  <a:lnTo>
                    <a:pt x="4" y="95"/>
                  </a:lnTo>
                  <a:lnTo>
                    <a:pt x="3" y="93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86"/>
                  </a:lnTo>
                  <a:lnTo>
                    <a:pt x="0" y="84"/>
                  </a:lnTo>
                  <a:lnTo>
                    <a:pt x="0" y="82"/>
                  </a:lnTo>
                  <a:lnTo>
                    <a:pt x="4" y="78"/>
                  </a:lnTo>
                  <a:lnTo>
                    <a:pt x="5" y="77"/>
                  </a:lnTo>
                  <a:lnTo>
                    <a:pt x="5" y="77"/>
                  </a:lnTo>
                  <a:lnTo>
                    <a:pt x="2" y="79"/>
                  </a:lnTo>
                  <a:lnTo>
                    <a:pt x="3" y="76"/>
                  </a:lnTo>
                  <a:lnTo>
                    <a:pt x="4" y="74"/>
                  </a:lnTo>
                  <a:lnTo>
                    <a:pt x="6" y="71"/>
                  </a:lnTo>
                  <a:lnTo>
                    <a:pt x="9" y="68"/>
                  </a:lnTo>
                  <a:lnTo>
                    <a:pt x="11" y="67"/>
                  </a:lnTo>
                  <a:lnTo>
                    <a:pt x="11" y="68"/>
                  </a:lnTo>
                  <a:lnTo>
                    <a:pt x="13" y="71"/>
                  </a:lnTo>
                  <a:lnTo>
                    <a:pt x="15" y="72"/>
                  </a:lnTo>
                  <a:lnTo>
                    <a:pt x="17" y="72"/>
                  </a:lnTo>
                  <a:lnTo>
                    <a:pt x="20" y="72"/>
                  </a:lnTo>
                  <a:lnTo>
                    <a:pt x="22" y="72"/>
                  </a:lnTo>
                  <a:lnTo>
                    <a:pt x="22" y="74"/>
                  </a:lnTo>
                  <a:lnTo>
                    <a:pt x="24" y="74"/>
                  </a:lnTo>
                  <a:lnTo>
                    <a:pt x="24" y="76"/>
                  </a:lnTo>
                  <a:lnTo>
                    <a:pt x="26" y="75"/>
                  </a:lnTo>
                  <a:lnTo>
                    <a:pt x="30" y="77"/>
                  </a:lnTo>
                  <a:lnTo>
                    <a:pt x="32" y="77"/>
                  </a:lnTo>
                  <a:lnTo>
                    <a:pt x="33" y="77"/>
                  </a:lnTo>
                  <a:lnTo>
                    <a:pt x="34" y="77"/>
                  </a:lnTo>
                  <a:lnTo>
                    <a:pt x="31" y="77"/>
                  </a:lnTo>
                  <a:lnTo>
                    <a:pt x="29" y="74"/>
                  </a:lnTo>
                  <a:lnTo>
                    <a:pt x="31" y="74"/>
                  </a:lnTo>
                  <a:lnTo>
                    <a:pt x="30" y="70"/>
                  </a:lnTo>
                  <a:lnTo>
                    <a:pt x="31" y="68"/>
                  </a:lnTo>
                  <a:lnTo>
                    <a:pt x="32" y="67"/>
                  </a:lnTo>
                  <a:lnTo>
                    <a:pt x="34" y="66"/>
                  </a:lnTo>
                  <a:lnTo>
                    <a:pt x="31" y="67"/>
                  </a:lnTo>
                  <a:lnTo>
                    <a:pt x="31" y="63"/>
                  </a:lnTo>
                  <a:lnTo>
                    <a:pt x="34" y="63"/>
                  </a:lnTo>
                  <a:lnTo>
                    <a:pt x="36" y="63"/>
                  </a:lnTo>
                  <a:lnTo>
                    <a:pt x="34" y="61"/>
                  </a:lnTo>
                  <a:lnTo>
                    <a:pt x="36" y="58"/>
                  </a:lnTo>
                  <a:lnTo>
                    <a:pt x="38" y="57"/>
                  </a:lnTo>
                  <a:lnTo>
                    <a:pt x="40" y="57"/>
                  </a:lnTo>
                  <a:lnTo>
                    <a:pt x="43" y="56"/>
                  </a:lnTo>
                  <a:lnTo>
                    <a:pt x="46" y="56"/>
                  </a:lnTo>
                  <a:lnTo>
                    <a:pt x="48" y="54"/>
                  </a:lnTo>
                  <a:lnTo>
                    <a:pt x="50" y="54"/>
                  </a:lnTo>
                  <a:lnTo>
                    <a:pt x="54" y="53"/>
                  </a:lnTo>
                  <a:lnTo>
                    <a:pt x="56" y="52"/>
                  </a:lnTo>
                  <a:lnTo>
                    <a:pt x="57" y="52"/>
                  </a:lnTo>
                  <a:lnTo>
                    <a:pt x="58" y="50"/>
                  </a:lnTo>
                  <a:lnTo>
                    <a:pt x="60" y="46"/>
                  </a:lnTo>
                  <a:lnTo>
                    <a:pt x="63" y="44"/>
                  </a:lnTo>
                  <a:lnTo>
                    <a:pt x="65" y="42"/>
                  </a:lnTo>
                  <a:lnTo>
                    <a:pt x="67" y="40"/>
                  </a:lnTo>
                  <a:lnTo>
                    <a:pt x="69" y="36"/>
                  </a:lnTo>
                  <a:lnTo>
                    <a:pt x="69" y="34"/>
                  </a:lnTo>
                  <a:lnTo>
                    <a:pt x="69" y="33"/>
                  </a:lnTo>
                  <a:lnTo>
                    <a:pt x="72" y="33"/>
                  </a:lnTo>
                  <a:lnTo>
                    <a:pt x="75" y="33"/>
                  </a:lnTo>
                  <a:lnTo>
                    <a:pt x="77" y="31"/>
                  </a:lnTo>
                  <a:lnTo>
                    <a:pt x="79" y="31"/>
                  </a:lnTo>
                  <a:lnTo>
                    <a:pt x="81" y="28"/>
                  </a:lnTo>
                  <a:lnTo>
                    <a:pt x="82" y="27"/>
                  </a:lnTo>
                  <a:lnTo>
                    <a:pt x="84" y="27"/>
                  </a:lnTo>
                  <a:lnTo>
                    <a:pt x="83" y="28"/>
                  </a:lnTo>
                  <a:lnTo>
                    <a:pt x="84" y="29"/>
                  </a:lnTo>
                  <a:lnTo>
                    <a:pt x="84" y="29"/>
                  </a:lnTo>
                  <a:lnTo>
                    <a:pt x="84" y="29"/>
                  </a:lnTo>
                  <a:lnTo>
                    <a:pt x="85" y="28"/>
                  </a:lnTo>
                  <a:lnTo>
                    <a:pt x="86" y="27"/>
                  </a:lnTo>
                  <a:lnTo>
                    <a:pt x="89" y="27"/>
                  </a:lnTo>
                  <a:lnTo>
                    <a:pt x="90" y="27"/>
                  </a:lnTo>
                  <a:lnTo>
                    <a:pt x="91" y="24"/>
                  </a:lnTo>
                  <a:lnTo>
                    <a:pt x="90" y="24"/>
                  </a:lnTo>
                  <a:lnTo>
                    <a:pt x="89" y="23"/>
                  </a:lnTo>
                  <a:lnTo>
                    <a:pt x="89" y="22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6" y="19"/>
                  </a:lnTo>
                  <a:lnTo>
                    <a:pt x="97" y="17"/>
                  </a:lnTo>
                  <a:lnTo>
                    <a:pt x="97" y="16"/>
                  </a:lnTo>
                  <a:lnTo>
                    <a:pt x="99" y="14"/>
                  </a:lnTo>
                  <a:lnTo>
                    <a:pt x="100" y="11"/>
                  </a:lnTo>
                  <a:lnTo>
                    <a:pt x="102" y="8"/>
                  </a:lnTo>
                  <a:lnTo>
                    <a:pt x="105" y="6"/>
                  </a:lnTo>
                  <a:lnTo>
                    <a:pt x="106" y="2"/>
                  </a:lnTo>
                  <a:lnTo>
                    <a:pt x="109" y="0"/>
                  </a:lnTo>
                  <a:lnTo>
                    <a:pt x="109" y="2"/>
                  </a:lnTo>
                  <a:lnTo>
                    <a:pt x="108" y="6"/>
                  </a:lnTo>
                  <a:lnTo>
                    <a:pt x="110" y="3"/>
                  </a:lnTo>
                  <a:lnTo>
                    <a:pt x="111" y="0"/>
                  </a:lnTo>
                  <a:lnTo>
                    <a:pt x="114" y="2"/>
                  </a:lnTo>
                  <a:lnTo>
                    <a:pt x="116" y="5"/>
                  </a:lnTo>
                  <a:lnTo>
                    <a:pt x="118" y="5"/>
                  </a:lnTo>
                  <a:lnTo>
                    <a:pt x="120" y="8"/>
                  </a:lnTo>
                  <a:lnTo>
                    <a:pt x="120" y="9"/>
                  </a:lnTo>
                  <a:lnTo>
                    <a:pt x="120" y="12"/>
                  </a:lnTo>
                  <a:lnTo>
                    <a:pt x="119" y="15"/>
                  </a:lnTo>
                  <a:lnTo>
                    <a:pt x="123" y="15"/>
                  </a:lnTo>
                  <a:lnTo>
                    <a:pt x="125" y="12"/>
                  </a:lnTo>
                  <a:lnTo>
                    <a:pt x="126" y="16"/>
                  </a:lnTo>
                  <a:lnTo>
                    <a:pt x="124" y="18"/>
                  </a:lnTo>
                  <a:lnTo>
                    <a:pt x="126" y="18"/>
                  </a:lnTo>
                  <a:lnTo>
                    <a:pt x="130" y="16"/>
                  </a:lnTo>
                  <a:lnTo>
                    <a:pt x="130" y="16"/>
                  </a:lnTo>
                  <a:lnTo>
                    <a:pt x="133" y="18"/>
                  </a:lnTo>
                  <a:lnTo>
                    <a:pt x="135" y="19"/>
                  </a:lnTo>
                  <a:lnTo>
                    <a:pt x="137" y="22"/>
                  </a:lnTo>
                  <a:lnTo>
                    <a:pt x="140" y="22"/>
                  </a:lnTo>
                  <a:lnTo>
                    <a:pt x="142" y="23"/>
                  </a:lnTo>
                  <a:lnTo>
                    <a:pt x="140" y="26"/>
                  </a:lnTo>
                  <a:lnTo>
                    <a:pt x="137" y="27"/>
                  </a:lnTo>
                  <a:lnTo>
                    <a:pt x="135" y="27"/>
                  </a:lnTo>
                  <a:lnTo>
                    <a:pt x="132" y="28"/>
                  </a:lnTo>
                  <a:lnTo>
                    <a:pt x="130" y="27"/>
                  </a:lnTo>
                  <a:lnTo>
                    <a:pt x="126" y="28"/>
                  </a:lnTo>
                  <a:lnTo>
                    <a:pt x="128" y="32"/>
                  </a:lnTo>
                  <a:lnTo>
                    <a:pt x="131" y="33"/>
                  </a:lnTo>
                  <a:lnTo>
                    <a:pt x="132" y="36"/>
                  </a:lnTo>
                  <a:lnTo>
                    <a:pt x="130" y="36"/>
                  </a:lnTo>
                  <a:lnTo>
                    <a:pt x="127" y="36"/>
                  </a:lnTo>
                  <a:lnTo>
                    <a:pt x="125" y="37"/>
                  </a:lnTo>
                  <a:lnTo>
                    <a:pt x="122" y="36"/>
                  </a:lnTo>
                  <a:lnTo>
                    <a:pt x="119" y="36"/>
                  </a:lnTo>
                  <a:lnTo>
                    <a:pt x="119" y="39"/>
                  </a:lnTo>
                  <a:lnTo>
                    <a:pt x="117" y="40"/>
                  </a:lnTo>
                  <a:lnTo>
                    <a:pt x="119" y="42"/>
                  </a:lnTo>
                  <a:lnTo>
                    <a:pt x="122" y="45"/>
                  </a:lnTo>
                  <a:lnTo>
                    <a:pt x="119" y="46"/>
                  </a:lnTo>
                  <a:lnTo>
                    <a:pt x="117" y="46"/>
                  </a:lnTo>
                  <a:lnTo>
                    <a:pt x="114" y="48"/>
                  </a:lnTo>
                  <a:lnTo>
                    <a:pt x="116" y="50"/>
                  </a:lnTo>
                  <a:lnTo>
                    <a:pt x="117" y="53"/>
                  </a:lnTo>
                  <a:lnTo>
                    <a:pt x="117" y="53"/>
                  </a:lnTo>
                  <a:lnTo>
                    <a:pt x="119" y="53"/>
                  </a:lnTo>
                  <a:lnTo>
                    <a:pt x="119" y="54"/>
                  </a:lnTo>
                  <a:lnTo>
                    <a:pt x="118" y="54"/>
                  </a:lnTo>
                  <a:lnTo>
                    <a:pt x="118" y="56"/>
                  </a:lnTo>
                  <a:lnTo>
                    <a:pt x="119" y="57"/>
                  </a:lnTo>
                  <a:lnTo>
                    <a:pt x="122" y="58"/>
                  </a:lnTo>
                  <a:lnTo>
                    <a:pt x="123" y="60"/>
                  </a:lnTo>
                  <a:lnTo>
                    <a:pt x="125" y="63"/>
                  </a:lnTo>
                  <a:lnTo>
                    <a:pt x="124" y="66"/>
                  </a:lnTo>
                  <a:lnTo>
                    <a:pt x="123" y="68"/>
                  </a:lnTo>
                  <a:lnTo>
                    <a:pt x="125" y="71"/>
                  </a:lnTo>
                  <a:lnTo>
                    <a:pt x="131" y="76"/>
                  </a:lnTo>
                  <a:lnTo>
                    <a:pt x="133" y="77"/>
                  </a:lnTo>
                  <a:lnTo>
                    <a:pt x="135" y="80"/>
                  </a:lnTo>
                  <a:lnTo>
                    <a:pt x="139" y="82"/>
                  </a:lnTo>
                  <a:lnTo>
                    <a:pt x="139" y="82"/>
                  </a:lnTo>
                  <a:lnTo>
                    <a:pt x="137" y="83"/>
                  </a:lnTo>
                  <a:lnTo>
                    <a:pt x="135" y="85"/>
                  </a:lnTo>
                  <a:lnTo>
                    <a:pt x="132" y="85"/>
                  </a:lnTo>
                  <a:lnTo>
                    <a:pt x="130" y="85"/>
                  </a:lnTo>
                  <a:lnTo>
                    <a:pt x="127" y="84"/>
                  </a:lnTo>
                  <a:lnTo>
                    <a:pt x="124" y="82"/>
                  </a:lnTo>
                  <a:lnTo>
                    <a:pt x="124" y="85"/>
                  </a:lnTo>
                  <a:lnTo>
                    <a:pt x="122" y="85"/>
                  </a:lnTo>
                  <a:lnTo>
                    <a:pt x="120" y="87"/>
                  </a:lnTo>
                  <a:lnTo>
                    <a:pt x="118" y="91"/>
                  </a:lnTo>
                  <a:lnTo>
                    <a:pt x="118" y="93"/>
                  </a:lnTo>
                  <a:lnTo>
                    <a:pt x="118" y="95"/>
                  </a:lnTo>
                  <a:lnTo>
                    <a:pt x="117" y="97"/>
                  </a:lnTo>
                  <a:lnTo>
                    <a:pt x="117" y="100"/>
                  </a:lnTo>
                  <a:lnTo>
                    <a:pt x="117" y="103"/>
                  </a:lnTo>
                  <a:lnTo>
                    <a:pt x="119" y="102"/>
                  </a:lnTo>
                  <a:lnTo>
                    <a:pt x="118" y="104"/>
                  </a:lnTo>
                  <a:lnTo>
                    <a:pt x="117" y="106"/>
                  </a:lnTo>
                  <a:lnTo>
                    <a:pt x="116" y="108"/>
                  </a:lnTo>
                  <a:lnTo>
                    <a:pt x="115" y="106"/>
                  </a:lnTo>
                  <a:lnTo>
                    <a:pt x="115" y="108"/>
                  </a:lnTo>
                  <a:lnTo>
                    <a:pt x="113" y="110"/>
                  </a:lnTo>
                  <a:lnTo>
                    <a:pt x="110" y="112"/>
                  </a:lnTo>
                  <a:lnTo>
                    <a:pt x="108" y="112"/>
                  </a:lnTo>
                  <a:lnTo>
                    <a:pt x="107" y="114"/>
                  </a:lnTo>
                  <a:lnTo>
                    <a:pt x="105" y="116"/>
                  </a:lnTo>
                  <a:lnTo>
                    <a:pt x="103" y="119"/>
                  </a:lnTo>
                  <a:lnTo>
                    <a:pt x="100" y="120"/>
                  </a:lnTo>
                  <a:lnTo>
                    <a:pt x="103" y="120"/>
                  </a:lnTo>
                  <a:lnTo>
                    <a:pt x="103" y="123"/>
                  </a:lnTo>
                  <a:lnTo>
                    <a:pt x="102" y="126"/>
                  </a:lnTo>
                  <a:lnTo>
                    <a:pt x="105" y="127"/>
                  </a:lnTo>
                  <a:lnTo>
                    <a:pt x="105" y="127"/>
                  </a:lnTo>
                  <a:lnTo>
                    <a:pt x="105" y="130"/>
                  </a:lnTo>
                  <a:lnTo>
                    <a:pt x="102" y="130"/>
                  </a:lnTo>
                  <a:lnTo>
                    <a:pt x="102" y="133"/>
                  </a:lnTo>
                  <a:lnTo>
                    <a:pt x="102" y="136"/>
                  </a:lnTo>
                  <a:lnTo>
                    <a:pt x="99" y="137"/>
                  </a:lnTo>
                  <a:lnTo>
                    <a:pt x="100" y="139"/>
                  </a:lnTo>
                  <a:lnTo>
                    <a:pt x="98" y="142"/>
                  </a:lnTo>
                  <a:lnTo>
                    <a:pt x="97" y="145"/>
                  </a:lnTo>
                  <a:lnTo>
                    <a:pt x="92" y="147"/>
                  </a:lnTo>
                  <a:lnTo>
                    <a:pt x="89" y="148"/>
                  </a:lnTo>
                  <a:lnTo>
                    <a:pt x="86" y="149"/>
                  </a:lnTo>
                  <a:lnTo>
                    <a:pt x="83" y="151"/>
                  </a:lnTo>
                  <a:lnTo>
                    <a:pt x="81" y="152"/>
                  </a:lnTo>
                  <a:lnTo>
                    <a:pt x="79" y="152"/>
                  </a:lnTo>
                  <a:lnTo>
                    <a:pt x="79" y="149"/>
                  </a:lnTo>
                  <a:lnTo>
                    <a:pt x="79" y="147"/>
                  </a:lnTo>
                  <a:lnTo>
                    <a:pt x="77" y="144"/>
                  </a:lnTo>
                  <a:lnTo>
                    <a:pt x="77" y="142"/>
                  </a:lnTo>
                  <a:lnTo>
                    <a:pt x="76" y="142"/>
                  </a:lnTo>
                  <a:lnTo>
                    <a:pt x="74" y="143"/>
                  </a:lnTo>
                  <a:lnTo>
                    <a:pt x="74" y="143"/>
                  </a:lnTo>
                  <a:lnTo>
                    <a:pt x="75" y="139"/>
                  </a:lnTo>
                  <a:lnTo>
                    <a:pt x="74" y="140"/>
                  </a:lnTo>
                  <a:lnTo>
                    <a:pt x="72" y="139"/>
                  </a:lnTo>
                  <a:lnTo>
                    <a:pt x="71" y="142"/>
                  </a:lnTo>
                  <a:lnTo>
                    <a:pt x="67" y="143"/>
                  </a:lnTo>
                  <a:lnTo>
                    <a:pt x="65" y="142"/>
                  </a:lnTo>
                  <a:lnTo>
                    <a:pt x="65" y="139"/>
                  </a:lnTo>
                  <a:lnTo>
                    <a:pt x="62" y="140"/>
                  </a:lnTo>
                  <a:lnTo>
                    <a:pt x="59" y="139"/>
                  </a:lnTo>
                  <a:lnTo>
                    <a:pt x="57" y="137"/>
                  </a:lnTo>
                  <a:lnTo>
                    <a:pt x="56" y="139"/>
                  </a:lnTo>
                  <a:lnTo>
                    <a:pt x="52" y="142"/>
                  </a:lnTo>
                  <a:lnTo>
                    <a:pt x="50" y="143"/>
                  </a:lnTo>
                  <a:lnTo>
                    <a:pt x="48" y="142"/>
                  </a:lnTo>
                  <a:lnTo>
                    <a:pt x="46" y="142"/>
                  </a:lnTo>
                  <a:lnTo>
                    <a:pt x="42" y="143"/>
                  </a:lnTo>
                  <a:lnTo>
                    <a:pt x="40" y="144"/>
                  </a:lnTo>
                  <a:lnTo>
                    <a:pt x="40" y="142"/>
                  </a:lnTo>
                  <a:lnTo>
                    <a:pt x="40" y="139"/>
                  </a:lnTo>
                  <a:lnTo>
                    <a:pt x="40" y="136"/>
                  </a:lnTo>
                  <a:lnTo>
                    <a:pt x="39" y="134"/>
                  </a:lnTo>
                  <a:lnTo>
                    <a:pt x="38" y="136"/>
                  </a:lnTo>
                  <a:lnTo>
                    <a:pt x="36" y="136"/>
                  </a:lnTo>
                  <a:lnTo>
                    <a:pt x="32" y="136"/>
                  </a:lnTo>
                  <a:lnTo>
                    <a:pt x="30" y="138"/>
                  </a:lnTo>
                  <a:lnTo>
                    <a:pt x="26" y="138"/>
                  </a:lnTo>
                  <a:lnTo>
                    <a:pt x="28" y="135"/>
                  </a:lnTo>
                  <a:lnTo>
                    <a:pt x="28" y="1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24" name="Freeform 224">
              <a:extLst>
                <a:ext uri="{FF2B5EF4-FFF2-40B4-BE49-F238E27FC236}">
                  <a16:creationId xmlns:a16="http://schemas.microsoft.com/office/drawing/2014/main" id="{8DDCECC2-EE63-4AC0-8B07-B5F35D1EAC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18450" y="4330700"/>
              <a:ext cx="393700" cy="307975"/>
            </a:xfrm>
            <a:custGeom>
              <a:avLst/>
              <a:gdLst>
                <a:gd name="T0" fmla="*/ 120 w 248"/>
                <a:gd name="T1" fmla="*/ 92 h 194"/>
                <a:gd name="T2" fmla="*/ 127 w 248"/>
                <a:gd name="T3" fmla="*/ 96 h 194"/>
                <a:gd name="T4" fmla="*/ 129 w 248"/>
                <a:gd name="T5" fmla="*/ 104 h 194"/>
                <a:gd name="T6" fmla="*/ 131 w 248"/>
                <a:gd name="T7" fmla="*/ 110 h 194"/>
                <a:gd name="T8" fmla="*/ 133 w 248"/>
                <a:gd name="T9" fmla="*/ 110 h 194"/>
                <a:gd name="T10" fmla="*/ 143 w 248"/>
                <a:gd name="T11" fmla="*/ 112 h 194"/>
                <a:gd name="T12" fmla="*/ 149 w 248"/>
                <a:gd name="T13" fmla="*/ 121 h 194"/>
                <a:gd name="T14" fmla="*/ 146 w 248"/>
                <a:gd name="T15" fmla="*/ 131 h 194"/>
                <a:gd name="T16" fmla="*/ 146 w 248"/>
                <a:gd name="T17" fmla="*/ 142 h 194"/>
                <a:gd name="T18" fmla="*/ 145 w 248"/>
                <a:gd name="T19" fmla="*/ 153 h 194"/>
                <a:gd name="T20" fmla="*/ 140 w 248"/>
                <a:gd name="T21" fmla="*/ 154 h 194"/>
                <a:gd name="T22" fmla="*/ 131 w 248"/>
                <a:gd name="T23" fmla="*/ 154 h 194"/>
                <a:gd name="T24" fmla="*/ 128 w 248"/>
                <a:gd name="T25" fmla="*/ 159 h 194"/>
                <a:gd name="T26" fmla="*/ 123 w 248"/>
                <a:gd name="T27" fmla="*/ 152 h 194"/>
                <a:gd name="T28" fmla="*/ 115 w 248"/>
                <a:gd name="T29" fmla="*/ 145 h 194"/>
                <a:gd name="T30" fmla="*/ 105 w 248"/>
                <a:gd name="T31" fmla="*/ 137 h 194"/>
                <a:gd name="T32" fmla="*/ 97 w 248"/>
                <a:gd name="T33" fmla="*/ 128 h 194"/>
                <a:gd name="T34" fmla="*/ 86 w 248"/>
                <a:gd name="T35" fmla="*/ 120 h 194"/>
                <a:gd name="T36" fmla="*/ 80 w 248"/>
                <a:gd name="T37" fmla="*/ 111 h 194"/>
                <a:gd name="T38" fmla="*/ 75 w 248"/>
                <a:gd name="T39" fmla="*/ 100 h 194"/>
                <a:gd name="T40" fmla="*/ 71 w 248"/>
                <a:gd name="T41" fmla="*/ 90 h 194"/>
                <a:gd name="T42" fmla="*/ 63 w 248"/>
                <a:gd name="T43" fmla="*/ 81 h 194"/>
                <a:gd name="T44" fmla="*/ 55 w 248"/>
                <a:gd name="T45" fmla="*/ 74 h 194"/>
                <a:gd name="T46" fmla="*/ 51 w 248"/>
                <a:gd name="T47" fmla="*/ 64 h 194"/>
                <a:gd name="T48" fmla="*/ 45 w 248"/>
                <a:gd name="T49" fmla="*/ 50 h 194"/>
                <a:gd name="T50" fmla="*/ 37 w 248"/>
                <a:gd name="T51" fmla="*/ 47 h 194"/>
                <a:gd name="T52" fmla="*/ 31 w 248"/>
                <a:gd name="T53" fmla="*/ 38 h 194"/>
                <a:gd name="T54" fmla="*/ 23 w 248"/>
                <a:gd name="T55" fmla="*/ 27 h 194"/>
                <a:gd name="T56" fmla="*/ 13 w 248"/>
                <a:gd name="T57" fmla="*/ 21 h 194"/>
                <a:gd name="T58" fmla="*/ 3 w 248"/>
                <a:gd name="T59" fmla="*/ 10 h 194"/>
                <a:gd name="T60" fmla="*/ 6 w 248"/>
                <a:gd name="T61" fmla="*/ 0 h 194"/>
                <a:gd name="T62" fmla="*/ 17 w 248"/>
                <a:gd name="T63" fmla="*/ 6 h 194"/>
                <a:gd name="T64" fmla="*/ 28 w 248"/>
                <a:gd name="T65" fmla="*/ 7 h 194"/>
                <a:gd name="T66" fmla="*/ 37 w 248"/>
                <a:gd name="T67" fmla="*/ 10 h 194"/>
                <a:gd name="T68" fmla="*/ 42 w 248"/>
                <a:gd name="T69" fmla="*/ 19 h 194"/>
                <a:gd name="T70" fmla="*/ 52 w 248"/>
                <a:gd name="T71" fmla="*/ 27 h 194"/>
                <a:gd name="T72" fmla="*/ 63 w 248"/>
                <a:gd name="T73" fmla="*/ 35 h 194"/>
                <a:gd name="T74" fmla="*/ 66 w 248"/>
                <a:gd name="T75" fmla="*/ 41 h 194"/>
                <a:gd name="T76" fmla="*/ 72 w 248"/>
                <a:gd name="T77" fmla="*/ 45 h 194"/>
                <a:gd name="T78" fmla="*/ 79 w 248"/>
                <a:gd name="T79" fmla="*/ 52 h 194"/>
                <a:gd name="T80" fmla="*/ 82 w 248"/>
                <a:gd name="T81" fmla="*/ 49 h 194"/>
                <a:gd name="T82" fmla="*/ 91 w 248"/>
                <a:gd name="T83" fmla="*/ 56 h 194"/>
                <a:gd name="T84" fmla="*/ 97 w 248"/>
                <a:gd name="T85" fmla="*/ 64 h 194"/>
                <a:gd name="T86" fmla="*/ 107 w 248"/>
                <a:gd name="T87" fmla="*/ 68 h 194"/>
                <a:gd name="T88" fmla="*/ 100 w 248"/>
                <a:gd name="T89" fmla="*/ 75 h 194"/>
                <a:gd name="T90" fmla="*/ 107 w 248"/>
                <a:gd name="T91" fmla="*/ 73 h 194"/>
                <a:gd name="T92" fmla="*/ 118 w 248"/>
                <a:gd name="T93" fmla="*/ 76 h 194"/>
                <a:gd name="T94" fmla="*/ 111 w 248"/>
                <a:gd name="T95" fmla="*/ 83 h 194"/>
                <a:gd name="T96" fmla="*/ 112 w 248"/>
                <a:gd name="T97" fmla="*/ 85 h 194"/>
                <a:gd name="T98" fmla="*/ 248 w 248"/>
                <a:gd name="T99" fmla="*/ 19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48" h="194">
                  <a:moveTo>
                    <a:pt x="112" y="88"/>
                  </a:moveTo>
                  <a:lnTo>
                    <a:pt x="116" y="90"/>
                  </a:lnTo>
                  <a:lnTo>
                    <a:pt x="118" y="92"/>
                  </a:lnTo>
                  <a:lnTo>
                    <a:pt x="120" y="92"/>
                  </a:lnTo>
                  <a:lnTo>
                    <a:pt x="124" y="92"/>
                  </a:lnTo>
                  <a:lnTo>
                    <a:pt x="124" y="92"/>
                  </a:lnTo>
                  <a:lnTo>
                    <a:pt x="126" y="93"/>
                  </a:lnTo>
                  <a:lnTo>
                    <a:pt x="127" y="96"/>
                  </a:lnTo>
                  <a:lnTo>
                    <a:pt x="127" y="99"/>
                  </a:lnTo>
                  <a:lnTo>
                    <a:pt x="128" y="101"/>
                  </a:lnTo>
                  <a:lnTo>
                    <a:pt x="128" y="102"/>
                  </a:lnTo>
                  <a:lnTo>
                    <a:pt x="129" y="104"/>
                  </a:lnTo>
                  <a:lnTo>
                    <a:pt x="133" y="105"/>
                  </a:lnTo>
                  <a:lnTo>
                    <a:pt x="132" y="108"/>
                  </a:lnTo>
                  <a:lnTo>
                    <a:pt x="129" y="110"/>
                  </a:lnTo>
                  <a:lnTo>
                    <a:pt x="131" y="110"/>
                  </a:lnTo>
                  <a:lnTo>
                    <a:pt x="131" y="113"/>
                  </a:lnTo>
                  <a:lnTo>
                    <a:pt x="128" y="116"/>
                  </a:lnTo>
                  <a:lnTo>
                    <a:pt x="131" y="112"/>
                  </a:lnTo>
                  <a:lnTo>
                    <a:pt x="133" y="110"/>
                  </a:lnTo>
                  <a:lnTo>
                    <a:pt x="135" y="110"/>
                  </a:lnTo>
                  <a:lnTo>
                    <a:pt x="137" y="110"/>
                  </a:lnTo>
                  <a:lnTo>
                    <a:pt x="140" y="110"/>
                  </a:lnTo>
                  <a:lnTo>
                    <a:pt x="143" y="112"/>
                  </a:lnTo>
                  <a:lnTo>
                    <a:pt x="145" y="115"/>
                  </a:lnTo>
                  <a:lnTo>
                    <a:pt x="145" y="118"/>
                  </a:lnTo>
                  <a:lnTo>
                    <a:pt x="149" y="119"/>
                  </a:lnTo>
                  <a:lnTo>
                    <a:pt x="149" y="121"/>
                  </a:lnTo>
                  <a:lnTo>
                    <a:pt x="148" y="124"/>
                  </a:lnTo>
                  <a:lnTo>
                    <a:pt x="146" y="127"/>
                  </a:lnTo>
                  <a:lnTo>
                    <a:pt x="146" y="129"/>
                  </a:lnTo>
                  <a:lnTo>
                    <a:pt x="146" y="131"/>
                  </a:lnTo>
                  <a:lnTo>
                    <a:pt x="145" y="135"/>
                  </a:lnTo>
                  <a:lnTo>
                    <a:pt x="145" y="137"/>
                  </a:lnTo>
                  <a:lnTo>
                    <a:pt x="146" y="139"/>
                  </a:lnTo>
                  <a:lnTo>
                    <a:pt x="146" y="142"/>
                  </a:lnTo>
                  <a:lnTo>
                    <a:pt x="146" y="145"/>
                  </a:lnTo>
                  <a:lnTo>
                    <a:pt x="146" y="147"/>
                  </a:lnTo>
                  <a:lnTo>
                    <a:pt x="146" y="150"/>
                  </a:lnTo>
                  <a:lnTo>
                    <a:pt x="145" y="153"/>
                  </a:lnTo>
                  <a:lnTo>
                    <a:pt x="145" y="155"/>
                  </a:lnTo>
                  <a:lnTo>
                    <a:pt x="144" y="159"/>
                  </a:lnTo>
                  <a:lnTo>
                    <a:pt x="142" y="155"/>
                  </a:lnTo>
                  <a:lnTo>
                    <a:pt x="140" y="154"/>
                  </a:lnTo>
                  <a:lnTo>
                    <a:pt x="137" y="154"/>
                  </a:lnTo>
                  <a:lnTo>
                    <a:pt x="136" y="156"/>
                  </a:lnTo>
                  <a:lnTo>
                    <a:pt x="133" y="155"/>
                  </a:lnTo>
                  <a:lnTo>
                    <a:pt x="131" y="154"/>
                  </a:lnTo>
                  <a:lnTo>
                    <a:pt x="128" y="154"/>
                  </a:lnTo>
                  <a:lnTo>
                    <a:pt x="129" y="156"/>
                  </a:lnTo>
                  <a:lnTo>
                    <a:pt x="128" y="159"/>
                  </a:lnTo>
                  <a:lnTo>
                    <a:pt x="128" y="159"/>
                  </a:lnTo>
                  <a:lnTo>
                    <a:pt x="127" y="158"/>
                  </a:lnTo>
                  <a:lnTo>
                    <a:pt x="125" y="155"/>
                  </a:lnTo>
                  <a:lnTo>
                    <a:pt x="125" y="154"/>
                  </a:lnTo>
                  <a:lnTo>
                    <a:pt x="123" y="152"/>
                  </a:lnTo>
                  <a:lnTo>
                    <a:pt x="120" y="150"/>
                  </a:lnTo>
                  <a:lnTo>
                    <a:pt x="118" y="146"/>
                  </a:lnTo>
                  <a:lnTo>
                    <a:pt x="116" y="145"/>
                  </a:lnTo>
                  <a:lnTo>
                    <a:pt x="115" y="145"/>
                  </a:lnTo>
                  <a:lnTo>
                    <a:pt x="112" y="143"/>
                  </a:lnTo>
                  <a:lnTo>
                    <a:pt x="109" y="142"/>
                  </a:lnTo>
                  <a:lnTo>
                    <a:pt x="107" y="139"/>
                  </a:lnTo>
                  <a:lnTo>
                    <a:pt x="105" y="137"/>
                  </a:lnTo>
                  <a:lnTo>
                    <a:pt x="101" y="135"/>
                  </a:lnTo>
                  <a:lnTo>
                    <a:pt x="99" y="133"/>
                  </a:lnTo>
                  <a:lnTo>
                    <a:pt x="98" y="130"/>
                  </a:lnTo>
                  <a:lnTo>
                    <a:pt x="97" y="128"/>
                  </a:lnTo>
                  <a:lnTo>
                    <a:pt x="94" y="126"/>
                  </a:lnTo>
                  <a:lnTo>
                    <a:pt x="91" y="124"/>
                  </a:lnTo>
                  <a:lnTo>
                    <a:pt x="89" y="122"/>
                  </a:lnTo>
                  <a:lnTo>
                    <a:pt x="86" y="120"/>
                  </a:lnTo>
                  <a:lnTo>
                    <a:pt x="85" y="117"/>
                  </a:lnTo>
                  <a:lnTo>
                    <a:pt x="83" y="115"/>
                  </a:lnTo>
                  <a:lnTo>
                    <a:pt x="80" y="111"/>
                  </a:lnTo>
                  <a:lnTo>
                    <a:pt x="80" y="111"/>
                  </a:lnTo>
                  <a:lnTo>
                    <a:pt x="79" y="108"/>
                  </a:lnTo>
                  <a:lnTo>
                    <a:pt x="79" y="105"/>
                  </a:lnTo>
                  <a:lnTo>
                    <a:pt x="77" y="102"/>
                  </a:lnTo>
                  <a:lnTo>
                    <a:pt x="75" y="100"/>
                  </a:lnTo>
                  <a:lnTo>
                    <a:pt x="74" y="98"/>
                  </a:lnTo>
                  <a:lnTo>
                    <a:pt x="72" y="94"/>
                  </a:lnTo>
                  <a:lnTo>
                    <a:pt x="72" y="92"/>
                  </a:lnTo>
                  <a:lnTo>
                    <a:pt x="71" y="90"/>
                  </a:lnTo>
                  <a:lnTo>
                    <a:pt x="68" y="86"/>
                  </a:lnTo>
                  <a:lnTo>
                    <a:pt x="66" y="84"/>
                  </a:lnTo>
                  <a:lnTo>
                    <a:pt x="65" y="83"/>
                  </a:lnTo>
                  <a:lnTo>
                    <a:pt x="63" y="81"/>
                  </a:lnTo>
                  <a:lnTo>
                    <a:pt x="63" y="77"/>
                  </a:lnTo>
                  <a:lnTo>
                    <a:pt x="59" y="76"/>
                  </a:lnTo>
                  <a:lnTo>
                    <a:pt x="57" y="75"/>
                  </a:lnTo>
                  <a:lnTo>
                    <a:pt x="55" y="74"/>
                  </a:lnTo>
                  <a:lnTo>
                    <a:pt x="54" y="71"/>
                  </a:lnTo>
                  <a:lnTo>
                    <a:pt x="54" y="69"/>
                  </a:lnTo>
                  <a:lnTo>
                    <a:pt x="52" y="66"/>
                  </a:lnTo>
                  <a:lnTo>
                    <a:pt x="51" y="64"/>
                  </a:lnTo>
                  <a:lnTo>
                    <a:pt x="50" y="61"/>
                  </a:lnTo>
                  <a:lnTo>
                    <a:pt x="49" y="58"/>
                  </a:lnTo>
                  <a:lnTo>
                    <a:pt x="50" y="56"/>
                  </a:lnTo>
                  <a:lnTo>
                    <a:pt x="45" y="50"/>
                  </a:lnTo>
                  <a:lnTo>
                    <a:pt x="42" y="49"/>
                  </a:lnTo>
                  <a:lnTo>
                    <a:pt x="39" y="48"/>
                  </a:lnTo>
                  <a:lnTo>
                    <a:pt x="39" y="47"/>
                  </a:lnTo>
                  <a:lnTo>
                    <a:pt x="37" y="47"/>
                  </a:lnTo>
                  <a:lnTo>
                    <a:pt x="34" y="44"/>
                  </a:lnTo>
                  <a:lnTo>
                    <a:pt x="34" y="41"/>
                  </a:lnTo>
                  <a:lnTo>
                    <a:pt x="33" y="39"/>
                  </a:lnTo>
                  <a:lnTo>
                    <a:pt x="31" y="38"/>
                  </a:lnTo>
                  <a:lnTo>
                    <a:pt x="29" y="35"/>
                  </a:lnTo>
                  <a:lnTo>
                    <a:pt x="26" y="32"/>
                  </a:lnTo>
                  <a:lnTo>
                    <a:pt x="25" y="30"/>
                  </a:lnTo>
                  <a:lnTo>
                    <a:pt x="23" y="27"/>
                  </a:lnTo>
                  <a:lnTo>
                    <a:pt x="20" y="26"/>
                  </a:lnTo>
                  <a:lnTo>
                    <a:pt x="17" y="25"/>
                  </a:lnTo>
                  <a:lnTo>
                    <a:pt x="15" y="23"/>
                  </a:lnTo>
                  <a:lnTo>
                    <a:pt x="13" y="21"/>
                  </a:lnTo>
                  <a:lnTo>
                    <a:pt x="9" y="18"/>
                  </a:lnTo>
                  <a:lnTo>
                    <a:pt x="7" y="15"/>
                  </a:lnTo>
                  <a:lnTo>
                    <a:pt x="5" y="13"/>
                  </a:lnTo>
                  <a:lnTo>
                    <a:pt x="3" y="10"/>
                  </a:lnTo>
                  <a:lnTo>
                    <a:pt x="0" y="5"/>
                  </a:lnTo>
                  <a:lnTo>
                    <a:pt x="0" y="2"/>
                  </a:lnTo>
                  <a:lnTo>
                    <a:pt x="4" y="0"/>
                  </a:lnTo>
                  <a:lnTo>
                    <a:pt x="6" y="0"/>
                  </a:lnTo>
                  <a:lnTo>
                    <a:pt x="8" y="1"/>
                  </a:lnTo>
                  <a:lnTo>
                    <a:pt x="12" y="5"/>
                  </a:lnTo>
                  <a:lnTo>
                    <a:pt x="14" y="6"/>
                  </a:lnTo>
                  <a:lnTo>
                    <a:pt x="17" y="6"/>
                  </a:lnTo>
                  <a:lnTo>
                    <a:pt x="20" y="6"/>
                  </a:lnTo>
                  <a:lnTo>
                    <a:pt x="22" y="6"/>
                  </a:lnTo>
                  <a:lnTo>
                    <a:pt x="25" y="6"/>
                  </a:lnTo>
                  <a:lnTo>
                    <a:pt x="28" y="7"/>
                  </a:lnTo>
                  <a:lnTo>
                    <a:pt x="31" y="6"/>
                  </a:lnTo>
                  <a:lnTo>
                    <a:pt x="32" y="6"/>
                  </a:lnTo>
                  <a:lnTo>
                    <a:pt x="34" y="8"/>
                  </a:lnTo>
                  <a:lnTo>
                    <a:pt x="37" y="10"/>
                  </a:lnTo>
                  <a:lnTo>
                    <a:pt x="38" y="13"/>
                  </a:lnTo>
                  <a:lnTo>
                    <a:pt x="41" y="16"/>
                  </a:lnTo>
                  <a:lnTo>
                    <a:pt x="42" y="18"/>
                  </a:lnTo>
                  <a:lnTo>
                    <a:pt x="42" y="19"/>
                  </a:lnTo>
                  <a:lnTo>
                    <a:pt x="45" y="22"/>
                  </a:lnTo>
                  <a:lnTo>
                    <a:pt x="47" y="24"/>
                  </a:lnTo>
                  <a:lnTo>
                    <a:pt x="49" y="26"/>
                  </a:lnTo>
                  <a:lnTo>
                    <a:pt x="52" y="27"/>
                  </a:lnTo>
                  <a:lnTo>
                    <a:pt x="55" y="28"/>
                  </a:lnTo>
                  <a:lnTo>
                    <a:pt x="58" y="31"/>
                  </a:lnTo>
                  <a:lnTo>
                    <a:pt x="60" y="33"/>
                  </a:lnTo>
                  <a:lnTo>
                    <a:pt x="63" y="35"/>
                  </a:lnTo>
                  <a:lnTo>
                    <a:pt x="64" y="36"/>
                  </a:lnTo>
                  <a:lnTo>
                    <a:pt x="66" y="39"/>
                  </a:lnTo>
                  <a:lnTo>
                    <a:pt x="66" y="42"/>
                  </a:lnTo>
                  <a:lnTo>
                    <a:pt x="66" y="41"/>
                  </a:lnTo>
                  <a:lnTo>
                    <a:pt x="67" y="43"/>
                  </a:lnTo>
                  <a:lnTo>
                    <a:pt x="68" y="43"/>
                  </a:lnTo>
                  <a:lnTo>
                    <a:pt x="71" y="43"/>
                  </a:lnTo>
                  <a:lnTo>
                    <a:pt x="72" y="45"/>
                  </a:lnTo>
                  <a:lnTo>
                    <a:pt x="74" y="48"/>
                  </a:lnTo>
                  <a:lnTo>
                    <a:pt x="76" y="50"/>
                  </a:lnTo>
                  <a:lnTo>
                    <a:pt x="79" y="52"/>
                  </a:lnTo>
                  <a:lnTo>
                    <a:pt x="79" y="52"/>
                  </a:lnTo>
                  <a:lnTo>
                    <a:pt x="79" y="50"/>
                  </a:lnTo>
                  <a:lnTo>
                    <a:pt x="77" y="48"/>
                  </a:lnTo>
                  <a:lnTo>
                    <a:pt x="80" y="47"/>
                  </a:lnTo>
                  <a:lnTo>
                    <a:pt x="82" y="49"/>
                  </a:lnTo>
                  <a:lnTo>
                    <a:pt x="84" y="51"/>
                  </a:lnTo>
                  <a:lnTo>
                    <a:pt x="85" y="54"/>
                  </a:lnTo>
                  <a:lnTo>
                    <a:pt x="88" y="54"/>
                  </a:lnTo>
                  <a:lnTo>
                    <a:pt x="91" y="56"/>
                  </a:lnTo>
                  <a:lnTo>
                    <a:pt x="93" y="58"/>
                  </a:lnTo>
                  <a:lnTo>
                    <a:pt x="96" y="60"/>
                  </a:lnTo>
                  <a:lnTo>
                    <a:pt x="96" y="61"/>
                  </a:lnTo>
                  <a:lnTo>
                    <a:pt x="97" y="64"/>
                  </a:lnTo>
                  <a:lnTo>
                    <a:pt x="99" y="66"/>
                  </a:lnTo>
                  <a:lnTo>
                    <a:pt x="101" y="68"/>
                  </a:lnTo>
                  <a:lnTo>
                    <a:pt x="103" y="68"/>
                  </a:lnTo>
                  <a:lnTo>
                    <a:pt x="107" y="68"/>
                  </a:lnTo>
                  <a:lnTo>
                    <a:pt x="108" y="71"/>
                  </a:lnTo>
                  <a:lnTo>
                    <a:pt x="106" y="73"/>
                  </a:lnTo>
                  <a:lnTo>
                    <a:pt x="103" y="74"/>
                  </a:lnTo>
                  <a:lnTo>
                    <a:pt x="100" y="75"/>
                  </a:lnTo>
                  <a:lnTo>
                    <a:pt x="99" y="74"/>
                  </a:lnTo>
                  <a:lnTo>
                    <a:pt x="102" y="75"/>
                  </a:lnTo>
                  <a:lnTo>
                    <a:pt x="105" y="74"/>
                  </a:lnTo>
                  <a:lnTo>
                    <a:pt x="107" y="73"/>
                  </a:lnTo>
                  <a:lnTo>
                    <a:pt x="110" y="71"/>
                  </a:lnTo>
                  <a:lnTo>
                    <a:pt x="112" y="70"/>
                  </a:lnTo>
                  <a:lnTo>
                    <a:pt x="115" y="74"/>
                  </a:lnTo>
                  <a:lnTo>
                    <a:pt x="118" y="76"/>
                  </a:lnTo>
                  <a:lnTo>
                    <a:pt x="118" y="77"/>
                  </a:lnTo>
                  <a:lnTo>
                    <a:pt x="117" y="78"/>
                  </a:lnTo>
                  <a:lnTo>
                    <a:pt x="114" y="81"/>
                  </a:lnTo>
                  <a:lnTo>
                    <a:pt x="111" y="83"/>
                  </a:lnTo>
                  <a:lnTo>
                    <a:pt x="112" y="83"/>
                  </a:lnTo>
                  <a:lnTo>
                    <a:pt x="115" y="84"/>
                  </a:lnTo>
                  <a:lnTo>
                    <a:pt x="112" y="84"/>
                  </a:lnTo>
                  <a:lnTo>
                    <a:pt x="112" y="85"/>
                  </a:lnTo>
                  <a:lnTo>
                    <a:pt x="112" y="88"/>
                  </a:lnTo>
                  <a:lnTo>
                    <a:pt x="112" y="88"/>
                  </a:lnTo>
                  <a:close/>
                  <a:moveTo>
                    <a:pt x="248" y="194"/>
                  </a:moveTo>
                  <a:lnTo>
                    <a:pt x="248" y="194"/>
                  </a:lnTo>
                  <a:lnTo>
                    <a:pt x="248" y="194"/>
                  </a:lnTo>
                  <a:lnTo>
                    <a:pt x="248" y="1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25" name="Freeform 225">
              <a:extLst>
                <a:ext uri="{FF2B5EF4-FFF2-40B4-BE49-F238E27FC236}">
                  <a16:creationId xmlns:a16="http://schemas.microsoft.com/office/drawing/2014/main" id="{71557924-DBDC-4786-AEF5-8000AD3945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4950" y="2201863"/>
              <a:ext cx="2239962" cy="3606800"/>
            </a:xfrm>
            <a:custGeom>
              <a:avLst/>
              <a:gdLst>
                <a:gd name="T0" fmla="*/ 178 w 1411"/>
                <a:gd name="T1" fmla="*/ 2262 h 2272"/>
                <a:gd name="T2" fmla="*/ 312 w 1411"/>
                <a:gd name="T3" fmla="*/ 2194 h 2272"/>
                <a:gd name="T4" fmla="*/ 230 w 1411"/>
                <a:gd name="T5" fmla="*/ 2250 h 2272"/>
                <a:gd name="T6" fmla="*/ 185 w 1411"/>
                <a:gd name="T7" fmla="*/ 2212 h 2272"/>
                <a:gd name="T8" fmla="*/ 177 w 1411"/>
                <a:gd name="T9" fmla="*/ 2239 h 2272"/>
                <a:gd name="T10" fmla="*/ 161 w 1411"/>
                <a:gd name="T11" fmla="*/ 2248 h 2272"/>
                <a:gd name="T12" fmla="*/ 188 w 1411"/>
                <a:gd name="T13" fmla="*/ 2257 h 2272"/>
                <a:gd name="T14" fmla="*/ 244 w 1411"/>
                <a:gd name="T15" fmla="*/ 2253 h 2272"/>
                <a:gd name="T16" fmla="*/ 587 w 1411"/>
                <a:gd name="T17" fmla="*/ 1458 h 2272"/>
                <a:gd name="T18" fmla="*/ 525 w 1411"/>
                <a:gd name="T19" fmla="*/ 1461 h 2272"/>
                <a:gd name="T20" fmla="*/ 478 w 1411"/>
                <a:gd name="T21" fmla="*/ 1428 h 2272"/>
                <a:gd name="T22" fmla="*/ 441 w 1411"/>
                <a:gd name="T23" fmla="*/ 1439 h 2272"/>
                <a:gd name="T24" fmla="*/ 452 w 1411"/>
                <a:gd name="T25" fmla="*/ 1401 h 2272"/>
                <a:gd name="T26" fmla="*/ 424 w 1411"/>
                <a:gd name="T27" fmla="*/ 1354 h 2272"/>
                <a:gd name="T28" fmla="*/ 356 w 1411"/>
                <a:gd name="T29" fmla="*/ 1337 h 2272"/>
                <a:gd name="T30" fmla="*/ 322 w 1411"/>
                <a:gd name="T31" fmla="*/ 1307 h 2272"/>
                <a:gd name="T32" fmla="*/ 285 w 1411"/>
                <a:gd name="T33" fmla="*/ 1287 h 2272"/>
                <a:gd name="T34" fmla="*/ 261 w 1411"/>
                <a:gd name="T35" fmla="*/ 1272 h 2272"/>
                <a:gd name="T36" fmla="*/ 175 w 1411"/>
                <a:gd name="T37" fmla="*/ 1252 h 2272"/>
                <a:gd name="T38" fmla="*/ 151 w 1411"/>
                <a:gd name="T39" fmla="*/ 1281 h 2272"/>
                <a:gd name="T40" fmla="*/ 119 w 1411"/>
                <a:gd name="T41" fmla="*/ 1269 h 2272"/>
                <a:gd name="T42" fmla="*/ 84 w 1411"/>
                <a:gd name="T43" fmla="*/ 1307 h 2272"/>
                <a:gd name="T44" fmla="*/ 17 w 1411"/>
                <a:gd name="T45" fmla="*/ 1296 h 2272"/>
                <a:gd name="T46" fmla="*/ 12 w 1411"/>
                <a:gd name="T47" fmla="*/ 1306 h 2272"/>
                <a:gd name="T48" fmla="*/ 60 w 1411"/>
                <a:gd name="T49" fmla="*/ 1299 h 2272"/>
                <a:gd name="T50" fmla="*/ 76 w 1411"/>
                <a:gd name="T51" fmla="*/ 1364 h 2272"/>
                <a:gd name="T52" fmla="*/ 43 w 1411"/>
                <a:gd name="T53" fmla="*/ 1407 h 2272"/>
                <a:gd name="T54" fmla="*/ 41 w 1411"/>
                <a:gd name="T55" fmla="*/ 1452 h 2272"/>
                <a:gd name="T56" fmla="*/ 29 w 1411"/>
                <a:gd name="T57" fmla="*/ 1496 h 2272"/>
                <a:gd name="T58" fmla="*/ 85 w 1411"/>
                <a:gd name="T59" fmla="*/ 1590 h 2272"/>
                <a:gd name="T60" fmla="*/ 159 w 1411"/>
                <a:gd name="T61" fmla="*/ 1660 h 2272"/>
                <a:gd name="T62" fmla="*/ 169 w 1411"/>
                <a:gd name="T63" fmla="*/ 1776 h 2272"/>
                <a:gd name="T64" fmla="*/ 155 w 1411"/>
                <a:gd name="T65" fmla="*/ 1888 h 2272"/>
                <a:gd name="T66" fmla="*/ 131 w 1411"/>
                <a:gd name="T67" fmla="*/ 1966 h 2272"/>
                <a:gd name="T68" fmla="*/ 142 w 1411"/>
                <a:gd name="T69" fmla="*/ 2025 h 2272"/>
                <a:gd name="T70" fmla="*/ 141 w 1411"/>
                <a:gd name="T71" fmla="*/ 2075 h 2272"/>
                <a:gd name="T72" fmla="*/ 125 w 1411"/>
                <a:gd name="T73" fmla="*/ 2102 h 2272"/>
                <a:gd name="T74" fmla="*/ 109 w 1411"/>
                <a:gd name="T75" fmla="*/ 2108 h 2272"/>
                <a:gd name="T76" fmla="*/ 131 w 1411"/>
                <a:gd name="T77" fmla="*/ 2134 h 2272"/>
                <a:gd name="T78" fmla="*/ 125 w 1411"/>
                <a:gd name="T79" fmla="*/ 2154 h 2272"/>
                <a:gd name="T80" fmla="*/ 121 w 1411"/>
                <a:gd name="T81" fmla="*/ 2178 h 2272"/>
                <a:gd name="T82" fmla="*/ 133 w 1411"/>
                <a:gd name="T83" fmla="*/ 2203 h 2272"/>
                <a:gd name="T84" fmla="*/ 128 w 1411"/>
                <a:gd name="T85" fmla="*/ 2205 h 2272"/>
                <a:gd name="T86" fmla="*/ 144 w 1411"/>
                <a:gd name="T87" fmla="*/ 2219 h 2272"/>
                <a:gd name="T88" fmla="*/ 153 w 1411"/>
                <a:gd name="T89" fmla="*/ 2230 h 2272"/>
                <a:gd name="T90" fmla="*/ 198 w 1411"/>
                <a:gd name="T91" fmla="*/ 2209 h 2272"/>
                <a:gd name="T92" fmla="*/ 192 w 1411"/>
                <a:gd name="T93" fmla="*/ 2167 h 2272"/>
                <a:gd name="T94" fmla="*/ 230 w 1411"/>
                <a:gd name="T95" fmla="*/ 2128 h 2272"/>
                <a:gd name="T96" fmla="*/ 243 w 1411"/>
                <a:gd name="T97" fmla="*/ 2067 h 2272"/>
                <a:gd name="T98" fmla="*/ 249 w 1411"/>
                <a:gd name="T99" fmla="*/ 2033 h 2272"/>
                <a:gd name="T100" fmla="*/ 288 w 1411"/>
                <a:gd name="T101" fmla="*/ 1981 h 2272"/>
                <a:gd name="T102" fmla="*/ 345 w 1411"/>
                <a:gd name="T103" fmla="*/ 1916 h 2272"/>
                <a:gd name="T104" fmla="*/ 347 w 1411"/>
                <a:gd name="T105" fmla="*/ 1910 h 2272"/>
                <a:gd name="T106" fmla="*/ 427 w 1411"/>
                <a:gd name="T107" fmla="*/ 1861 h 2272"/>
                <a:gd name="T108" fmla="*/ 442 w 1411"/>
                <a:gd name="T109" fmla="*/ 1858 h 2272"/>
                <a:gd name="T110" fmla="*/ 478 w 1411"/>
                <a:gd name="T111" fmla="*/ 1768 h 2272"/>
                <a:gd name="T112" fmla="*/ 545 w 1411"/>
                <a:gd name="T113" fmla="*/ 1739 h 2272"/>
                <a:gd name="T114" fmla="*/ 593 w 1411"/>
                <a:gd name="T115" fmla="*/ 1685 h 2272"/>
                <a:gd name="T116" fmla="*/ 623 w 1411"/>
                <a:gd name="T117" fmla="*/ 1577 h 2272"/>
                <a:gd name="T118" fmla="*/ 195 w 1411"/>
                <a:gd name="T119" fmla="*/ 1646 h 2272"/>
                <a:gd name="T120" fmla="*/ 196 w 1411"/>
                <a:gd name="T121" fmla="*/ 1642 h 2272"/>
                <a:gd name="T122" fmla="*/ 329 w 1411"/>
                <a:gd name="T123" fmla="*/ 2200 h 2272"/>
                <a:gd name="T124" fmla="*/ 472 w 1411"/>
                <a:gd name="T125" fmla="*/ 1422 h 2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411" h="2272">
                  <a:moveTo>
                    <a:pt x="1407" y="1"/>
                  </a:moveTo>
                  <a:lnTo>
                    <a:pt x="1411" y="1"/>
                  </a:lnTo>
                  <a:lnTo>
                    <a:pt x="1411" y="0"/>
                  </a:lnTo>
                  <a:lnTo>
                    <a:pt x="1407" y="1"/>
                  </a:lnTo>
                  <a:close/>
                  <a:moveTo>
                    <a:pt x="202" y="2266"/>
                  </a:moveTo>
                  <a:lnTo>
                    <a:pt x="200" y="2265"/>
                  </a:lnTo>
                  <a:lnTo>
                    <a:pt x="196" y="2264"/>
                  </a:lnTo>
                  <a:lnTo>
                    <a:pt x="200" y="2264"/>
                  </a:lnTo>
                  <a:lnTo>
                    <a:pt x="202" y="2264"/>
                  </a:lnTo>
                  <a:lnTo>
                    <a:pt x="200" y="2262"/>
                  </a:lnTo>
                  <a:lnTo>
                    <a:pt x="196" y="2262"/>
                  </a:lnTo>
                  <a:lnTo>
                    <a:pt x="194" y="2262"/>
                  </a:lnTo>
                  <a:lnTo>
                    <a:pt x="191" y="2260"/>
                  </a:lnTo>
                  <a:lnTo>
                    <a:pt x="194" y="2261"/>
                  </a:lnTo>
                  <a:lnTo>
                    <a:pt x="196" y="2262"/>
                  </a:lnTo>
                  <a:lnTo>
                    <a:pt x="200" y="2261"/>
                  </a:lnTo>
                  <a:lnTo>
                    <a:pt x="200" y="2258"/>
                  </a:lnTo>
                  <a:lnTo>
                    <a:pt x="198" y="2257"/>
                  </a:lnTo>
                  <a:lnTo>
                    <a:pt x="194" y="2258"/>
                  </a:lnTo>
                  <a:lnTo>
                    <a:pt x="192" y="2258"/>
                  </a:lnTo>
                  <a:lnTo>
                    <a:pt x="188" y="2260"/>
                  </a:lnTo>
                  <a:lnTo>
                    <a:pt x="186" y="2260"/>
                  </a:lnTo>
                  <a:lnTo>
                    <a:pt x="184" y="2260"/>
                  </a:lnTo>
                  <a:lnTo>
                    <a:pt x="181" y="2260"/>
                  </a:lnTo>
                  <a:lnTo>
                    <a:pt x="178" y="2262"/>
                  </a:lnTo>
                  <a:lnTo>
                    <a:pt x="178" y="2262"/>
                  </a:lnTo>
                  <a:lnTo>
                    <a:pt x="178" y="2262"/>
                  </a:lnTo>
                  <a:lnTo>
                    <a:pt x="182" y="2263"/>
                  </a:lnTo>
                  <a:lnTo>
                    <a:pt x="184" y="2263"/>
                  </a:lnTo>
                  <a:lnTo>
                    <a:pt x="182" y="2265"/>
                  </a:lnTo>
                  <a:lnTo>
                    <a:pt x="184" y="2266"/>
                  </a:lnTo>
                  <a:lnTo>
                    <a:pt x="187" y="2267"/>
                  </a:lnTo>
                  <a:lnTo>
                    <a:pt x="190" y="2269"/>
                  </a:lnTo>
                  <a:lnTo>
                    <a:pt x="188" y="2266"/>
                  </a:lnTo>
                  <a:lnTo>
                    <a:pt x="186" y="2264"/>
                  </a:lnTo>
                  <a:lnTo>
                    <a:pt x="187" y="2262"/>
                  </a:lnTo>
                  <a:lnTo>
                    <a:pt x="191" y="2263"/>
                  </a:lnTo>
                  <a:lnTo>
                    <a:pt x="193" y="2264"/>
                  </a:lnTo>
                  <a:lnTo>
                    <a:pt x="194" y="2267"/>
                  </a:lnTo>
                  <a:lnTo>
                    <a:pt x="198" y="2266"/>
                  </a:lnTo>
                  <a:lnTo>
                    <a:pt x="200" y="2269"/>
                  </a:lnTo>
                  <a:lnTo>
                    <a:pt x="202" y="2271"/>
                  </a:lnTo>
                  <a:lnTo>
                    <a:pt x="205" y="2272"/>
                  </a:lnTo>
                  <a:lnTo>
                    <a:pt x="204" y="2270"/>
                  </a:lnTo>
                  <a:lnTo>
                    <a:pt x="202" y="2266"/>
                  </a:lnTo>
                  <a:close/>
                  <a:moveTo>
                    <a:pt x="323" y="2195"/>
                  </a:moveTo>
                  <a:lnTo>
                    <a:pt x="326" y="2193"/>
                  </a:lnTo>
                  <a:lnTo>
                    <a:pt x="323" y="2193"/>
                  </a:lnTo>
                  <a:lnTo>
                    <a:pt x="321" y="2193"/>
                  </a:lnTo>
                  <a:lnTo>
                    <a:pt x="318" y="2193"/>
                  </a:lnTo>
                  <a:lnTo>
                    <a:pt x="315" y="2192"/>
                  </a:lnTo>
                  <a:lnTo>
                    <a:pt x="315" y="2193"/>
                  </a:lnTo>
                  <a:lnTo>
                    <a:pt x="314" y="2193"/>
                  </a:lnTo>
                  <a:lnTo>
                    <a:pt x="312" y="2194"/>
                  </a:lnTo>
                  <a:lnTo>
                    <a:pt x="309" y="2192"/>
                  </a:lnTo>
                  <a:lnTo>
                    <a:pt x="306" y="2192"/>
                  </a:lnTo>
                  <a:lnTo>
                    <a:pt x="309" y="2194"/>
                  </a:lnTo>
                  <a:lnTo>
                    <a:pt x="311" y="2196"/>
                  </a:lnTo>
                  <a:lnTo>
                    <a:pt x="314" y="2197"/>
                  </a:lnTo>
                  <a:lnTo>
                    <a:pt x="312" y="2196"/>
                  </a:lnTo>
                  <a:lnTo>
                    <a:pt x="309" y="2197"/>
                  </a:lnTo>
                  <a:lnTo>
                    <a:pt x="306" y="2197"/>
                  </a:lnTo>
                  <a:lnTo>
                    <a:pt x="309" y="2198"/>
                  </a:lnTo>
                  <a:lnTo>
                    <a:pt x="312" y="2198"/>
                  </a:lnTo>
                  <a:lnTo>
                    <a:pt x="309" y="2200"/>
                  </a:lnTo>
                  <a:lnTo>
                    <a:pt x="307" y="2203"/>
                  </a:lnTo>
                  <a:lnTo>
                    <a:pt x="304" y="2203"/>
                  </a:lnTo>
                  <a:lnTo>
                    <a:pt x="302" y="2204"/>
                  </a:lnTo>
                  <a:lnTo>
                    <a:pt x="304" y="2205"/>
                  </a:lnTo>
                  <a:lnTo>
                    <a:pt x="307" y="2205"/>
                  </a:lnTo>
                  <a:lnTo>
                    <a:pt x="310" y="2205"/>
                  </a:lnTo>
                  <a:lnTo>
                    <a:pt x="312" y="2203"/>
                  </a:lnTo>
                  <a:lnTo>
                    <a:pt x="315" y="2202"/>
                  </a:lnTo>
                  <a:lnTo>
                    <a:pt x="316" y="2202"/>
                  </a:lnTo>
                  <a:lnTo>
                    <a:pt x="319" y="2200"/>
                  </a:lnTo>
                  <a:lnTo>
                    <a:pt x="321" y="2196"/>
                  </a:lnTo>
                  <a:lnTo>
                    <a:pt x="323" y="2195"/>
                  </a:lnTo>
                  <a:close/>
                  <a:moveTo>
                    <a:pt x="239" y="2253"/>
                  </a:moveTo>
                  <a:lnTo>
                    <a:pt x="236" y="2253"/>
                  </a:lnTo>
                  <a:lnTo>
                    <a:pt x="234" y="2252"/>
                  </a:lnTo>
                  <a:lnTo>
                    <a:pt x="230" y="2250"/>
                  </a:lnTo>
                  <a:lnTo>
                    <a:pt x="228" y="2249"/>
                  </a:lnTo>
                  <a:lnTo>
                    <a:pt x="226" y="2248"/>
                  </a:lnTo>
                  <a:lnTo>
                    <a:pt x="222" y="2245"/>
                  </a:lnTo>
                  <a:lnTo>
                    <a:pt x="220" y="2244"/>
                  </a:lnTo>
                  <a:lnTo>
                    <a:pt x="218" y="2243"/>
                  </a:lnTo>
                  <a:lnTo>
                    <a:pt x="215" y="2240"/>
                  </a:lnTo>
                  <a:lnTo>
                    <a:pt x="212" y="2239"/>
                  </a:lnTo>
                  <a:lnTo>
                    <a:pt x="209" y="2236"/>
                  </a:lnTo>
                  <a:lnTo>
                    <a:pt x="209" y="2235"/>
                  </a:lnTo>
                  <a:lnTo>
                    <a:pt x="205" y="2232"/>
                  </a:lnTo>
                  <a:lnTo>
                    <a:pt x="204" y="2230"/>
                  </a:lnTo>
                  <a:lnTo>
                    <a:pt x="203" y="2227"/>
                  </a:lnTo>
                  <a:lnTo>
                    <a:pt x="201" y="2227"/>
                  </a:lnTo>
                  <a:lnTo>
                    <a:pt x="198" y="2226"/>
                  </a:lnTo>
                  <a:lnTo>
                    <a:pt x="200" y="2223"/>
                  </a:lnTo>
                  <a:lnTo>
                    <a:pt x="202" y="2222"/>
                  </a:lnTo>
                  <a:lnTo>
                    <a:pt x="201" y="2219"/>
                  </a:lnTo>
                  <a:lnTo>
                    <a:pt x="199" y="2216"/>
                  </a:lnTo>
                  <a:lnTo>
                    <a:pt x="198" y="2215"/>
                  </a:lnTo>
                  <a:lnTo>
                    <a:pt x="198" y="2214"/>
                  </a:lnTo>
                  <a:lnTo>
                    <a:pt x="196" y="2214"/>
                  </a:lnTo>
                  <a:lnTo>
                    <a:pt x="196" y="2214"/>
                  </a:lnTo>
                  <a:lnTo>
                    <a:pt x="196" y="2214"/>
                  </a:lnTo>
                  <a:lnTo>
                    <a:pt x="193" y="2214"/>
                  </a:lnTo>
                  <a:lnTo>
                    <a:pt x="191" y="2215"/>
                  </a:lnTo>
                  <a:lnTo>
                    <a:pt x="188" y="2214"/>
                  </a:lnTo>
                  <a:lnTo>
                    <a:pt x="185" y="2212"/>
                  </a:lnTo>
                  <a:lnTo>
                    <a:pt x="185" y="2212"/>
                  </a:lnTo>
                  <a:lnTo>
                    <a:pt x="184" y="2214"/>
                  </a:lnTo>
                  <a:lnTo>
                    <a:pt x="182" y="2216"/>
                  </a:lnTo>
                  <a:lnTo>
                    <a:pt x="182" y="2216"/>
                  </a:lnTo>
                  <a:lnTo>
                    <a:pt x="181" y="2218"/>
                  </a:lnTo>
                  <a:lnTo>
                    <a:pt x="178" y="2218"/>
                  </a:lnTo>
                  <a:lnTo>
                    <a:pt x="176" y="2216"/>
                  </a:lnTo>
                  <a:lnTo>
                    <a:pt x="173" y="2216"/>
                  </a:lnTo>
                  <a:lnTo>
                    <a:pt x="174" y="2219"/>
                  </a:lnTo>
                  <a:lnTo>
                    <a:pt x="177" y="2219"/>
                  </a:lnTo>
                  <a:lnTo>
                    <a:pt x="175" y="2222"/>
                  </a:lnTo>
                  <a:lnTo>
                    <a:pt x="171" y="2222"/>
                  </a:lnTo>
                  <a:lnTo>
                    <a:pt x="171" y="2224"/>
                  </a:lnTo>
                  <a:lnTo>
                    <a:pt x="171" y="2227"/>
                  </a:lnTo>
                  <a:lnTo>
                    <a:pt x="173" y="2228"/>
                  </a:lnTo>
                  <a:lnTo>
                    <a:pt x="175" y="2230"/>
                  </a:lnTo>
                  <a:lnTo>
                    <a:pt x="178" y="2229"/>
                  </a:lnTo>
                  <a:lnTo>
                    <a:pt x="178" y="2228"/>
                  </a:lnTo>
                  <a:lnTo>
                    <a:pt x="182" y="2228"/>
                  </a:lnTo>
                  <a:lnTo>
                    <a:pt x="184" y="2227"/>
                  </a:lnTo>
                  <a:lnTo>
                    <a:pt x="187" y="2228"/>
                  </a:lnTo>
                  <a:lnTo>
                    <a:pt x="186" y="2231"/>
                  </a:lnTo>
                  <a:lnTo>
                    <a:pt x="183" y="2232"/>
                  </a:lnTo>
                  <a:lnTo>
                    <a:pt x="181" y="2233"/>
                  </a:lnTo>
                  <a:lnTo>
                    <a:pt x="178" y="2235"/>
                  </a:lnTo>
                  <a:lnTo>
                    <a:pt x="176" y="2237"/>
                  </a:lnTo>
                  <a:lnTo>
                    <a:pt x="177" y="2239"/>
                  </a:lnTo>
                  <a:lnTo>
                    <a:pt x="178" y="2243"/>
                  </a:lnTo>
                  <a:lnTo>
                    <a:pt x="181" y="2244"/>
                  </a:lnTo>
                  <a:lnTo>
                    <a:pt x="184" y="2244"/>
                  </a:lnTo>
                  <a:lnTo>
                    <a:pt x="186" y="2246"/>
                  </a:lnTo>
                  <a:lnTo>
                    <a:pt x="190" y="2247"/>
                  </a:lnTo>
                  <a:lnTo>
                    <a:pt x="192" y="2248"/>
                  </a:lnTo>
                  <a:lnTo>
                    <a:pt x="190" y="2250"/>
                  </a:lnTo>
                  <a:lnTo>
                    <a:pt x="186" y="2250"/>
                  </a:lnTo>
                  <a:lnTo>
                    <a:pt x="188" y="2248"/>
                  </a:lnTo>
                  <a:lnTo>
                    <a:pt x="185" y="2247"/>
                  </a:lnTo>
                  <a:lnTo>
                    <a:pt x="183" y="2246"/>
                  </a:lnTo>
                  <a:lnTo>
                    <a:pt x="181" y="2245"/>
                  </a:lnTo>
                  <a:lnTo>
                    <a:pt x="179" y="2248"/>
                  </a:lnTo>
                  <a:lnTo>
                    <a:pt x="178" y="2245"/>
                  </a:lnTo>
                  <a:lnTo>
                    <a:pt x="177" y="2247"/>
                  </a:lnTo>
                  <a:lnTo>
                    <a:pt x="174" y="2247"/>
                  </a:lnTo>
                  <a:lnTo>
                    <a:pt x="169" y="2244"/>
                  </a:lnTo>
                  <a:lnTo>
                    <a:pt x="166" y="2245"/>
                  </a:lnTo>
                  <a:lnTo>
                    <a:pt x="169" y="2245"/>
                  </a:lnTo>
                  <a:lnTo>
                    <a:pt x="171" y="2247"/>
                  </a:lnTo>
                  <a:lnTo>
                    <a:pt x="174" y="2249"/>
                  </a:lnTo>
                  <a:lnTo>
                    <a:pt x="171" y="2248"/>
                  </a:lnTo>
                  <a:lnTo>
                    <a:pt x="168" y="2249"/>
                  </a:lnTo>
                  <a:lnTo>
                    <a:pt x="169" y="2246"/>
                  </a:lnTo>
                  <a:lnTo>
                    <a:pt x="167" y="2246"/>
                  </a:lnTo>
                  <a:lnTo>
                    <a:pt x="165" y="2248"/>
                  </a:lnTo>
                  <a:lnTo>
                    <a:pt x="161" y="2248"/>
                  </a:lnTo>
                  <a:lnTo>
                    <a:pt x="159" y="2248"/>
                  </a:lnTo>
                  <a:lnTo>
                    <a:pt x="157" y="2249"/>
                  </a:lnTo>
                  <a:lnTo>
                    <a:pt x="153" y="2248"/>
                  </a:lnTo>
                  <a:lnTo>
                    <a:pt x="157" y="2250"/>
                  </a:lnTo>
                  <a:lnTo>
                    <a:pt x="153" y="2250"/>
                  </a:lnTo>
                  <a:lnTo>
                    <a:pt x="151" y="2249"/>
                  </a:lnTo>
                  <a:lnTo>
                    <a:pt x="152" y="2253"/>
                  </a:lnTo>
                  <a:lnTo>
                    <a:pt x="156" y="2253"/>
                  </a:lnTo>
                  <a:lnTo>
                    <a:pt x="158" y="2252"/>
                  </a:lnTo>
                  <a:lnTo>
                    <a:pt x="161" y="2250"/>
                  </a:lnTo>
                  <a:lnTo>
                    <a:pt x="162" y="2253"/>
                  </a:lnTo>
                  <a:lnTo>
                    <a:pt x="165" y="2252"/>
                  </a:lnTo>
                  <a:lnTo>
                    <a:pt x="164" y="2255"/>
                  </a:lnTo>
                  <a:lnTo>
                    <a:pt x="167" y="2254"/>
                  </a:lnTo>
                  <a:lnTo>
                    <a:pt x="169" y="2254"/>
                  </a:lnTo>
                  <a:lnTo>
                    <a:pt x="167" y="2256"/>
                  </a:lnTo>
                  <a:lnTo>
                    <a:pt x="169" y="2255"/>
                  </a:lnTo>
                  <a:lnTo>
                    <a:pt x="173" y="2255"/>
                  </a:lnTo>
                  <a:lnTo>
                    <a:pt x="175" y="2253"/>
                  </a:lnTo>
                  <a:lnTo>
                    <a:pt x="175" y="2256"/>
                  </a:lnTo>
                  <a:lnTo>
                    <a:pt x="178" y="2256"/>
                  </a:lnTo>
                  <a:lnTo>
                    <a:pt x="178" y="2254"/>
                  </a:lnTo>
                  <a:lnTo>
                    <a:pt x="178" y="2253"/>
                  </a:lnTo>
                  <a:lnTo>
                    <a:pt x="181" y="2255"/>
                  </a:lnTo>
                  <a:lnTo>
                    <a:pt x="183" y="2256"/>
                  </a:lnTo>
                  <a:lnTo>
                    <a:pt x="186" y="2256"/>
                  </a:lnTo>
                  <a:lnTo>
                    <a:pt x="188" y="2257"/>
                  </a:lnTo>
                  <a:lnTo>
                    <a:pt x="192" y="2257"/>
                  </a:lnTo>
                  <a:lnTo>
                    <a:pt x="194" y="2255"/>
                  </a:lnTo>
                  <a:lnTo>
                    <a:pt x="196" y="2257"/>
                  </a:lnTo>
                  <a:lnTo>
                    <a:pt x="198" y="2256"/>
                  </a:lnTo>
                  <a:lnTo>
                    <a:pt x="196" y="2255"/>
                  </a:lnTo>
                  <a:lnTo>
                    <a:pt x="196" y="2255"/>
                  </a:lnTo>
                  <a:lnTo>
                    <a:pt x="199" y="2256"/>
                  </a:lnTo>
                  <a:lnTo>
                    <a:pt x="199" y="2256"/>
                  </a:lnTo>
                  <a:lnTo>
                    <a:pt x="201" y="2255"/>
                  </a:lnTo>
                  <a:lnTo>
                    <a:pt x="202" y="2255"/>
                  </a:lnTo>
                  <a:lnTo>
                    <a:pt x="203" y="2256"/>
                  </a:lnTo>
                  <a:lnTo>
                    <a:pt x="207" y="2256"/>
                  </a:lnTo>
                  <a:lnTo>
                    <a:pt x="209" y="2257"/>
                  </a:lnTo>
                  <a:lnTo>
                    <a:pt x="212" y="2256"/>
                  </a:lnTo>
                  <a:lnTo>
                    <a:pt x="215" y="2257"/>
                  </a:lnTo>
                  <a:lnTo>
                    <a:pt x="217" y="2257"/>
                  </a:lnTo>
                  <a:lnTo>
                    <a:pt x="220" y="2257"/>
                  </a:lnTo>
                  <a:lnTo>
                    <a:pt x="222" y="2258"/>
                  </a:lnTo>
                  <a:lnTo>
                    <a:pt x="226" y="2260"/>
                  </a:lnTo>
                  <a:lnTo>
                    <a:pt x="228" y="2258"/>
                  </a:lnTo>
                  <a:lnTo>
                    <a:pt x="230" y="2258"/>
                  </a:lnTo>
                  <a:lnTo>
                    <a:pt x="234" y="2257"/>
                  </a:lnTo>
                  <a:lnTo>
                    <a:pt x="236" y="2257"/>
                  </a:lnTo>
                  <a:lnTo>
                    <a:pt x="239" y="2257"/>
                  </a:lnTo>
                  <a:lnTo>
                    <a:pt x="242" y="2257"/>
                  </a:lnTo>
                  <a:lnTo>
                    <a:pt x="243" y="2255"/>
                  </a:lnTo>
                  <a:lnTo>
                    <a:pt x="244" y="2253"/>
                  </a:lnTo>
                  <a:lnTo>
                    <a:pt x="242" y="2252"/>
                  </a:lnTo>
                  <a:lnTo>
                    <a:pt x="239" y="2253"/>
                  </a:lnTo>
                  <a:close/>
                  <a:moveTo>
                    <a:pt x="659" y="1517"/>
                  </a:moveTo>
                  <a:lnTo>
                    <a:pt x="660" y="1513"/>
                  </a:lnTo>
                  <a:lnTo>
                    <a:pt x="657" y="1510"/>
                  </a:lnTo>
                  <a:lnTo>
                    <a:pt x="657" y="1508"/>
                  </a:lnTo>
                  <a:lnTo>
                    <a:pt x="656" y="1502"/>
                  </a:lnTo>
                  <a:lnTo>
                    <a:pt x="654" y="1495"/>
                  </a:lnTo>
                  <a:lnTo>
                    <a:pt x="653" y="1492"/>
                  </a:lnTo>
                  <a:lnTo>
                    <a:pt x="651" y="1489"/>
                  </a:lnTo>
                  <a:lnTo>
                    <a:pt x="648" y="1488"/>
                  </a:lnTo>
                  <a:lnTo>
                    <a:pt x="645" y="1488"/>
                  </a:lnTo>
                  <a:lnTo>
                    <a:pt x="635" y="1488"/>
                  </a:lnTo>
                  <a:lnTo>
                    <a:pt x="631" y="1487"/>
                  </a:lnTo>
                  <a:lnTo>
                    <a:pt x="628" y="1486"/>
                  </a:lnTo>
                  <a:lnTo>
                    <a:pt x="623" y="1483"/>
                  </a:lnTo>
                  <a:lnTo>
                    <a:pt x="623" y="1483"/>
                  </a:lnTo>
                  <a:lnTo>
                    <a:pt x="621" y="1482"/>
                  </a:lnTo>
                  <a:lnTo>
                    <a:pt x="620" y="1479"/>
                  </a:lnTo>
                  <a:lnTo>
                    <a:pt x="617" y="1477"/>
                  </a:lnTo>
                  <a:lnTo>
                    <a:pt x="614" y="1475"/>
                  </a:lnTo>
                  <a:lnTo>
                    <a:pt x="612" y="1472"/>
                  </a:lnTo>
                  <a:lnTo>
                    <a:pt x="610" y="1469"/>
                  </a:lnTo>
                  <a:lnTo>
                    <a:pt x="608" y="1469"/>
                  </a:lnTo>
                  <a:lnTo>
                    <a:pt x="600" y="1463"/>
                  </a:lnTo>
                  <a:lnTo>
                    <a:pt x="588" y="1458"/>
                  </a:lnTo>
                  <a:lnTo>
                    <a:pt x="587" y="1458"/>
                  </a:lnTo>
                  <a:lnTo>
                    <a:pt x="582" y="1457"/>
                  </a:lnTo>
                  <a:lnTo>
                    <a:pt x="575" y="1458"/>
                  </a:lnTo>
                  <a:lnTo>
                    <a:pt x="572" y="1458"/>
                  </a:lnTo>
                  <a:lnTo>
                    <a:pt x="571" y="1460"/>
                  </a:lnTo>
                  <a:lnTo>
                    <a:pt x="567" y="1458"/>
                  </a:lnTo>
                  <a:lnTo>
                    <a:pt x="563" y="1457"/>
                  </a:lnTo>
                  <a:lnTo>
                    <a:pt x="562" y="1458"/>
                  </a:lnTo>
                  <a:lnTo>
                    <a:pt x="559" y="1457"/>
                  </a:lnTo>
                  <a:lnTo>
                    <a:pt x="558" y="1457"/>
                  </a:lnTo>
                  <a:lnTo>
                    <a:pt x="555" y="1457"/>
                  </a:lnTo>
                  <a:lnTo>
                    <a:pt x="550" y="1453"/>
                  </a:lnTo>
                  <a:lnTo>
                    <a:pt x="544" y="1451"/>
                  </a:lnTo>
                  <a:lnTo>
                    <a:pt x="542" y="1451"/>
                  </a:lnTo>
                  <a:lnTo>
                    <a:pt x="542" y="1452"/>
                  </a:lnTo>
                  <a:lnTo>
                    <a:pt x="536" y="1453"/>
                  </a:lnTo>
                  <a:lnTo>
                    <a:pt x="534" y="1456"/>
                  </a:lnTo>
                  <a:lnTo>
                    <a:pt x="533" y="1457"/>
                  </a:lnTo>
                  <a:lnTo>
                    <a:pt x="532" y="1458"/>
                  </a:lnTo>
                  <a:lnTo>
                    <a:pt x="531" y="1456"/>
                  </a:lnTo>
                  <a:lnTo>
                    <a:pt x="534" y="1452"/>
                  </a:lnTo>
                  <a:lnTo>
                    <a:pt x="531" y="1452"/>
                  </a:lnTo>
                  <a:lnTo>
                    <a:pt x="529" y="1453"/>
                  </a:lnTo>
                  <a:lnTo>
                    <a:pt x="528" y="1459"/>
                  </a:lnTo>
                  <a:lnTo>
                    <a:pt x="526" y="1461"/>
                  </a:lnTo>
                  <a:lnTo>
                    <a:pt x="524" y="1465"/>
                  </a:lnTo>
                  <a:lnTo>
                    <a:pt x="523" y="1463"/>
                  </a:lnTo>
                  <a:lnTo>
                    <a:pt x="525" y="1461"/>
                  </a:lnTo>
                  <a:lnTo>
                    <a:pt x="525" y="1459"/>
                  </a:lnTo>
                  <a:lnTo>
                    <a:pt x="526" y="1453"/>
                  </a:lnTo>
                  <a:lnTo>
                    <a:pt x="529" y="1451"/>
                  </a:lnTo>
                  <a:lnTo>
                    <a:pt x="528" y="1448"/>
                  </a:lnTo>
                  <a:lnTo>
                    <a:pt x="526" y="1450"/>
                  </a:lnTo>
                  <a:lnTo>
                    <a:pt x="523" y="1450"/>
                  </a:lnTo>
                  <a:lnTo>
                    <a:pt x="526" y="1449"/>
                  </a:lnTo>
                  <a:lnTo>
                    <a:pt x="527" y="1446"/>
                  </a:lnTo>
                  <a:lnTo>
                    <a:pt x="523" y="1441"/>
                  </a:lnTo>
                  <a:lnTo>
                    <a:pt x="520" y="1441"/>
                  </a:lnTo>
                  <a:lnTo>
                    <a:pt x="520" y="1439"/>
                  </a:lnTo>
                  <a:lnTo>
                    <a:pt x="518" y="1440"/>
                  </a:lnTo>
                  <a:lnTo>
                    <a:pt x="517" y="1442"/>
                  </a:lnTo>
                  <a:lnTo>
                    <a:pt x="516" y="1440"/>
                  </a:lnTo>
                  <a:lnTo>
                    <a:pt x="516" y="1437"/>
                  </a:lnTo>
                  <a:lnTo>
                    <a:pt x="515" y="1440"/>
                  </a:lnTo>
                  <a:lnTo>
                    <a:pt x="515" y="1437"/>
                  </a:lnTo>
                  <a:lnTo>
                    <a:pt x="506" y="1435"/>
                  </a:lnTo>
                  <a:lnTo>
                    <a:pt x="505" y="1433"/>
                  </a:lnTo>
                  <a:lnTo>
                    <a:pt x="499" y="1433"/>
                  </a:lnTo>
                  <a:lnTo>
                    <a:pt x="493" y="1429"/>
                  </a:lnTo>
                  <a:lnTo>
                    <a:pt x="491" y="1429"/>
                  </a:lnTo>
                  <a:lnTo>
                    <a:pt x="489" y="1427"/>
                  </a:lnTo>
                  <a:lnTo>
                    <a:pt x="488" y="1429"/>
                  </a:lnTo>
                  <a:lnTo>
                    <a:pt x="485" y="1427"/>
                  </a:lnTo>
                  <a:lnTo>
                    <a:pt x="483" y="1428"/>
                  </a:lnTo>
                  <a:lnTo>
                    <a:pt x="478" y="1428"/>
                  </a:lnTo>
                  <a:lnTo>
                    <a:pt x="476" y="1431"/>
                  </a:lnTo>
                  <a:lnTo>
                    <a:pt x="475" y="1435"/>
                  </a:lnTo>
                  <a:lnTo>
                    <a:pt x="473" y="1439"/>
                  </a:lnTo>
                  <a:lnTo>
                    <a:pt x="477" y="1439"/>
                  </a:lnTo>
                  <a:lnTo>
                    <a:pt x="474" y="1440"/>
                  </a:lnTo>
                  <a:lnTo>
                    <a:pt x="474" y="1442"/>
                  </a:lnTo>
                  <a:lnTo>
                    <a:pt x="471" y="1439"/>
                  </a:lnTo>
                  <a:lnTo>
                    <a:pt x="468" y="1441"/>
                  </a:lnTo>
                  <a:lnTo>
                    <a:pt x="466" y="1443"/>
                  </a:lnTo>
                  <a:lnTo>
                    <a:pt x="464" y="1444"/>
                  </a:lnTo>
                  <a:lnTo>
                    <a:pt x="461" y="1448"/>
                  </a:lnTo>
                  <a:lnTo>
                    <a:pt x="459" y="1452"/>
                  </a:lnTo>
                  <a:lnTo>
                    <a:pt x="459" y="1453"/>
                  </a:lnTo>
                  <a:lnTo>
                    <a:pt x="459" y="1451"/>
                  </a:lnTo>
                  <a:lnTo>
                    <a:pt x="461" y="1443"/>
                  </a:lnTo>
                  <a:lnTo>
                    <a:pt x="459" y="1443"/>
                  </a:lnTo>
                  <a:lnTo>
                    <a:pt x="457" y="1444"/>
                  </a:lnTo>
                  <a:lnTo>
                    <a:pt x="455" y="1448"/>
                  </a:lnTo>
                  <a:lnTo>
                    <a:pt x="454" y="1444"/>
                  </a:lnTo>
                  <a:lnTo>
                    <a:pt x="452" y="1443"/>
                  </a:lnTo>
                  <a:lnTo>
                    <a:pt x="449" y="1445"/>
                  </a:lnTo>
                  <a:lnTo>
                    <a:pt x="447" y="1445"/>
                  </a:lnTo>
                  <a:lnTo>
                    <a:pt x="443" y="1443"/>
                  </a:lnTo>
                  <a:lnTo>
                    <a:pt x="442" y="1443"/>
                  </a:lnTo>
                  <a:lnTo>
                    <a:pt x="442" y="1441"/>
                  </a:lnTo>
                  <a:lnTo>
                    <a:pt x="442" y="1440"/>
                  </a:lnTo>
                  <a:lnTo>
                    <a:pt x="441" y="1439"/>
                  </a:lnTo>
                  <a:lnTo>
                    <a:pt x="441" y="1439"/>
                  </a:lnTo>
                  <a:lnTo>
                    <a:pt x="441" y="1437"/>
                  </a:lnTo>
                  <a:lnTo>
                    <a:pt x="441" y="1432"/>
                  </a:lnTo>
                  <a:lnTo>
                    <a:pt x="438" y="1433"/>
                  </a:lnTo>
                  <a:lnTo>
                    <a:pt x="430" y="1437"/>
                  </a:lnTo>
                  <a:lnTo>
                    <a:pt x="429" y="1437"/>
                  </a:lnTo>
                  <a:lnTo>
                    <a:pt x="426" y="1440"/>
                  </a:lnTo>
                  <a:lnTo>
                    <a:pt x="421" y="1442"/>
                  </a:lnTo>
                  <a:lnTo>
                    <a:pt x="421" y="1442"/>
                  </a:lnTo>
                  <a:lnTo>
                    <a:pt x="418" y="1441"/>
                  </a:lnTo>
                  <a:lnTo>
                    <a:pt x="415" y="1441"/>
                  </a:lnTo>
                  <a:lnTo>
                    <a:pt x="415" y="1440"/>
                  </a:lnTo>
                  <a:lnTo>
                    <a:pt x="422" y="1437"/>
                  </a:lnTo>
                  <a:lnTo>
                    <a:pt x="424" y="1439"/>
                  </a:lnTo>
                  <a:lnTo>
                    <a:pt x="426" y="1434"/>
                  </a:lnTo>
                  <a:lnTo>
                    <a:pt x="429" y="1433"/>
                  </a:lnTo>
                  <a:lnTo>
                    <a:pt x="429" y="1431"/>
                  </a:lnTo>
                  <a:lnTo>
                    <a:pt x="434" y="1422"/>
                  </a:lnTo>
                  <a:lnTo>
                    <a:pt x="435" y="1420"/>
                  </a:lnTo>
                  <a:lnTo>
                    <a:pt x="437" y="1419"/>
                  </a:lnTo>
                  <a:lnTo>
                    <a:pt x="440" y="1416"/>
                  </a:lnTo>
                  <a:lnTo>
                    <a:pt x="443" y="1415"/>
                  </a:lnTo>
                  <a:lnTo>
                    <a:pt x="449" y="1406"/>
                  </a:lnTo>
                  <a:lnTo>
                    <a:pt x="452" y="1403"/>
                  </a:lnTo>
                  <a:lnTo>
                    <a:pt x="452" y="1402"/>
                  </a:lnTo>
                  <a:lnTo>
                    <a:pt x="450" y="1402"/>
                  </a:lnTo>
                  <a:lnTo>
                    <a:pt x="452" y="1401"/>
                  </a:lnTo>
                  <a:lnTo>
                    <a:pt x="454" y="1399"/>
                  </a:lnTo>
                  <a:lnTo>
                    <a:pt x="454" y="1395"/>
                  </a:lnTo>
                  <a:lnTo>
                    <a:pt x="452" y="1394"/>
                  </a:lnTo>
                  <a:lnTo>
                    <a:pt x="449" y="1393"/>
                  </a:lnTo>
                  <a:lnTo>
                    <a:pt x="447" y="1393"/>
                  </a:lnTo>
                  <a:lnTo>
                    <a:pt x="444" y="1391"/>
                  </a:lnTo>
                  <a:lnTo>
                    <a:pt x="442" y="1390"/>
                  </a:lnTo>
                  <a:lnTo>
                    <a:pt x="442" y="1386"/>
                  </a:lnTo>
                  <a:lnTo>
                    <a:pt x="440" y="1384"/>
                  </a:lnTo>
                  <a:lnTo>
                    <a:pt x="440" y="1382"/>
                  </a:lnTo>
                  <a:lnTo>
                    <a:pt x="438" y="1376"/>
                  </a:lnTo>
                  <a:lnTo>
                    <a:pt x="438" y="1374"/>
                  </a:lnTo>
                  <a:lnTo>
                    <a:pt x="437" y="1365"/>
                  </a:lnTo>
                  <a:lnTo>
                    <a:pt x="435" y="1368"/>
                  </a:lnTo>
                  <a:lnTo>
                    <a:pt x="435" y="1363"/>
                  </a:lnTo>
                  <a:lnTo>
                    <a:pt x="433" y="1360"/>
                  </a:lnTo>
                  <a:lnTo>
                    <a:pt x="431" y="1359"/>
                  </a:lnTo>
                  <a:lnTo>
                    <a:pt x="431" y="1362"/>
                  </a:lnTo>
                  <a:lnTo>
                    <a:pt x="432" y="1365"/>
                  </a:lnTo>
                  <a:lnTo>
                    <a:pt x="431" y="1362"/>
                  </a:lnTo>
                  <a:lnTo>
                    <a:pt x="429" y="1364"/>
                  </a:lnTo>
                  <a:lnTo>
                    <a:pt x="430" y="1360"/>
                  </a:lnTo>
                  <a:lnTo>
                    <a:pt x="426" y="1356"/>
                  </a:lnTo>
                  <a:lnTo>
                    <a:pt x="425" y="1358"/>
                  </a:lnTo>
                  <a:lnTo>
                    <a:pt x="424" y="1359"/>
                  </a:lnTo>
                  <a:lnTo>
                    <a:pt x="425" y="1356"/>
                  </a:lnTo>
                  <a:lnTo>
                    <a:pt x="424" y="1354"/>
                  </a:lnTo>
                  <a:lnTo>
                    <a:pt x="421" y="1352"/>
                  </a:lnTo>
                  <a:lnTo>
                    <a:pt x="420" y="1354"/>
                  </a:lnTo>
                  <a:lnTo>
                    <a:pt x="421" y="1351"/>
                  </a:lnTo>
                  <a:lnTo>
                    <a:pt x="420" y="1351"/>
                  </a:lnTo>
                  <a:lnTo>
                    <a:pt x="417" y="1349"/>
                  </a:lnTo>
                  <a:lnTo>
                    <a:pt x="412" y="1343"/>
                  </a:lnTo>
                  <a:lnTo>
                    <a:pt x="411" y="1343"/>
                  </a:lnTo>
                  <a:lnTo>
                    <a:pt x="404" y="1342"/>
                  </a:lnTo>
                  <a:lnTo>
                    <a:pt x="401" y="1340"/>
                  </a:lnTo>
                  <a:lnTo>
                    <a:pt x="399" y="1340"/>
                  </a:lnTo>
                  <a:lnTo>
                    <a:pt x="396" y="1345"/>
                  </a:lnTo>
                  <a:lnTo>
                    <a:pt x="395" y="1346"/>
                  </a:lnTo>
                  <a:lnTo>
                    <a:pt x="397" y="1342"/>
                  </a:lnTo>
                  <a:lnTo>
                    <a:pt x="397" y="1340"/>
                  </a:lnTo>
                  <a:lnTo>
                    <a:pt x="395" y="1338"/>
                  </a:lnTo>
                  <a:lnTo>
                    <a:pt x="383" y="1337"/>
                  </a:lnTo>
                  <a:lnTo>
                    <a:pt x="383" y="1339"/>
                  </a:lnTo>
                  <a:lnTo>
                    <a:pt x="382" y="1339"/>
                  </a:lnTo>
                  <a:lnTo>
                    <a:pt x="379" y="1337"/>
                  </a:lnTo>
                  <a:lnTo>
                    <a:pt x="373" y="1337"/>
                  </a:lnTo>
                  <a:lnTo>
                    <a:pt x="371" y="1338"/>
                  </a:lnTo>
                  <a:lnTo>
                    <a:pt x="371" y="1339"/>
                  </a:lnTo>
                  <a:lnTo>
                    <a:pt x="371" y="1341"/>
                  </a:lnTo>
                  <a:lnTo>
                    <a:pt x="369" y="1339"/>
                  </a:lnTo>
                  <a:lnTo>
                    <a:pt x="363" y="1338"/>
                  </a:lnTo>
                  <a:lnTo>
                    <a:pt x="356" y="1337"/>
                  </a:lnTo>
                  <a:lnTo>
                    <a:pt x="356" y="1337"/>
                  </a:lnTo>
                  <a:lnTo>
                    <a:pt x="355" y="1337"/>
                  </a:lnTo>
                  <a:lnTo>
                    <a:pt x="354" y="1341"/>
                  </a:lnTo>
                  <a:lnTo>
                    <a:pt x="353" y="1343"/>
                  </a:lnTo>
                  <a:lnTo>
                    <a:pt x="354" y="1341"/>
                  </a:lnTo>
                  <a:lnTo>
                    <a:pt x="354" y="1335"/>
                  </a:lnTo>
                  <a:lnTo>
                    <a:pt x="352" y="1333"/>
                  </a:lnTo>
                  <a:lnTo>
                    <a:pt x="349" y="1333"/>
                  </a:lnTo>
                  <a:lnTo>
                    <a:pt x="346" y="1329"/>
                  </a:lnTo>
                  <a:lnTo>
                    <a:pt x="343" y="1325"/>
                  </a:lnTo>
                  <a:lnTo>
                    <a:pt x="340" y="1325"/>
                  </a:lnTo>
                  <a:lnTo>
                    <a:pt x="339" y="1324"/>
                  </a:lnTo>
                  <a:lnTo>
                    <a:pt x="337" y="1324"/>
                  </a:lnTo>
                  <a:lnTo>
                    <a:pt x="335" y="1328"/>
                  </a:lnTo>
                  <a:lnTo>
                    <a:pt x="335" y="1331"/>
                  </a:lnTo>
                  <a:lnTo>
                    <a:pt x="333" y="1331"/>
                  </a:lnTo>
                  <a:lnTo>
                    <a:pt x="335" y="1329"/>
                  </a:lnTo>
                  <a:lnTo>
                    <a:pt x="335" y="1325"/>
                  </a:lnTo>
                  <a:lnTo>
                    <a:pt x="336" y="1323"/>
                  </a:lnTo>
                  <a:lnTo>
                    <a:pt x="336" y="1321"/>
                  </a:lnTo>
                  <a:lnTo>
                    <a:pt x="336" y="1318"/>
                  </a:lnTo>
                  <a:lnTo>
                    <a:pt x="335" y="1316"/>
                  </a:lnTo>
                  <a:lnTo>
                    <a:pt x="331" y="1313"/>
                  </a:lnTo>
                  <a:lnTo>
                    <a:pt x="328" y="1309"/>
                  </a:lnTo>
                  <a:lnTo>
                    <a:pt x="326" y="1307"/>
                  </a:lnTo>
                  <a:lnTo>
                    <a:pt x="322" y="1306"/>
                  </a:lnTo>
                  <a:lnTo>
                    <a:pt x="320" y="1305"/>
                  </a:lnTo>
                  <a:lnTo>
                    <a:pt x="322" y="1307"/>
                  </a:lnTo>
                  <a:lnTo>
                    <a:pt x="318" y="1304"/>
                  </a:lnTo>
                  <a:lnTo>
                    <a:pt x="315" y="1302"/>
                  </a:lnTo>
                  <a:lnTo>
                    <a:pt x="312" y="1300"/>
                  </a:lnTo>
                  <a:lnTo>
                    <a:pt x="309" y="1300"/>
                  </a:lnTo>
                  <a:lnTo>
                    <a:pt x="309" y="1302"/>
                  </a:lnTo>
                  <a:lnTo>
                    <a:pt x="305" y="1300"/>
                  </a:lnTo>
                  <a:lnTo>
                    <a:pt x="303" y="1300"/>
                  </a:lnTo>
                  <a:lnTo>
                    <a:pt x="297" y="1304"/>
                  </a:lnTo>
                  <a:lnTo>
                    <a:pt x="293" y="1300"/>
                  </a:lnTo>
                  <a:lnTo>
                    <a:pt x="293" y="1300"/>
                  </a:lnTo>
                  <a:lnTo>
                    <a:pt x="298" y="1300"/>
                  </a:lnTo>
                  <a:lnTo>
                    <a:pt x="301" y="1294"/>
                  </a:lnTo>
                  <a:lnTo>
                    <a:pt x="304" y="1290"/>
                  </a:lnTo>
                  <a:lnTo>
                    <a:pt x="301" y="1287"/>
                  </a:lnTo>
                  <a:lnTo>
                    <a:pt x="298" y="1287"/>
                  </a:lnTo>
                  <a:lnTo>
                    <a:pt x="294" y="1285"/>
                  </a:lnTo>
                  <a:lnTo>
                    <a:pt x="290" y="1285"/>
                  </a:lnTo>
                  <a:lnTo>
                    <a:pt x="290" y="1285"/>
                  </a:lnTo>
                  <a:lnTo>
                    <a:pt x="289" y="1287"/>
                  </a:lnTo>
                  <a:lnTo>
                    <a:pt x="290" y="1285"/>
                  </a:lnTo>
                  <a:lnTo>
                    <a:pt x="288" y="1282"/>
                  </a:lnTo>
                  <a:lnTo>
                    <a:pt x="286" y="1281"/>
                  </a:lnTo>
                  <a:lnTo>
                    <a:pt x="285" y="1281"/>
                  </a:lnTo>
                  <a:lnTo>
                    <a:pt x="285" y="1282"/>
                  </a:lnTo>
                  <a:lnTo>
                    <a:pt x="287" y="1283"/>
                  </a:lnTo>
                  <a:lnTo>
                    <a:pt x="286" y="1283"/>
                  </a:lnTo>
                  <a:lnTo>
                    <a:pt x="285" y="1287"/>
                  </a:lnTo>
                  <a:lnTo>
                    <a:pt x="285" y="1287"/>
                  </a:lnTo>
                  <a:lnTo>
                    <a:pt x="285" y="1286"/>
                  </a:lnTo>
                  <a:lnTo>
                    <a:pt x="285" y="1282"/>
                  </a:lnTo>
                  <a:lnTo>
                    <a:pt x="284" y="1286"/>
                  </a:lnTo>
                  <a:lnTo>
                    <a:pt x="283" y="1286"/>
                  </a:lnTo>
                  <a:lnTo>
                    <a:pt x="281" y="1282"/>
                  </a:lnTo>
                  <a:lnTo>
                    <a:pt x="281" y="1281"/>
                  </a:lnTo>
                  <a:lnTo>
                    <a:pt x="279" y="1279"/>
                  </a:lnTo>
                  <a:lnTo>
                    <a:pt x="277" y="1281"/>
                  </a:lnTo>
                  <a:lnTo>
                    <a:pt x="275" y="1281"/>
                  </a:lnTo>
                  <a:lnTo>
                    <a:pt x="273" y="1280"/>
                  </a:lnTo>
                  <a:lnTo>
                    <a:pt x="276" y="1280"/>
                  </a:lnTo>
                  <a:lnTo>
                    <a:pt x="279" y="1279"/>
                  </a:lnTo>
                  <a:lnTo>
                    <a:pt x="277" y="1275"/>
                  </a:lnTo>
                  <a:lnTo>
                    <a:pt x="275" y="1278"/>
                  </a:lnTo>
                  <a:lnTo>
                    <a:pt x="275" y="1274"/>
                  </a:lnTo>
                  <a:lnTo>
                    <a:pt x="277" y="1273"/>
                  </a:lnTo>
                  <a:lnTo>
                    <a:pt x="283" y="1274"/>
                  </a:lnTo>
                  <a:lnTo>
                    <a:pt x="285" y="1272"/>
                  </a:lnTo>
                  <a:lnTo>
                    <a:pt x="288" y="1271"/>
                  </a:lnTo>
                  <a:lnTo>
                    <a:pt x="286" y="1272"/>
                  </a:lnTo>
                  <a:lnTo>
                    <a:pt x="277" y="1271"/>
                  </a:lnTo>
                  <a:lnTo>
                    <a:pt x="275" y="1272"/>
                  </a:lnTo>
                  <a:lnTo>
                    <a:pt x="272" y="1271"/>
                  </a:lnTo>
                  <a:lnTo>
                    <a:pt x="267" y="1273"/>
                  </a:lnTo>
                  <a:lnTo>
                    <a:pt x="263" y="1272"/>
                  </a:lnTo>
                  <a:lnTo>
                    <a:pt x="261" y="1272"/>
                  </a:lnTo>
                  <a:lnTo>
                    <a:pt x="259" y="1273"/>
                  </a:lnTo>
                  <a:lnTo>
                    <a:pt x="261" y="1273"/>
                  </a:lnTo>
                  <a:lnTo>
                    <a:pt x="263" y="1274"/>
                  </a:lnTo>
                  <a:lnTo>
                    <a:pt x="259" y="1274"/>
                  </a:lnTo>
                  <a:lnTo>
                    <a:pt x="255" y="1275"/>
                  </a:lnTo>
                  <a:lnTo>
                    <a:pt x="251" y="1279"/>
                  </a:lnTo>
                  <a:lnTo>
                    <a:pt x="250" y="1280"/>
                  </a:lnTo>
                  <a:lnTo>
                    <a:pt x="244" y="1280"/>
                  </a:lnTo>
                  <a:lnTo>
                    <a:pt x="238" y="1279"/>
                  </a:lnTo>
                  <a:lnTo>
                    <a:pt x="236" y="1278"/>
                  </a:lnTo>
                  <a:lnTo>
                    <a:pt x="232" y="1274"/>
                  </a:lnTo>
                  <a:lnTo>
                    <a:pt x="232" y="1273"/>
                  </a:lnTo>
                  <a:lnTo>
                    <a:pt x="228" y="1273"/>
                  </a:lnTo>
                  <a:lnTo>
                    <a:pt x="222" y="1273"/>
                  </a:lnTo>
                  <a:lnTo>
                    <a:pt x="210" y="1274"/>
                  </a:lnTo>
                  <a:lnTo>
                    <a:pt x="204" y="1274"/>
                  </a:lnTo>
                  <a:lnTo>
                    <a:pt x="202" y="1273"/>
                  </a:lnTo>
                  <a:lnTo>
                    <a:pt x="201" y="1272"/>
                  </a:lnTo>
                  <a:lnTo>
                    <a:pt x="202" y="1269"/>
                  </a:lnTo>
                  <a:lnTo>
                    <a:pt x="200" y="1264"/>
                  </a:lnTo>
                  <a:lnTo>
                    <a:pt x="194" y="1261"/>
                  </a:lnTo>
                  <a:lnTo>
                    <a:pt x="184" y="1261"/>
                  </a:lnTo>
                  <a:lnTo>
                    <a:pt x="182" y="1258"/>
                  </a:lnTo>
                  <a:lnTo>
                    <a:pt x="181" y="1256"/>
                  </a:lnTo>
                  <a:lnTo>
                    <a:pt x="181" y="1254"/>
                  </a:lnTo>
                  <a:lnTo>
                    <a:pt x="178" y="1251"/>
                  </a:lnTo>
                  <a:lnTo>
                    <a:pt x="175" y="1252"/>
                  </a:lnTo>
                  <a:lnTo>
                    <a:pt x="175" y="1254"/>
                  </a:lnTo>
                  <a:lnTo>
                    <a:pt x="175" y="1256"/>
                  </a:lnTo>
                  <a:lnTo>
                    <a:pt x="175" y="1257"/>
                  </a:lnTo>
                  <a:lnTo>
                    <a:pt x="175" y="1260"/>
                  </a:lnTo>
                  <a:lnTo>
                    <a:pt x="178" y="1258"/>
                  </a:lnTo>
                  <a:lnTo>
                    <a:pt x="181" y="1258"/>
                  </a:lnTo>
                  <a:lnTo>
                    <a:pt x="179" y="1261"/>
                  </a:lnTo>
                  <a:lnTo>
                    <a:pt x="176" y="1260"/>
                  </a:lnTo>
                  <a:lnTo>
                    <a:pt x="176" y="1262"/>
                  </a:lnTo>
                  <a:lnTo>
                    <a:pt x="171" y="1264"/>
                  </a:lnTo>
                  <a:lnTo>
                    <a:pt x="166" y="1264"/>
                  </a:lnTo>
                  <a:lnTo>
                    <a:pt x="159" y="1269"/>
                  </a:lnTo>
                  <a:lnTo>
                    <a:pt x="157" y="1270"/>
                  </a:lnTo>
                  <a:lnTo>
                    <a:pt x="157" y="1271"/>
                  </a:lnTo>
                  <a:lnTo>
                    <a:pt x="157" y="1273"/>
                  </a:lnTo>
                  <a:lnTo>
                    <a:pt x="160" y="1279"/>
                  </a:lnTo>
                  <a:lnTo>
                    <a:pt x="164" y="1283"/>
                  </a:lnTo>
                  <a:lnTo>
                    <a:pt x="164" y="1283"/>
                  </a:lnTo>
                  <a:lnTo>
                    <a:pt x="164" y="1290"/>
                  </a:lnTo>
                  <a:lnTo>
                    <a:pt x="160" y="1294"/>
                  </a:lnTo>
                  <a:lnTo>
                    <a:pt x="157" y="1295"/>
                  </a:lnTo>
                  <a:lnTo>
                    <a:pt x="153" y="1292"/>
                  </a:lnTo>
                  <a:lnTo>
                    <a:pt x="155" y="1290"/>
                  </a:lnTo>
                  <a:lnTo>
                    <a:pt x="151" y="1289"/>
                  </a:lnTo>
                  <a:lnTo>
                    <a:pt x="150" y="1286"/>
                  </a:lnTo>
                  <a:lnTo>
                    <a:pt x="149" y="1285"/>
                  </a:lnTo>
                  <a:lnTo>
                    <a:pt x="151" y="1281"/>
                  </a:lnTo>
                  <a:lnTo>
                    <a:pt x="156" y="1275"/>
                  </a:lnTo>
                  <a:lnTo>
                    <a:pt x="156" y="1273"/>
                  </a:lnTo>
                  <a:lnTo>
                    <a:pt x="156" y="1271"/>
                  </a:lnTo>
                  <a:lnTo>
                    <a:pt x="153" y="1268"/>
                  </a:lnTo>
                  <a:lnTo>
                    <a:pt x="156" y="1266"/>
                  </a:lnTo>
                  <a:lnTo>
                    <a:pt x="152" y="1264"/>
                  </a:lnTo>
                  <a:lnTo>
                    <a:pt x="151" y="1262"/>
                  </a:lnTo>
                  <a:lnTo>
                    <a:pt x="152" y="1260"/>
                  </a:lnTo>
                  <a:lnTo>
                    <a:pt x="155" y="1258"/>
                  </a:lnTo>
                  <a:lnTo>
                    <a:pt x="157" y="1257"/>
                  </a:lnTo>
                  <a:lnTo>
                    <a:pt x="160" y="1256"/>
                  </a:lnTo>
                  <a:lnTo>
                    <a:pt x="160" y="1255"/>
                  </a:lnTo>
                  <a:lnTo>
                    <a:pt x="162" y="1252"/>
                  </a:lnTo>
                  <a:lnTo>
                    <a:pt x="161" y="1249"/>
                  </a:lnTo>
                  <a:lnTo>
                    <a:pt x="157" y="1247"/>
                  </a:lnTo>
                  <a:lnTo>
                    <a:pt x="151" y="1251"/>
                  </a:lnTo>
                  <a:lnTo>
                    <a:pt x="149" y="1253"/>
                  </a:lnTo>
                  <a:lnTo>
                    <a:pt x="148" y="1255"/>
                  </a:lnTo>
                  <a:lnTo>
                    <a:pt x="141" y="1257"/>
                  </a:lnTo>
                  <a:lnTo>
                    <a:pt x="140" y="1258"/>
                  </a:lnTo>
                  <a:lnTo>
                    <a:pt x="139" y="1260"/>
                  </a:lnTo>
                  <a:lnTo>
                    <a:pt x="135" y="1262"/>
                  </a:lnTo>
                  <a:lnTo>
                    <a:pt x="132" y="1264"/>
                  </a:lnTo>
                  <a:lnTo>
                    <a:pt x="125" y="1264"/>
                  </a:lnTo>
                  <a:lnTo>
                    <a:pt x="123" y="1263"/>
                  </a:lnTo>
                  <a:lnTo>
                    <a:pt x="121" y="1264"/>
                  </a:lnTo>
                  <a:lnTo>
                    <a:pt x="119" y="1269"/>
                  </a:lnTo>
                  <a:lnTo>
                    <a:pt x="117" y="1271"/>
                  </a:lnTo>
                  <a:lnTo>
                    <a:pt x="116" y="1271"/>
                  </a:lnTo>
                  <a:lnTo>
                    <a:pt x="116" y="1269"/>
                  </a:lnTo>
                  <a:lnTo>
                    <a:pt x="119" y="1268"/>
                  </a:lnTo>
                  <a:lnTo>
                    <a:pt x="117" y="1268"/>
                  </a:lnTo>
                  <a:lnTo>
                    <a:pt x="111" y="1265"/>
                  </a:lnTo>
                  <a:lnTo>
                    <a:pt x="111" y="1266"/>
                  </a:lnTo>
                  <a:lnTo>
                    <a:pt x="109" y="1269"/>
                  </a:lnTo>
                  <a:lnTo>
                    <a:pt x="106" y="1270"/>
                  </a:lnTo>
                  <a:lnTo>
                    <a:pt x="106" y="1272"/>
                  </a:lnTo>
                  <a:lnTo>
                    <a:pt x="105" y="1272"/>
                  </a:lnTo>
                  <a:lnTo>
                    <a:pt x="102" y="1273"/>
                  </a:lnTo>
                  <a:lnTo>
                    <a:pt x="102" y="1277"/>
                  </a:lnTo>
                  <a:lnTo>
                    <a:pt x="101" y="1278"/>
                  </a:lnTo>
                  <a:lnTo>
                    <a:pt x="101" y="1280"/>
                  </a:lnTo>
                  <a:lnTo>
                    <a:pt x="101" y="1283"/>
                  </a:lnTo>
                  <a:lnTo>
                    <a:pt x="101" y="1287"/>
                  </a:lnTo>
                  <a:lnTo>
                    <a:pt x="100" y="1289"/>
                  </a:lnTo>
                  <a:lnTo>
                    <a:pt x="97" y="1289"/>
                  </a:lnTo>
                  <a:lnTo>
                    <a:pt x="94" y="1291"/>
                  </a:lnTo>
                  <a:lnTo>
                    <a:pt x="92" y="1294"/>
                  </a:lnTo>
                  <a:lnTo>
                    <a:pt x="89" y="1297"/>
                  </a:lnTo>
                  <a:lnTo>
                    <a:pt x="87" y="1299"/>
                  </a:lnTo>
                  <a:lnTo>
                    <a:pt x="84" y="1303"/>
                  </a:lnTo>
                  <a:lnTo>
                    <a:pt x="85" y="1308"/>
                  </a:lnTo>
                  <a:lnTo>
                    <a:pt x="83" y="1309"/>
                  </a:lnTo>
                  <a:lnTo>
                    <a:pt x="84" y="1307"/>
                  </a:lnTo>
                  <a:lnTo>
                    <a:pt x="79" y="1302"/>
                  </a:lnTo>
                  <a:lnTo>
                    <a:pt x="77" y="1299"/>
                  </a:lnTo>
                  <a:lnTo>
                    <a:pt x="75" y="1299"/>
                  </a:lnTo>
                  <a:lnTo>
                    <a:pt x="73" y="1297"/>
                  </a:lnTo>
                  <a:lnTo>
                    <a:pt x="71" y="1295"/>
                  </a:lnTo>
                  <a:lnTo>
                    <a:pt x="68" y="1292"/>
                  </a:lnTo>
                  <a:lnTo>
                    <a:pt x="66" y="1291"/>
                  </a:lnTo>
                  <a:lnTo>
                    <a:pt x="60" y="1289"/>
                  </a:lnTo>
                  <a:lnTo>
                    <a:pt x="56" y="1289"/>
                  </a:lnTo>
                  <a:lnTo>
                    <a:pt x="54" y="1289"/>
                  </a:lnTo>
                  <a:lnTo>
                    <a:pt x="55" y="1288"/>
                  </a:lnTo>
                  <a:lnTo>
                    <a:pt x="54" y="1288"/>
                  </a:lnTo>
                  <a:lnTo>
                    <a:pt x="50" y="1288"/>
                  </a:lnTo>
                  <a:lnTo>
                    <a:pt x="48" y="1287"/>
                  </a:lnTo>
                  <a:lnTo>
                    <a:pt x="46" y="1287"/>
                  </a:lnTo>
                  <a:lnTo>
                    <a:pt x="43" y="1290"/>
                  </a:lnTo>
                  <a:lnTo>
                    <a:pt x="42" y="1290"/>
                  </a:lnTo>
                  <a:lnTo>
                    <a:pt x="42" y="1290"/>
                  </a:lnTo>
                  <a:lnTo>
                    <a:pt x="42" y="1291"/>
                  </a:lnTo>
                  <a:lnTo>
                    <a:pt x="41" y="1291"/>
                  </a:lnTo>
                  <a:lnTo>
                    <a:pt x="39" y="1292"/>
                  </a:lnTo>
                  <a:lnTo>
                    <a:pt x="33" y="1295"/>
                  </a:lnTo>
                  <a:lnTo>
                    <a:pt x="29" y="1297"/>
                  </a:lnTo>
                  <a:lnTo>
                    <a:pt x="24" y="1298"/>
                  </a:lnTo>
                  <a:lnTo>
                    <a:pt x="20" y="1297"/>
                  </a:lnTo>
                  <a:lnTo>
                    <a:pt x="15" y="1294"/>
                  </a:lnTo>
                  <a:lnTo>
                    <a:pt x="17" y="1296"/>
                  </a:lnTo>
                  <a:lnTo>
                    <a:pt x="13" y="1296"/>
                  </a:lnTo>
                  <a:lnTo>
                    <a:pt x="11" y="1295"/>
                  </a:lnTo>
                  <a:lnTo>
                    <a:pt x="11" y="1292"/>
                  </a:lnTo>
                  <a:lnTo>
                    <a:pt x="8" y="1291"/>
                  </a:lnTo>
                  <a:lnTo>
                    <a:pt x="8" y="1289"/>
                  </a:lnTo>
                  <a:lnTo>
                    <a:pt x="6" y="1287"/>
                  </a:lnTo>
                  <a:lnTo>
                    <a:pt x="5" y="1288"/>
                  </a:lnTo>
                  <a:lnTo>
                    <a:pt x="3" y="1287"/>
                  </a:lnTo>
                  <a:lnTo>
                    <a:pt x="2" y="1287"/>
                  </a:lnTo>
                  <a:lnTo>
                    <a:pt x="3" y="1288"/>
                  </a:lnTo>
                  <a:lnTo>
                    <a:pt x="0" y="1291"/>
                  </a:lnTo>
                  <a:lnTo>
                    <a:pt x="0" y="1295"/>
                  </a:lnTo>
                  <a:lnTo>
                    <a:pt x="4" y="1296"/>
                  </a:lnTo>
                  <a:lnTo>
                    <a:pt x="4" y="1296"/>
                  </a:lnTo>
                  <a:lnTo>
                    <a:pt x="3" y="1297"/>
                  </a:lnTo>
                  <a:lnTo>
                    <a:pt x="2" y="1298"/>
                  </a:lnTo>
                  <a:lnTo>
                    <a:pt x="3" y="1302"/>
                  </a:lnTo>
                  <a:lnTo>
                    <a:pt x="3" y="1303"/>
                  </a:lnTo>
                  <a:lnTo>
                    <a:pt x="2" y="1303"/>
                  </a:lnTo>
                  <a:lnTo>
                    <a:pt x="0" y="1304"/>
                  </a:lnTo>
                  <a:lnTo>
                    <a:pt x="0" y="1305"/>
                  </a:lnTo>
                  <a:lnTo>
                    <a:pt x="0" y="1305"/>
                  </a:lnTo>
                  <a:lnTo>
                    <a:pt x="2" y="1308"/>
                  </a:lnTo>
                  <a:lnTo>
                    <a:pt x="3" y="1305"/>
                  </a:lnTo>
                  <a:lnTo>
                    <a:pt x="8" y="1304"/>
                  </a:lnTo>
                  <a:lnTo>
                    <a:pt x="10" y="1304"/>
                  </a:lnTo>
                  <a:lnTo>
                    <a:pt x="12" y="1306"/>
                  </a:lnTo>
                  <a:lnTo>
                    <a:pt x="14" y="1306"/>
                  </a:lnTo>
                  <a:lnTo>
                    <a:pt x="15" y="1307"/>
                  </a:lnTo>
                  <a:lnTo>
                    <a:pt x="19" y="1309"/>
                  </a:lnTo>
                  <a:lnTo>
                    <a:pt x="19" y="1311"/>
                  </a:lnTo>
                  <a:lnTo>
                    <a:pt x="22" y="1313"/>
                  </a:lnTo>
                  <a:lnTo>
                    <a:pt x="24" y="1314"/>
                  </a:lnTo>
                  <a:lnTo>
                    <a:pt x="24" y="1311"/>
                  </a:lnTo>
                  <a:lnTo>
                    <a:pt x="27" y="1311"/>
                  </a:lnTo>
                  <a:lnTo>
                    <a:pt x="28" y="1314"/>
                  </a:lnTo>
                  <a:lnTo>
                    <a:pt x="30" y="1320"/>
                  </a:lnTo>
                  <a:lnTo>
                    <a:pt x="33" y="1320"/>
                  </a:lnTo>
                  <a:lnTo>
                    <a:pt x="36" y="1318"/>
                  </a:lnTo>
                  <a:lnTo>
                    <a:pt x="36" y="1317"/>
                  </a:lnTo>
                  <a:lnTo>
                    <a:pt x="41" y="1316"/>
                  </a:lnTo>
                  <a:lnTo>
                    <a:pt x="40" y="1314"/>
                  </a:lnTo>
                  <a:lnTo>
                    <a:pt x="34" y="1307"/>
                  </a:lnTo>
                  <a:lnTo>
                    <a:pt x="36" y="1305"/>
                  </a:lnTo>
                  <a:lnTo>
                    <a:pt x="38" y="1305"/>
                  </a:lnTo>
                  <a:lnTo>
                    <a:pt x="43" y="1302"/>
                  </a:lnTo>
                  <a:lnTo>
                    <a:pt x="46" y="1297"/>
                  </a:lnTo>
                  <a:lnTo>
                    <a:pt x="47" y="1296"/>
                  </a:lnTo>
                  <a:lnTo>
                    <a:pt x="48" y="1296"/>
                  </a:lnTo>
                  <a:lnTo>
                    <a:pt x="49" y="1295"/>
                  </a:lnTo>
                  <a:lnTo>
                    <a:pt x="51" y="1295"/>
                  </a:lnTo>
                  <a:lnTo>
                    <a:pt x="55" y="1294"/>
                  </a:lnTo>
                  <a:lnTo>
                    <a:pt x="55" y="1296"/>
                  </a:lnTo>
                  <a:lnTo>
                    <a:pt x="60" y="1299"/>
                  </a:lnTo>
                  <a:lnTo>
                    <a:pt x="63" y="1304"/>
                  </a:lnTo>
                  <a:lnTo>
                    <a:pt x="63" y="1302"/>
                  </a:lnTo>
                  <a:lnTo>
                    <a:pt x="64" y="1303"/>
                  </a:lnTo>
                  <a:lnTo>
                    <a:pt x="66" y="1302"/>
                  </a:lnTo>
                  <a:lnTo>
                    <a:pt x="70" y="1305"/>
                  </a:lnTo>
                  <a:lnTo>
                    <a:pt x="67" y="1304"/>
                  </a:lnTo>
                  <a:lnTo>
                    <a:pt x="65" y="1305"/>
                  </a:lnTo>
                  <a:lnTo>
                    <a:pt x="65" y="1308"/>
                  </a:lnTo>
                  <a:lnTo>
                    <a:pt x="64" y="1308"/>
                  </a:lnTo>
                  <a:lnTo>
                    <a:pt x="63" y="1307"/>
                  </a:lnTo>
                  <a:lnTo>
                    <a:pt x="63" y="1311"/>
                  </a:lnTo>
                  <a:lnTo>
                    <a:pt x="66" y="1315"/>
                  </a:lnTo>
                  <a:lnTo>
                    <a:pt x="73" y="1322"/>
                  </a:lnTo>
                  <a:lnTo>
                    <a:pt x="74" y="1325"/>
                  </a:lnTo>
                  <a:lnTo>
                    <a:pt x="76" y="1328"/>
                  </a:lnTo>
                  <a:lnTo>
                    <a:pt x="77" y="1330"/>
                  </a:lnTo>
                  <a:lnTo>
                    <a:pt x="75" y="1333"/>
                  </a:lnTo>
                  <a:lnTo>
                    <a:pt x="79" y="1339"/>
                  </a:lnTo>
                  <a:lnTo>
                    <a:pt x="79" y="1341"/>
                  </a:lnTo>
                  <a:lnTo>
                    <a:pt x="75" y="1342"/>
                  </a:lnTo>
                  <a:lnTo>
                    <a:pt x="76" y="1345"/>
                  </a:lnTo>
                  <a:lnTo>
                    <a:pt x="77" y="1347"/>
                  </a:lnTo>
                  <a:lnTo>
                    <a:pt x="77" y="1355"/>
                  </a:lnTo>
                  <a:lnTo>
                    <a:pt x="77" y="1357"/>
                  </a:lnTo>
                  <a:lnTo>
                    <a:pt x="79" y="1360"/>
                  </a:lnTo>
                  <a:lnTo>
                    <a:pt x="76" y="1362"/>
                  </a:lnTo>
                  <a:lnTo>
                    <a:pt x="76" y="1364"/>
                  </a:lnTo>
                  <a:lnTo>
                    <a:pt x="80" y="1364"/>
                  </a:lnTo>
                  <a:lnTo>
                    <a:pt x="79" y="1366"/>
                  </a:lnTo>
                  <a:lnTo>
                    <a:pt x="81" y="1366"/>
                  </a:lnTo>
                  <a:lnTo>
                    <a:pt x="80" y="1366"/>
                  </a:lnTo>
                  <a:lnTo>
                    <a:pt x="79" y="1369"/>
                  </a:lnTo>
                  <a:lnTo>
                    <a:pt x="77" y="1371"/>
                  </a:lnTo>
                  <a:lnTo>
                    <a:pt x="76" y="1374"/>
                  </a:lnTo>
                  <a:lnTo>
                    <a:pt x="76" y="1374"/>
                  </a:lnTo>
                  <a:lnTo>
                    <a:pt x="74" y="1377"/>
                  </a:lnTo>
                  <a:lnTo>
                    <a:pt x="72" y="1381"/>
                  </a:lnTo>
                  <a:lnTo>
                    <a:pt x="72" y="1383"/>
                  </a:lnTo>
                  <a:lnTo>
                    <a:pt x="70" y="1383"/>
                  </a:lnTo>
                  <a:lnTo>
                    <a:pt x="68" y="1384"/>
                  </a:lnTo>
                  <a:lnTo>
                    <a:pt x="66" y="1384"/>
                  </a:lnTo>
                  <a:lnTo>
                    <a:pt x="60" y="1385"/>
                  </a:lnTo>
                  <a:lnTo>
                    <a:pt x="59" y="1389"/>
                  </a:lnTo>
                  <a:lnTo>
                    <a:pt x="60" y="1392"/>
                  </a:lnTo>
                  <a:lnTo>
                    <a:pt x="58" y="1394"/>
                  </a:lnTo>
                  <a:lnTo>
                    <a:pt x="56" y="1394"/>
                  </a:lnTo>
                  <a:lnTo>
                    <a:pt x="56" y="1397"/>
                  </a:lnTo>
                  <a:lnTo>
                    <a:pt x="57" y="1399"/>
                  </a:lnTo>
                  <a:lnTo>
                    <a:pt x="56" y="1401"/>
                  </a:lnTo>
                  <a:lnTo>
                    <a:pt x="55" y="1403"/>
                  </a:lnTo>
                  <a:lnTo>
                    <a:pt x="49" y="1405"/>
                  </a:lnTo>
                  <a:lnTo>
                    <a:pt x="47" y="1405"/>
                  </a:lnTo>
                  <a:lnTo>
                    <a:pt x="46" y="1407"/>
                  </a:lnTo>
                  <a:lnTo>
                    <a:pt x="43" y="1407"/>
                  </a:lnTo>
                  <a:lnTo>
                    <a:pt x="41" y="1408"/>
                  </a:lnTo>
                  <a:lnTo>
                    <a:pt x="40" y="1410"/>
                  </a:lnTo>
                  <a:lnTo>
                    <a:pt x="41" y="1414"/>
                  </a:lnTo>
                  <a:lnTo>
                    <a:pt x="40" y="1417"/>
                  </a:lnTo>
                  <a:lnTo>
                    <a:pt x="39" y="1418"/>
                  </a:lnTo>
                  <a:lnTo>
                    <a:pt x="34" y="1424"/>
                  </a:lnTo>
                  <a:lnTo>
                    <a:pt x="36" y="1426"/>
                  </a:lnTo>
                  <a:lnTo>
                    <a:pt x="38" y="1427"/>
                  </a:lnTo>
                  <a:lnTo>
                    <a:pt x="34" y="1427"/>
                  </a:lnTo>
                  <a:lnTo>
                    <a:pt x="33" y="1431"/>
                  </a:lnTo>
                  <a:lnTo>
                    <a:pt x="31" y="1432"/>
                  </a:lnTo>
                  <a:lnTo>
                    <a:pt x="29" y="1434"/>
                  </a:lnTo>
                  <a:lnTo>
                    <a:pt x="31" y="1436"/>
                  </a:lnTo>
                  <a:lnTo>
                    <a:pt x="30" y="1440"/>
                  </a:lnTo>
                  <a:lnTo>
                    <a:pt x="30" y="1442"/>
                  </a:lnTo>
                  <a:lnTo>
                    <a:pt x="31" y="1444"/>
                  </a:lnTo>
                  <a:lnTo>
                    <a:pt x="31" y="1448"/>
                  </a:lnTo>
                  <a:lnTo>
                    <a:pt x="29" y="1449"/>
                  </a:lnTo>
                  <a:lnTo>
                    <a:pt x="28" y="1449"/>
                  </a:lnTo>
                  <a:lnTo>
                    <a:pt x="30" y="1451"/>
                  </a:lnTo>
                  <a:lnTo>
                    <a:pt x="33" y="1452"/>
                  </a:lnTo>
                  <a:lnTo>
                    <a:pt x="36" y="1454"/>
                  </a:lnTo>
                  <a:lnTo>
                    <a:pt x="38" y="1454"/>
                  </a:lnTo>
                  <a:lnTo>
                    <a:pt x="41" y="1451"/>
                  </a:lnTo>
                  <a:lnTo>
                    <a:pt x="41" y="1452"/>
                  </a:lnTo>
                  <a:lnTo>
                    <a:pt x="42" y="1452"/>
                  </a:lnTo>
                  <a:lnTo>
                    <a:pt x="41" y="1452"/>
                  </a:lnTo>
                  <a:lnTo>
                    <a:pt x="41" y="1454"/>
                  </a:lnTo>
                  <a:lnTo>
                    <a:pt x="42" y="1454"/>
                  </a:lnTo>
                  <a:lnTo>
                    <a:pt x="43" y="1451"/>
                  </a:lnTo>
                  <a:lnTo>
                    <a:pt x="42" y="1449"/>
                  </a:lnTo>
                  <a:lnTo>
                    <a:pt x="42" y="1448"/>
                  </a:lnTo>
                  <a:lnTo>
                    <a:pt x="45" y="1446"/>
                  </a:lnTo>
                  <a:lnTo>
                    <a:pt x="43" y="1449"/>
                  </a:lnTo>
                  <a:lnTo>
                    <a:pt x="43" y="1451"/>
                  </a:lnTo>
                  <a:lnTo>
                    <a:pt x="45" y="1454"/>
                  </a:lnTo>
                  <a:lnTo>
                    <a:pt x="43" y="1457"/>
                  </a:lnTo>
                  <a:lnTo>
                    <a:pt x="42" y="1461"/>
                  </a:lnTo>
                  <a:lnTo>
                    <a:pt x="41" y="1462"/>
                  </a:lnTo>
                  <a:lnTo>
                    <a:pt x="39" y="1465"/>
                  </a:lnTo>
                  <a:lnTo>
                    <a:pt x="38" y="1465"/>
                  </a:lnTo>
                  <a:lnTo>
                    <a:pt x="37" y="1465"/>
                  </a:lnTo>
                  <a:lnTo>
                    <a:pt x="33" y="1467"/>
                  </a:lnTo>
                  <a:lnTo>
                    <a:pt x="31" y="1469"/>
                  </a:lnTo>
                  <a:lnTo>
                    <a:pt x="29" y="1472"/>
                  </a:lnTo>
                  <a:lnTo>
                    <a:pt x="23" y="1477"/>
                  </a:lnTo>
                  <a:lnTo>
                    <a:pt x="23" y="1479"/>
                  </a:lnTo>
                  <a:lnTo>
                    <a:pt x="23" y="1480"/>
                  </a:lnTo>
                  <a:lnTo>
                    <a:pt x="23" y="1484"/>
                  </a:lnTo>
                  <a:lnTo>
                    <a:pt x="25" y="1486"/>
                  </a:lnTo>
                  <a:lnTo>
                    <a:pt x="25" y="1488"/>
                  </a:lnTo>
                  <a:lnTo>
                    <a:pt x="25" y="1491"/>
                  </a:lnTo>
                  <a:lnTo>
                    <a:pt x="29" y="1494"/>
                  </a:lnTo>
                  <a:lnTo>
                    <a:pt x="29" y="1496"/>
                  </a:lnTo>
                  <a:lnTo>
                    <a:pt x="28" y="1499"/>
                  </a:lnTo>
                  <a:lnTo>
                    <a:pt x="25" y="1499"/>
                  </a:lnTo>
                  <a:lnTo>
                    <a:pt x="25" y="1502"/>
                  </a:lnTo>
                  <a:lnTo>
                    <a:pt x="28" y="1503"/>
                  </a:lnTo>
                  <a:lnTo>
                    <a:pt x="33" y="1505"/>
                  </a:lnTo>
                  <a:lnTo>
                    <a:pt x="41" y="1511"/>
                  </a:lnTo>
                  <a:lnTo>
                    <a:pt x="41" y="1512"/>
                  </a:lnTo>
                  <a:lnTo>
                    <a:pt x="45" y="1517"/>
                  </a:lnTo>
                  <a:lnTo>
                    <a:pt x="45" y="1517"/>
                  </a:lnTo>
                  <a:lnTo>
                    <a:pt x="47" y="1519"/>
                  </a:lnTo>
                  <a:lnTo>
                    <a:pt x="47" y="1520"/>
                  </a:lnTo>
                  <a:lnTo>
                    <a:pt x="49" y="1526"/>
                  </a:lnTo>
                  <a:lnTo>
                    <a:pt x="50" y="1528"/>
                  </a:lnTo>
                  <a:lnTo>
                    <a:pt x="54" y="1530"/>
                  </a:lnTo>
                  <a:lnTo>
                    <a:pt x="57" y="1535"/>
                  </a:lnTo>
                  <a:lnTo>
                    <a:pt x="62" y="1546"/>
                  </a:lnTo>
                  <a:lnTo>
                    <a:pt x="63" y="1548"/>
                  </a:lnTo>
                  <a:lnTo>
                    <a:pt x="66" y="1559"/>
                  </a:lnTo>
                  <a:lnTo>
                    <a:pt x="72" y="1568"/>
                  </a:lnTo>
                  <a:lnTo>
                    <a:pt x="73" y="1571"/>
                  </a:lnTo>
                  <a:lnTo>
                    <a:pt x="73" y="1573"/>
                  </a:lnTo>
                  <a:lnTo>
                    <a:pt x="76" y="1576"/>
                  </a:lnTo>
                  <a:lnTo>
                    <a:pt x="79" y="1578"/>
                  </a:lnTo>
                  <a:lnTo>
                    <a:pt x="80" y="1581"/>
                  </a:lnTo>
                  <a:lnTo>
                    <a:pt x="80" y="1583"/>
                  </a:lnTo>
                  <a:lnTo>
                    <a:pt x="80" y="1585"/>
                  </a:lnTo>
                  <a:lnTo>
                    <a:pt x="85" y="1590"/>
                  </a:lnTo>
                  <a:lnTo>
                    <a:pt x="88" y="1595"/>
                  </a:lnTo>
                  <a:lnTo>
                    <a:pt x="89" y="1598"/>
                  </a:lnTo>
                  <a:lnTo>
                    <a:pt x="92" y="1602"/>
                  </a:lnTo>
                  <a:lnTo>
                    <a:pt x="93" y="1605"/>
                  </a:lnTo>
                  <a:lnTo>
                    <a:pt x="93" y="1607"/>
                  </a:lnTo>
                  <a:lnTo>
                    <a:pt x="91" y="1610"/>
                  </a:lnTo>
                  <a:lnTo>
                    <a:pt x="92" y="1613"/>
                  </a:lnTo>
                  <a:lnTo>
                    <a:pt x="96" y="1617"/>
                  </a:lnTo>
                  <a:lnTo>
                    <a:pt x="97" y="1621"/>
                  </a:lnTo>
                  <a:lnTo>
                    <a:pt x="102" y="1624"/>
                  </a:lnTo>
                  <a:lnTo>
                    <a:pt x="106" y="1629"/>
                  </a:lnTo>
                  <a:lnTo>
                    <a:pt x="107" y="1631"/>
                  </a:lnTo>
                  <a:lnTo>
                    <a:pt x="109" y="1632"/>
                  </a:lnTo>
                  <a:lnTo>
                    <a:pt x="116" y="1636"/>
                  </a:lnTo>
                  <a:lnTo>
                    <a:pt x="118" y="1638"/>
                  </a:lnTo>
                  <a:lnTo>
                    <a:pt x="122" y="1638"/>
                  </a:lnTo>
                  <a:lnTo>
                    <a:pt x="126" y="1642"/>
                  </a:lnTo>
                  <a:lnTo>
                    <a:pt x="139" y="1647"/>
                  </a:lnTo>
                  <a:lnTo>
                    <a:pt x="140" y="1648"/>
                  </a:lnTo>
                  <a:lnTo>
                    <a:pt x="143" y="1649"/>
                  </a:lnTo>
                  <a:lnTo>
                    <a:pt x="145" y="1650"/>
                  </a:lnTo>
                  <a:lnTo>
                    <a:pt x="149" y="1654"/>
                  </a:lnTo>
                  <a:lnTo>
                    <a:pt x="150" y="1654"/>
                  </a:lnTo>
                  <a:lnTo>
                    <a:pt x="152" y="1656"/>
                  </a:lnTo>
                  <a:lnTo>
                    <a:pt x="156" y="1657"/>
                  </a:lnTo>
                  <a:lnTo>
                    <a:pt x="158" y="1658"/>
                  </a:lnTo>
                  <a:lnTo>
                    <a:pt x="159" y="1660"/>
                  </a:lnTo>
                  <a:lnTo>
                    <a:pt x="159" y="1664"/>
                  </a:lnTo>
                  <a:lnTo>
                    <a:pt x="165" y="1666"/>
                  </a:lnTo>
                  <a:lnTo>
                    <a:pt x="173" y="1673"/>
                  </a:lnTo>
                  <a:lnTo>
                    <a:pt x="174" y="1674"/>
                  </a:lnTo>
                  <a:lnTo>
                    <a:pt x="174" y="1676"/>
                  </a:lnTo>
                  <a:lnTo>
                    <a:pt x="174" y="1682"/>
                  </a:lnTo>
                  <a:lnTo>
                    <a:pt x="175" y="1688"/>
                  </a:lnTo>
                  <a:lnTo>
                    <a:pt x="176" y="1696"/>
                  </a:lnTo>
                  <a:lnTo>
                    <a:pt x="175" y="1701"/>
                  </a:lnTo>
                  <a:lnTo>
                    <a:pt x="175" y="1707"/>
                  </a:lnTo>
                  <a:lnTo>
                    <a:pt x="176" y="1709"/>
                  </a:lnTo>
                  <a:lnTo>
                    <a:pt x="177" y="1717"/>
                  </a:lnTo>
                  <a:lnTo>
                    <a:pt x="176" y="1719"/>
                  </a:lnTo>
                  <a:lnTo>
                    <a:pt x="176" y="1722"/>
                  </a:lnTo>
                  <a:lnTo>
                    <a:pt x="175" y="1731"/>
                  </a:lnTo>
                  <a:lnTo>
                    <a:pt x="174" y="1739"/>
                  </a:lnTo>
                  <a:lnTo>
                    <a:pt x="169" y="1743"/>
                  </a:lnTo>
                  <a:lnTo>
                    <a:pt x="169" y="1745"/>
                  </a:lnTo>
                  <a:lnTo>
                    <a:pt x="173" y="1747"/>
                  </a:lnTo>
                  <a:lnTo>
                    <a:pt x="173" y="1749"/>
                  </a:lnTo>
                  <a:lnTo>
                    <a:pt x="171" y="1751"/>
                  </a:lnTo>
                  <a:lnTo>
                    <a:pt x="171" y="1757"/>
                  </a:lnTo>
                  <a:lnTo>
                    <a:pt x="170" y="1762"/>
                  </a:lnTo>
                  <a:lnTo>
                    <a:pt x="171" y="1768"/>
                  </a:lnTo>
                  <a:lnTo>
                    <a:pt x="171" y="1770"/>
                  </a:lnTo>
                  <a:lnTo>
                    <a:pt x="171" y="1773"/>
                  </a:lnTo>
                  <a:lnTo>
                    <a:pt x="169" y="1776"/>
                  </a:lnTo>
                  <a:lnTo>
                    <a:pt x="169" y="1778"/>
                  </a:lnTo>
                  <a:lnTo>
                    <a:pt x="168" y="1781"/>
                  </a:lnTo>
                  <a:lnTo>
                    <a:pt x="169" y="1783"/>
                  </a:lnTo>
                  <a:lnTo>
                    <a:pt x="169" y="1786"/>
                  </a:lnTo>
                  <a:lnTo>
                    <a:pt x="169" y="1787"/>
                  </a:lnTo>
                  <a:lnTo>
                    <a:pt x="165" y="1801"/>
                  </a:lnTo>
                  <a:lnTo>
                    <a:pt x="166" y="1804"/>
                  </a:lnTo>
                  <a:lnTo>
                    <a:pt x="164" y="1808"/>
                  </a:lnTo>
                  <a:lnTo>
                    <a:pt x="162" y="1813"/>
                  </a:lnTo>
                  <a:lnTo>
                    <a:pt x="161" y="1818"/>
                  </a:lnTo>
                  <a:lnTo>
                    <a:pt x="158" y="1827"/>
                  </a:lnTo>
                  <a:lnTo>
                    <a:pt x="158" y="1830"/>
                  </a:lnTo>
                  <a:lnTo>
                    <a:pt x="160" y="1833"/>
                  </a:lnTo>
                  <a:lnTo>
                    <a:pt x="160" y="1838"/>
                  </a:lnTo>
                  <a:lnTo>
                    <a:pt x="160" y="1841"/>
                  </a:lnTo>
                  <a:lnTo>
                    <a:pt x="159" y="1842"/>
                  </a:lnTo>
                  <a:lnTo>
                    <a:pt x="159" y="1845"/>
                  </a:lnTo>
                  <a:lnTo>
                    <a:pt x="157" y="1846"/>
                  </a:lnTo>
                  <a:lnTo>
                    <a:pt x="155" y="1848"/>
                  </a:lnTo>
                  <a:lnTo>
                    <a:pt x="155" y="1852"/>
                  </a:lnTo>
                  <a:lnTo>
                    <a:pt x="157" y="1867"/>
                  </a:lnTo>
                  <a:lnTo>
                    <a:pt x="157" y="1869"/>
                  </a:lnTo>
                  <a:lnTo>
                    <a:pt x="157" y="1875"/>
                  </a:lnTo>
                  <a:lnTo>
                    <a:pt x="159" y="1878"/>
                  </a:lnTo>
                  <a:lnTo>
                    <a:pt x="157" y="1884"/>
                  </a:lnTo>
                  <a:lnTo>
                    <a:pt x="157" y="1886"/>
                  </a:lnTo>
                  <a:lnTo>
                    <a:pt x="155" y="1888"/>
                  </a:lnTo>
                  <a:lnTo>
                    <a:pt x="155" y="1894"/>
                  </a:lnTo>
                  <a:lnTo>
                    <a:pt x="156" y="1897"/>
                  </a:lnTo>
                  <a:lnTo>
                    <a:pt x="153" y="1899"/>
                  </a:lnTo>
                  <a:lnTo>
                    <a:pt x="151" y="1904"/>
                  </a:lnTo>
                  <a:lnTo>
                    <a:pt x="151" y="1907"/>
                  </a:lnTo>
                  <a:lnTo>
                    <a:pt x="150" y="1908"/>
                  </a:lnTo>
                  <a:lnTo>
                    <a:pt x="150" y="1914"/>
                  </a:lnTo>
                  <a:lnTo>
                    <a:pt x="148" y="1918"/>
                  </a:lnTo>
                  <a:lnTo>
                    <a:pt x="148" y="1919"/>
                  </a:lnTo>
                  <a:lnTo>
                    <a:pt x="144" y="1923"/>
                  </a:lnTo>
                  <a:lnTo>
                    <a:pt x="143" y="1927"/>
                  </a:lnTo>
                  <a:lnTo>
                    <a:pt x="142" y="1931"/>
                  </a:lnTo>
                  <a:lnTo>
                    <a:pt x="140" y="1935"/>
                  </a:lnTo>
                  <a:lnTo>
                    <a:pt x="140" y="1937"/>
                  </a:lnTo>
                  <a:lnTo>
                    <a:pt x="139" y="1940"/>
                  </a:lnTo>
                  <a:lnTo>
                    <a:pt x="138" y="1942"/>
                  </a:lnTo>
                  <a:lnTo>
                    <a:pt x="138" y="1945"/>
                  </a:lnTo>
                  <a:lnTo>
                    <a:pt x="134" y="1946"/>
                  </a:lnTo>
                  <a:lnTo>
                    <a:pt x="134" y="1952"/>
                  </a:lnTo>
                  <a:lnTo>
                    <a:pt x="132" y="1953"/>
                  </a:lnTo>
                  <a:lnTo>
                    <a:pt x="130" y="1952"/>
                  </a:lnTo>
                  <a:lnTo>
                    <a:pt x="127" y="1955"/>
                  </a:lnTo>
                  <a:lnTo>
                    <a:pt x="128" y="1957"/>
                  </a:lnTo>
                  <a:lnTo>
                    <a:pt x="127" y="1958"/>
                  </a:lnTo>
                  <a:lnTo>
                    <a:pt x="128" y="1962"/>
                  </a:lnTo>
                  <a:lnTo>
                    <a:pt x="130" y="1964"/>
                  </a:lnTo>
                  <a:lnTo>
                    <a:pt x="131" y="1966"/>
                  </a:lnTo>
                  <a:lnTo>
                    <a:pt x="130" y="1972"/>
                  </a:lnTo>
                  <a:lnTo>
                    <a:pt x="131" y="1975"/>
                  </a:lnTo>
                  <a:lnTo>
                    <a:pt x="134" y="1984"/>
                  </a:lnTo>
                  <a:lnTo>
                    <a:pt x="134" y="1987"/>
                  </a:lnTo>
                  <a:lnTo>
                    <a:pt x="133" y="1990"/>
                  </a:lnTo>
                  <a:lnTo>
                    <a:pt x="132" y="1992"/>
                  </a:lnTo>
                  <a:lnTo>
                    <a:pt x="132" y="1995"/>
                  </a:lnTo>
                  <a:lnTo>
                    <a:pt x="130" y="1996"/>
                  </a:lnTo>
                  <a:lnTo>
                    <a:pt x="127" y="1997"/>
                  </a:lnTo>
                  <a:lnTo>
                    <a:pt x="127" y="2000"/>
                  </a:lnTo>
                  <a:lnTo>
                    <a:pt x="126" y="2004"/>
                  </a:lnTo>
                  <a:lnTo>
                    <a:pt x="126" y="2006"/>
                  </a:lnTo>
                  <a:lnTo>
                    <a:pt x="123" y="2013"/>
                  </a:lnTo>
                  <a:lnTo>
                    <a:pt x="124" y="2016"/>
                  </a:lnTo>
                  <a:lnTo>
                    <a:pt x="125" y="2018"/>
                  </a:lnTo>
                  <a:lnTo>
                    <a:pt x="125" y="2022"/>
                  </a:lnTo>
                  <a:lnTo>
                    <a:pt x="127" y="2023"/>
                  </a:lnTo>
                  <a:lnTo>
                    <a:pt x="130" y="2023"/>
                  </a:lnTo>
                  <a:lnTo>
                    <a:pt x="128" y="2026"/>
                  </a:lnTo>
                  <a:lnTo>
                    <a:pt x="130" y="2026"/>
                  </a:lnTo>
                  <a:lnTo>
                    <a:pt x="135" y="2026"/>
                  </a:lnTo>
                  <a:lnTo>
                    <a:pt x="135" y="2023"/>
                  </a:lnTo>
                  <a:lnTo>
                    <a:pt x="139" y="2022"/>
                  </a:lnTo>
                  <a:lnTo>
                    <a:pt x="143" y="2025"/>
                  </a:lnTo>
                  <a:lnTo>
                    <a:pt x="145" y="2022"/>
                  </a:lnTo>
                  <a:lnTo>
                    <a:pt x="145" y="2025"/>
                  </a:lnTo>
                  <a:lnTo>
                    <a:pt x="142" y="2025"/>
                  </a:lnTo>
                  <a:lnTo>
                    <a:pt x="140" y="2027"/>
                  </a:lnTo>
                  <a:lnTo>
                    <a:pt x="140" y="2030"/>
                  </a:lnTo>
                  <a:lnTo>
                    <a:pt x="143" y="2031"/>
                  </a:lnTo>
                  <a:lnTo>
                    <a:pt x="144" y="2032"/>
                  </a:lnTo>
                  <a:lnTo>
                    <a:pt x="144" y="2038"/>
                  </a:lnTo>
                  <a:lnTo>
                    <a:pt x="143" y="2035"/>
                  </a:lnTo>
                  <a:lnTo>
                    <a:pt x="141" y="2033"/>
                  </a:lnTo>
                  <a:lnTo>
                    <a:pt x="140" y="2036"/>
                  </a:lnTo>
                  <a:lnTo>
                    <a:pt x="143" y="2039"/>
                  </a:lnTo>
                  <a:lnTo>
                    <a:pt x="142" y="2039"/>
                  </a:lnTo>
                  <a:lnTo>
                    <a:pt x="140" y="2038"/>
                  </a:lnTo>
                  <a:lnTo>
                    <a:pt x="140" y="2043"/>
                  </a:lnTo>
                  <a:lnTo>
                    <a:pt x="141" y="2046"/>
                  </a:lnTo>
                  <a:lnTo>
                    <a:pt x="138" y="2048"/>
                  </a:lnTo>
                  <a:lnTo>
                    <a:pt x="138" y="2050"/>
                  </a:lnTo>
                  <a:lnTo>
                    <a:pt x="135" y="2053"/>
                  </a:lnTo>
                  <a:lnTo>
                    <a:pt x="136" y="2056"/>
                  </a:lnTo>
                  <a:lnTo>
                    <a:pt x="138" y="2056"/>
                  </a:lnTo>
                  <a:lnTo>
                    <a:pt x="136" y="2058"/>
                  </a:lnTo>
                  <a:lnTo>
                    <a:pt x="139" y="2058"/>
                  </a:lnTo>
                  <a:lnTo>
                    <a:pt x="133" y="2066"/>
                  </a:lnTo>
                  <a:lnTo>
                    <a:pt x="134" y="2067"/>
                  </a:lnTo>
                  <a:lnTo>
                    <a:pt x="138" y="2068"/>
                  </a:lnTo>
                  <a:lnTo>
                    <a:pt x="140" y="2070"/>
                  </a:lnTo>
                  <a:lnTo>
                    <a:pt x="142" y="2069"/>
                  </a:lnTo>
                  <a:lnTo>
                    <a:pt x="142" y="2072"/>
                  </a:lnTo>
                  <a:lnTo>
                    <a:pt x="141" y="2075"/>
                  </a:lnTo>
                  <a:lnTo>
                    <a:pt x="139" y="2077"/>
                  </a:lnTo>
                  <a:lnTo>
                    <a:pt x="135" y="2079"/>
                  </a:lnTo>
                  <a:lnTo>
                    <a:pt x="133" y="2079"/>
                  </a:lnTo>
                  <a:lnTo>
                    <a:pt x="132" y="2079"/>
                  </a:lnTo>
                  <a:lnTo>
                    <a:pt x="133" y="2083"/>
                  </a:lnTo>
                  <a:lnTo>
                    <a:pt x="135" y="2085"/>
                  </a:lnTo>
                  <a:lnTo>
                    <a:pt x="138" y="2087"/>
                  </a:lnTo>
                  <a:lnTo>
                    <a:pt x="140" y="2087"/>
                  </a:lnTo>
                  <a:lnTo>
                    <a:pt x="139" y="2087"/>
                  </a:lnTo>
                  <a:lnTo>
                    <a:pt x="136" y="2087"/>
                  </a:lnTo>
                  <a:lnTo>
                    <a:pt x="134" y="2085"/>
                  </a:lnTo>
                  <a:lnTo>
                    <a:pt x="131" y="2087"/>
                  </a:lnTo>
                  <a:lnTo>
                    <a:pt x="130" y="2090"/>
                  </a:lnTo>
                  <a:lnTo>
                    <a:pt x="130" y="2092"/>
                  </a:lnTo>
                  <a:lnTo>
                    <a:pt x="132" y="2091"/>
                  </a:lnTo>
                  <a:lnTo>
                    <a:pt x="130" y="2093"/>
                  </a:lnTo>
                  <a:lnTo>
                    <a:pt x="128" y="2096"/>
                  </a:lnTo>
                  <a:lnTo>
                    <a:pt x="128" y="2099"/>
                  </a:lnTo>
                  <a:lnTo>
                    <a:pt x="127" y="2101"/>
                  </a:lnTo>
                  <a:lnTo>
                    <a:pt x="131" y="2099"/>
                  </a:lnTo>
                  <a:lnTo>
                    <a:pt x="130" y="2101"/>
                  </a:lnTo>
                  <a:lnTo>
                    <a:pt x="126" y="2104"/>
                  </a:lnTo>
                  <a:lnTo>
                    <a:pt x="125" y="2107"/>
                  </a:lnTo>
                  <a:lnTo>
                    <a:pt x="125" y="2104"/>
                  </a:lnTo>
                  <a:lnTo>
                    <a:pt x="126" y="2102"/>
                  </a:lnTo>
                  <a:lnTo>
                    <a:pt x="124" y="2100"/>
                  </a:lnTo>
                  <a:lnTo>
                    <a:pt x="125" y="2102"/>
                  </a:lnTo>
                  <a:lnTo>
                    <a:pt x="122" y="2101"/>
                  </a:lnTo>
                  <a:lnTo>
                    <a:pt x="119" y="2101"/>
                  </a:lnTo>
                  <a:lnTo>
                    <a:pt x="117" y="2100"/>
                  </a:lnTo>
                  <a:lnTo>
                    <a:pt x="119" y="2101"/>
                  </a:lnTo>
                  <a:lnTo>
                    <a:pt x="122" y="2100"/>
                  </a:lnTo>
                  <a:lnTo>
                    <a:pt x="124" y="2098"/>
                  </a:lnTo>
                  <a:lnTo>
                    <a:pt x="121" y="2095"/>
                  </a:lnTo>
                  <a:lnTo>
                    <a:pt x="118" y="2093"/>
                  </a:lnTo>
                  <a:lnTo>
                    <a:pt x="117" y="2096"/>
                  </a:lnTo>
                  <a:lnTo>
                    <a:pt x="115" y="2094"/>
                  </a:lnTo>
                  <a:lnTo>
                    <a:pt x="113" y="2094"/>
                  </a:lnTo>
                  <a:lnTo>
                    <a:pt x="109" y="2095"/>
                  </a:lnTo>
                  <a:lnTo>
                    <a:pt x="108" y="2098"/>
                  </a:lnTo>
                  <a:lnTo>
                    <a:pt x="110" y="2099"/>
                  </a:lnTo>
                  <a:lnTo>
                    <a:pt x="113" y="2096"/>
                  </a:lnTo>
                  <a:lnTo>
                    <a:pt x="113" y="2099"/>
                  </a:lnTo>
                  <a:lnTo>
                    <a:pt x="110" y="2101"/>
                  </a:lnTo>
                  <a:lnTo>
                    <a:pt x="108" y="2102"/>
                  </a:lnTo>
                  <a:lnTo>
                    <a:pt x="102" y="2106"/>
                  </a:lnTo>
                  <a:lnTo>
                    <a:pt x="100" y="2109"/>
                  </a:lnTo>
                  <a:lnTo>
                    <a:pt x="100" y="2111"/>
                  </a:lnTo>
                  <a:lnTo>
                    <a:pt x="104" y="2113"/>
                  </a:lnTo>
                  <a:lnTo>
                    <a:pt x="105" y="2110"/>
                  </a:lnTo>
                  <a:lnTo>
                    <a:pt x="101" y="2109"/>
                  </a:lnTo>
                  <a:lnTo>
                    <a:pt x="107" y="2108"/>
                  </a:lnTo>
                  <a:lnTo>
                    <a:pt x="109" y="2106"/>
                  </a:lnTo>
                  <a:lnTo>
                    <a:pt x="109" y="2108"/>
                  </a:lnTo>
                  <a:lnTo>
                    <a:pt x="111" y="2110"/>
                  </a:lnTo>
                  <a:lnTo>
                    <a:pt x="114" y="2112"/>
                  </a:lnTo>
                  <a:lnTo>
                    <a:pt x="117" y="2112"/>
                  </a:lnTo>
                  <a:lnTo>
                    <a:pt x="116" y="2110"/>
                  </a:lnTo>
                  <a:lnTo>
                    <a:pt x="118" y="2110"/>
                  </a:lnTo>
                  <a:lnTo>
                    <a:pt x="122" y="2111"/>
                  </a:lnTo>
                  <a:lnTo>
                    <a:pt x="122" y="2115"/>
                  </a:lnTo>
                  <a:lnTo>
                    <a:pt x="122" y="2115"/>
                  </a:lnTo>
                  <a:lnTo>
                    <a:pt x="124" y="2115"/>
                  </a:lnTo>
                  <a:lnTo>
                    <a:pt x="123" y="2116"/>
                  </a:lnTo>
                  <a:lnTo>
                    <a:pt x="123" y="2117"/>
                  </a:lnTo>
                  <a:lnTo>
                    <a:pt x="122" y="2119"/>
                  </a:lnTo>
                  <a:lnTo>
                    <a:pt x="119" y="2118"/>
                  </a:lnTo>
                  <a:lnTo>
                    <a:pt x="117" y="2120"/>
                  </a:lnTo>
                  <a:lnTo>
                    <a:pt x="118" y="2124"/>
                  </a:lnTo>
                  <a:lnTo>
                    <a:pt x="121" y="2125"/>
                  </a:lnTo>
                  <a:lnTo>
                    <a:pt x="121" y="2127"/>
                  </a:lnTo>
                  <a:lnTo>
                    <a:pt x="115" y="2125"/>
                  </a:lnTo>
                  <a:lnTo>
                    <a:pt x="114" y="2127"/>
                  </a:lnTo>
                  <a:lnTo>
                    <a:pt x="122" y="2127"/>
                  </a:lnTo>
                  <a:lnTo>
                    <a:pt x="125" y="2128"/>
                  </a:lnTo>
                  <a:lnTo>
                    <a:pt x="126" y="2126"/>
                  </a:lnTo>
                  <a:lnTo>
                    <a:pt x="130" y="2128"/>
                  </a:lnTo>
                  <a:lnTo>
                    <a:pt x="131" y="2130"/>
                  </a:lnTo>
                  <a:lnTo>
                    <a:pt x="133" y="2132"/>
                  </a:lnTo>
                  <a:lnTo>
                    <a:pt x="131" y="2132"/>
                  </a:lnTo>
                  <a:lnTo>
                    <a:pt x="131" y="2134"/>
                  </a:lnTo>
                  <a:lnTo>
                    <a:pt x="132" y="2135"/>
                  </a:lnTo>
                  <a:lnTo>
                    <a:pt x="130" y="2136"/>
                  </a:lnTo>
                  <a:lnTo>
                    <a:pt x="126" y="2133"/>
                  </a:lnTo>
                  <a:lnTo>
                    <a:pt x="124" y="2132"/>
                  </a:lnTo>
                  <a:lnTo>
                    <a:pt x="122" y="2132"/>
                  </a:lnTo>
                  <a:lnTo>
                    <a:pt x="121" y="2134"/>
                  </a:lnTo>
                  <a:lnTo>
                    <a:pt x="118" y="2132"/>
                  </a:lnTo>
                  <a:lnTo>
                    <a:pt x="115" y="2132"/>
                  </a:lnTo>
                  <a:lnTo>
                    <a:pt x="117" y="2134"/>
                  </a:lnTo>
                  <a:lnTo>
                    <a:pt x="122" y="2138"/>
                  </a:lnTo>
                  <a:lnTo>
                    <a:pt x="123" y="2141"/>
                  </a:lnTo>
                  <a:lnTo>
                    <a:pt x="121" y="2139"/>
                  </a:lnTo>
                  <a:lnTo>
                    <a:pt x="118" y="2142"/>
                  </a:lnTo>
                  <a:lnTo>
                    <a:pt x="121" y="2144"/>
                  </a:lnTo>
                  <a:lnTo>
                    <a:pt x="123" y="2144"/>
                  </a:lnTo>
                  <a:lnTo>
                    <a:pt x="119" y="2144"/>
                  </a:lnTo>
                  <a:lnTo>
                    <a:pt x="117" y="2147"/>
                  </a:lnTo>
                  <a:lnTo>
                    <a:pt x="117" y="2150"/>
                  </a:lnTo>
                  <a:lnTo>
                    <a:pt x="117" y="2153"/>
                  </a:lnTo>
                  <a:lnTo>
                    <a:pt x="117" y="2155"/>
                  </a:lnTo>
                  <a:lnTo>
                    <a:pt x="119" y="2158"/>
                  </a:lnTo>
                  <a:lnTo>
                    <a:pt x="122" y="2155"/>
                  </a:lnTo>
                  <a:lnTo>
                    <a:pt x="121" y="2153"/>
                  </a:lnTo>
                  <a:lnTo>
                    <a:pt x="123" y="2150"/>
                  </a:lnTo>
                  <a:lnTo>
                    <a:pt x="125" y="2150"/>
                  </a:lnTo>
                  <a:lnTo>
                    <a:pt x="124" y="2152"/>
                  </a:lnTo>
                  <a:lnTo>
                    <a:pt x="125" y="2154"/>
                  </a:lnTo>
                  <a:lnTo>
                    <a:pt x="122" y="2154"/>
                  </a:lnTo>
                  <a:lnTo>
                    <a:pt x="122" y="2156"/>
                  </a:lnTo>
                  <a:lnTo>
                    <a:pt x="125" y="2158"/>
                  </a:lnTo>
                  <a:lnTo>
                    <a:pt x="126" y="2161"/>
                  </a:lnTo>
                  <a:lnTo>
                    <a:pt x="124" y="2159"/>
                  </a:lnTo>
                  <a:lnTo>
                    <a:pt x="122" y="2159"/>
                  </a:lnTo>
                  <a:lnTo>
                    <a:pt x="119" y="2162"/>
                  </a:lnTo>
                  <a:lnTo>
                    <a:pt x="122" y="2162"/>
                  </a:lnTo>
                  <a:lnTo>
                    <a:pt x="119" y="2163"/>
                  </a:lnTo>
                  <a:lnTo>
                    <a:pt x="122" y="2166"/>
                  </a:lnTo>
                  <a:lnTo>
                    <a:pt x="124" y="2164"/>
                  </a:lnTo>
                  <a:lnTo>
                    <a:pt x="123" y="2167"/>
                  </a:lnTo>
                  <a:lnTo>
                    <a:pt x="122" y="2167"/>
                  </a:lnTo>
                  <a:lnTo>
                    <a:pt x="118" y="2166"/>
                  </a:lnTo>
                  <a:lnTo>
                    <a:pt x="118" y="2167"/>
                  </a:lnTo>
                  <a:lnTo>
                    <a:pt x="121" y="2170"/>
                  </a:lnTo>
                  <a:lnTo>
                    <a:pt x="123" y="2170"/>
                  </a:lnTo>
                  <a:lnTo>
                    <a:pt x="121" y="2170"/>
                  </a:lnTo>
                  <a:lnTo>
                    <a:pt x="117" y="2169"/>
                  </a:lnTo>
                  <a:lnTo>
                    <a:pt x="115" y="2169"/>
                  </a:lnTo>
                  <a:lnTo>
                    <a:pt x="117" y="2171"/>
                  </a:lnTo>
                  <a:lnTo>
                    <a:pt x="119" y="2171"/>
                  </a:lnTo>
                  <a:lnTo>
                    <a:pt x="119" y="2175"/>
                  </a:lnTo>
                  <a:lnTo>
                    <a:pt x="122" y="2173"/>
                  </a:lnTo>
                  <a:lnTo>
                    <a:pt x="124" y="2176"/>
                  </a:lnTo>
                  <a:lnTo>
                    <a:pt x="122" y="2176"/>
                  </a:lnTo>
                  <a:lnTo>
                    <a:pt x="121" y="2178"/>
                  </a:lnTo>
                  <a:lnTo>
                    <a:pt x="122" y="2181"/>
                  </a:lnTo>
                  <a:lnTo>
                    <a:pt x="125" y="2181"/>
                  </a:lnTo>
                  <a:lnTo>
                    <a:pt x="127" y="2176"/>
                  </a:lnTo>
                  <a:lnTo>
                    <a:pt x="128" y="2175"/>
                  </a:lnTo>
                  <a:lnTo>
                    <a:pt x="127" y="2177"/>
                  </a:lnTo>
                  <a:lnTo>
                    <a:pt x="131" y="2179"/>
                  </a:lnTo>
                  <a:lnTo>
                    <a:pt x="127" y="2178"/>
                  </a:lnTo>
                  <a:lnTo>
                    <a:pt x="126" y="2181"/>
                  </a:lnTo>
                  <a:lnTo>
                    <a:pt x="126" y="2184"/>
                  </a:lnTo>
                  <a:lnTo>
                    <a:pt x="123" y="2183"/>
                  </a:lnTo>
                  <a:lnTo>
                    <a:pt x="121" y="2183"/>
                  </a:lnTo>
                  <a:lnTo>
                    <a:pt x="121" y="2186"/>
                  </a:lnTo>
                  <a:lnTo>
                    <a:pt x="122" y="2188"/>
                  </a:lnTo>
                  <a:lnTo>
                    <a:pt x="124" y="2188"/>
                  </a:lnTo>
                  <a:lnTo>
                    <a:pt x="127" y="2187"/>
                  </a:lnTo>
                  <a:lnTo>
                    <a:pt x="127" y="2190"/>
                  </a:lnTo>
                  <a:lnTo>
                    <a:pt x="128" y="2196"/>
                  </a:lnTo>
                  <a:lnTo>
                    <a:pt x="126" y="2193"/>
                  </a:lnTo>
                  <a:lnTo>
                    <a:pt x="125" y="2195"/>
                  </a:lnTo>
                  <a:lnTo>
                    <a:pt x="126" y="2198"/>
                  </a:lnTo>
                  <a:lnTo>
                    <a:pt x="130" y="2197"/>
                  </a:lnTo>
                  <a:lnTo>
                    <a:pt x="130" y="2200"/>
                  </a:lnTo>
                  <a:lnTo>
                    <a:pt x="131" y="2203"/>
                  </a:lnTo>
                  <a:lnTo>
                    <a:pt x="128" y="2200"/>
                  </a:lnTo>
                  <a:lnTo>
                    <a:pt x="130" y="2203"/>
                  </a:lnTo>
                  <a:lnTo>
                    <a:pt x="132" y="2205"/>
                  </a:lnTo>
                  <a:lnTo>
                    <a:pt x="133" y="2203"/>
                  </a:lnTo>
                  <a:lnTo>
                    <a:pt x="132" y="2197"/>
                  </a:lnTo>
                  <a:lnTo>
                    <a:pt x="133" y="2203"/>
                  </a:lnTo>
                  <a:lnTo>
                    <a:pt x="136" y="2202"/>
                  </a:lnTo>
                  <a:lnTo>
                    <a:pt x="136" y="2198"/>
                  </a:lnTo>
                  <a:lnTo>
                    <a:pt x="133" y="2196"/>
                  </a:lnTo>
                  <a:lnTo>
                    <a:pt x="142" y="2200"/>
                  </a:lnTo>
                  <a:lnTo>
                    <a:pt x="141" y="2197"/>
                  </a:lnTo>
                  <a:lnTo>
                    <a:pt x="139" y="2195"/>
                  </a:lnTo>
                  <a:lnTo>
                    <a:pt x="135" y="2196"/>
                  </a:lnTo>
                  <a:lnTo>
                    <a:pt x="135" y="2193"/>
                  </a:lnTo>
                  <a:lnTo>
                    <a:pt x="135" y="2193"/>
                  </a:lnTo>
                  <a:lnTo>
                    <a:pt x="139" y="2195"/>
                  </a:lnTo>
                  <a:lnTo>
                    <a:pt x="141" y="2196"/>
                  </a:lnTo>
                  <a:lnTo>
                    <a:pt x="144" y="2198"/>
                  </a:lnTo>
                  <a:lnTo>
                    <a:pt x="144" y="2201"/>
                  </a:lnTo>
                  <a:lnTo>
                    <a:pt x="142" y="2202"/>
                  </a:lnTo>
                  <a:lnTo>
                    <a:pt x="143" y="2205"/>
                  </a:lnTo>
                  <a:lnTo>
                    <a:pt x="144" y="2206"/>
                  </a:lnTo>
                  <a:lnTo>
                    <a:pt x="143" y="2209"/>
                  </a:lnTo>
                  <a:lnTo>
                    <a:pt x="141" y="2210"/>
                  </a:lnTo>
                  <a:lnTo>
                    <a:pt x="139" y="2211"/>
                  </a:lnTo>
                  <a:lnTo>
                    <a:pt x="141" y="2210"/>
                  </a:lnTo>
                  <a:lnTo>
                    <a:pt x="143" y="2206"/>
                  </a:lnTo>
                  <a:lnTo>
                    <a:pt x="141" y="2204"/>
                  </a:lnTo>
                  <a:lnTo>
                    <a:pt x="140" y="2204"/>
                  </a:lnTo>
                  <a:lnTo>
                    <a:pt x="140" y="2206"/>
                  </a:lnTo>
                  <a:lnTo>
                    <a:pt x="128" y="2205"/>
                  </a:lnTo>
                  <a:lnTo>
                    <a:pt x="128" y="2211"/>
                  </a:lnTo>
                  <a:lnTo>
                    <a:pt x="128" y="2214"/>
                  </a:lnTo>
                  <a:lnTo>
                    <a:pt x="128" y="2216"/>
                  </a:lnTo>
                  <a:lnTo>
                    <a:pt x="131" y="2214"/>
                  </a:lnTo>
                  <a:lnTo>
                    <a:pt x="134" y="2214"/>
                  </a:lnTo>
                  <a:lnTo>
                    <a:pt x="134" y="2212"/>
                  </a:lnTo>
                  <a:lnTo>
                    <a:pt x="138" y="2212"/>
                  </a:lnTo>
                  <a:lnTo>
                    <a:pt x="135" y="2214"/>
                  </a:lnTo>
                  <a:lnTo>
                    <a:pt x="134" y="2218"/>
                  </a:lnTo>
                  <a:lnTo>
                    <a:pt x="131" y="2218"/>
                  </a:lnTo>
                  <a:lnTo>
                    <a:pt x="134" y="2219"/>
                  </a:lnTo>
                  <a:lnTo>
                    <a:pt x="131" y="2221"/>
                  </a:lnTo>
                  <a:lnTo>
                    <a:pt x="134" y="2223"/>
                  </a:lnTo>
                  <a:lnTo>
                    <a:pt x="136" y="2222"/>
                  </a:lnTo>
                  <a:lnTo>
                    <a:pt x="138" y="2220"/>
                  </a:lnTo>
                  <a:lnTo>
                    <a:pt x="141" y="2214"/>
                  </a:lnTo>
                  <a:lnTo>
                    <a:pt x="139" y="2215"/>
                  </a:lnTo>
                  <a:lnTo>
                    <a:pt x="139" y="2212"/>
                  </a:lnTo>
                  <a:lnTo>
                    <a:pt x="142" y="2213"/>
                  </a:lnTo>
                  <a:lnTo>
                    <a:pt x="152" y="2213"/>
                  </a:lnTo>
                  <a:lnTo>
                    <a:pt x="156" y="2213"/>
                  </a:lnTo>
                  <a:lnTo>
                    <a:pt x="158" y="2214"/>
                  </a:lnTo>
                  <a:lnTo>
                    <a:pt x="156" y="2215"/>
                  </a:lnTo>
                  <a:lnTo>
                    <a:pt x="152" y="2215"/>
                  </a:lnTo>
                  <a:lnTo>
                    <a:pt x="150" y="2214"/>
                  </a:lnTo>
                  <a:lnTo>
                    <a:pt x="148" y="2215"/>
                  </a:lnTo>
                  <a:lnTo>
                    <a:pt x="144" y="2219"/>
                  </a:lnTo>
                  <a:lnTo>
                    <a:pt x="140" y="2218"/>
                  </a:lnTo>
                  <a:lnTo>
                    <a:pt x="138" y="2220"/>
                  </a:lnTo>
                  <a:lnTo>
                    <a:pt x="139" y="2222"/>
                  </a:lnTo>
                  <a:lnTo>
                    <a:pt x="141" y="2223"/>
                  </a:lnTo>
                  <a:lnTo>
                    <a:pt x="141" y="2227"/>
                  </a:lnTo>
                  <a:lnTo>
                    <a:pt x="139" y="2224"/>
                  </a:lnTo>
                  <a:lnTo>
                    <a:pt x="135" y="2224"/>
                  </a:lnTo>
                  <a:lnTo>
                    <a:pt x="138" y="2227"/>
                  </a:lnTo>
                  <a:lnTo>
                    <a:pt x="140" y="2229"/>
                  </a:lnTo>
                  <a:lnTo>
                    <a:pt x="142" y="2231"/>
                  </a:lnTo>
                  <a:lnTo>
                    <a:pt x="145" y="2231"/>
                  </a:lnTo>
                  <a:lnTo>
                    <a:pt x="143" y="2229"/>
                  </a:lnTo>
                  <a:lnTo>
                    <a:pt x="145" y="2226"/>
                  </a:lnTo>
                  <a:lnTo>
                    <a:pt x="148" y="2226"/>
                  </a:lnTo>
                  <a:lnTo>
                    <a:pt x="145" y="2223"/>
                  </a:lnTo>
                  <a:lnTo>
                    <a:pt x="148" y="2222"/>
                  </a:lnTo>
                  <a:lnTo>
                    <a:pt x="150" y="2223"/>
                  </a:lnTo>
                  <a:lnTo>
                    <a:pt x="152" y="2221"/>
                  </a:lnTo>
                  <a:lnTo>
                    <a:pt x="158" y="2218"/>
                  </a:lnTo>
                  <a:lnTo>
                    <a:pt x="159" y="2216"/>
                  </a:lnTo>
                  <a:lnTo>
                    <a:pt x="161" y="2218"/>
                  </a:lnTo>
                  <a:lnTo>
                    <a:pt x="161" y="2220"/>
                  </a:lnTo>
                  <a:lnTo>
                    <a:pt x="160" y="2223"/>
                  </a:lnTo>
                  <a:lnTo>
                    <a:pt x="155" y="2226"/>
                  </a:lnTo>
                  <a:lnTo>
                    <a:pt x="153" y="2231"/>
                  </a:lnTo>
                  <a:lnTo>
                    <a:pt x="151" y="2232"/>
                  </a:lnTo>
                  <a:lnTo>
                    <a:pt x="153" y="2230"/>
                  </a:lnTo>
                  <a:lnTo>
                    <a:pt x="153" y="2227"/>
                  </a:lnTo>
                  <a:lnTo>
                    <a:pt x="150" y="2226"/>
                  </a:lnTo>
                  <a:lnTo>
                    <a:pt x="150" y="2229"/>
                  </a:lnTo>
                  <a:lnTo>
                    <a:pt x="149" y="2226"/>
                  </a:lnTo>
                  <a:lnTo>
                    <a:pt x="147" y="2227"/>
                  </a:lnTo>
                  <a:lnTo>
                    <a:pt x="144" y="2229"/>
                  </a:lnTo>
                  <a:lnTo>
                    <a:pt x="149" y="2235"/>
                  </a:lnTo>
                  <a:lnTo>
                    <a:pt x="152" y="2235"/>
                  </a:lnTo>
                  <a:lnTo>
                    <a:pt x="155" y="2236"/>
                  </a:lnTo>
                  <a:lnTo>
                    <a:pt x="160" y="2238"/>
                  </a:lnTo>
                  <a:lnTo>
                    <a:pt x="164" y="2237"/>
                  </a:lnTo>
                  <a:lnTo>
                    <a:pt x="165" y="2235"/>
                  </a:lnTo>
                  <a:lnTo>
                    <a:pt x="165" y="2231"/>
                  </a:lnTo>
                  <a:lnTo>
                    <a:pt x="165" y="2229"/>
                  </a:lnTo>
                  <a:lnTo>
                    <a:pt x="165" y="2226"/>
                  </a:lnTo>
                  <a:lnTo>
                    <a:pt x="167" y="2218"/>
                  </a:lnTo>
                  <a:lnTo>
                    <a:pt x="170" y="2215"/>
                  </a:lnTo>
                  <a:lnTo>
                    <a:pt x="173" y="2215"/>
                  </a:lnTo>
                  <a:lnTo>
                    <a:pt x="175" y="2214"/>
                  </a:lnTo>
                  <a:lnTo>
                    <a:pt x="181" y="2212"/>
                  </a:lnTo>
                  <a:lnTo>
                    <a:pt x="183" y="2212"/>
                  </a:lnTo>
                  <a:lnTo>
                    <a:pt x="184" y="2211"/>
                  </a:lnTo>
                  <a:lnTo>
                    <a:pt x="185" y="2209"/>
                  </a:lnTo>
                  <a:lnTo>
                    <a:pt x="187" y="2206"/>
                  </a:lnTo>
                  <a:lnTo>
                    <a:pt x="191" y="2206"/>
                  </a:lnTo>
                  <a:lnTo>
                    <a:pt x="193" y="2209"/>
                  </a:lnTo>
                  <a:lnTo>
                    <a:pt x="198" y="2209"/>
                  </a:lnTo>
                  <a:lnTo>
                    <a:pt x="199" y="2209"/>
                  </a:lnTo>
                  <a:lnTo>
                    <a:pt x="200" y="2210"/>
                  </a:lnTo>
                  <a:lnTo>
                    <a:pt x="200" y="2210"/>
                  </a:lnTo>
                  <a:lnTo>
                    <a:pt x="199" y="2207"/>
                  </a:lnTo>
                  <a:lnTo>
                    <a:pt x="195" y="2202"/>
                  </a:lnTo>
                  <a:lnTo>
                    <a:pt x="192" y="2196"/>
                  </a:lnTo>
                  <a:lnTo>
                    <a:pt x="190" y="2197"/>
                  </a:lnTo>
                  <a:lnTo>
                    <a:pt x="186" y="2195"/>
                  </a:lnTo>
                  <a:lnTo>
                    <a:pt x="183" y="2196"/>
                  </a:lnTo>
                  <a:lnTo>
                    <a:pt x="186" y="2195"/>
                  </a:lnTo>
                  <a:lnTo>
                    <a:pt x="188" y="2195"/>
                  </a:lnTo>
                  <a:lnTo>
                    <a:pt x="192" y="2195"/>
                  </a:lnTo>
                  <a:lnTo>
                    <a:pt x="192" y="2193"/>
                  </a:lnTo>
                  <a:lnTo>
                    <a:pt x="190" y="2184"/>
                  </a:lnTo>
                  <a:lnTo>
                    <a:pt x="187" y="2185"/>
                  </a:lnTo>
                  <a:lnTo>
                    <a:pt x="186" y="2186"/>
                  </a:lnTo>
                  <a:lnTo>
                    <a:pt x="186" y="2186"/>
                  </a:lnTo>
                  <a:lnTo>
                    <a:pt x="187" y="2185"/>
                  </a:lnTo>
                  <a:lnTo>
                    <a:pt x="188" y="2184"/>
                  </a:lnTo>
                  <a:lnTo>
                    <a:pt x="191" y="2178"/>
                  </a:lnTo>
                  <a:lnTo>
                    <a:pt x="192" y="2176"/>
                  </a:lnTo>
                  <a:lnTo>
                    <a:pt x="193" y="2172"/>
                  </a:lnTo>
                  <a:lnTo>
                    <a:pt x="199" y="2170"/>
                  </a:lnTo>
                  <a:lnTo>
                    <a:pt x="198" y="2167"/>
                  </a:lnTo>
                  <a:lnTo>
                    <a:pt x="193" y="2167"/>
                  </a:lnTo>
                  <a:lnTo>
                    <a:pt x="193" y="2167"/>
                  </a:lnTo>
                  <a:lnTo>
                    <a:pt x="192" y="2167"/>
                  </a:lnTo>
                  <a:lnTo>
                    <a:pt x="193" y="2167"/>
                  </a:lnTo>
                  <a:lnTo>
                    <a:pt x="196" y="2166"/>
                  </a:lnTo>
                  <a:lnTo>
                    <a:pt x="196" y="2164"/>
                  </a:lnTo>
                  <a:lnTo>
                    <a:pt x="196" y="2162"/>
                  </a:lnTo>
                  <a:lnTo>
                    <a:pt x="195" y="2162"/>
                  </a:lnTo>
                  <a:lnTo>
                    <a:pt x="196" y="2162"/>
                  </a:lnTo>
                  <a:lnTo>
                    <a:pt x="199" y="2167"/>
                  </a:lnTo>
                  <a:lnTo>
                    <a:pt x="201" y="2169"/>
                  </a:lnTo>
                  <a:lnTo>
                    <a:pt x="204" y="2168"/>
                  </a:lnTo>
                  <a:lnTo>
                    <a:pt x="207" y="2167"/>
                  </a:lnTo>
                  <a:lnTo>
                    <a:pt x="209" y="2164"/>
                  </a:lnTo>
                  <a:lnTo>
                    <a:pt x="210" y="2156"/>
                  </a:lnTo>
                  <a:lnTo>
                    <a:pt x="210" y="2153"/>
                  </a:lnTo>
                  <a:lnTo>
                    <a:pt x="211" y="2151"/>
                  </a:lnTo>
                  <a:lnTo>
                    <a:pt x="212" y="2149"/>
                  </a:lnTo>
                  <a:lnTo>
                    <a:pt x="213" y="2147"/>
                  </a:lnTo>
                  <a:lnTo>
                    <a:pt x="216" y="2146"/>
                  </a:lnTo>
                  <a:lnTo>
                    <a:pt x="218" y="2143"/>
                  </a:lnTo>
                  <a:lnTo>
                    <a:pt x="226" y="2138"/>
                  </a:lnTo>
                  <a:lnTo>
                    <a:pt x="228" y="2137"/>
                  </a:lnTo>
                  <a:lnTo>
                    <a:pt x="230" y="2135"/>
                  </a:lnTo>
                  <a:lnTo>
                    <a:pt x="234" y="2133"/>
                  </a:lnTo>
                  <a:lnTo>
                    <a:pt x="236" y="2130"/>
                  </a:lnTo>
                  <a:lnTo>
                    <a:pt x="234" y="2127"/>
                  </a:lnTo>
                  <a:lnTo>
                    <a:pt x="228" y="2129"/>
                  </a:lnTo>
                  <a:lnTo>
                    <a:pt x="227" y="2129"/>
                  </a:lnTo>
                  <a:lnTo>
                    <a:pt x="230" y="2128"/>
                  </a:lnTo>
                  <a:lnTo>
                    <a:pt x="233" y="2127"/>
                  </a:lnTo>
                  <a:lnTo>
                    <a:pt x="235" y="2125"/>
                  </a:lnTo>
                  <a:lnTo>
                    <a:pt x="236" y="2119"/>
                  </a:lnTo>
                  <a:lnTo>
                    <a:pt x="235" y="2117"/>
                  </a:lnTo>
                  <a:lnTo>
                    <a:pt x="233" y="2115"/>
                  </a:lnTo>
                  <a:lnTo>
                    <a:pt x="230" y="2116"/>
                  </a:lnTo>
                  <a:lnTo>
                    <a:pt x="222" y="2115"/>
                  </a:lnTo>
                  <a:lnTo>
                    <a:pt x="219" y="2111"/>
                  </a:lnTo>
                  <a:lnTo>
                    <a:pt x="213" y="2107"/>
                  </a:lnTo>
                  <a:lnTo>
                    <a:pt x="212" y="2104"/>
                  </a:lnTo>
                  <a:lnTo>
                    <a:pt x="211" y="2101"/>
                  </a:lnTo>
                  <a:lnTo>
                    <a:pt x="211" y="2099"/>
                  </a:lnTo>
                  <a:lnTo>
                    <a:pt x="211" y="2096"/>
                  </a:lnTo>
                  <a:lnTo>
                    <a:pt x="215" y="2092"/>
                  </a:lnTo>
                  <a:lnTo>
                    <a:pt x="218" y="2086"/>
                  </a:lnTo>
                  <a:lnTo>
                    <a:pt x="221" y="2083"/>
                  </a:lnTo>
                  <a:lnTo>
                    <a:pt x="224" y="2083"/>
                  </a:lnTo>
                  <a:lnTo>
                    <a:pt x="226" y="2082"/>
                  </a:lnTo>
                  <a:lnTo>
                    <a:pt x="229" y="2079"/>
                  </a:lnTo>
                  <a:lnTo>
                    <a:pt x="233" y="2079"/>
                  </a:lnTo>
                  <a:lnTo>
                    <a:pt x="238" y="2081"/>
                  </a:lnTo>
                  <a:lnTo>
                    <a:pt x="238" y="2079"/>
                  </a:lnTo>
                  <a:lnTo>
                    <a:pt x="237" y="2077"/>
                  </a:lnTo>
                  <a:lnTo>
                    <a:pt x="237" y="2075"/>
                  </a:lnTo>
                  <a:lnTo>
                    <a:pt x="241" y="2073"/>
                  </a:lnTo>
                  <a:lnTo>
                    <a:pt x="242" y="2070"/>
                  </a:lnTo>
                  <a:lnTo>
                    <a:pt x="243" y="2067"/>
                  </a:lnTo>
                  <a:lnTo>
                    <a:pt x="244" y="2065"/>
                  </a:lnTo>
                  <a:lnTo>
                    <a:pt x="242" y="2059"/>
                  </a:lnTo>
                  <a:lnTo>
                    <a:pt x="243" y="2057"/>
                  </a:lnTo>
                  <a:lnTo>
                    <a:pt x="245" y="2053"/>
                  </a:lnTo>
                  <a:lnTo>
                    <a:pt x="246" y="2051"/>
                  </a:lnTo>
                  <a:lnTo>
                    <a:pt x="249" y="2049"/>
                  </a:lnTo>
                  <a:lnTo>
                    <a:pt x="254" y="2048"/>
                  </a:lnTo>
                  <a:lnTo>
                    <a:pt x="249" y="2043"/>
                  </a:lnTo>
                  <a:lnTo>
                    <a:pt x="247" y="2041"/>
                  </a:lnTo>
                  <a:lnTo>
                    <a:pt x="252" y="2039"/>
                  </a:lnTo>
                  <a:lnTo>
                    <a:pt x="255" y="2039"/>
                  </a:lnTo>
                  <a:lnTo>
                    <a:pt x="258" y="2041"/>
                  </a:lnTo>
                  <a:lnTo>
                    <a:pt x="258" y="2044"/>
                  </a:lnTo>
                  <a:lnTo>
                    <a:pt x="261" y="2044"/>
                  </a:lnTo>
                  <a:lnTo>
                    <a:pt x="263" y="2043"/>
                  </a:lnTo>
                  <a:lnTo>
                    <a:pt x="266" y="2041"/>
                  </a:lnTo>
                  <a:lnTo>
                    <a:pt x="266" y="2038"/>
                  </a:lnTo>
                  <a:lnTo>
                    <a:pt x="266" y="2035"/>
                  </a:lnTo>
                  <a:lnTo>
                    <a:pt x="264" y="2033"/>
                  </a:lnTo>
                  <a:lnTo>
                    <a:pt x="262" y="2032"/>
                  </a:lnTo>
                  <a:lnTo>
                    <a:pt x="259" y="2033"/>
                  </a:lnTo>
                  <a:lnTo>
                    <a:pt x="256" y="2033"/>
                  </a:lnTo>
                  <a:lnTo>
                    <a:pt x="259" y="2034"/>
                  </a:lnTo>
                  <a:lnTo>
                    <a:pt x="259" y="2036"/>
                  </a:lnTo>
                  <a:lnTo>
                    <a:pt x="253" y="2036"/>
                  </a:lnTo>
                  <a:lnTo>
                    <a:pt x="254" y="2034"/>
                  </a:lnTo>
                  <a:lnTo>
                    <a:pt x="249" y="2033"/>
                  </a:lnTo>
                  <a:lnTo>
                    <a:pt x="245" y="2030"/>
                  </a:lnTo>
                  <a:lnTo>
                    <a:pt x="246" y="2022"/>
                  </a:lnTo>
                  <a:lnTo>
                    <a:pt x="244" y="2016"/>
                  </a:lnTo>
                  <a:lnTo>
                    <a:pt x="244" y="2014"/>
                  </a:lnTo>
                  <a:lnTo>
                    <a:pt x="245" y="2012"/>
                  </a:lnTo>
                  <a:lnTo>
                    <a:pt x="247" y="2009"/>
                  </a:lnTo>
                  <a:lnTo>
                    <a:pt x="250" y="2009"/>
                  </a:lnTo>
                  <a:lnTo>
                    <a:pt x="253" y="2012"/>
                  </a:lnTo>
                  <a:lnTo>
                    <a:pt x="261" y="2014"/>
                  </a:lnTo>
                  <a:lnTo>
                    <a:pt x="263" y="2016"/>
                  </a:lnTo>
                  <a:lnTo>
                    <a:pt x="269" y="2016"/>
                  </a:lnTo>
                  <a:lnTo>
                    <a:pt x="275" y="2015"/>
                  </a:lnTo>
                  <a:lnTo>
                    <a:pt x="283" y="2012"/>
                  </a:lnTo>
                  <a:lnTo>
                    <a:pt x="284" y="2009"/>
                  </a:lnTo>
                  <a:lnTo>
                    <a:pt x="284" y="2006"/>
                  </a:lnTo>
                  <a:lnTo>
                    <a:pt x="281" y="2004"/>
                  </a:lnTo>
                  <a:lnTo>
                    <a:pt x="281" y="2001"/>
                  </a:lnTo>
                  <a:lnTo>
                    <a:pt x="284" y="1995"/>
                  </a:lnTo>
                  <a:lnTo>
                    <a:pt x="286" y="1995"/>
                  </a:lnTo>
                  <a:lnTo>
                    <a:pt x="287" y="1989"/>
                  </a:lnTo>
                  <a:lnTo>
                    <a:pt x="284" y="1987"/>
                  </a:lnTo>
                  <a:lnTo>
                    <a:pt x="287" y="1988"/>
                  </a:lnTo>
                  <a:lnTo>
                    <a:pt x="284" y="1985"/>
                  </a:lnTo>
                  <a:lnTo>
                    <a:pt x="283" y="1983"/>
                  </a:lnTo>
                  <a:lnTo>
                    <a:pt x="283" y="1980"/>
                  </a:lnTo>
                  <a:lnTo>
                    <a:pt x="286" y="1979"/>
                  </a:lnTo>
                  <a:lnTo>
                    <a:pt x="288" y="1981"/>
                  </a:lnTo>
                  <a:lnTo>
                    <a:pt x="292" y="1981"/>
                  </a:lnTo>
                  <a:lnTo>
                    <a:pt x="294" y="1981"/>
                  </a:lnTo>
                  <a:lnTo>
                    <a:pt x="296" y="1981"/>
                  </a:lnTo>
                  <a:lnTo>
                    <a:pt x="299" y="1981"/>
                  </a:lnTo>
                  <a:lnTo>
                    <a:pt x="304" y="1981"/>
                  </a:lnTo>
                  <a:lnTo>
                    <a:pt x="315" y="1979"/>
                  </a:lnTo>
                  <a:lnTo>
                    <a:pt x="329" y="1976"/>
                  </a:lnTo>
                  <a:lnTo>
                    <a:pt x="339" y="1972"/>
                  </a:lnTo>
                  <a:lnTo>
                    <a:pt x="346" y="1970"/>
                  </a:lnTo>
                  <a:lnTo>
                    <a:pt x="348" y="1967"/>
                  </a:lnTo>
                  <a:lnTo>
                    <a:pt x="348" y="1964"/>
                  </a:lnTo>
                  <a:lnTo>
                    <a:pt x="350" y="1962"/>
                  </a:lnTo>
                  <a:lnTo>
                    <a:pt x="355" y="1956"/>
                  </a:lnTo>
                  <a:lnTo>
                    <a:pt x="358" y="1950"/>
                  </a:lnTo>
                  <a:lnTo>
                    <a:pt x="361" y="1948"/>
                  </a:lnTo>
                  <a:lnTo>
                    <a:pt x="361" y="1942"/>
                  </a:lnTo>
                  <a:lnTo>
                    <a:pt x="360" y="1939"/>
                  </a:lnTo>
                  <a:lnTo>
                    <a:pt x="360" y="1939"/>
                  </a:lnTo>
                  <a:lnTo>
                    <a:pt x="356" y="1939"/>
                  </a:lnTo>
                  <a:lnTo>
                    <a:pt x="354" y="1938"/>
                  </a:lnTo>
                  <a:lnTo>
                    <a:pt x="352" y="1935"/>
                  </a:lnTo>
                  <a:lnTo>
                    <a:pt x="350" y="1932"/>
                  </a:lnTo>
                  <a:lnTo>
                    <a:pt x="352" y="1930"/>
                  </a:lnTo>
                  <a:lnTo>
                    <a:pt x="354" y="1924"/>
                  </a:lnTo>
                  <a:lnTo>
                    <a:pt x="353" y="1922"/>
                  </a:lnTo>
                  <a:lnTo>
                    <a:pt x="349" y="1919"/>
                  </a:lnTo>
                  <a:lnTo>
                    <a:pt x="345" y="1916"/>
                  </a:lnTo>
                  <a:lnTo>
                    <a:pt x="340" y="1914"/>
                  </a:lnTo>
                  <a:lnTo>
                    <a:pt x="337" y="1912"/>
                  </a:lnTo>
                  <a:lnTo>
                    <a:pt x="335" y="1907"/>
                  </a:lnTo>
                  <a:lnTo>
                    <a:pt x="337" y="1906"/>
                  </a:lnTo>
                  <a:lnTo>
                    <a:pt x="337" y="1906"/>
                  </a:lnTo>
                  <a:lnTo>
                    <a:pt x="336" y="1903"/>
                  </a:lnTo>
                  <a:lnTo>
                    <a:pt x="336" y="1901"/>
                  </a:lnTo>
                  <a:lnTo>
                    <a:pt x="335" y="1897"/>
                  </a:lnTo>
                  <a:lnTo>
                    <a:pt x="335" y="1895"/>
                  </a:lnTo>
                  <a:lnTo>
                    <a:pt x="337" y="1891"/>
                  </a:lnTo>
                  <a:lnTo>
                    <a:pt x="337" y="1889"/>
                  </a:lnTo>
                  <a:lnTo>
                    <a:pt x="339" y="1889"/>
                  </a:lnTo>
                  <a:lnTo>
                    <a:pt x="339" y="1888"/>
                  </a:lnTo>
                  <a:lnTo>
                    <a:pt x="340" y="1886"/>
                  </a:lnTo>
                  <a:lnTo>
                    <a:pt x="339" y="1880"/>
                  </a:lnTo>
                  <a:lnTo>
                    <a:pt x="339" y="1879"/>
                  </a:lnTo>
                  <a:lnTo>
                    <a:pt x="341" y="1887"/>
                  </a:lnTo>
                  <a:lnTo>
                    <a:pt x="339" y="1888"/>
                  </a:lnTo>
                  <a:lnTo>
                    <a:pt x="339" y="1889"/>
                  </a:lnTo>
                  <a:lnTo>
                    <a:pt x="339" y="1889"/>
                  </a:lnTo>
                  <a:lnTo>
                    <a:pt x="337" y="1894"/>
                  </a:lnTo>
                  <a:lnTo>
                    <a:pt x="337" y="1899"/>
                  </a:lnTo>
                  <a:lnTo>
                    <a:pt x="337" y="1901"/>
                  </a:lnTo>
                  <a:lnTo>
                    <a:pt x="339" y="1904"/>
                  </a:lnTo>
                  <a:lnTo>
                    <a:pt x="344" y="1908"/>
                  </a:lnTo>
                  <a:lnTo>
                    <a:pt x="345" y="1911"/>
                  </a:lnTo>
                  <a:lnTo>
                    <a:pt x="347" y="1910"/>
                  </a:lnTo>
                  <a:lnTo>
                    <a:pt x="354" y="1910"/>
                  </a:lnTo>
                  <a:lnTo>
                    <a:pt x="360" y="1914"/>
                  </a:lnTo>
                  <a:lnTo>
                    <a:pt x="365" y="1915"/>
                  </a:lnTo>
                  <a:lnTo>
                    <a:pt x="367" y="1918"/>
                  </a:lnTo>
                  <a:lnTo>
                    <a:pt x="372" y="1915"/>
                  </a:lnTo>
                  <a:lnTo>
                    <a:pt x="374" y="1914"/>
                  </a:lnTo>
                  <a:lnTo>
                    <a:pt x="379" y="1915"/>
                  </a:lnTo>
                  <a:lnTo>
                    <a:pt x="381" y="1916"/>
                  </a:lnTo>
                  <a:lnTo>
                    <a:pt x="383" y="1918"/>
                  </a:lnTo>
                  <a:lnTo>
                    <a:pt x="387" y="1916"/>
                  </a:lnTo>
                  <a:lnTo>
                    <a:pt x="396" y="1913"/>
                  </a:lnTo>
                  <a:lnTo>
                    <a:pt x="398" y="1910"/>
                  </a:lnTo>
                  <a:lnTo>
                    <a:pt x="400" y="1908"/>
                  </a:lnTo>
                  <a:lnTo>
                    <a:pt x="401" y="1906"/>
                  </a:lnTo>
                  <a:lnTo>
                    <a:pt x="404" y="1903"/>
                  </a:lnTo>
                  <a:lnTo>
                    <a:pt x="405" y="1901"/>
                  </a:lnTo>
                  <a:lnTo>
                    <a:pt x="406" y="1898"/>
                  </a:lnTo>
                  <a:lnTo>
                    <a:pt x="414" y="1891"/>
                  </a:lnTo>
                  <a:lnTo>
                    <a:pt x="416" y="1889"/>
                  </a:lnTo>
                  <a:lnTo>
                    <a:pt x="417" y="1886"/>
                  </a:lnTo>
                  <a:lnTo>
                    <a:pt x="418" y="1884"/>
                  </a:lnTo>
                  <a:lnTo>
                    <a:pt x="418" y="1881"/>
                  </a:lnTo>
                  <a:lnTo>
                    <a:pt x="423" y="1873"/>
                  </a:lnTo>
                  <a:lnTo>
                    <a:pt x="422" y="1870"/>
                  </a:lnTo>
                  <a:lnTo>
                    <a:pt x="422" y="1869"/>
                  </a:lnTo>
                  <a:lnTo>
                    <a:pt x="424" y="1863"/>
                  </a:lnTo>
                  <a:lnTo>
                    <a:pt x="427" y="1861"/>
                  </a:lnTo>
                  <a:lnTo>
                    <a:pt x="429" y="1861"/>
                  </a:lnTo>
                  <a:lnTo>
                    <a:pt x="431" y="1859"/>
                  </a:lnTo>
                  <a:lnTo>
                    <a:pt x="432" y="1856"/>
                  </a:lnTo>
                  <a:lnTo>
                    <a:pt x="434" y="1851"/>
                  </a:lnTo>
                  <a:lnTo>
                    <a:pt x="437" y="1847"/>
                  </a:lnTo>
                  <a:lnTo>
                    <a:pt x="434" y="1845"/>
                  </a:lnTo>
                  <a:lnTo>
                    <a:pt x="434" y="1843"/>
                  </a:lnTo>
                  <a:lnTo>
                    <a:pt x="435" y="1843"/>
                  </a:lnTo>
                  <a:lnTo>
                    <a:pt x="435" y="1845"/>
                  </a:lnTo>
                  <a:lnTo>
                    <a:pt x="439" y="1848"/>
                  </a:lnTo>
                  <a:lnTo>
                    <a:pt x="441" y="1846"/>
                  </a:lnTo>
                  <a:lnTo>
                    <a:pt x="444" y="1845"/>
                  </a:lnTo>
                  <a:lnTo>
                    <a:pt x="444" y="1848"/>
                  </a:lnTo>
                  <a:lnTo>
                    <a:pt x="442" y="1852"/>
                  </a:lnTo>
                  <a:lnTo>
                    <a:pt x="442" y="1854"/>
                  </a:lnTo>
                  <a:lnTo>
                    <a:pt x="439" y="1855"/>
                  </a:lnTo>
                  <a:lnTo>
                    <a:pt x="439" y="1858"/>
                  </a:lnTo>
                  <a:lnTo>
                    <a:pt x="435" y="1858"/>
                  </a:lnTo>
                  <a:lnTo>
                    <a:pt x="437" y="1861"/>
                  </a:lnTo>
                  <a:lnTo>
                    <a:pt x="435" y="1863"/>
                  </a:lnTo>
                  <a:lnTo>
                    <a:pt x="432" y="1864"/>
                  </a:lnTo>
                  <a:lnTo>
                    <a:pt x="431" y="1868"/>
                  </a:lnTo>
                  <a:lnTo>
                    <a:pt x="425" y="1870"/>
                  </a:lnTo>
                  <a:lnTo>
                    <a:pt x="424" y="1872"/>
                  </a:lnTo>
                  <a:lnTo>
                    <a:pt x="432" y="1868"/>
                  </a:lnTo>
                  <a:lnTo>
                    <a:pt x="438" y="1863"/>
                  </a:lnTo>
                  <a:lnTo>
                    <a:pt x="442" y="1858"/>
                  </a:lnTo>
                  <a:lnTo>
                    <a:pt x="447" y="1851"/>
                  </a:lnTo>
                  <a:lnTo>
                    <a:pt x="448" y="1847"/>
                  </a:lnTo>
                  <a:lnTo>
                    <a:pt x="451" y="1839"/>
                  </a:lnTo>
                  <a:lnTo>
                    <a:pt x="455" y="1834"/>
                  </a:lnTo>
                  <a:lnTo>
                    <a:pt x="460" y="1826"/>
                  </a:lnTo>
                  <a:lnTo>
                    <a:pt x="468" y="1820"/>
                  </a:lnTo>
                  <a:lnTo>
                    <a:pt x="468" y="1819"/>
                  </a:lnTo>
                  <a:lnTo>
                    <a:pt x="468" y="1818"/>
                  </a:lnTo>
                  <a:lnTo>
                    <a:pt x="469" y="1819"/>
                  </a:lnTo>
                  <a:lnTo>
                    <a:pt x="471" y="1817"/>
                  </a:lnTo>
                  <a:lnTo>
                    <a:pt x="471" y="1813"/>
                  </a:lnTo>
                  <a:lnTo>
                    <a:pt x="471" y="1811"/>
                  </a:lnTo>
                  <a:lnTo>
                    <a:pt x="472" y="1798"/>
                  </a:lnTo>
                  <a:lnTo>
                    <a:pt x="471" y="1792"/>
                  </a:lnTo>
                  <a:lnTo>
                    <a:pt x="471" y="1788"/>
                  </a:lnTo>
                  <a:lnTo>
                    <a:pt x="469" y="1785"/>
                  </a:lnTo>
                  <a:lnTo>
                    <a:pt x="472" y="1783"/>
                  </a:lnTo>
                  <a:lnTo>
                    <a:pt x="472" y="1779"/>
                  </a:lnTo>
                  <a:lnTo>
                    <a:pt x="474" y="1777"/>
                  </a:lnTo>
                  <a:lnTo>
                    <a:pt x="473" y="1777"/>
                  </a:lnTo>
                  <a:lnTo>
                    <a:pt x="472" y="1776"/>
                  </a:lnTo>
                  <a:lnTo>
                    <a:pt x="469" y="1775"/>
                  </a:lnTo>
                  <a:lnTo>
                    <a:pt x="472" y="1775"/>
                  </a:lnTo>
                  <a:lnTo>
                    <a:pt x="473" y="1773"/>
                  </a:lnTo>
                  <a:lnTo>
                    <a:pt x="478" y="1773"/>
                  </a:lnTo>
                  <a:lnTo>
                    <a:pt x="480" y="1771"/>
                  </a:lnTo>
                  <a:lnTo>
                    <a:pt x="478" y="1768"/>
                  </a:lnTo>
                  <a:lnTo>
                    <a:pt x="480" y="1769"/>
                  </a:lnTo>
                  <a:lnTo>
                    <a:pt x="482" y="1766"/>
                  </a:lnTo>
                  <a:lnTo>
                    <a:pt x="485" y="1765"/>
                  </a:lnTo>
                  <a:lnTo>
                    <a:pt x="491" y="1761"/>
                  </a:lnTo>
                  <a:lnTo>
                    <a:pt x="495" y="1757"/>
                  </a:lnTo>
                  <a:lnTo>
                    <a:pt x="499" y="1754"/>
                  </a:lnTo>
                  <a:lnTo>
                    <a:pt x="501" y="1753"/>
                  </a:lnTo>
                  <a:lnTo>
                    <a:pt x="501" y="1752"/>
                  </a:lnTo>
                  <a:lnTo>
                    <a:pt x="502" y="1752"/>
                  </a:lnTo>
                  <a:lnTo>
                    <a:pt x="503" y="1753"/>
                  </a:lnTo>
                  <a:lnTo>
                    <a:pt x="506" y="1751"/>
                  </a:lnTo>
                  <a:lnTo>
                    <a:pt x="508" y="1750"/>
                  </a:lnTo>
                  <a:lnTo>
                    <a:pt x="511" y="1750"/>
                  </a:lnTo>
                  <a:lnTo>
                    <a:pt x="514" y="1751"/>
                  </a:lnTo>
                  <a:lnTo>
                    <a:pt x="515" y="1749"/>
                  </a:lnTo>
                  <a:lnTo>
                    <a:pt x="517" y="1748"/>
                  </a:lnTo>
                  <a:lnTo>
                    <a:pt x="520" y="1745"/>
                  </a:lnTo>
                  <a:lnTo>
                    <a:pt x="520" y="1745"/>
                  </a:lnTo>
                  <a:lnTo>
                    <a:pt x="527" y="1743"/>
                  </a:lnTo>
                  <a:lnTo>
                    <a:pt x="525" y="1741"/>
                  </a:lnTo>
                  <a:lnTo>
                    <a:pt x="529" y="1739"/>
                  </a:lnTo>
                  <a:lnTo>
                    <a:pt x="533" y="1740"/>
                  </a:lnTo>
                  <a:lnTo>
                    <a:pt x="535" y="1737"/>
                  </a:lnTo>
                  <a:lnTo>
                    <a:pt x="538" y="1739"/>
                  </a:lnTo>
                  <a:lnTo>
                    <a:pt x="540" y="1740"/>
                  </a:lnTo>
                  <a:lnTo>
                    <a:pt x="534" y="1741"/>
                  </a:lnTo>
                  <a:lnTo>
                    <a:pt x="545" y="1739"/>
                  </a:lnTo>
                  <a:lnTo>
                    <a:pt x="545" y="1737"/>
                  </a:lnTo>
                  <a:lnTo>
                    <a:pt x="544" y="1737"/>
                  </a:lnTo>
                  <a:lnTo>
                    <a:pt x="546" y="1734"/>
                  </a:lnTo>
                  <a:lnTo>
                    <a:pt x="546" y="1737"/>
                  </a:lnTo>
                  <a:lnTo>
                    <a:pt x="549" y="1739"/>
                  </a:lnTo>
                  <a:lnTo>
                    <a:pt x="555" y="1739"/>
                  </a:lnTo>
                  <a:lnTo>
                    <a:pt x="561" y="1739"/>
                  </a:lnTo>
                  <a:lnTo>
                    <a:pt x="561" y="1739"/>
                  </a:lnTo>
                  <a:lnTo>
                    <a:pt x="562" y="1736"/>
                  </a:lnTo>
                  <a:lnTo>
                    <a:pt x="561" y="1734"/>
                  </a:lnTo>
                  <a:lnTo>
                    <a:pt x="563" y="1731"/>
                  </a:lnTo>
                  <a:lnTo>
                    <a:pt x="567" y="1728"/>
                  </a:lnTo>
                  <a:lnTo>
                    <a:pt x="575" y="1725"/>
                  </a:lnTo>
                  <a:lnTo>
                    <a:pt x="575" y="1723"/>
                  </a:lnTo>
                  <a:lnTo>
                    <a:pt x="575" y="1716"/>
                  </a:lnTo>
                  <a:lnTo>
                    <a:pt x="577" y="1711"/>
                  </a:lnTo>
                  <a:lnTo>
                    <a:pt x="578" y="1709"/>
                  </a:lnTo>
                  <a:lnTo>
                    <a:pt x="580" y="1708"/>
                  </a:lnTo>
                  <a:lnTo>
                    <a:pt x="583" y="1705"/>
                  </a:lnTo>
                  <a:lnTo>
                    <a:pt x="585" y="1702"/>
                  </a:lnTo>
                  <a:lnTo>
                    <a:pt x="584" y="1700"/>
                  </a:lnTo>
                  <a:lnTo>
                    <a:pt x="586" y="1700"/>
                  </a:lnTo>
                  <a:lnTo>
                    <a:pt x="587" y="1696"/>
                  </a:lnTo>
                  <a:lnTo>
                    <a:pt x="588" y="1692"/>
                  </a:lnTo>
                  <a:lnTo>
                    <a:pt x="592" y="1691"/>
                  </a:lnTo>
                  <a:lnTo>
                    <a:pt x="593" y="1689"/>
                  </a:lnTo>
                  <a:lnTo>
                    <a:pt x="593" y="1685"/>
                  </a:lnTo>
                  <a:lnTo>
                    <a:pt x="592" y="1677"/>
                  </a:lnTo>
                  <a:lnTo>
                    <a:pt x="593" y="1672"/>
                  </a:lnTo>
                  <a:lnTo>
                    <a:pt x="595" y="1670"/>
                  </a:lnTo>
                  <a:lnTo>
                    <a:pt x="601" y="1664"/>
                  </a:lnTo>
                  <a:lnTo>
                    <a:pt x="600" y="1656"/>
                  </a:lnTo>
                  <a:lnTo>
                    <a:pt x="602" y="1645"/>
                  </a:lnTo>
                  <a:lnTo>
                    <a:pt x="604" y="1638"/>
                  </a:lnTo>
                  <a:lnTo>
                    <a:pt x="603" y="1634"/>
                  </a:lnTo>
                  <a:lnTo>
                    <a:pt x="602" y="1622"/>
                  </a:lnTo>
                  <a:lnTo>
                    <a:pt x="603" y="1615"/>
                  </a:lnTo>
                  <a:lnTo>
                    <a:pt x="603" y="1613"/>
                  </a:lnTo>
                  <a:lnTo>
                    <a:pt x="602" y="1610"/>
                  </a:lnTo>
                  <a:lnTo>
                    <a:pt x="603" y="1607"/>
                  </a:lnTo>
                  <a:lnTo>
                    <a:pt x="602" y="1604"/>
                  </a:lnTo>
                  <a:lnTo>
                    <a:pt x="601" y="1606"/>
                  </a:lnTo>
                  <a:lnTo>
                    <a:pt x="602" y="1603"/>
                  </a:lnTo>
                  <a:lnTo>
                    <a:pt x="605" y="1598"/>
                  </a:lnTo>
                  <a:lnTo>
                    <a:pt x="604" y="1594"/>
                  </a:lnTo>
                  <a:lnTo>
                    <a:pt x="606" y="1594"/>
                  </a:lnTo>
                  <a:lnTo>
                    <a:pt x="609" y="1594"/>
                  </a:lnTo>
                  <a:lnTo>
                    <a:pt x="610" y="1597"/>
                  </a:lnTo>
                  <a:lnTo>
                    <a:pt x="612" y="1596"/>
                  </a:lnTo>
                  <a:lnTo>
                    <a:pt x="614" y="1594"/>
                  </a:lnTo>
                  <a:lnTo>
                    <a:pt x="620" y="1586"/>
                  </a:lnTo>
                  <a:lnTo>
                    <a:pt x="623" y="1579"/>
                  </a:lnTo>
                  <a:lnTo>
                    <a:pt x="625" y="1578"/>
                  </a:lnTo>
                  <a:lnTo>
                    <a:pt x="623" y="1577"/>
                  </a:lnTo>
                  <a:lnTo>
                    <a:pt x="625" y="1574"/>
                  </a:lnTo>
                  <a:lnTo>
                    <a:pt x="627" y="1573"/>
                  </a:lnTo>
                  <a:lnTo>
                    <a:pt x="626" y="1570"/>
                  </a:lnTo>
                  <a:lnTo>
                    <a:pt x="629" y="1570"/>
                  </a:lnTo>
                  <a:lnTo>
                    <a:pt x="628" y="1566"/>
                  </a:lnTo>
                  <a:lnTo>
                    <a:pt x="631" y="1568"/>
                  </a:lnTo>
                  <a:lnTo>
                    <a:pt x="636" y="1563"/>
                  </a:lnTo>
                  <a:lnTo>
                    <a:pt x="638" y="1563"/>
                  </a:lnTo>
                  <a:lnTo>
                    <a:pt x="639" y="1561"/>
                  </a:lnTo>
                  <a:lnTo>
                    <a:pt x="646" y="1553"/>
                  </a:lnTo>
                  <a:lnTo>
                    <a:pt x="646" y="1552"/>
                  </a:lnTo>
                  <a:lnTo>
                    <a:pt x="647" y="1552"/>
                  </a:lnTo>
                  <a:lnTo>
                    <a:pt x="647" y="1552"/>
                  </a:lnTo>
                  <a:lnTo>
                    <a:pt x="653" y="1546"/>
                  </a:lnTo>
                  <a:lnTo>
                    <a:pt x="655" y="1540"/>
                  </a:lnTo>
                  <a:lnTo>
                    <a:pt x="657" y="1536"/>
                  </a:lnTo>
                  <a:lnTo>
                    <a:pt x="657" y="1534"/>
                  </a:lnTo>
                  <a:lnTo>
                    <a:pt x="659" y="1529"/>
                  </a:lnTo>
                  <a:lnTo>
                    <a:pt x="660" y="1527"/>
                  </a:lnTo>
                  <a:lnTo>
                    <a:pt x="659" y="1526"/>
                  </a:lnTo>
                  <a:lnTo>
                    <a:pt x="660" y="1522"/>
                  </a:lnTo>
                  <a:lnTo>
                    <a:pt x="659" y="1522"/>
                  </a:lnTo>
                  <a:lnTo>
                    <a:pt x="660" y="1521"/>
                  </a:lnTo>
                  <a:lnTo>
                    <a:pt x="660" y="1518"/>
                  </a:lnTo>
                  <a:lnTo>
                    <a:pt x="660" y="1516"/>
                  </a:lnTo>
                  <a:lnTo>
                    <a:pt x="659" y="1517"/>
                  </a:lnTo>
                  <a:close/>
                  <a:moveTo>
                    <a:pt x="195" y="1646"/>
                  </a:moveTo>
                  <a:lnTo>
                    <a:pt x="193" y="1646"/>
                  </a:lnTo>
                  <a:lnTo>
                    <a:pt x="193" y="1646"/>
                  </a:lnTo>
                  <a:lnTo>
                    <a:pt x="194" y="1648"/>
                  </a:lnTo>
                  <a:lnTo>
                    <a:pt x="192" y="1648"/>
                  </a:lnTo>
                  <a:lnTo>
                    <a:pt x="192" y="1645"/>
                  </a:lnTo>
                  <a:lnTo>
                    <a:pt x="192" y="1642"/>
                  </a:lnTo>
                  <a:lnTo>
                    <a:pt x="191" y="1642"/>
                  </a:lnTo>
                  <a:lnTo>
                    <a:pt x="191" y="1642"/>
                  </a:lnTo>
                  <a:lnTo>
                    <a:pt x="187" y="1643"/>
                  </a:lnTo>
                  <a:lnTo>
                    <a:pt x="185" y="1642"/>
                  </a:lnTo>
                  <a:lnTo>
                    <a:pt x="186" y="1640"/>
                  </a:lnTo>
                  <a:lnTo>
                    <a:pt x="183" y="1639"/>
                  </a:lnTo>
                  <a:lnTo>
                    <a:pt x="181" y="1637"/>
                  </a:lnTo>
                  <a:lnTo>
                    <a:pt x="178" y="1638"/>
                  </a:lnTo>
                  <a:lnTo>
                    <a:pt x="178" y="1636"/>
                  </a:lnTo>
                  <a:lnTo>
                    <a:pt x="181" y="1636"/>
                  </a:lnTo>
                  <a:lnTo>
                    <a:pt x="179" y="1633"/>
                  </a:lnTo>
                  <a:lnTo>
                    <a:pt x="181" y="1630"/>
                  </a:lnTo>
                  <a:lnTo>
                    <a:pt x="184" y="1631"/>
                  </a:lnTo>
                  <a:lnTo>
                    <a:pt x="186" y="1632"/>
                  </a:lnTo>
                  <a:lnTo>
                    <a:pt x="187" y="1633"/>
                  </a:lnTo>
                  <a:lnTo>
                    <a:pt x="190" y="1634"/>
                  </a:lnTo>
                  <a:lnTo>
                    <a:pt x="192" y="1638"/>
                  </a:lnTo>
                  <a:lnTo>
                    <a:pt x="194" y="1639"/>
                  </a:lnTo>
                  <a:lnTo>
                    <a:pt x="193" y="1641"/>
                  </a:lnTo>
                  <a:lnTo>
                    <a:pt x="194" y="1642"/>
                  </a:lnTo>
                  <a:lnTo>
                    <a:pt x="196" y="1642"/>
                  </a:lnTo>
                  <a:lnTo>
                    <a:pt x="195" y="1646"/>
                  </a:lnTo>
                  <a:close/>
                  <a:moveTo>
                    <a:pt x="344" y="2192"/>
                  </a:moveTo>
                  <a:lnTo>
                    <a:pt x="340" y="2192"/>
                  </a:lnTo>
                  <a:lnTo>
                    <a:pt x="338" y="2193"/>
                  </a:lnTo>
                  <a:lnTo>
                    <a:pt x="339" y="2196"/>
                  </a:lnTo>
                  <a:lnTo>
                    <a:pt x="337" y="2193"/>
                  </a:lnTo>
                  <a:lnTo>
                    <a:pt x="336" y="2190"/>
                  </a:lnTo>
                  <a:lnTo>
                    <a:pt x="333" y="2190"/>
                  </a:lnTo>
                  <a:lnTo>
                    <a:pt x="331" y="2192"/>
                  </a:lnTo>
                  <a:lnTo>
                    <a:pt x="329" y="2194"/>
                  </a:lnTo>
                  <a:lnTo>
                    <a:pt x="327" y="2194"/>
                  </a:lnTo>
                  <a:lnTo>
                    <a:pt x="329" y="2196"/>
                  </a:lnTo>
                  <a:lnTo>
                    <a:pt x="329" y="2200"/>
                  </a:lnTo>
                  <a:lnTo>
                    <a:pt x="326" y="2197"/>
                  </a:lnTo>
                  <a:lnTo>
                    <a:pt x="323" y="2200"/>
                  </a:lnTo>
                  <a:lnTo>
                    <a:pt x="322" y="2202"/>
                  </a:lnTo>
                  <a:lnTo>
                    <a:pt x="319" y="2205"/>
                  </a:lnTo>
                  <a:lnTo>
                    <a:pt x="321" y="2207"/>
                  </a:lnTo>
                  <a:lnTo>
                    <a:pt x="323" y="2209"/>
                  </a:lnTo>
                  <a:lnTo>
                    <a:pt x="324" y="2205"/>
                  </a:lnTo>
                  <a:lnTo>
                    <a:pt x="327" y="2205"/>
                  </a:lnTo>
                  <a:lnTo>
                    <a:pt x="326" y="2203"/>
                  </a:lnTo>
                  <a:lnTo>
                    <a:pt x="328" y="2203"/>
                  </a:lnTo>
                  <a:lnTo>
                    <a:pt x="331" y="2204"/>
                  </a:lnTo>
                  <a:lnTo>
                    <a:pt x="333" y="2205"/>
                  </a:lnTo>
                  <a:lnTo>
                    <a:pt x="331" y="2202"/>
                  </a:lnTo>
                  <a:lnTo>
                    <a:pt x="329" y="2200"/>
                  </a:lnTo>
                  <a:lnTo>
                    <a:pt x="332" y="2201"/>
                  </a:lnTo>
                  <a:lnTo>
                    <a:pt x="335" y="2201"/>
                  </a:lnTo>
                  <a:lnTo>
                    <a:pt x="337" y="2201"/>
                  </a:lnTo>
                  <a:lnTo>
                    <a:pt x="339" y="2198"/>
                  </a:lnTo>
                  <a:lnTo>
                    <a:pt x="339" y="2198"/>
                  </a:lnTo>
                  <a:lnTo>
                    <a:pt x="343" y="2198"/>
                  </a:lnTo>
                  <a:lnTo>
                    <a:pt x="345" y="2196"/>
                  </a:lnTo>
                  <a:lnTo>
                    <a:pt x="343" y="2194"/>
                  </a:lnTo>
                  <a:lnTo>
                    <a:pt x="345" y="2194"/>
                  </a:lnTo>
                  <a:lnTo>
                    <a:pt x="344" y="2192"/>
                  </a:lnTo>
                  <a:close/>
                  <a:moveTo>
                    <a:pt x="444" y="1443"/>
                  </a:moveTo>
                  <a:lnTo>
                    <a:pt x="447" y="1444"/>
                  </a:lnTo>
                  <a:lnTo>
                    <a:pt x="448" y="1443"/>
                  </a:lnTo>
                  <a:lnTo>
                    <a:pt x="447" y="1443"/>
                  </a:lnTo>
                  <a:lnTo>
                    <a:pt x="449" y="1443"/>
                  </a:lnTo>
                  <a:lnTo>
                    <a:pt x="452" y="1443"/>
                  </a:lnTo>
                  <a:lnTo>
                    <a:pt x="455" y="1443"/>
                  </a:lnTo>
                  <a:lnTo>
                    <a:pt x="457" y="1443"/>
                  </a:lnTo>
                  <a:lnTo>
                    <a:pt x="460" y="1441"/>
                  </a:lnTo>
                  <a:lnTo>
                    <a:pt x="463" y="1441"/>
                  </a:lnTo>
                  <a:lnTo>
                    <a:pt x="465" y="1440"/>
                  </a:lnTo>
                  <a:lnTo>
                    <a:pt x="468" y="1437"/>
                  </a:lnTo>
                  <a:lnTo>
                    <a:pt x="468" y="1435"/>
                  </a:lnTo>
                  <a:lnTo>
                    <a:pt x="471" y="1433"/>
                  </a:lnTo>
                  <a:lnTo>
                    <a:pt x="472" y="1431"/>
                  </a:lnTo>
                  <a:lnTo>
                    <a:pt x="474" y="1425"/>
                  </a:lnTo>
                  <a:lnTo>
                    <a:pt x="472" y="1422"/>
                  </a:lnTo>
                  <a:lnTo>
                    <a:pt x="463" y="1420"/>
                  </a:lnTo>
                  <a:lnTo>
                    <a:pt x="460" y="1422"/>
                  </a:lnTo>
                  <a:lnTo>
                    <a:pt x="448" y="1420"/>
                  </a:lnTo>
                  <a:lnTo>
                    <a:pt x="444" y="1420"/>
                  </a:lnTo>
                  <a:lnTo>
                    <a:pt x="442" y="1424"/>
                  </a:lnTo>
                  <a:lnTo>
                    <a:pt x="442" y="1426"/>
                  </a:lnTo>
                  <a:lnTo>
                    <a:pt x="444" y="1428"/>
                  </a:lnTo>
                  <a:lnTo>
                    <a:pt x="442" y="1427"/>
                  </a:lnTo>
                  <a:lnTo>
                    <a:pt x="441" y="1428"/>
                  </a:lnTo>
                  <a:lnTo>
                    <a:pt x="442" y="1429"/>
                  </a:lnTo>
                  <a:lnTo>
                    <a:pt x="441" y="1431"/>
                  </a:lnTo>
                  <a:lnTo>
                    <a:pt x="442" y="1434"/>
                  </a:lnTo>
                  <a:lnTo>
                    <a:pt x="444" y="1433"/>
                  </a:lnTo>
                  <a:lnTo>
                    <a:pt x="446" y="1433"/>
                  </a:lnTo>
                  <a:lnTo>
                    <a:pt x="444" y="1435"/>
                  </a:lnTo>
                  <a:lnTo>
                    <a:pt x="441" y="1435"/>
                  </a:lnTo>
                  <a:lnTo>
                    <a:pt x="441" y="1439"/>
                  </a:lnTo>
                  <a:lnTo>
                    <a:pt x="442" y="1440"/>
                  </a:lnTo>
                  <a:lnTo>
                    <a:pt x="444" y="14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26" name="Freeform 226">
              <a:extLst>
                <a:ext uri="{FF2B5EF4-FFF2-40B4-BE49-F238E27FC236}">
                  <a16:creationId xmlns:a16="http://schemas.microsoft.com/office/drawing/2014/main" id="{8EC33DB8-5E0D-45EA-9C8D-8B5AD18EBD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57650" y="4014788"/>
              <a:ext cx="704850" cy="419100"/>
            </a:xfrm>
            <a:custGeom>
              <a:avLst/>
              <a:gdLst>
                <a:gd name="T0" fmla="*/ 79 w 444"/>
                <a:gd name="T1" fmla="*/ 28 h 264"/>
                <a:gd name="T2" fmla="*/ 80 w 444"/>
                <a:gd name="T3" fmla="*/ 28 h 264"/>
                <a:gd name="T4" fmla="*/ 83 w 444"/>
                <a:gd name="T5" fmla="*/ 26 h 264"/>
                <a:gd name="T6" fmla="*/ 76 w 444"/>
                <a:gd name="T7" fmla="*/ 22 h 264"/>
                <a:gd name="T8" fmla="*/ 68 w 444"/>
                <a:gd name="T9" fmla="*/ 21 h 264"/>
                <a:gd name="T10" fmla="*/ 63 w 444"/>
                <a:gd name="T11" fmla="*/ 20 h 264"/>
                <a:gd name="T12" fmla="*/ 56 w 444"/>
                <a:gd name="T13" fmla="*/ 24 h 264"/>
                <a:gd name="T14" fmla="*/ 58 w 444"/>
                <a:gd name="T15" fmla="*/ 25 h 264"/>
                <a:gd name="T16" fmla="*/ 64 w 444"/>
                <a:gd name="T17" fmla="*/ 29 h 264"/>
                <a:gd name="T18" fmla="*/ 69 w 444"/>
                <a:gd name="T19" fmla="*/ 30 h 264"/>
                <a:gd name="T20" fmla="*/ 76 w 444"/>
                <a:gd name="T21" fmla="*/ 28 h 264"/>
                <a:gd name="T22" fmla="*/ 170 w 444"/>
                <a:gd name="T23" fmla="*/ 21 h 264"/>
                <a:gd name="T24" fmla="*/ 177 w 444"/>
                <a:gd name="T25" fmla="*/ 22 h 264"/>
                <a:gd name="T26" fmla="*/ 184 w 444"/>
                <a:gd name="T27" fmla="*/ 22 h 264"/>
                <a:gd name="T28" fmla="*/ 190 w 444"/>
                <a:gd name="T29" fmla="*/ 22 h 264"/>
                <a:gd name="T30" fmla="*/ 188 w 444"/>
                <a:gd name="T31" fmla="*/ 16 h 264"/>
                <a:gd name="T32" fmla="*/ 180 w 444"/>
                <a:gd name="T33" fmla="*/ 13 h 264"/>
                <a:gd name="T34" fmla="*/ 176 w 444"/>
                <a:gd name="T35" fmla="*/ 10 h 264"/>
                <a:gd name="T36" fmla="*/ 179 w 444"/>
                <a:gd name="T37" fmla="*/ 9 h 264"/>
                <a:gd name="T38" fmla="*/ 171 w 444"/>
                <a:gd name="T39" fmla="*/ 7 h 264"/>
                <a:gd name="T40" fmla="*/ 166 w 444"/>
                <a:gd name="T41" fmla="*/ 4 h 264"/>
                <a:gd name="T42" fmla="*/ 158 w 444"/>
                <a:gd name="T43" fmla="*/ 1 h 264"/>
                <a:gd name="T44" fmla="*/ 150 w 444"/>
                <a:gd name="T45" fmla="*/ 1 h 264"/>
                <a:gd name="T46" fmla="*/ 145 w 444"/>
                <a:gd name="T47" fmla="*/ 3 h 264"/>
                <a:gd name="T48" fmla="*/ 140 w 444"/>
                <a:gd name="T49" fmla="*/ 2 h 264"/>
                <a:gd name="T50" fmla="*/ 132 w 444"/>
                <a:gd name="T51" fmla="*/ 0 h 264"/>
                <a:gd name="T52" fmla="*/ 124 w 444"/>
                <a:gd name="T53" fmla="*/ 2 h 264"/>
                <a:gd name="T54" fmla="*/ 131 w 444"/>
                <a:gd name="T55" fmla="*/ 5 h 264"/>
                <a:gd name="T56" fmla="*/ 132 w 444"/>
                <a:gd name="T57" fmla="*/ 11 h 264"/>
                <a:gd name="T58" fmla="*/ 136 w 444"/>
                <a:gd name="T59" fmla="*/ 17 h 264"/>
                <a:gd name="T60" fmla="*/ 133 w 444"/>
                <a:gd name="T61" fmla="*/ 21 h 264"/>
                <a:gd name="T62" fmla="*/ 125 w 444"/>
                <a:gd name="T63" fmla="*/ 20 h 264"/>
                <a:gd name="T64" fmla="*/ 117 w 444"/>
                <a:gd name="T65" fmla="*/ 19 h 264"/>
                <a:gd name="T66" fmla="*/ 109 w 444"/>
                <a:gd name="T67" fmla="*/ 20 h 264"/>
                <a:gd name="T68" fmla="*/ 115 w 444"/>
                <a:gd name="T69" fmla="*/ 25 h 264"/>
                <a:gd name="T70" fmla="*/ 120 w 444"/>
                <a:gd name="T71" fmla="*/ 25 h 264"/>
                <a:gd name="T72" fmla="*/ 127 w 444"/>
                <a:gd name="T73" fmla="*/ 25 h 264"/>
                <a:gd name="T74" fmla="*/ 135 w 444"/>
                <a:gd name="T75" fmla="*/ 25 h 264"/>
                <a:gd name="T76" fmla="*/ 143 w 444"/>
                <a:gd name="T77" fmla="*/ 25 h 264"/>
                <a:gd name="T78" fmla="*/ 149 w 444"/>
                <a:gd name="T79" fmla="*/ 32 h 264"/>
                <a:gd name="T80" fmla="*/ 153 w 444"/>
                <a:gd name="T81" fmla="*/ 29 h 264"/>
                <a:gd name="T82" fmla="*/ 157 w 444"/>
                <a:gd name="T83" fmla="*/ 24 h 264"/>
                <a:gd name="T84" fmla="*/ 162 w 444"/>
                <a:gd name="T85" fmla="*/ 24 h 264"/>
                <a:gd name="T86" fmla="*/ 170 w 444"/>
                <a:gd name="T87" fmla="*/ 21 h 264"/>
                <a:gd name="T88" fmla="*/ 0 w 444"/>
                <a:gd name="T89" fmla="*/ 164 h 264"/>
                <a:gd name="T90" fmla="*/ 0 w 444"/>
                <a:gd name="T91" fmla="*/ 163 h 264"/>
                <a:gd name="T92" fmla="*/ 444 w 444"/>
                <a:gd name="T93" fmla="*/ 263 h 264"/>
                <a:gd name="T94" fmla="*/ 444 w 444"/>
                <a:gd name="T95" fmla="*/ 263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44" h="264">
                  <a:moveTo>
                    <a:pt x="76" y="28"/>
                  </a:moveTo>
                  <a:lnTo>
                    <a:pt x="77" y="28"/>
                  </a:lnTo>
                  <a:lnTo>
                    <a:pt x="79" y="28"/>
                  </a:lnTo>
                  <a:lnTo>
                    <a:pt x="77" y="28"/>
                  </a:lnTo>
                  <a:lnTo>
                    <a:pt x="79" y="28"/>
                  </a:lnTo>
                  <a:lnTo>
                    <a:pt x="80" y="28"/>
                  </a:lnTo>
                  <a:lnTo>
                    <a:pt x="82" y="29"/>
                  </a:lnTo>
                  <a:lnTo>
                    <a:pt x="84" y="27"/>
                  </a:lnTo>
                  <a:lnTo>
                    <a:pt x="83" y="26"/>
                  </a:lnTo>
                  <a:lnTo>
                    <a:pt x="81" y="25"/>
                  </a:lnTo>
                  <a:lnTo>
                    <a:pt x="79" y="24"/>
                  </a:lnTo>
                  <a:lnTo>
                    <a:pt x="76" y="22"/>
                  </a:lnTo>
                  <a:lnTo>
                    <a:pt x="73" y="21"/>
                  </a:lnTo>
                  <a:lnTo>
                    <a:pt x="71" y="21"/>
                  </a:lnTo>
                  <a:lnTo>
                    <a:pt x="68" y="21"/>
                  </a:lnTo>
                  <a:lnTo>
                    <a:pt x="67" y="20"/>
                  </a:lnTo>
                  <a:lnTo>
                    <a:pt x="64" y="20"/>
                  </a:lnTo>
                  <a:lnTo>
                    <a:pt x="63" y="20"/>
                  </a:lnTo>
                  <a:lnTo>
                    <a:pt x="60" y="21"/>
                  </a:lnTo>
                  <a:lnTo>
                    <a:pt x="58" y="21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5"/>
                  </a:lnTo>
                  <a:lnTo>
                    <a:pt x="58" y="25"/>
                  </a:lnTo>
                  <a:lnTo>
                    <a:pt x="62" y="27"/>
                  </a:lnTo>
                  <a:lnTo>
                    <a:pt x="62" y="27"/>
                  </a:lnTo>
                  <a:lnTo>
                    <a:pt x="64" y="29"/>
                  </a:lnTo>
                  <a:lnTo>
                    <a:pt x="66" y="29"/>
                  </a:lnTo>
                  <a:lnTo>
                    <a:pt x="68" y="29"/>
                  </a:lnTo>
                  <a:lnTo>
                    <a:pt x="69" y="30"/>
                  </a:lnTo>
                  <a:lnTo>
                    <a:pt x="73" y="29"/>
                  </a:lnTo>
                  <a:lnTo>
                    <a:pt x="74" y="29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28"/>
                  </a:lnTo>
                  <a:close/>
                  <a:moveTo>
                    <a:pt x="170" y="21"/>
                  </a:moveTo>
                  <a:lnTo>
                    <a:pt x="171" y="21"/>
                  </a:lnTo>
                  <a:lnTo>
                    <a:pt x="174" y="21"/>
                  </a:lnTo>
                  <a:lnTo>
                    <a:pt x="177" y="22"/>
                  </a:lnTo>
                  <a:lnTo>
                    <a:pt x="179" y="21"/>
                  </a:lnTo>
                  <a:lnTo>
                    <a:pt x="182" y="21"/>
                  </a:lnTo>
                  <a:lnTo>
                    <a:pt x="184" y="22"/>
                  </a:lnTo>
                  <a:lnTo>
                    <a:pt x="186" y="24"/>
                  </a:lnTo>
                  <a:lnTo>
                    <a:pt x="190" y="22"/>
                  </a:lnTo>
                  <a:lnTo>
                    <a:pt x="190" y="22"/>
                  </a:lnTo>
                  <a:lnTo>
                    <a:pt x="192" y="20"/>
                  </a:lnTo>
                  <a:lnTo>
                    <a:pt x="192" y="18"/>
                  </a:lnTo>
                  <a:lnTo>
                    <a:pt x="188" y="16"/>
                  </a:lnTo>
                  <a:lnTo>
                    <a:pt x="186" y="13"/>
                  </a:lnTo>
                  <a:lnTo>
                    <a:pt x="184" y="13"/>
                  </a:lnTo>
                  <a:lnTo>
                    <a:pt x="180" y="13"/>
                  </a:lnTo>
                  <a:lnTo>
                    <a:pt x="178" y="12"/>
                  </a:lnTo>
                  <a:lnTo>
                    <a:pt x="175" y="10"/>
                  </a:lnTo>
                  <a:lnTo>
                    <a:pt x="176" y="10"/>
                  </a:lnTo>
                  <a:lnTo>
                    <a:pt x="179" y="10"/>
                  </a:lnTo>
                  <a:lnTo>
                    <a:pt x="182" y="9"/>
                  </a:lnTo>
                  <a:lnTo>
                    <a:pt x="179" y="9"/>
                  </a:lnTo>
                  <a:lnTo>
                    <a:pt x="176" y="9"/>
                  </a:lnTo>
                  <a:lnTo>
                    <a:pt x="174" y="9"/>
                  </a:lnTo>
                  <a:lnTo>
                    <a:pt x="171" y="7"/>
                  </a:lnTo>
                  <a:lnTo>
                    <a:pt x="170" y="4"/>
                  </a:lnTo>
                  <a:lnTo>
                    <a:pt x="169" y="4"/>
                  </a:lnTo>
                  <a:lnTo>
                    <a:pt x="166" y="4"/>
                  </a:lnTo>
                  <a:lnTo>
                    <a:pt x="163" y="2"/>
                  </a:lnTo>
                  <a:lnTo>
                    <a:pt x="160" y="2"/>
                  </a:lnTo>
                  <a:lnTo>
                    <a:pt x="158" y="1"/>
                  </a:lnTo>
                  <a:lnTo>
                    <a:pt x="156" y="1"/>
                  </a:lnTo>
                  <a:lnTo>
                    <a:pt x="152" y="1"/>
                  </a:lnTo>
                  <a:lnTo>
                    <a:pt x="150" y="1"/>
                  </a:lnTo>
                  <a:lnTo>
                    <a:pt x="148" y="1"/>
                  </a:lnTo>
                  <a:lnTo>
                    <a:pt x="147" y="3"/>
                  </a:lnTo>
                  <a:lnTo>
                    <a:pt x="145" y="3"/>
                  </a:lnTo>
                  <a:lnTo>
                    <a:pt x="143" y="3"/>
                  </a:lnTo>
                  <a:lnTo>
                    <a:pt x="142" y="3"/>
                  </a:lnTo>
                  <a:lnTo>
                    <a:pt x="140" y="2"/>
                  </a:lnTo>
                  <a:lnTo>
                    <a:pt x="136" y="2"/>
                  </a:lnTo>
                  <a:lnTo>
                    <a:pt x="134" y="1"/>
                  </a:lnTo>
                  <a:lnTo>
                    <a:pt x="132" y="0"/>
                  </a:lnTo>
                  <a:lnTo>
                    <a:pt x="130" y="1"/>
                  </a:lnTo>
                  <a:lnTo>
                    <a:pt x="127" y="0"/>
                  </a:lnTo>
                  <a:lnTo>
                    <a:pt x="124" y="2"/>
                  </a:lnTo>
                  <a:lnTo>
                    <a:pt x="125" y="4"/>
                  </a:lnTo>
                  <a:lnTo>
                    <a:pt x="127" y="4"/>
                  </a:lnTo>
                  <a:lnTo>
                    <a:pt x="131" y="5"/>
                  </a:lnTo>
                  <a:lnTo>
                    <a:pt x="133" y="7"/>
                  </a:lnTo>
                  <a:lnTo>
                    <a:pt x="132" y="10"/>
                  </a:lnTo>
                  <a:lnTo>
                    <a:pt x="132" y="11"/>
                  </a:lnTo>
                  <a:lnTo>
                    <a:pt x="133" y="12"/>
                  </a:lnTo>
                  <a:lnTo>
                    <a:pt x="134" y="15"/>
                  </a:lnTo>
                  <a:lnTo>
                    <a:pt x="136" y="17"/>
                  </a:lnTo>
                  <a:lnTo>
                    <a:pt x="137" y="20"/>
                  </a:lnTo>
                  <a:lnTo>
                    <a:pt x="135" y="20"/>
                  </a:lnTo>
                  <a:lnTo>
                    <a:pt x="133" y="21"/>
                  </a:lnTo>
                  <a:lnTo>
                    <a:pt x="131" y="21"/>
                  </a:lnTo>
                  <a:lnTo>
                    <a:pt x="127" y="21"/>
                  </a:lnTo>
                  <a:lnTo>
                    <a:pt x="125" y="20"/>
                  </a:lnTo>
                  <a:lnTo>
                    <a:pt x="123" y="20"/>
                  </a:lnTo>
                  <a:lnTo>
                    <a:pt x="119" y="19"/>
                  </a:lnTo>
                  <a:lnTo>
                    <a:pt x="117" y="19"/>
                  </a:lnTo>
                  <a:lnTo>
                    <a:pt x="114" y="18"/>
                  </a:lnTo>
                  <a:lnTo>
                    <a:pt x="113" y="18"/>
                  </a:lnTo>
                  <a:lnTo>
                    <a:pt x="109" y="20"/>
                  </a:lnTo>
                  <a:lnTo>
                    <a:pt x="109" y="22"/>
                  </a:lnTo>
                  <a:lnTo>
                    <a:pt x="111" y="24"/>
                  </a:lnTo>
                  <a:lnTo>
                    <a:pt x="115" y="25"/>
                  </a:lnTo>
                  <a:lnTo>
                    <a:pt x="117" y="27"/>
                  </a:lnTo>
                  <a:lnTo>
                    <a:pt x="118" y="26"/>
                  </a:lnTo>
                  <a:lnTo>
                    <a:pt x="120" y="25"/>
                  </a:lnTo>
                  <a:lnTo>
                    <a:pt x="123" y="24"/>
                  </a:lnTo>
                  <a:lnTo>
                    <a:pt x="124" y="25"/>
                  </a:lnTo>
                  <a:lnTo>
                    <a:pt x="127" y="25"/>
                  </a:lnTo>
                  <a:lnTo>
                    <a:pt x="130" y="25"/>
                  </a:lnTo>
                  <a:lnTo>
                    <a:pt x="132" y="25"/>
                  </a:lnTo>
                  <a:lnTo>
                    <a:pt x="135" y="25"/>
                  </a:lnTo>
                  <a:lnTo>
                    <a:pt x="137" y="25"/>
                  </a:lnTo>
                  <a:lnTo>
                    <a:pt x="141" y="25"/>
                  </a:lnTo>
                  <a:lnTo>
                    <a:pt x="143" y="25"/>
                  </a:lnTo>
                  <a:lnTo>
                    <a:pt x="145" y="27"/>
                  </a:lnTo>
                  <a:lnTo>
                    <a:pt x="148" y="28"/>
                  </a:lnTo>
                  <a:lnTo>
                    <a:pt x="149" y="32"/>
                  </a:lnTo>
                  <a:lnTo>
                    <a:pt x="151" y="32"/>
                  </a:lnTo>
                  <a:lnTo>
                    <a:pt x="152" y="32"/>
                  </a:lnTo>
                  <a:lnTo>
                    <a:pt x="153" y="29"/>
                  </a:lnTo>
                  <a:lnTo>
                    <a:pt x="156" y="26"/>
                  </a:lnTo>
                  <a:lnTo>
                    <a:pt x="156" y="24"/>
                  </a:lnTo>
                  <a:lnTo>
                    <a:pt x="157" y="24"/>
                  </a:lnTo>
                  <a:lnTo>
                    <a:pt x="159" y="22"/>
                  </a:lnTo>
                  <a:lnTo>
                    <a:pt x="162" y="24"/>
                  </a:lnTo>
                  <a:lnTo>
                    <a:pt x="162" y="24"/>
                  </a:lnTo>
                  <a:lnTo>
                    <a:pt x="165" y="25"/>
                  </a:lnTo>
                  <a:lnTo>
                    <a:pt x="168" y="25"/>
                  </a:lnTo>
                  <a:lnTo>
                    <a:pt x="170" y="21"/>
                  </a:lnTo>
                  <a:lnTo>
                    <a:pt x="170" y="21"/>
                  </a:lnTo>
                  <a:close/>
                  <a:moveTo>
                    <a:pt x="0" y="164"/>
                  </a:moveTo>
                  <a:lnTo>
                    <a:pt x="0" y="164"/>
                  </a:lnTo>
                  <a:lnTo>
                    <a:pt x="2" y="163"/>
                  </a:lnTo>
                  <a:lnTo>
                    <a:pt x="0" y="163"/>
                  </a:lnTo>
                  <a:lnTo>
                    <a:pt x="0" y="163"/>
                  </a:lnTo>
                  <a:lnTo>
                    <a:pt x="0" y="164"/>
                  </a:lnTo>
                  <a:lnTo>
                    <a:pt x="0" y="164"/>
                  </a:lnTo>
                  <a:close/>
                  <a:moveTo>
                    <a:pt x="444" y="263"/>
                  </a:moveTo>
                  <a:lnTo>
                    <a:pt x="444" y="264"/>
                  </a:lnTo>
                  <a:lnTo>
                    <a:pt x="444" y="263"/>
                  </a:lnTo>
                  <a:lnTo>
                    <a:pt x="444" y="2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27" name="Freeform 227">
              <a:extLst>
                <a:ext uri="{FF2B5EF4-FFF2-40B4-BE49-F238E27FC236}">
                  <a16:creationId xmlns:a16="http://schemas.microsoft.com/office/drawing/2014/main" id="{CB1B5C73-EE79-4E45-9E32-A4234A6CC03E}"/>
                </a:ext>
              </a:extLst>
            </p:cNvPr>
            <p:cNvSpPr>
              <a:spLocks/>
            </p:cNvSpPr>
            <p:nvPr/>
          </p:nvSpPr>
          <p:spPr bwMode="auto">
            <a:xfrm>
              <a:off x="4003675" y="3940175"/>
              <a:ext cx="234950" cy="76200"/>
            </a:xfrm>
            <a:custGeom>
              <a:avLst/>
              <a:gdLst>
                <a:gd name="T0" fmla="*/ 102 w 148"/>
                <a:gd name="T1" fmla="*/ 48 h 48"/>
                <a:gd name="T2" fmla="*/ 108 w 148"/>
                <a:gd name="T3" fmla="*/ 48 h 48"/>
                <a:gd name="T4" fmla="*/ 117 w 148"/>
                <a:gd name="T5" fmla="*/ 47 h 48"/>
                <a:gd name="T6" fmla="*/ 125 w 148"/>
                <a:gd name="T7" fmla="*/ 47 h 48"/>
                <a:gd name="T8" fmla="*/ 133 w 148"/>
                <a:gd name="T9" fmla="*/ 48 h 48"/>
                <a:gd name="T10" fmla="*/ 134 w 148"/>
                <a:gd name="T11" fmla="*/ 46 h 48"/>
                <a:gd name="T12" fmla="*/ 135 w 148"/>
                <a:gd name="T13" fmla="*/ 48 h 48"/>
                <a:gd name="T14" fmla="*/ 140 w 148"/>
                <a:gd name="T15" fmla="*/ 46 h 48"/>
                <a:gd name="T16" fmla="*/ 148 w 148"/>
                <a:gd name="T17" fmla="*/ 42 h 48"/>
                <a:gd name="T18" fmla="*/ 140 w 148"/>
                <a:gd name="T19" fmla="*/ 39 h 48"/>
                <a:gd name="T20" fmla="*/ 134 w 148"/>
                <a:gd name="T21" fmla="*/ 37 h 48"/>
                <a:gd name="T22" fmla="*/ 127 w 148"/>
                <a:gd name="T23" fmla="*/ 37 h 48"/>
                <a:gd name="T24" fmla="*/ 127 w 148"/>
                <a:gd name="T25" fmla="*/ 33 h 48"/>
                <a:gd name="T26" fmla="*/ 123 w 148"/>
                <a:gd name="T27" fmla="*/ 30 h 48"/>
                <a:gd name="T28" fmla="*/ 117 w 148"/>
                <a:gd name="T29" fmla="*/ 28 h 48"/>
                <a:gd name="T30" fmla="*/ 109 w 148"/>
                <a:gd name="T31" fmla="*/ 25 h 48"/>
                <a:gd name="T32" fmla="*/ 105 w 148"/>
                <a:gd name="T33" fmla="*/ 24 h 48"/>
                <a:gd name="T34" fmla="*/ 103 w 148"/>
                <a:gd name="T35" fmla="*/ 21 h 48"/>
                <a:gd name="T36" fmla="*/ 96 w 148"/>
                <a:gd name="T37" fmla="*/ 19 h 48"/>
                <a:gd name="T38" fmla="*/ 90 w 148"/>
                <a:gd name="T39" fmla="*/ 15 h 48"/>
                <a:gd name="T40" fmla="*/ 82 w 148"/>
                <a:gd name="T41" fmla="*/ 12 h 48"/>
                <a:gd name="T42" fmla="*/ 75 w 148"/>
                <a:gd name="T43" fmla="*/ 11 h 48"/>
                <a:gd name="T44" fmla="*/ 69 w 148"/>
                <a:gd name="T45" fmla="*/ 5 h 48"/>
                <a:gd name="T46" fmla="*/ 64 w 148"/>
                <a:gd name="T47" fmla="*/ 4 h 48"/>
                <a:gd name="T48" fmla="*/ 57 w 148"/>
                <a:gd name="T49" fmla="*/ 2 h 48"/>
                <a:gd name="T50" fmla="*/ 48 w 148"/>
                <a:gd name="T51" fmla="*/ 2 h 48"/>
                <a:gd name="T52" fmla="*/ 41 w 148"/>
                <a:gd name="T53" fmla="*/ 0 h 48"/>
                <a:gd name="T54" fmla="*/ 36 w 148"/>
                <a:gd name="T55" fmla="*/ 0 h 48"/>
                <a:gd name="T56" fmla="*/ 26 w 148"/>
                <a:gd name="T57" fmla="*/ 4 h 48"/>
                <a:gd name="T58" fmla="*/ 21 w 148"/>
                <a:gd name="T59" fmla="*/ 5 h 48"/>
                <a:gd name="T60" fmla="*/ 13 w 148"/>
                <a:gd name="T61" fmla="*/ 8 h 48"/>
                <a:gd name="T62" fmla="*/ 6 w 148"/>
                <a:gd name="T63" fmla="*/ 14 h 48"/>
                <a:gd name="T64" fmla="*/ 3 w 148"/>
                <a:gd name="T65" fmla="*/ 19 h 48"/>
                <a:gd name="T66" fmla="*/ 5 w 148"/>
                <a:gd name="T67" fmla="*/ 19 h 48"/>
                <a:gd name="T68" fmla="*/ 13 w 148"/>
                <a:gd name="T69" fmla="*/ 16 h 48"/>
                <a:gd name="T70" fmla="*/ 19 w 148"/>
                <a:gd name="T71" fmla="*/ 15 h 48"/>
                <a:gd name="T72" fmla="*/ 26 w 148"/>
                <a:gd name="T73" fmla="*/ 9 h 48"/>
                <a:gd name="T74" fmla="*/ 33 w 148"/>
                <a:gd name="T75" fmla="*/ 8 h 48"/>
                <a:gd name="T76" fmla="*/ 39 w 148"/>
                <a:gd name="T77" fmla="*/ 8 h 48"/>
                <a:gd name="T78" fmla="*/ 45 w 148"/>
                <a:gd name="T79" fmla="*/ 9 h 48"/>
                <a:gd name="T80" fmla="*/ 40 w 148"/>
                <a:gd name="T81" fmla="*/ 13 h 48"/>
                <a:gd name="T82" fmla="*/ 48 w 148"/>
                <a:gd name="T83" fmla="*/ 15 h 48"/>
                <a:gd name="T84" fmla="*/ 54 w 148"/>
                <a:gd name="T85" fmla="*/ 17 h 48"/>
                <a:gd name="T86" fmla="*/ 60 w 148"/>
                <a:gd name="T87" fmla="*/ 16 h 48"/>
                <a:gd name="T88" fmla="*/ 63 w 148"/>
                <a:gd name="T89" fmla="*/ 19 h 48"/>
                <a:gd name="T90" fmla="*/ 67 w 148"/>
                <a:gd name="T91" fmla="*/ 22 h 48"/>
                <a:gd name="T92" fmla="*/ 71 w 148"/>
                <a:gd name="T93" fmla="*/ 22 h 48"/>
                <a:gd name="T94" fmla="*/ 76 w 148"/>
                <a:gd name="T95" fmla="*/ 23 h 48"/>
                <a:gd name="T96" fmla="*/ 83 w 148"/>
                <a:gd name="T97" fmla="*/ 23 h 48"/>
                <a:gd name="T98" fmla="*/ 86 w 148"/>
                <a:gd name="T99" fmla="*/ 26 h 48"/>
                <a:gd name="T100" fmla="*/ 91 w 148"/>
                <a:gd name="T101" fmla="*/ 34 h 48"/>
                <a:gd name="T102" fmla="*/ 98 w 148"/>
                <a:gd name="T103" fmla="*/ 37 h 48"/>
                <a:gd name="T104" fmla="*/ 105 w 148"/>
                <a:gd name="T105" fmla="*/ 39 h 48"/>
                <a:gd name="T106" fmla="*/ 106 w 148"/>
                <a:gd name="T107" fmla="*/ 42 h 48"/>
                <a:gd name="T108" fmla="*/ 100 w 148"/>
                <a:gd name="T109" fmla="*/ 46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48" h="48">
                  <a:moveTo>
                    <a:pt x="100" y="46"/>
                  </a:moveTo>
                  <a:lnTo>
                    <a:pt x="100" y="48"/>
                  </a:lnTo>
                  <a:lnTo>
                    <a:pt x="102" y="48"/>
                  </a:lnTo>
                  <a:lnTo>
                    <a:pt x="105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11" y="47"/>
                  </a:lnTo>
                  <a:lnTo>
                    <a:pt x="114" y="47"/>
                  </a:lnTo>
                  <a:lnTo>
                    <a:pt x="117" y="47"/>
                  </a:lnTo>
                  <a:lnTo>
                    <a:pt x="119" y="47"/>
                  </a:lnTo>
                  <a:lnTo>
                    <a:pt x="123" y="47"/>
                  </a:lnTo>
                  <a:lnTo>
                    <a:pt x="125" y="47"/>
                  </a:lnTo>
                  <a:lnTo>
                    <a:pt x="127" y="48"/>
                  </a:lnTo>
                  <a:lnTo>
                    <a:pt x="131" y="48"/>
                  </a:lnTo>
                  <a:lnTo>
                    <a:pt x="133" y="48"/>
                  </a:lnTo>
                  <a:lnTo>
                    <a:pt x="133" y="47"/>
                  </a:lnTo>
                  <a:lnTo>
                    <a:pt x="133" y="46"/>
                  </a:lnTo>
                  <a:lnTo>
                    <a:pt x="134" y="46"/>
                  </a:lnTo>
                  <a:lnTo>
                    <a:pt x="134" y="47"/>
                  </a:lnTo>
                  <a:lnTo>
                    <a:pt x="134" y="48"/>
                  </a:lnTo>
                  <a:lnTo>
                    <a:pt x="135" y="48"/>
                  </a:lnTo>
                  <a:lnTo>
                    <a:pt x="137" y="46"/>
                  </a:lnTo>
                  <a:lnTo>
                    <a:pt x="137" y="46"/>
                  </a:lnTo>
                  <a:lnTo>
                    <a:pt x="140" y="46"/>
                  </a:lnTo>
                  <a:lnTo>
                    <a:pt x="143" y="46"/>
                  </a:lnTo>
                  <a:lnTo>
                    <a:pt x="145" y="46"/>
                  </a:lnTo>
                  <a:lnTo>
                    <a:pt x="148" y="42"/>
                  </a:lnTo>
                  <a:lnTo>
                    <a:pt x="144" y="42"/>
                  </a:lnTo>
                  <a:lnTo>
                    <a:pt x="142" y="41"/>
                  </a:lnTo>
                  <a:lnTo>
                    <a:pt x="140" y="39"/>
                  </a:lnTo>
                  <a:lnTo>
                    <a:pt x="140" y="38"/>
                  </a:lnTo>
                  <a:lnTo>
                    <a:pt x="136" y="37"/>
                  </a:lnTo>
                  <a:lnTo>
                    <a:pt x="134" y="37"/>
                  </a:lnTo>
                  <a:lnTo>
                    <a:pt x="133" y="36"/>
                  </a:lnTo>
                  <a:lnTo>
                    <a:pt x="131" y="36"/>
                  </a:lnTo>
                  <a:lnTo>
                    <a:pt x="127" y="37"/>
                  </a:lnTo>
                  <a:lnTo>
                    <a:pt x="125" y="36"/>
                  </a:lnTo>
                  <a:lnTo>
                    <a:pt x="126" y="33"/>
                  </a:lnTo>
                  <a:lnTo>
                    <a:pt x="127" y="33"/>
                  </a:lnTo>
                  <a:lnTo>
                    <a:pt x="126" y="30"/>
                  </a:lnTo>
                  <a:lnTo>
                    <a:pt x="123" y="30"/>
                  </a:lnTo>
                  <a:lnTo>
                    <a:pt x="123" y="30"/>
                  </a:lnTo>
                  <a:lnTo>
                    <a:pt x="120" y="31"/>
                  </a:lnTo>
                  <a:lnTo>
                    <a:pt x="117" y="29"/>
                  </a:lnTo>
                  <a:lnTo>
                    <a:pt x="117" y="28"/>
                  </a:lnTo>
                  <a:lnTo>
                    <a:pt x="115" y="28"/>
                  </a:lnTo>
                  <a:lnTo>
                    <a:pt x="111" y="26"/>
                  </a:lnTo>
                  <a:lnTo>
                    <a:pt x="109" y="25"/>
                  </a:lnTo>
                  <a:lnTo>
                    <a:pt x="108" y="24"/>
                  </a:lnTo>
                  <a:lnTo>
                    <a:pt x="106" y="25"/>
                  </a:lnTo>
                  <a:lnTo>
                    <a:pt x="105" y="24"/>
                  </a:lnTo>
                  <a:lnTo>
                    <a:pt x="103" y="23"/>
                  </a:lnTo>
                  <a:lnTo>
                    <a:pt x="106" y="24"/>
                  </a:lnTo>
                  <a:lnTo>
                    <a:pt x="103" y="21"/>
                  </a:lnTo>
                  <a:lnTo>
                    <a:pt x="101" y="21"/>
                  </a:lnTo>
                  <a:lnTo>
                    <a:pt x="99" y="21"/>
                  </a:lnTo>
                  <a:lnTo>
                    <a:pt x="96" y="19"/>
                  </a:lnTo>
                  <a:lnTo>
                    <a:pt x="93" y="16"/>
                  </a:lnTo>
                  <a:lnTo>
                    <a:pt x="92" y="16"/>
                  </a:lnTo>
                  <a:lnTo>
                    <a:pt x="90" y="15"/>
                  </a:lnTo>
                  <a:lnTo>
                    <a:pt x="86" y="13"/>
                  </a:lnTo>
                  <a:lnTo>
                    <a:pt x="84" y="13"/>
                  </a:lnTo>
                  <a:lnTo>
                    <a:pt x="82" y="12"/>
                  </a:lnTo>
                  <a:lnTo>
                    <a:pt x="81" y="12"/>
                  </a:lnTo>
                  <a:lnTo>
                    <a:pt x="79" y="12"/>
                  </a:lnTo>
                  <a:lnTo>
                    <a:pt x="75" y="11"/>
                  </a:lnTo>
                  <a:lnTo>
                    <a:pt x="74" y="11"/>
                  </a:lnTo>
                  <a:lnTo>
                    <a:pt x="72" y="7"/>
                  </a:lnTo>
                  <a:lnTo>
                    <a:pt x="69" y="5"/>
                  </a:lnTo>
                  <a:lnTo>
                    <a:pt x="67" y="4"/>
                  </a:lnTo>
                  <a:lnTo>
                    <a:pt x="67" y="4"/>
                  </a:lnTo>
                  <a:lnTo>
                    <a:pt x="64" y="4"/>
                  </a:lnTo>
                  <a:lnTo>
                    <a:pt x="62" y="4"/>
                  </a:lnTo>
                  <a:lnTo>
                    <a:pt x="59" y="3"/>
                  </a:lnTo>
                  <a:lnTo>
                    <a:pt x="57" y="2"/>
                  </a:lnTo>
                  <a:lnTo>
                    <a:pt x="54" y="3"/>
                  </a:lnTo>
                  <a:lnTo>
                    <a:pt x="51" y="0"/>
                  </a:lnTo>
                  <a:lnTo>
                    <a:pt x="48" y="2"/>
                  </a:lnTo>
                  <a:lnTo>
                    <a:pt x="47" y="2"/>
                  </a:lnTo>
                  <a:lnTo>
                    <a:pt x="45" y="0"/>
                  </a:lnTo>
                  <a:lnTo>
                    <a:pt x="41" y="0"/>
                  </a:lnTo>
                  <a:lnTo>
                    <a:pt x="39" y="0"/>
                  </a:lnTo>
                  <a:lnTo>
                    <a:pt x="38" y="0"/>
                  </a:lnTo>
                  <a:lnTo>
                    <a:pt x="36" y="0"/>
                  </a:lnTo>
                  <a:lnTo>
                    <a:pt x="32" y="3"/>
                  </a:lnTo>
                  <a:lnTo>
                    <a:pt x="30" y="3"/>
                  </a:lnTo>
                  <a:lnTo>
                    <a:pt x="26" y="4"/>
                  </a:lnTo>
                  <a:lnTo>
                    <a:pt x="25" y="3"/>
                  </a:lnTo>
                  <a:lnTo>
                    <a:pt x="23" y="4"/>
                  </a:lnTo>
                  <a:lnTo>
                    <a:pt x="21" y="5"/>
                  </a:lnTo>
                  <a:lnTo>
                    <a:pt x="17" y="6"/>
                  </a:lnTo>
                  <a:lnTo>
                    <a:pt x="15" y="6"/>
                  </a:lnTo>
                  <a:lnTo>
                    <a:pt x="13" y="8"/>
                  </a:lnTo>
                  <a:lnTo>
                    <a:pt x="9" y="9"/>
                  </a:lnTo>
                  <a:lnTo>
                    <a:pt x="7" y="12"/>
                  </a:lnTo>
                  <a:lnTo>
                    <a:pt x="6" y="14"/>
                  </a:lnTo>
                  <a:lnTo>
                    <a:pt x="8" y="17"/>
                  </a:lnTo>
                  <a:lnTo>
                    <a:pt x="5" y="17"/>
                  </a:lnTo>
                  <a:lnTo>
                    <a:pt x="3" y="19"/>
                  </a:lnTo>
                  <a:lnTo>
                    <a:pt x="0" y="20"/>
                  </a:lnTo>
                  <a:lnTo>
                    <a:pt x="2" y="20"/>
                  </a:lnTo>
                  <a:lnTo>
                    <a:pt x="5" y="19"/>
                  </a:lnTo>
                  <a:lnTo>
                    <a:pt x="7" y="20"/>
                  </a:lnTo>
                  <a:lnTo>
                    <a:pt x="9" y="19"/>
                  </a:lnTo>
                  <a:lnTo>
                    <a:pt x="13" y="16"/>
                  </a:lnTo>
                  <a:lnTo>
                    <a:pt x="15" y="15"/>
                  </a:lnTo>
                  <a:lnTo>
                    <a:pt x="16" y="15"/>
                  </a:lnTo>
                  <a:lnTo>
                    <a:pt x="19" y="15"/>
                  </a:lnTo>
                  <a:lnTo>
                    <a:pt x="22" y="14"/>
                  </a:lnTo>
                  <a:lnTo>
                    <a:pt x="24" y="13"/>
                  </a:lnTo>
                  <a:lnTo>
                    <a:pt x="26" y="9"/>
                  </a:lnTo>
                  <a:lnTo>
                    <a:pt x="29" y="8"/>
                  </a:lnTo>
                  <a:lnTo>
                    <a:pt x="30" y="7"/>
                  </a:lnTo>
                  <a:lnTo>
                    <a:pt x="33" y="8"/>
                  </a:lnTo>
                  <a:lnTo>
                    <a:pt x="36" y="8"/>
                  </a:lnTo>
                  <a:lnTo>
                    <a:pt x="39" y="8"/>
                  </a:lnTo>
                  <a:lnTo>
                    <a:pt x="39" y="8"/>
                  </a:lnTo>
                  <a:lnTo>
                    <a:pt x="42" y="8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3" y="11"/>
                  </a:lnTo>
                  <a:lnTo>
                    <a:pt x="42" y="12"/>
                  </a:lnTo>
                  <a:lnTo>
                    <a:pt x="40" y="13"/>
                  </a:lnTo>
                  <a:lnTo>
                    <a:pt x="42" y="15"/>
                  </a:lnTo>
                  <a:lnTo>
                    <a:pt x="46" y="15"/>
                  </a:lnTo>
                  <a:lnTo>
                    <a:pt x="48" y="15"/>
                  </a:lnTo>
                  <a:lnTo>
                    <a:pt x="50" y="17"/>
                  </a:lnTo>
                  <a:lnTo>
                    <a:pt x="51" y="14"/>
                  </a:lnTo>
                  <a:lnTo>
                    <a:pt x="54" y="17"/>
                  </a:lnTo>
                  <a:lnTo>
                    <a:pt x="59" y="17"/>
                  </a:lnTo>
                  <a:lnTo>
                    <a:pt x="59" y="16"/>
                  </a:lnTo>
                  <a:lnTo>
                    <a:pt x="60" y="16"/>
                  </a:lnTo>
                  <a:lnTo>
                    <a:pt x="60" y="15"/>
                  </a:lnTo>
                  <a:lnTo>
                    <a:pt x="62" y="17"/>
                  </a:lnTo>
                  <a:lnTo>
                    <a:pt x="63" y="19"/>
                  </a:lnTo>
                  <a:lnTo>
                    <a:pt x="66" y="20"/>
                  </a:lnTo>
                  <a:lnTo>
                    <a:pt x="66" y="21"/>
                  </a:lnTo>
                  <a:lnTo>
                    <a:pt x="67" y="22"/>
                  </a:lnTo>
                  <a:lnTo>
                    <a:pt x="67" y="21"/>
                  </a:lnTo>
                  <a:lnTo>
                    <a:pt x="67" y="22"/>
                  </a:lnTo>
                  <a:lnTo>
                    <a:pt x="71" y="22"/>
                  </a:lnTo>
                  <a:lnTo>
                    <a:pt x="73" y="23"/>
                  </a:lnTo>
                  <a:lnTo>
                    <a:pt x="74" y="23"/>
                  </a:lnTo>
                  <a:lnTo>
                    <a:pt x="76" y="23"/>
                  </a:lnTo>
                  <a:lnTo>
                    <a:pt x="79" y="24"/>
                  </a:lnTo>
                  <a:lnTo>
                    <a:pt x="81" y="23"/>
                  </a:lnTo>
                  <a:lnTo>
                    <a:pt x="83" y="23"/>
                  </a:lnTo>
                  <a:lnTo>
                    <a:pt x="85" y="23"/>
                  </a:lnTo>
                  <a:lnTo>
                    <a:pt x="85" y="24"/>
                  </a:lnTo>
                  <a:lnTo>
                    <a:pt x="86" y="26"/>
                  </a:lnTo>
                  <a:lnTo>
                    <a:pt x="88" y="30"/>
                  </a:lnTo>
                  <a:lnTo>
                    <a:pt x="89" y="32"/>
                  </a:lnTo>
                  <a:lnTo>
                    <a:pt x="91" y="34"/>
                  </a:lnTo>
                  <a:lnTo>
                    <a:pt x="94" y="37"/>
                  </a:lnTo>
                  <a:lnTo>
                    <a:pt x="97" y="36"/>
                  </a:lnTo>
                  <a:lnTo>
                    <a:pt x="98" y="37"/>
                  </a:lnTo>
                  <a:lnTo>
                    <a:pt x="101" y="37"/>
                  </a:lnTo>
                  <a:lnTo>
                    <a:pt x="103" y="36"/>
                  </a:lnTo>
                  <a:lnTo>
                    <a:pt x="105" y="39"/>
                  </a:lnTo>
                  <a:lnTo>
                    <a:pt x="107" y="39"/>
                  </a:lnTo>
                  <a:lnTo>
                    <a:pt x="107" y="41"/>
                  </a:lnTo>
                  <a:lnTo>
                    <a:pt x="106" y="42"/>
                  </a:lnTo>
                  <a:lnTo>
                    <a:pt x="103" y="43"/>
                  </a:lnTo>
                  <a:lnTo>
                    <a:pt x="102" y="43"/>
                  </a:lnTo>
                  <a:lnTo>
                    <a:pt x="100" y="46"/>
                  </a:lnTo>
                  <a:lnTo>
                    <a:pt x="100" y="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28" name="Freeform 228">
              <a:extLst>
                <a:ext uri="{FF2B5EF4-FFF2-40B4-BE49-F238E27FC236}">
                  <a16:creationId xmlns:a16="http://schemas.microsoft.com/office/drawing/2014/main" id="{AB921212-7CDB-49F9-9442-71A485A5F6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36913" y="3219450"/>
              <a:ext cx="1468437" cy="684213"/>
            </a:xfrm>
            <a:custGeom>
              <a:avLst/>
              <a:gdLst>
                <a:gd name="T0" fmla="*/ 913 w 925"/>
                <a:gd name="T1" fmla="*/ 80 h 431"/>
                <a:gd name="T2" fmla="*/ 918 w 925"/>
                <a:gd name="T3" fmla="*/ 87 h 431"/>
                <a:gd name="T4" fmla="*/ 923 w 925"/>
                <a:gd name="T5" fmla="*/ 77 h 431"/>
                <a:gd name="T6" fmla="*/ 918 w 925"/>
                <a:gd name="T7" fmla="*/ 74 h 431"/>
                <a:gd name="T8" fmla="*/ 921 w 925"/>
                <a:gd name="T9" fmla="*/ 63 h 431"/>
                <a:gd name="T10" fmla="*/ 910 w 925"/>
                <a:gd name="T11" fmla="*/ 73 h 431"/>
                <a:gd name="T12" fmla="*/ 910 w 925"/>
                <a:gd name="T13" fmla="*/ 65 h 431"/>
                <a:gd name="T14" fmla="*/ 915 w 925"/>
                <a:gd name="T15" fmla="*/ 59 h 431"/>
                <a:gd name="T16" fmla="*/ 914 w 925"/>
                <a:gd name="T17" fmla="*/ 55 h 431"/>
                <a:gd name="T18" fmla="*/ 905 w 925"/>
                <a:gd name="T19" fmla="*/ 58 h 431"/>
                <a:gd name="T20" fmla="*/ 907 w 925"/>
                <a:gd name="T21" fmla="*/ 54 h 431"/>
                <a:gd name="T22" fmla="*/ 909 w 925"/>
                <a:gd name="T23" fmla="*/ 47 h 431"/>
                <a:gd name="T24" fmla="*/ 906 w 925"/>
                <a:gd name="T25" fmla="*/ 40 h 431"/>
                <a:gd name="T26" fmla="*/ 900 w 925"/>
                <a:gd name="T27" fmla="*/ 38 h 431"/>
                <a:gd name="T28" fmla="*/ 890 w 925"/>
                <a:gd name="T29" fmla="*/ 46 h 431"/>
                <a:gd name="T30" fmla="*/ 888 w 925"/>
                <a:gd name="T31" fmla="*/ 41 h 431"/>
                <a:gd name="T32" fmla="*/ 880 w 925"/>
                <a:gd name="T33" fmla="*/ 39 h 431"/>
                <a:gd name="T34" fmla="*/ 881 w 925"/>
                <a:gd name="T35" fmla="*/ 33 h 431"/>
                <a:gd name="T36" fmla="*/ 881 w 925"/>
                <a:gd name="T37" fmla="*/ 30 h 431"/>
                <a:gd name="T38" fmla="*/ 871 w 925"/>
                <a:gd name="T39" fmla="*/ 32 h 431"/>
                <a:gd name="T40" fmla="*/ 869 w 925"/>
                <a:gd name="T41" fmla="*/ 30 h 431"/>
                <a:gd name="T42" fmla="*/ 876 w 925"/>
                <a:gd name="T43" fmla="*/ 18 h 431"/>
                <a:gd name="T44" fmla="*/ 879 w 925"/>
                <a:gd name="T45" fmla="*/ 7 h 431"/>
                <a:gd name="T46" fmla="*/ 887 w 925"/>
                <a:gd name="T47" fmla="*/ 1 h 431"/>
                <a:gd name="T48" fmla="*/ 873 w 925"/>
                <a:gd name="T49" fmla="*/ 4 h 431"/>
                <a:gd name="T50" fmla="*/ 863 w 925"/>
                <a:gd name="T51" fmla="*/ 16 h 431"/>
                <a:gd name="T52" fmla="*/ 855 w 925"/>
                <a:gd name="T53" fmla="*/ 30 h 431"/>
                <a:gd name="T54" fmla="*/ 852 w 925"/>
                <a:gd name="T55" fmla="*/ 38 h 431"/>
                <a:gd name="T56" fmla="*/ 850 w 925"/>
                <a:gd name="T57" fmla="*/ 47 h 431"/>
                <a:gd name="T58" fmla="*/ 844 w 925"/>
                <a:gd name="T59" fmla="*/ 49 h 431"/>
                <a:gd name="T60" fmla="*/ 837 w 925"/>
                <a:gd name="T61" fmla="*/ 54 h 431"/>
                <a:gd name="T62" fmla="*/ 842 w 925"/>
                <a:gd name="T63" fmla="*/ 56 h 431"/>
                <a:gd name="T64" fmla="*/ 838 w 925"/>
                <a:gd name="T65" fmla="*/ 63 h 431"/>
                <a:gd name="T66" fmla="*/ 837 w 925"/>
                <a:gd name="T67" fmla="*/ 73 h 431"/>
                <a:gd name="T68" fmla="*/ 849 w 925"/>
                <a:gd name="T69" fmla="*/ 71 h 431"/>
                <a:gd name="T70" fmla="*/ 862 w 925"/>
                <a:gd name="T71" fmla="*/ 72 h 431"/>
                <a:gd name="T72" fmla="*/ 873 w 925"/>
                <a:gd name="T73" fmla="*/ 72 h 431"/>
                <a:gd name="T74" fmla="*/ 881 w 925"/>
                <a:gd name="T75" fmla="*/ 69 h 431"/>
                <a:gd name="T76" fmla="*/ 887 w 925"/>
                <a:gd name="T77" fmla="*/ 74 h 431"/>
                <a:gd name="T78" fmla="*/ 896 w 925"/>
                <a:gd name="T79" fmla="*/ 72 h 431"/>
                <a:gd name="T80" fmla="*/ 883 w 925"/>
                <a:gd name="T81" fmla="*/ 81 h 431"/>
                <a:gd name="T82" fmla="*/ 888 w 925"/>
                <a:gd name="T83" fmla="*/ 84 h 431"/>
                <a:gd name="T84" fmla="*/ 898 w 925"/>
                <a:gd name="T85" fmla="*/ 75 h 431"/>
                <a:gd name="T86" fmla="*/ 904 w 925"/>
                <a:gd name="T87" fmla="*/ 67 h 431"/>
                <a:gd name="T88" fmla="*/ 905 w 925"/>
                <a:gd name="T89" fmla="*/ 80 h 431"/>
                <a:gd name="T90" fmla="*/ 827 w 925"/>
                <a:gd name="T91" fmla="*/ 98 h 431"/>
                <a:gd name="T92" fmla="*/ 813 w 925"/>
                <a:gd name="T93" fmla="*/ 107 h 431"/>
                <a:gd name="T94" fmla="*/ 804 w 925"/>
                <a:gd name="T95" fmla="*/ 102 h 431"/>
                <a:gd name="T96" fmla="*/ 810 w 925"/>
                <a:gd name="T97" fmla="*/ 89 h 431"/>
                <a:gd name="T98" fmla="*/ 819 w 925"/>
                <a:gd name="T99" fmla="*/ 87 h 431"/>
                <a:gd name="T100" fmla="*/ 815 w 925"/>
                <a:gd name="T101" fmla="*/ 98 h 431"/>
                <a:gd name="T102" fmla="*/ 808 w 925"/>
                <a:gd name="T103" fmla="*/ 104 h 431"/>
                <a:gd name="T104" fmla="*/ 816 w 925"/>
                <a:gd name="T105" fmla="*/ 101 h 431"/>
                <a:gd name="T106" fmla="*/ 816 w 925"/>
                <a:gd name="T107" fmla="*/ 97 h 431"/>
                <a:gd name="T108" fmla="*/ 2 w 925"/>
                <a:gd name="T109" fmla="*/ 295 h 431"/>
                <a:gd name="T110" fmla="*/ 164 w 925"/>
                <a:gd name="T111" fmla="*/ 428 h 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925" h="431">
                  <a:moveTo>
                    <a:pt x="904" y="85"/>
                  </a:moveTo>
                  <a:lnTo>
                    <a:pt x="905" y="85"/>
                  </a:lnTo>
                  <a:lnTo>
                    <a:pt x="907" y="84"/>
                  </a:lnTo>
                  <a:lnTo>
                    <a:pt x="910" y="82"/>
                  </a:lnTo>
                  <a:lnTo>
                    <a:pt x="913" y="80"/>
                  </a:lnTo>
                  <a:lnTo>
                    <a:pt x="913" y="83"/>
                  </a:lnTo>
                  <a:lnTo>
                    <a:pt x="912" y="85"/>
                  </a:lnTo>
                  <a:lnTo>
                    <a:pt x="914" y="89"/>
                  </a:lnTo>
                  <a:lnTo>
                    <a:pt x="916" y="87"/>
                  </a:lnTo>
                  <a:lnTo>
                    <a:pt x="918" y="87"/>
                  </a:lnTo>
                  <a:lnTo>
                    <a:pt x="921" y="85"/>
                  </a:lnTo>
                  <a:lnTo>
                    <a:pt x="922" y="83"/>
                  </a:lnTo>
                  <a:lnTo>
                    <a:pt x="922" y="80"/>
                  </a:lnTo>
                  <a:lnTo>
                    <a:pt x="923" y="77"/>
                  </a:lnTo>
                  <a:lnTo>
                    <a:pt x="923" y="77"/>
                  </a:lnTo>
                  <a:lnTo>
                    <a:pt x="924" y="75"/>
                  </a:lnTo>
                  <a:lnTo>
                    <a:pt x="925" y="72"/>
                  </a:lnTo>
                  <a:lnTo>
                    <a:pt x="923" y="69"/>
                  </a:lnTo>
                  <a:lnTo>
                    <a:pt x="922" y="72"/>
                  </a:lnTo>
                  <a:lnTo>
                    <a:pt x="918" y="74"/>
                  </a:lnTo>
                  <a:lnTo>
                    <a:pt x="916" y="73"/>
                  </a:lnTo>
                  <a:lnTo>
                    <a:pt x="917" y="71"/>
                  </a:lnTo>
                  <a:lnTo>
                    <a:pt x="918" y="67"/>
                  </a:lnTo>
                  <a:lnTo>
                    <a:pt x="921" y="65"/>
                  </a:lnTo>
                  <a:lnTo>
                    <a:pt x="921" y="63"/>
                  </a:lnTo>
                  <a:lnTo>
                    <a:pt x="918" y="64"/>
                  </a:lnTo>
                  <a:lnTo>
                    <a:pt x="916" y="65"/>
                  </a:lnTo>
                  <a:lnTo>
                    <a:pt x="914" y="68"/>
                  </a:lnTo>
                  <a:lnTo>
                    <a:pt x="914" y="71"/>
                  </a:lnTo>
                  <a:lnTo>
                    <a:pt x="910" y="73"/>
                  </a:lnTo>
                  <a:lnTo>
                    <a:pt x="910" y="73"/>
                  </a:lnTo>
                  <a:lnTo>
                    <a:pt x="908" y="71"/>
                  </a:lnTo>
                  <a:lnTo>
                    <a:pt x="907" y="67"/>
                  </a:lnTo>
                  <a:lnTo>
                    <a:pt x="909" y="67"/>
                  </a:lnTo>
                  <a:lnTo>
                    <a:pt x="910" y="65"/>
                  </a:lnTo>
                  <a:lnTo>
                    <a:pt x="908" y="65"/>
                  </a:lnTo>
                  <a:lnTo>
                    <a:pt x="910" y="64"/>
                  </a:lnTo>
                  <a:lnTo>
                    <a:pt x="909" y="61"/>
                  </a:lnTo>
                  <a:lnTo>
                    <a:pt x="912" y="61"/>
                  </a:lnTo>
                  <a:lnTo>
                    <a:pt x="915" y="59"/>
                  </a:lnTo>
                  <a:lnTo>
                    <a:pt x="917" y="58"/>
                  </a:lnTo>
                  <a:lnTo>
                    <a:pt x="920" y="56"/>
                  </a:lnTo>
                  <a:lnTo>
                    <a:pt x="918" y="54"/>
                  </a:lnTo>
                  <a:lnTo>
                    <a:pt x="916" y="56"/>
                  </a:lnTo>
                  <a:lnTo>
                    <a:pt x="914" y="55"/>
                  </a:lnTo>
                  <a:lnTo>
                    <a:pt x="913" y="57"/>
                  </a:lnTo>
                  <a:lnTo>
                    <a:pt x="909" y="56"/>
                  </a:lnTo>
                  <a:lnTo>
                    <a:pt x="907" y="57"/>
                  </a:lnTo>
                  <a:lnTo>
                    <a:pt x="905" y="59"/>
                  </a:lnTo>
                  <a:lnTo>
                    <a:pt x="905" y="58"/>
                  </a:lnTo>
                  <a:lnTo>
                    <a:pt x="907" y="57"/>
                  </a:lnTo>
                  <a:lnTo>
                    <a:pt x="909" y="55"/>
                  </a:lnTo>
                  <a:lnTo>
                    <a:pt x="907" y="55"/>
                  </a:lnTo>
                  <a:lnTo>
                    <a:pt x="909" y="52"/>
                  </a:lnTo>
                  <a:lnTo>
                    <a:pt x="907" y="54"/>
                  </a:lnTo>
                  <a:lnTo>
                    <a:pt x="907" y="54"/>
                  </a:lnTo>
                  <a:lnTo>
                    <a:pt x="907" y="50"/>
                  </a:lnTo>
                  <a:lnTo>
                    <a:pt x="905" y="50"/>
                  </a:lnTo>
                  <a:lnTo>
                    <a:pt x="907" y="50"/>
                  </a:lnTo>
                  <a:lnTo>
                    <a:pt x="909" y="47"/>
                  </a:lnTo>
                  <a:lnTo>
                    <a:pt x="912" y="46"/>
                  </a:lnTo>
                  <a:lnTo>
                    <a:pt x="914" y="43"/>
                  </a:lnTo>
                  <a:lnTo>
                    <a:pt x="912" y="41"/>
                  </a:lnTo>
                  <a:lnTo>
                    <a:pt x="909" y="40"/>
                  </a:lnTo>
                  <a:lnTo>
                    <a:pt x="906" y="40"/>
                  </a:lnTo>
                  <a:lnTo>
                    <a:pt x="904" y="41"/>
                  </a:lnTo>
                  <a:lnTo>
                    <a:pt x="901" y="40"/>
                  </a:lnTo>
                  <a:lnTo>
                    <a:pt x="899" y="42"/>
                  </a:lnTo>
                  <a:lnTo>
                    <a:pt x="899" y="40"/>
                  </a:lnTo>
                  <a:lnTo>
                    <a:pt x="900" y="38"/>
                  </a:lnTo>
                  <a:lnTo>
                    <a:pt x="897" y="40"/>
                  </a:lnTo>
                  <a:lnTo>
                    <a:pt x="895" y="40"/>
                  </a:lnTo>
                  <a:lnTo>
                    <a:pt x="892" y="43"/>
                  </a:lnTo>
                  <a:lnTo>
                    <a:pt x="891" y="42"/>
                  </a:lnTo>
                  <a:lnTo>
                    <a:pt x="890" y="46"/>
                  </a:lnTo>
                  <a:lnTo>
                    <a:pt x="888" y="47"/>
                  </a:lnTo>
                  <a:lnTo>
                    <a:pt x="888" y="44"/>
                  </a:lnTo>
                  <a:lnTo>
                    <a:pt x="889" y="41"/>
                  </a:lnTo>
                  <a:lnTo>
                    <a:pt x="889" y="39"/>
                  </a:lnTo>
                  <a:lnTo>
                    <a:pt x="888" y="41"/>
                  </a:lnTo>
                  <a:lnTo>
                    <a:pt x="888" y="39"/>
                  </a:lnTo>
                  <a:lnTo>
                    <a:pt x="884" y="41"/>
                  </a:lnTo>
                  <a:lnTo>
                    <a:pt x="886" y="39"/>
                  </a:lnTo>
                  <a:lnTo>
                    <a:pt x="882" y="39"/>
                  </a:lnTo>
                  <a:lnTo>
                    <a:pt x="880" y="39"/>
                  </a:lnTo>
                  <a:lnTo>
                    <a:pt x="878" y="40"/>
                  </a:lnTo>
                  <a:lnTo>
                    <a:pt x="880" y="38"/>
                  </a:lnTo>
                  <a:lnTo>
                    <a:pt x="881" y="35"/>
                  </a:lnTo>
                  <a:lnTo>
                    <a:pt x="879" y="35"/>
                  </a:lnTo>
                  <a:lnTo>
                    <a:pt x="881" y="33"/>
                  </a:lnTo>
                  <a:lnTo>
                    <a:pt x="883" y="32"/>
                  </a:lnTo>
                  <a:lnTo>
                    <a:pt x="886" y="30"/>
                  </a:lnTo>
                  <a:lnTo>
                    <a:pt x="886" y="30"/>
                  </a:lnTo>
                  <a:lnTo>
                    <a:pt x="883" y="30"/>
                  </a:lnTo>
                  <a:lnTo>
                    <a:pt x="881" y="30"/>
                  </a:lnTo>
                  <a:lnTo>
                    <a:pt x="878" y="30"/>
                  </a:lnTo>
                  <a:lnTo>
                    <a:pt x="876" y="27"/>
                  </a:lnTo>
                  <a:lnTo>
                    <a:pt x="874" y="30"/>
                  </a:lnTo>
                  <a:lnTo>
                    <a:pt x="874" y="30"/>
                  </a:lnTo>
                  <a:lnTo>
                    <a:pt x="871" y="32"/>
                  </a:lnTo>
                  <a:lnTo>
                    <a:pt x="869" y="35"/>
                  </a:lnTo>
                  <a:lnTo>
                    <a:pt x="867" y="38"/>
                  </a:lnTo>
                  <a:lnTo>
                    <a:pt x="869" y="35"/>
                  </a:lnTo>
                  <a:lnTo>
                    <a:pt x="869" y="32"/>
                  </a:lnTo>
                  <a:lnTo>
                    <a:pt x="869" y="30"/>
                  </a:lnTo>
                  <a:lnTo>
                    <a:pt x="870" y="27"/>
                  </a:lnTo>
                  <a:lnTo>
                    <a:pt x="872" y="25"/>
                  </a:lnTo>
                  <a:lnTo>
                    <a:pt x="872" y="23"/>
                  </a:lnTo>
                  <a:lnTo>
                    <a:pt x="875" y="21"/>
                  </a:lnTo>
                  <a:lnTo>
                    <a:pt x="876" y="18"/>
                  </a:lnTo>
                  <a:lnTo>
                    <a:pt x="879" y="15"/>
                  </a:lnTo>
                  <a:lnTo>
                    <a:pt x="881" y="13"/>
                  </a:lnTo>
                  <a:lnTo>
                    <a:pt x="882" y="10"/>
                  </a:lnTo>
                  <a:lnTo>
                    <a:pt x="881" y="7"/>
                  </a:lnTo>
                  <a:lnTo>
                    <a:pt x="879" y="7"/>
                  </a:lnTo>
                  <a:lnTo>
                    <a:pt x="878" y="5"/>
                  </a:lnTo>
                  <a:lnTo>
                    <a:pt x="881" y="6"/>
                  </a:lnTo>
                  <a:lnTo>
                    <a:pt x="883" y="6"/>
                  </a:lnTo>
                  <a:lnTo>
                    <a:pt x="887" y="4"/>
                  </a:lnTo>
                  <a:lnTo>
                    <a:pt x="887" y="1"/>
                  </a:lnTo>
                  <a:lnTo>
                    <a:pt x="883" y="3"/>
                  </a:lnTo>
                  <a:lnTo>
                    <a:pt x="881" y="0"/>
                  </a:lnTo>
                  <a:lnTo>
                    <a:pt x="878" y="1"/>
                  </a:lnTo>
                  <a:lnTo>
                    <a:pt x="875" y="3"/>
                  </a:lnTo>
                  <a:lnTo>
                    <a:pt x="873" y="4"/>
                  </a:lnTo>
                  <a:lnTo>
                    <a:pt x="870" y="5"/>
                  </a:lnTo>
                  <a:lnTo>
                    <a:pt x="869" y="8"/>
                  </a:lnTo>
                  <a:lnTo>
                    <a:pt x="866" y="10"/>
                  </a:lnTo>
                  <a:lnTo>
                    <a:pt x="865" y="14"/>
                  </a:lnTo>
                  <a:lnTo>
                    <a:pt x="863" y="16"/>
                  </a:lnTo>
                  <a:lnTo>
                    <a:pt x="861" y="18"/>
                  </a:lnTo>
                  <a:lnTo>
                    <a:pt x="858" y="22"/>
                  </a:lnTo>
                  <a:lnTo>
                    <a:pt x="857" y="24"/>
                  </a:lnTo>
                  <a:lnTo>
                    <a:pt x="856" y="27"/>
                  </a:lnTo>
                  <a:lnTo>
                    <a:pt x="855" y="30"/>
                  </a:lnTo>
                  <a:lnTo>
                    <a:pt x="855" y="31"/>
                  </a:lnTo>
                  <a:lnTo>
                    <a:pt x="853" y="33"/>
                  </a:lnTo>
                  <a:lnTo>
                    <a:pt x="853" y="37"/>
                  </a:lnTo>
                  <a:lnTo>
                    <a:pt x="855" y="39"/>
                  </a:lnTo>
                  <a:lnTo>
                    <a:pt x="852" y="38"/>
                  </a:lnTo>
                  <a:lnTo>
                    <a:pt x="849" y="40"/>
                  </a:lnTo>
                  <a:lnTo>
                    <a:pt x="848" y="42"/>
                  </a:lnTo>
                  <a:lnTo>
                    <a:pt x="850" y="44"/>
                  </a:lnTo>
                  <a:lnTo>
                    <a:pt x="853" y="44"/>
                  </a:lnTo>
                  <a:lnTo>
                    <a:pt x="850" y="47"/>
                  </a:lnTo>
                  <a:lnTo>
                    <a:pt x="853" y="48"/>
                  </a:lnTo>
                  <a:lnTo>
                    <a:pt x="850" y="48"/>
                  </a:lnTo>
                  <a:lnTo>
                    <a:pt x="848" y="46"/>
                  </a:lnTo>
                  <a:lnTo>
                    <a:pt x="845" y="47"/>
                  </a:lnTo>
                  <a:lnTo>
                    <a:pt x="844" y="49"/>
                  </a:lnTo>
                  <a:lnTo>
                    <a:pt x="842" y="52"/>
                  </a:lnTo>
                  <a:lnTo>
                    <a:pt x="841" y="55"/>
                  </a:lnTo>
                  <a:lnTo>
                    <a:pt x="839" y="55"/>
                  </a:lnTo>
                  <a:lnTo>
                    <a:pt x="839" y="52"/>
                  </a:lnTo>
                  <a:lnTo>
                    <a:pt x="837" y="54"/>
                  </a:lnTo>
                  <a:lnTo>
                    <a:pt x="835" y="57"/>
                  </a:lnTo>
                  <a:lnTo>
                    <a:pt x="837" y="56"/>
                  </a:lnTo>
                  <a:lnTo>
                    <a:pt x="840" y="56"/>
                  </a:lnTo>
                  <a:lnTo>
                    <a:pt x="842" y="56"/>
                  </a:lnTo>
                  <a:lnTo>
                    <a:pt x="842" y="56"/>
                  </a:lnTo>
                  <a:lnTo>
                    <a:pt x="846" y="56"/>
                  </a:lnTo>
                  <a:lnTo>
                    <a:pt x="846" y="57"/>
                  </a:lnTo>
                  <a:lnTo>
                    <a:pt x="844" y="58"/>
                  </a:lnTo>
                  <a:lnTo>
                    <a:pt x="840" y="60"/>
                  </a:lnTo>
                  <a:lnTo>
                    <a:pt x="838" y="63"/>
                  </a:lnTo>
                  <a:lnTo>
                    <a:pt x="835" y="65"/>
                  </a:lnTo>
                  <a:lnTo>
                    <a:pt x="832" y="67"/>
                  </a:lnTo>
                  <a:lnTo>
                    <a:pt x="833" y="69"/>
                  </a:lnTo>
                  <a:lnTo>
                    <a:pt x="835" y="73"/>
                  </a:lnTo>
                  <a:lnTo>
                    <a:pt x="837" y="73"/>
                  </a:lnTo>
                  <a:lnTo>
                    <a:pt x="840" y="72"/>
                  </a:lnTo>
                  <a:lnTo>
                    <a:pt x="842" y="72"/>
                  </a:lnTo>
                  <a:lnTo>
                    <a:pt x="846" y="72"/>
                  </a:lnTo>
                  <a:lnTo>
                    <a:pt x="847" y="71"/>
                  </a:lnTo>
                  <a:lnTo>
                    <a:pt x="849" y="71"/>
                  </a:lnTo>
                  <a:lnTo>
                    <a:pt x="853" y="71"/>
                  </a:lnTo>
                  <a:lnTo>
                    <a:pt x="855" y="71"/>
                  </a:lnTo>
                  <a:lnTo>
                    <a:pt x="858" y="72"/>
                  </a:lnTo>
                  <a:lnTo>
                    <a:pt x="861" y="72"/>
                  </a:lnTo>
                  <a:lnTo>
                    <a:pt x="862" y="72"/>
                  </a:lnTo>
                  <a:lnTo>
                    <a:pt x="864" y="73"/>
                  </a:lnTo>
                  <a:lnTo>
                    <a:pt x="867" y="73"/>
                  </a:lnTo>
                  <a:lnTo>
                    <a:pt x="870" y="73"/>
                  </a:lnTo>
                  <a:lnTo>
                    <a:pt x="870" y="72"/>
                  </a:lnTo>
                  <a:lnTo>
                    <a:pt x="873" y="72"/>
                  </a:lnTo>
                  <a:lnTo>
                    <a:pt x="875" y="72"/>
                  </a:lnTo>
                  <a:lnTo>
                    <a:pt x="878" y="68"/>
                  </a:lnTo>
                  <a:lnTo>
                    <a:pt x="880" y="69"/>
                  </a:lnTo>
                  <a:lnTo>
                    <a:pt x="882" y="66"/>
                  </a:lnTo>
                  <a:lnTo>
                    <a:pt x="881" y="69"/>
                  </a:lnTo>
                  <a:lnTo>
                    <a:pt x="881" y="72"/>
                  </a:lnTo>
                  <a:lnTo>
                    <a:pt x="879" y="74"/>
                  </a:lnTo>
                  <a:lnTo>
                    <a:pt x="882" y="74"/>
                  </a:lnTo>
                  <a:lnTo>
                    <a:pt x="884" y="75"/>
                  </a:lnTo>
                  <a:lnTo>
                    <a:pt x="887" y="74"/>
                  </a:lnTo>
                  <a:lnTo>
                    <a:pt x="888" y="71"/>
                  </a:lnTo>
                  <a:lnTo>
                    <a:pt x="891" y="72"/>
                  </a:lnTo>
                  <a:lnTo>
                    <a:pt x="893" y="69"/>
                  </a:lnTo>
                  <a:lnTo>
                    <a:pt x="892" y="72"/>
                  </a:lnTo>
                  <a:lnTo>
                    <a:pt x="896" y="72"/>
                  </a:lnTo>
                  <a:lnTo>
                    <a:pt x="892" y="74"/>
                  </a:lnTo>
                  <a:lnTo>
                    <a:pt x="890" y="75"/>
                  </a:lnTo>
                  <a:lnTo>
                    <a:pt x="889" y="77"/>
                  </a:lnTo>
                  <a:lnTo>
                    <a:pt x="886" y="80"/>
                  </a:lnTo>
                  <a:lnTo>
                    <a:pt x="883" y="81"/>
                  </a:lnTo>
                  <a:lnTo>
                    <a:pt x="881" y="81"/>
                  </a:lnTo>
                  <a:lnTo>
                    <a:pt x="879" y="84"/>
                  </a:lnTo>
                  <a:lnTo>
                    <a:pt x="882" y="84"/>
                  </a:lnTo>
                  <a:lnTo>
                    <a:pt x="884" y="84"/>
                  </a:lnTo>
                  <a:lnTo>
                    <a:pt x="888" y="84"/>
                  </a:lnTo>
                  <a:lnTo>
                    <a:pt x="889" y="84"/>
                  </a:lnTo>
                  <a:lnTo>
                    <a:pt x="891" y="81"/>
                  </a:lnTo>
                  <a:lnTo>
                    <a:pt x="892" y="78"/>
                  </a:lnTo>
                  <a:lnTo>
                    <a:pt x="895" y="76"/>
                  </a:lnTo>
                  <a:lnTo>
                    <a:pt x="898" y="75"/>
                  </a:lnTo>
                  <a:lnTo>
                    <a:pt x="900" y="73"/>
                  </a:lnTo>
                  <a:lnTo>
                    <a:pt x="899" y="75"/>
                  </a:lnTo>
                  <a:lnTo>
                    <a:pt x="900" y="73"/>
                  </a:lnTo>
                  <a:lnTo>
                    <a:pt x="903" y="71"/>
                  </a:lnTo>
                  <a:lnTo>
                    <a:pt x="904" y="67"/>
                  </a:lnTo>
                  <a:lnTo>
                    <a:pt x="907" y="69"/>
                  </a:lnTo>
                  <a:lnTo>
                    <a:pt x="908" y="72"/>
                  </a:lnTo>
                  <a:lnTo>
                    <a:pt x="907" y="75"/>
                  </a:lnTo>
                  <a:lnTo>
                    <a:pt x="906" y="77"/>
                  </a:lnTo>
                  <a:lnTo>
                    <a:pt x="905" y="80"/>
                  </a:lnTo>
                  <a:lnTo>
                    <a:pt x="904" y="83"/>
                  </a:lnTo>
                  <a:lnTo>
                    <a:pt x="904" y="85"/>
                  </a:lnTo>
                  <a:lnTo>
                    <a:pt x="904" y="85"/>
                  </a:lnTo>
                  <a:close/>
                  <a:moveTo>
                    <a:pt x="824" y="97"/>
                  </a:moveTo>
                  <a:lnTo>
                    <a:pt x="827" y="98"/>
                  </a:lnTo>
                  <a:lnTo>
                    <a:pt x="827" y="101"/>
                  </a:lnTo>
                  <a:lnTo>
                    <a:pt x="824" y="101"/>
                  </a:lnTo>
                  <a:lnTo>
                    <a:pt x="822" y="103"/>
                  </a:lnTo>
                  <a:lnTo>
                    <a:pt x="819" y="106"/>
                  </a:lnTo>
                  <a:lnTo>
                    <a:pt x="813" y="107"/>
                  </a:lnTo>
                  <a:lnTo>
                    <a:pt x="811" y="106"/>
                  </a:lnTo>
                  <a:lnTo>
                    <a:pt x="808" y="107"/>
                  </a:lnTo>
                  <a:lnTo>
                    <a:pt x="805" y="107"/>
                  </a:lnTo>
                  <a:lnTo>
                    <a:pt x="804" y="104"/>
                  </a:lnTo>
                  <a:lnTo>
                    <a:pt x="804" y="102"/>
                  </a:lnTo>
                  <a:lnTo>
                    <a:pt x="803" y="99"/>
                  </a:lnTo>
                  <a:lnTo>
                    <a:pt x="805" y="97"/>
                  </a:lnTo>
                  <a:lnTo>
                    <a:pt x="807" y="94"/>
                  </a:lnTo>
                  <a:lnTo>
                    <a:pt x="810" y="92"/>
                  </a:lnTo>
                  <a:lnTo>
                    <a:pt x="810" y="89"/>
                  </a:lnTo>
                  <a:lnTo>
                    <a:pt x="812" y="86"/>
                  </a:lnTo>
                  <a:lnTo>
                    <a:pt x="814" y="84"/>
                  </a:lnTo>
                  <a:lnTo>
                    <a:pt x="818" y="84"/>
                  </a:lnTo>
                  <a:lnTo>
                    <a:pt x="820" y="85"/>
                  </a:lnTo>
                  <a:lnTo>
                    <a:pt x="819" y="87"/>
                  </a:lnTo>
                  <a:lnTo>
                    <a:pt x="819" y="91"/>
                  </a:lnTo>
                  <a:lnTo>
                    <a:pt x="818" y="93"/>
                  </a:lnTo>
                  <a:lnTo>
                    <a:pt x="815" y="97"/>
                  </a:lnTo>
                  <a:lnTo>
                    <a:pt x="819" y="94"/>
                  </a:lnTo>
                  <a:lnTo>
                    <a:pt x="815" y="98"/>
                  </a:lnTo>
                  <a:lnTo>
                    <a:pt x="813" y="99"/>
                  </a:lnTo>
                  <a:lnTo>
                    <a:pt x="811" y="101"/>
                  </a:lnTo>
                  <a:lnTo>
                    <a:pt x="813" y="101"/>
                  </a:lnTo>
                  <a:lnTo>
                    <a:pt x="811" y="102"/>
                  </a:lnTo>
                  <a:lnTo>
                    <a:pt x="808" y="104"/>
                  </a:lnTo>
                  <a:lnTo>
                    <a:pt x="811" y="103"/>
                  </a:lnTo>
                  <a:lnTo>
                    <a:pt x="814" y="104"/>
                  </a:lnTo>
                  <a:lnTo>
                    <a:pt x="816" y="101"/>
                  </a:lnTo>
                  <a:lnTo>
                    <a:pt x="819" y="100"/>
                  </a:lnTo>
                  <a:lnTo>
                    <a:pt x="816" y="101"/>
                  </a:lnTo>
                  <a:lnTo>
                    <a:pt x="813" y="101"/>
                  </a:lnTo>
                  <a:lnTo>
                    <a:pt x="813" y="100"/>
                  </a:lnTo>
                  <a:lnTo>
                    <a:pt x="816" y="99"/>
                  </a:lnTo>
                  <a:lnTo>
                    <a:pt x="819" y="95"/>
                  </a:lnTo>
                  <a:lnTo>
                    <a:pt x="816" y="97"/>
                  </a:lnTo>
                  <a:lnTo>
                    <a:pt x="819" y="94"/>
                  </a:lnTo>
                  <a:lnTo>
                    <a:pt x="821" y="97"/>
                  </a:lnTo>
                  <a:lnTo>
                    <a:pt x="824" y="97"/>
                  </a:lnTo>
                  <a:lnTo>
                    <a:pt x="824" y="97"/>
                  </a:lnTo>
                  <a:close/>
                  <a:moveTo>
                    <a:pt x="2" y="295"/>
                  </a:moveTo>
                  <a:lnTo>
                    <a:pt x="2" y="294"/>
                  </a:lnTo>
                  <a:lnTo>
                    <a:pt x="0" y="294"/>
                  </a:lnTo>
                  <a:lnTo>
                    <a:pt x="2" y="295"/>
                  </a:lnTo>
                  <a:lnTo>
                    <a:pt x="2" y="295"/>
                  </a:lnTo>
                  <a:close/>
                  <a:moveTo>
                    <a:pt x="164" y="428"/>
                  </a:moveTo>
                  <a:lnTo>
                    <a:pt x="165" y="431"/>
                  </a:lnTo>
                  <a:lnTo>
                    <a:pt x="164" y="428"/>
                  </a:lnTo>
                  <a:lnTo>
                    <a:pt x="164" y="428"/>
                  </a:lnTo>
                  <a:lnTo>
                    <a:pt x="164" y="4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29" name="Freeform 229">
              <a:extLst>
                <a:ext uri="{FF2B5EF4-FFF2-40B4-BE49-F238E27FC236}">
                  <a16:creationId xmlns:a16="http://schemas.microsoft.com/office/drawing/2014/main" id="{E17E108B-D652-4A2B-B9F3-6B07301B0D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59113" y="3241675"/>
              <a:ext cx="898525" cy="166688"/>
            </a:xfrm>
            <a:custGeom>
              <a:avLst/>
              <a:gdLst>
                <a:gd name="T0" fmla="*/ 44 w 566"/>
                <a:gd name="T1" fmla="*/ 17 h 105"/>
                <a:gd name="T2" fmla="*/ 47 w 566"/>
                <a:gd name="T3" fmla="*/ 23 h 105"/>
                <a:gd name="T4" fmla="*/ 53 w 566"/>
                <a:gd name="T5" fmla="*/ 27 h 105"/>
                <a:gd name="T6" fmla="*/ 57 w 566"/>
                <a:gd name="T7" fmla="*/ 29 h 105"/>
                <a:gd name="T8" fmla="*/ 62 w 566"/>
                <a:gd name="T9" fmla="*/ 34 h 105"/>
                <a:gd name="T10" fmla="*/ 65 w 566"/>
                <a:gd name="T11" fmla="*/ 38 h 105"/>
                <a:gd name="T12" fmla="*/ 68 w 566"/>
                <a:gd name="T13" fmla="*/ 44 h 105"/>
                <a:gd name="T14" fmla="*/ 63 w 566"/>
                <a:gd name="T15" fmla="*/ 44 h 105"/>
                <a:gd name="T16" fmla="*/ 57 w 566"/>
                <a:gd name="T17" fmla="*/ 43 h 105"/>
                <a:gd name="T18" fmla="*/ 52 w 566"/>
                <a:gd name="T19" fmla="*/ 41 h 105"/>
                <a:gd name="T20" fmla="*/ 46 w 566"/>
                <a:gd name="T21" fmla="*/ 38 h 105"/>
                <a:gd name="T22" fmla="*/ 46 w 566"/>
                <a:gd name="T23" fmla="*/ 34 h 105"/>
                <a:gd name="T24" fmla="*/ 46 w 566"/>
                <a:gd name="T25" fmla="*/ 34 h 105"/>
                <a:gd name="T26" fmla="*/ 40 w 566"/>
                <a:gd name="T27" fmla="*/ 35 h 105"/>
                <a:gd name="T28" fmla="*/ 35 w 566"/>
                <a:gd name="T29" fmla="*/ 33 h 105"/>
                <a:gd name="T30" fmla="*/ 35 w 566"/>
                <a:gd name="T31" fmla="*/ 27 h 105"/>
                <a:gd name="T32" fmla="*/ 30 w 566"/>
                <a:gd name="T33" fmla="*/ 26 h 105"/>
                <a:gd name="T34" fmla="*/ 25 w 566"/>
                <a:gd name="T35" fmla="*/ 25 h 105"/>
                <a:gd name="T36" fmla="*/ 28 w 566"/>
                <a:gd name="T37" fmla="*/ 21 h 105"/>
                <a:gd name="T38" fmla="*/ 29 w 566"/>
                <a:gd name="T39" fmla="*/ 21 h 105"/>
                <a:gd name="T40" fmla="*/ 23 w 566"/>
                <a:gd name="T41" fmla="*/ 20 h 105"/>
                <a:gd name="T42" fmla="*/ 19 w 566"/>
                <a:gd name="T43" fmla="*/ 18 h 105"/>
                <a:gd name="T44" fmla="*/ 13 w 566"/>
                <a:gd name="T45" fmla="*/ 15 h 105"/>
                <a:gd name="T46" fmla="*/ 10 w 566"/>
                <a:gd name="T47" fmla="*/ 13 h 105"/>
                <a:gd name="T48" fmla="*/ 9 w 566"/>
                <a:gd name="T49" fmla="*/ 11 h 105"/>
                <a:gd name="T50" fmla="*/ 6 w 566"/>
                <a:gd name="T51" fmla="*/ 7 h 105"/>
                <a:gd name="T52" fmla="*/ 12 w 566"/>
                <a:gd name="T53" fmla="*/ 9 h 105"/>
                <a:gd name="T54" fmla="*/ 8 w 566"/>
                <a:gd name="T55" fmla="*/ 4 h 105"/>
                <a:gd name="T56" fmla="*/ 3 w 566"/>
                <a:gd name="T57" fmla="*/ 7 h 105"/>
                <a:gd name="T58" fmla="*/ 0 w 566"/>
                <a:gd name="T59" fmla="*/ 1 h 105"/>
                <a:gd name="T60" fmla="*/ 5 w 566"/>
                <a:gd name="T61" fmla="*/ 0 h 105"/>
                <a:gd name="T62" fmla="*/ 11 w 566"/>
                <a:gd name="T63" fmla="*/ 1 h 105"/>
                <a:gd name="T64" fmla="*/ 15 w 566"/>
                <a:gd name="T65" fmla="*/ 4 h 105"/>
                <a:gd name="T66" fmla="*/ 21 w 566"/>
                <a:gd name="T67" fmla="*/ 6 h 105"/>
                <a:gd name="T68" fmla="*/ 27 w 566"/>
                <a:gd name="T69" fmla="*/ 7 h 105"/>
                <a:gd name="T70" fmla="*/ 32 w 566"/>
                <a:gd name="T71" fmla="*/ 9 h 105"/>
                <a:gd name="T72" fmla="*/ 36 w 566"/>
                <a:gd name="T73" fmla="*/ 9 h 105"/>
                <a:gd name="T74" fmla="*/ 40 w 566"/>
                <a:gd name="T75" fmla="*/ 12 h 105"/>
                <a:gd name="T76" fmla="*/ 43 w 566"/>
                <a:gd name="T77" fmla="*/ 16 h 105"/>
                <a:gd name="T78" fmla="*/ 561 w 566"/>
                <a:gd name="T79" fmla="*/ 103 h 105"/>
                <a:gd name="T80" fmla="*/ 564 w 566"/>
                <a:gd name="T81" fmla="*/ 103 h 105"/>
                <a:gd name="T82" fmla="*/ 566 w 566"/>
                <a:gd name="T83" fmla="*/ 97 h 105"/>
                <a:gd name="T84" fmla="*/ 561 w 566"/>
                <a:gd name="T85" fmla="*/ 103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66" h="105">
                  <a:moveTo>
                    <a:pt x="43" y="16"/>
                  </a:moveTo>
                  <a:lnTo>
                    <a:pt x="44" y="17"/>
                  </a:lnTo>
                  <a:lnTo>
                    <a:pt x="46" y="19"/>
                  </a:lnTo>
                  <a:lnTo>
                    <a:pt x="47" y="23"/>
                  </a:lnTo>
                  <a:lnTo>
                    <a:pt x="49" y="25"/>
                  </a:lnTo>
                  <a:lnTo>
                    <a:pt x="53" y="27"/>
                  </a:lnTo>
                  <a:lnTo>
                    <a:pt x="55" y="27"/>
                  </a:lnTo>
                  <a:lnTo>
                    <a:pt x="57" y="29"/>
                  </a:lnTo>
                  <a:lnTo>
                    <a:pt x="61" y="30"/>
                  </a:lnTo>
                  <a:lnTo>
                    <a:pt x="62" y="34"/>
                  </a:lnTo>
                  <a:lnTo>
                    <a:pt x="64" y="36"/>
                  </a:lnTo>
                  <a:lnTo>
                    <a:pt x="65" y="38"/>
                  </a:lnTo>
                  <a:lnTo>
                    <a:pt x="69" y="41"/>
                  </a:lnTo>
                  <a:lnTo>
                    <a:pt x="68" y="44"/>
                  </a:lnTo>
                  <a:lnTo>
                    <a:pt x="65" y="45"/>
                  </a:lnTo>
                  <a:lnTo>
                    <a:pt x="63" y="44"/>
                  </a:lnTo>
                  <a:lnTo>
                    <a:pt x="60" y="44"/>
                  </a:lnTo>
                  <a:lnTo>
                    <a:pt x="57" y="43"/>
                  </a:lnTo>
                  <a:lnTo>
                    <a:pt x="54" y="42"/>
                  </a:lnTo>
                  <a:lnTo>
                    <a:pt x="52" y="41"/>
                  </a:lnTo>
                  <a:lnTo>
                    <a:pt x="49" y="41"/>
                  </a:lnTo>
                  <a:lnTo>
                    <a:pt x="46" y="38"/>
                  </a:lnTo>
                  <a:lnTo>
                    <a:pt x="44" y="36"/>
                  </a:lnTo>
                  <a:lnTo>
                    <a:pt x="46" y="34"/>
                  </a:lnTo>
                  <a:lnTo>
                    <a:pt x="48" y="32"/>
                  </a:lnTo>
                  <a:lnTo>
                    <a:pt x="46" y="34"/>
                  </a:lnTo>
                  <a:lnTo>
                    <a:pt x="43" y="34"/>
                  </a:lnTo>
                  <a:lnTo>
                    <a:pt x="40" y="35"/>
                  </a:lnTo>
                  <a:lnTo>
                    <a:pt x="37" y="34"/>
                  </a:lnTo>
                  <a:lnTo>
                    <a:pt x="35" y="33"/>
                  </a:lnTo>
                  <a:lnTo>
                    <a:pt x="36" y="29"/>
                  </a:lnTo>
                  <a:lnTo>
                    <a:pt x="35" y="27"/>
                  </a:lnTo>
                  <a:lnTo>
                    <a:pt x="32" y="27"/>
                  </a:lnTo>
                  <a:lnTo>
                    <a:pt x="30" y="26"/>
                  </a:lnTo>
                  <a:lnTo>
                    <a:pt x="27" y="26"/>
                  </a:lnTo>
                  <a:lnTo>
                    <a:pt x="25" y="25"/>
                  </a:lnTo>
                  <a:lnTo>
                    <a:pt x="26" y="23"/>
                  </a:lnTo>
                  <a:lnTo>
                    <a:pt x="28" y="21"/>
                  </a:lnTo>
                  <a:lnTo>
                    <a:pt x="30" y="21"/>
                  </a:lnTo>
                  <a:lnTo>
                    <a:pt x="29" y="21"/>
                  </a:lnTo>
                  <a:lnTo>
                    <a:pt x="27" y="19"/>
                  </a:lnTo>
                  <a:lnTo>
                    <a:pt x="23" y="20"/>
                  </a:lnTo>
                  <a:lnTo>
                    <a:pt x="21" y="17"/>
                  </a:lnTo>
                  <a:lnTo>
                    <a:pt x="19" y="18"/>
                  </a:lnTo>
                  <a:lnTo>
                    <a:pt x="15" y="16"/>
                  </a:lnTo>
                  <a:lnTo>
                    <a:pt x="13" y="15"/>
                  </a:lnTo>
                  <a:lnTo>
                    <a:pt x="12" y="12"/>
                  </a:lnTo>
                  <a:lnTo>
                    <a:pt x="10" y="13"/>
                  </a:lnTo>
                  <a:lnTo>
                    <a:pt x="8" y="13"/>
                  </a:lnTo>
                  <a:lnTo>
                    <a:pt x="9" y="11"/>
                  </a:lnTo>
                  <a:lnTo>
                    <a:pt x="5" y="10"/>
                  </a:lnTo>
                  <a:lnTo>
                    <a:pt x="6" y="7"/>
                  </a:lnTo>
                  <a:lnTo>
                    <a:pt x="10" y="7"/>
                  </a:lnTo>
                  <a:lnTo>
                    <a:pt x="12" y="9"/>
                  </a:lnTo>
                  <a:lnTo>
                    <a:pt x="11" y="7"/>
                  </a:lnTo>
                  <a:lnTo>
                    <a:pt x="8" y="4"/>
                  </a:lnTo>
                  <a:lnTo>
                    <a:pt x="5" y="7"/>
                  </a:lnTo>
                  <a:lnTo>
                    <a:pt x="3" y="7"/>
                  </a:lnTo>
                  <a:lnTo>
                    <a:pt x="1" y="4"/>
                  </a:lnTo>
                  <a:lnTo>
                    <a:pt x="0" y="1"/>
                  </a:lnTo>
                  <a:lnTo>
                    <a:pt x="3" y="0"/>
                  </a:lnTo>
                  <a:lnTo>
                    <a:pt x="5" y="0"/>
                  </a:lnTo>
                  <a:lnTo>
                    <a:pt x="8" y="0"/>
                  </a:lnTo>
                  <a:lnTo>
                    <a:pt x="11" y="1"/>
                  </a:lnTo>
                  <a:lnTo>
                    <a:pt x="13" y="3"/>
                  </a:lnTo>
                  <a:lnTo>
                    <a:pt x="15" y="4"/>
                  </a:lnTo>
                  <a:lnTo>
                    <a:pt x="19" y="6"/>
                  </a:lnTo>
                  <a:lnTo>
                    <a:pt x="21" y="6"/>
                  </a:lnTo>
                  <a:lnTo>
                    <a:pt x="25" y="7"/>
                  </a:lnTo>
                  <a:lnTo>
                    <a:pt x="27" y="7"/>
                  </a:lnTo>
                  <a:lnTo>
                    <a:pt x="29" y="8"/>
                  </a:lnTo>
                  <a:lnTo>
                    <a:pt x="32" y="9"/>
                  </a:lnTo>
                  <a:lnTo>
                    <a:pt x="34" y="9"/>
                  </a:lnTo>
                  <a:lnTo>
                    <a:pt x="36" y="9"/>
                  </a:lnTo>
                  <a:lnTo>
                    <a:pt x="38" y="9"/>
                  </a:lnTo>
                  <a:lnTo>
                    <a:pt x="40" y="12"/>
                  </a:lnTo>
                  <a:lnTo>
                    <a:pt x="43" y="15"/>
                  </a:lnTo>
                  <a:lnTo>
                    <a:pt x="43" y="16"/>
                  </a:lnTo>
                  <a:lnTo>
                    <a:pt x="43" y="16"/>
                  </a:lnTo>
                  <a:close/>
                  <a:moveTo>
                    <a:pt x="561" y="103"/>
                  </a:moveTo>
                  <a:lnTo>
                    <a:pt x="563" y="105"/>
                  </a:lnTo>
                  <a:lnTo>
                    <a:pt x="564" y="103"/>
                  </a:lnTo>
                  <a:lnTo>
                    <a:pt x="565" y="101"/>
                  </a:lnTo>
                  <a:lnTo>
                    <a:pt x="566" y="97"/>
                  </a:lnTo>
                  <a:lnTo>
                    <a:pt x="563" y="100"/>
                  </a:lnTo>
                  <a:lnTo>
                    <a:pt x="561" y="103"/>
                  </a:lnTo>
                  <a:lnTo>
                    <a:pt x="561" y="1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30" name="Freeform 230">
              <a:extLst>
                <a:ext uri="{FF2B5EF4-FFF2-40B4-BE49-F238E27FC236}">
                  <a16:creationId xmlns:a16="http://schemas.microsoft.com/office/drawing/2014/main" id="{A89A2919-E1E5-4704-AE2C-123DDD17D60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16538" y="2740025"/>
              <a:ext cx="239712" cy="109538"/>
            </a:xfrm>
            <a:custGeom>
              <a:avLst/>
              <a:gdLst>
                <a:gd name="T0" fmla="*/ 142 w 151"/>
                <a:gd name="T1" fmla="*/ 41 h 69"/>
                <a:gd name="T2" fmla="*/ 144 w 151"/>
                <a:gd name="T3" fmla="*/ 34 h 69"/>
                <a:gd name="T4" fmla="*/ 151 w 151"/>
                <a:gd name="T5" fmla="*/ 31 h 69"/>
                <a:gd name="T6" fmla="*/ 148 w 151"/>
                <a:gd name="T7" fmla="*/ 29 h 69"/>
                <a:gd name="T8" fmla="*/ 149 w 151"/>
                <a:gd name="T9" fmla="*/ 23 h 69"/>
                <a:gd name="T10" fmla="*/ 136 w 151"/>
                <a:gd name="T11" fmla="*/ 24 h 69"/>
                <a:gd name="T12" fmla="*/ 133 w 151"/>
                <a:gd name="T13" fmla="*/ 16 h 69"/>
                <a:gd name="T14" fmla="*/ 131 w 151"/>
                <a:gd name="T15" fmla="*/ 8 h 69"/>
                <a:gd name="T16" fmla="*/ 126 w 151"/>
                <a:gd name="T17" fmla="*/ 6 h 69"/>
                <a:gd name="T18" fmla="*/ 117 w 151"/>
                <a:gd name="T19" fmla="*/ 0 h 69"/>
                <a:gd name="T20" fmla="*/ 110 w 151"/>
                <a:gd name="T21" fmla="*/ 6 h 69"/>
                <a:gd name="T22" fmla="*/ 102 w 151"/>
                <a:gd name="T23" fmla="*/ 7 h 69"/>
                <a:gd name="T24" fmla="*/ 91 w 151"/>
                <a:gd name="T25" fmla="*/ 9 h 69"/>
                <a:gd name="T26" fmla="*/ 88 w 151"/>
                <a:gd name="T27" fmla="*/ 14 h 69"/>
                <a:gd name="T28" fmla="*/ 84 w 151"/>
                <a:gd name="T29" fmla="*/ 14 h 69"/>
                <a:gd name="T30" fmla="*/ 74 w 151"/>
                <a:gd name="T31" fmla="*/ 10 h 69"/>
                <a:gd name="T32" fmla="*/ 69 w 151"/>
                <a:gd name="T33" fmla="*/ 18 h 69"/>
                <a:gd name="T34" fmla="*/ 60 w 151"/>
                <a:gd name="T35" fmla="*/ 9 h 69"/>
                <a:gd name="T36" fmla="*/ 58 w 151"/>
                <a:gd name="T37" fmla="*/ 19 h 69"/>
                <a:gd name="T38" fmla="*/ 54 w 151"/>
                <a:gd name="T39" fmla="*/ 21 h 69"/>
                <a:gd name="T40" fmla="*/ 47 w 151"/>
                <a:gd name="T41" fmla="*/ 31 h 69"/>
                <a:gd name="T42" fmla="*/ 39 w 151"/>
                <a:gd name="T43" fmla="*/ 20 h 69"/>
                <a:gd name="T44" fmla="*/ 43 w 151"/>
                <a:gd name="T45" fmla="*/ 12 h 69"/>
                <a:gd name="T46" fmla="*/ 38 w 151"/>
                <a:gd name="T47" fmla="*/ 8 h 69"/>
                <a:gd name="T48" fmla="*/ 27 w 151"/>
                <a:gd name="T49" fmla="*/ 1 h 69"/>
                <a:gd name="T50" fmla="*/ 23 w 151"/>
                <a:gd name="T51" fmla="*/ 3 h 69"/>
                <a:gd name="T52" fmla="*/ 25 w 151"/>
                <a:gd name="T53" fmla="*/ 9 h 69"/>
                <a:gd name="T54" fmla="*/ 26 w 151"/>
                <a:gd name="T55" fmla="*/ 12 h 69"/>
                <a:gd name="T56" fmla="*/ 13 w 151"/>
                <a:gd name="T57" fmla="*/ 8 h 69"/>
                <a:gd name="T58" fmla="*/ 13 w 151"/>
                <a:gd name="T59" fmla="*/ 11 h 69"/>
                <a:gd name="T60" fmla="*/ 14 w 151"/>
                <a:gd name="T61" fmla="*/ 15 h 69"/>
                <a:gd name="T62" fmla="*/ 16 w 151"/>
                <a:gd name="T63" fmla="*/ 18 h 69"/>
                <a:gd name="T64" fmla="*/ 10 w 151"/>
                <a:gd name="T65" fmla="*/ 18 h 69"/>
                <a:gd name="T66" fmla="*/ 5 w 151"/>
                <a:gd name="T67" fmla="*/ 20 h 69"/>
                <a:gd name="T68" fmla="*/ 8 w 151"/>
                <a:gd name="T69" fmla="*/ 25 h 69"/>
                <a:gd name="T70" fmla="*/ 22 w 151"/>
                <a:gd name="T71" fmla="*/ 21 h 69"/>
                <a:gd name="T72" fmla="*/ 30 w 151"/>
                <a:gd name="T73" fmla="*/ 23 h 69"/>
                <a:gd name="T74" fmla="*/ 39 w 151"/>
                <a:gd name="T75" fmla="*/ 25 h 69"/>
                <a:gd name="T76" fmla="*/ 30 w 151"/>
                <a:gd name="T77" fmla="*/ 31 h 69"/>
                <a:gd name="T78" fmla="*/ 34 w 151"/>
                <a:gd name="T79" fmla="*/ 33 h 69"/>
                <a:gd name="T80" fmla="*/ 21 w 151"/>
                <a:gd name="T81" fmla="*/ 34 h 69"/>
                <a:gd name="T82" fmla="*/ 7 w 151"/>
                <a:gd name="T83" fmla="*/ 38 h 69"/>
                <a:gd name="T84" fmla="*/ 21 w 151"/>
                <a:gd name="T85" fmla="*/ 38 h 69"/>
                <a:gd name="T86" fmla="*/ 32 w 151"/>
                <a:gd name="T87" fmla="*/ 41 h 69"/>
                <a:gd name="T88" fmla="*/ 35 w 151"/>
                <a:gd name="T89" fmla="*/ 44 h 69"/>
                <a:gd name="T90" fmla="*/ 40 w 151"/>
                <a:gd name="T91" fmla="*/ 43 h 69"/>
                <a:gd name="T92" fmla="*/ 35 w 151"/>
                <a:gd name="T93" fmla="*/ 50 h 69"/>
                <a:gd name="T94" fmla="*/ 40 w 151"/>
                <a:gd name="T95" fmla="*/ 48 h 69"/>
                <a:gd name="T96" fmla="*/ 35 w 151"/>
                <a:gd name="T97" fmla="*/ 54 h 69"/>
                <a:gd name="T98" fmla="*/ 24 w 151"/>
                <a:gd name="T99" fmla="*/ 59 h 69"/>
                <a:gd name="T100" fmla="*/ 38 w 151"/>
                <a:gd name="T101" fmla="*/ 59 h 69"/>
                <a:gd name="T102" fmla="*/ 47 w 151"/>
                <a:gd name="T103" fmla="*/ 59 h 69"/>
                <a:gd name="T104" fmla="*/ 56 w 151"/>
                <a:gd name="T105" fmla="*/ 60 h 69"/>
                <a:gd name="T106" fmla="*/ 61 w 151"/>
                <a:gd name="T107" fmla="*/ 66 h 69"/>
                <a:gd name="T108" fmla="*/ 72 w 151"/>
                <a:gd name="T109" fmla="*/ 68 h 69"/>
                <a:gd name="T110" fmla="*/ 85 w 151"/>
                <a:gd name="T111" fmla="*/ 67 h 69"/>
                <a:gd name="T112" fmla="*/ 91 w 151"/>
                <a:gd name="T113" fmla="*/ 62 h 69"/>
                <a:gd name="T114" fmla="*/ 103 w 151"/>
                <a:gd name="T115" fmla="*/ 61 h 69"/>
                <a:gd name="T116" fmla="*/ 112 w 151"/>
                <a:gd name="T117" fmla="*/ 57 h 69"/>
                <a:gd name="T118" fmla="*/ 123 w 151"/>
                <a:gd name="T119" fmla="*/ 51 h 69"/>
                <a:gd name="T120" fmla="*/ 132 w 151"/>
                <a:gd name="T121" fmla="*/ 4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51" h="69">
                  <a:moveTo>
                    <a:pt x="137" y="46"/>
                  </a:moveTo>
                  <a:lnTo>
                    <a:pt x="137" y="46"/>
                  </a:lnTo>
                  <a:lnTo>
                    <a:pt x="136" y="43"/>
                  </a:lnTo>
                  <a:lnTo>
                    <a:pt x="140" y="41"/>
                  </a:lnTo>
                  <a:lnTo>
                    <a:pt x="142" y="41"/>
                  </a:lnTo>
                  <a:lnTo>
                    <a:pt x="145" y="38"/>
                  </a:lnTo>
                  <a:lnTo>
                    <a:pt x="146" y="38"/>
                  </a:lnTo>
                  <a:lnTo>
                    <a:pt x="144" y="36"/>
                  </a:lnTo>
                  <a:lnTo>
                    <a:pt x="148" y="35"/>
                  </a:lnTo>
                  <a:lnTo>
                    <a:pt x="144" y="34"/>
                  </a:lnTo>
                  <a:lnTo>
                    <a:pt x="142" y="34"/>
                  </a:lnTo>
                  <a:lnTo>
                    <a:pt x="145" y="33"/>
                  </a:lnTo>
                  <a:lnTo>
                    <a:pt x="148" y="34"/>
                  </a:lnTo>
                  <a:lnTo>
                    <a:pt x="150" y="33"/>
                  </a:lnTo>
                  <a:lnTo>
                    <a:pt x="151" y="31"/>
                  </a:lnTo>
                  <a:lnTo>
                    <a:pt x="148" y="29"/>
                  </a:lnTo>
                  <a:lnTo>
                    <a:pt x="145" y="29"/>
                  </a:lnTo>
                  <a:lnTo>
                    <a:pt x="144" y="31"/>
                  </a:lnTo>
                  <a:lnTo>
                    <a:pt x="144" y="29"/>
                  </a:lnTo>
                  <a:lnTo>
                    <a:pt x="148" y="29"/>
                  </a:lnTo>
                  <a:lnTo>
                    <a:pt x="150" y="28"/>
                  </a:lnTo>
                  <a:lnTo>
                    <a:pt x="149" y="27"/>
                  </a:lnTo>
                  <a:lnTo>
                    <a:pt x="145" y="27"/>
                  </a:lnTo>
                  <a:lnTo>
                    <a:pt x="149" y="26"/>
                  </a:lnTo>
                  <a:lnTo>
                    <a:pt x="149" y="23"/>
                  </a:lnTo>
                  <a:lnTo>
                    <a:pt x="146" y="23"/>
                  </a:lnTo>
                  <a:lnTo>
                    <a:pt x="144" y="20"/>
                  </a:lnTo>
                  <a:lnTo>
                    <a:pt x="141" y="20"/>
                  </a:lnTo>
                  <a:lnTo>
                    <a:pt x="138" y="20"/>
                  </a:lnTo>
                  <a:lnTo>
                    <a:pt x="136" y="24"/>
                  </a:lnTo>
                  <a:lnTo>
                    <a:pt x="138" y="20"/>
                  </a:lnTo>
                  <a:lnTo>
                    <a:pt x="140" y="19"/>
                  </a:lnTo>
                  <a:lnTo>
                    <a:pt x="137" y="17"/>
                  </a:lnTo>
                  <a:lnTo>
                    <a:pt x="133" y="18"/>
                  </a:lnTo>
                  <a:lnTo>
                    <a:pt x="133" y="16"/>
                  </a:lnTo>
                  <a:lnTo>
                    <a:pt x="135" y="14"/>
                  </a:lnTo>
                  <a:lnTo>
                    <a:pt x="133" y="10"/>
                  </a:lnTo>
                  <a:lnTo>
                    <a:pt x="131" y="11"/>
                  </a:lnTo>
                  <a:lnTo>
                    <a:pt x="131" y="8"/>
                  </a:lnTo>
                  <a:lnTo>
                    <a:pt x="131" y="8"/>
                  </a:lnTo>
                  <a:lnTo>
                    <a:pt x="131" y="6"/>
                  </a:lnTo>
                  <a:lnTo>
                    <a:pt x="134" y="3"/>
                  </a:lnTo>
                  <a:lnTo>
                    <a:pt x="131" y="3"/>
                  </a:lnTo>
                  <a:lnTo>
                    <a:pt x="128" y="6"/>
                  </a:lnTo>
                  <a:lnTo>
                    <a:pt x="126" y="6"/>
                  </a:lnTo>
                  <a:lnTo>
                    <a:pt x="125" y="9"/>
                  </a:lnTo>
                  <a:lnTo>
                    <a:pt x="123" y="7"/>
                  </a:lnTo>
                  <a:lnTo>
                    <a:pt x="119" y="6"/>
                  </a:lnTo>
                  <a:lnTo>
                    <a:pt x="119" y="2"/>
                  </a:lnTo>
                  <a:lnTo>
                    <a:pt x="117" y="0"/>
                  </a:lnTo>
                  <a:lnTo>
                    <a:pt x="114" y="0"/>
                  </a:lnTo>
                  <a:lnTo>
                    <a:pt x="111" y="0"/>
                  </a:lnTo>
                  <a:lnTo>
                    <a:pt x="109" y="1"/>
                  </a:lnTo>
                  <a:lnTo>
                    <a:pt x="109" y="3"/>
                  </a:lnTo>
                  <a:lnTo>
                    <a:pt x="110" y="6"/>
                  </a:lnTo>
                  <a:lnTo>
                    <a:pt x="110" y="7"/>
                  </a:lnTo>
                  <a:lnTo>
                    <a:pt x="109" y="10"/>
                  </a:lnTo>
                  <a:lnTo>
                    <a:pt x="106" y="9"/>
                  </a:lnTo>
                  <a:lnTo>
                    <a:pt x="103" y="7"/>
                  </a:lnTo>
                  <a:lnTo>
                    <a:pt x="102" y="7"/>
                  </a:lnTo>
                  <a:lnTo>
                    <a:pt x="100" y="8"/>
                  </a:lnTo>
                  <a:lnTo>
                    <a:pt x="98" y="11"/>
                  </a:lnTo>
                  <a:lnTo>
                    <a:pt x="95" y="14"/>
                  </a:lnTo>
                  <a:lnTo>
                    <a:pt x="93" y="11"/>
                  </a:lnTo>
                  <a:lnTo>
                    <a:pt x="91" y="9"/>
                  </a:lnTo>
                  <a:lnTo>
                    <a:pt x="90" y="8"/>
                  </a:lnTo>
                  <a:lnTo>
                    <a:pt x="88" y="8"/>
                  </a:lnTo>
                  <a:lnTo>
                    <a:pt x="85" y="8"/>
                  </a:lnTo>
                  <a:lnTo>
                    <a:pt x="85" y="11"/>
                  </a:lnTo>
                  <a:lnTo>
                    <a:pt x="88" y="14"/>
                  </a:lnTo>
                  <a:lnTo>
                    <a:pt x="89" y="16"/>
                  </a:lnTo>
                  <a:lnTo>
                    <a:pt x="89" y="20"/>
                  </a:lnTo>
                  <a:lnTo>
                    <a:pt x="88" y="18"/>
                  </a:lnTo>
                  <a:lnTo>
                    <a:pt x="86" y="16"/>
                  </a:lnTo>
                  <a:lnTo>
                    <a:pt x="84" y="14"/>
                  </a:lnTo>
                  <a:lnTo>
                    <a:pt x="82" y="11"/>
                  </a:lnTo>
                  <a:lnTo>
                    <a:pt x="80" y="8"/>
                  </a:lnTo>
                  <a:lnTo>
                    <a:pt x="76" y="8"/>
                  </a:lnTo>
                  <a:lnTo>
                    <a:pt x="74" y="8"/>
                  </a:lnTo>
                  <a:lnTo>
                    <a:pt x="74" y="10"/>
                  </a:lnTo>
                  <a:lnTo>
                    <a:pt x="72" y="10"/>
                  </a:lnTo>
                  <a:lnTo>
                    <a:pt x="68" y="12"/>
                  </a:lnTo>
                  <a:lnTo>
                    <a:pt x="69" y="16"/>
                  </a:lnTo>
                  <a:lnTo>
                    <a:pt x="69" y="18"/>
                  </a:lnTo>
                  <a:lnTo>
                    <a:pt x="69" y="18"/>
                  </a:lnTo>
                  <a:lnTo>
                    <a:pt x="68" y="18"/>
                  </a:lnTo>
                  <a:lnTo>
                    <a:pt x="66" y="16"/>
                  </a:lnTo>
                  <a:lnTo>
                    <a:pt x="64" y="14"/>
                  </a:lnTo>
                  <a:lnTo>
                    <a:pt x="61" y="11"/>
                  </a:lnTo>
                  <a:lnTo>
                    <a:pt x="60" y="9"/>
                  </a:lnTo>
                  <a:lnTo>
                    <a:pt x="59" y="9"/>
                  </a:lnTo>
                  <a:lnTo>
                    <a:pt x="56" y="11"/>
                  </a:lnTo>
                  <a:lnTo>
                    <a:pt x="57" y="15"/>
                  </a:lnTo>
                  <a:lnTo>
                    <a:pt x="58" y="17"/>
                  </a:lnTo>
                  <a:lnTo>
                    <a:pt x="58" y="19"/>
                  </a:lnTo>
                  <a:lnTo>
                    <a:pt x="57" y="20"/>
                  </a:lnTo>
                  <a:lnTo>
                    <a:pt x="56" y="23"/>
                  </a:lnTo>
                  <a:lnTo>
                    <a:pt x="56" y="24"/>
                  </a:lnTo>
                  <a:lnTo>
                    <a:pt x="55" y="23"/>
                  </a:lnTo>
                  <a:lnTo>
                    <a:pt x="54" y="21"/>
                  </a:lnTo>
                  <a:lnTo>
                    <a:pt x="51" y="20"/>
                  </a:lnTo>
                  <a:lnTo>
                    <a:pt x="48" y="23"/>
                  </a:lnTo>
                  <a:lnTo>
                    <a:pt x="47" y="25"/>
                  </a:lnTo>
                  <a:lnTo>
                    <a:pt x="47" y="28"/>
                  </a:lnTo>
                  <a:lnTo>
                    <a:pt x="47" y="31"/>
                  </a:lnTo>
                  <a:lnTo>
                    <a:pt x="46" y="28"/>
                  </a:lnTo>
                  <a:lnTo>
                    <a:pt x="46" y="25"/>
                  </a:lnTo>
                  <a:lnTo>
                    <a:pt x="43" y="23"/>
                  </a:lnTo>
                  <a:lnTo>
                    <a:pt x="42" y="20"/>
                  </a:lnTo>
                  <a:lnTo>
                    <a:pt x="39" y="20"/>
                  </a:lnTo>
                  <a:lnTo>
                    <a:pt x="38" y="17"/>
                  </a:lnTo>
                  <a:lnTo>
                    <a:pt x="40" y="19"/>
                  </a:lnTo>
                  <a:lnTo>
                    <a:pt x="43" y="18"/>
                  </a:lnTo>
                  <a:lnTo>
                    <a:pt x="44" y="16"/>
                  </a:lnTo>
                  <a:lnTo>
                    <a:pt x="43" y="12"/>
                  </a:lnTo>
                  <a:lnTo>
                    <a:pt x="41" y="12"/>
                  </a:lnTo>
                  <a:lnTo>
                    <a:pt x="43" y="11"/>
                  </a:lnTo>
                  <a:lnTo>
                    <a:pt x="41" y="10"/>
                  </a:lnTo>
                  <a:lnTo>
                    <a:pt x="39" y="10"/>
                  </a:lnTo>
                  <a:lnTo>
                    <a:pt x="38" y="8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1" y="6"/>
                  </a:lnTo>
                  <a:lnTo>
                    <a:pt x="30" y="3"/>
                  </a:lnTo>
                  <a:lnTo>
                    <a:pt x="27" y="1"/>
                  </a:lnTo>
                  <a:lnTo>
                    <a:pt x="24" y="2"/>
                  </a:lnTo>
                  <a:lnTo>
                    <a:pt x="22" y="2"/>
                  </a:lnTo>
                  <a:lnTo>
                    <a:pt x="18" y="2"/>
                  </a:lnTo>
                  <a:lnTo>
                    <a:pt x="20" y="4"/>
                  </a:lnTo>
                  <a:lnTo>
                    <a:pt x="23" y="3"/>
                  </a:lnTo>
                  <a:lnTo>
                    <a:pt x="25" y="6"/>
                  </a:lnTo>
                  <a:lnTo>
                    <a:pt x="29" y="6"/>
                  </a:lnTo>
                  <a:lnTo>
                    <a:pt x="25" y="7"/>
                  </a:lnTo>
                  <a:lnTo>
                    <a:pt x="23" y="8"/>
                  </a:lnTo>
                  <a:lnTo>
                    <a:pt x="25" y="9"/>
                  </a:lnTo>
                  <a:lnTo>
                    <a:pt x="27" y="10"/>
                  </a:lnTo>
                  <a:lnTo>
                    <a:pt x="26" y="14"/>
                  </a:lnTo>
                  <a:lnTo>
                    <a:pt x="25" y="16"/>
                  </a:lnTo>
                  <a:lnTo>
                    <a:pt x="26" y="15"/>
                  </a:lnTo>
                  <a:lnTo>
                    <a:pt x="26" y="12"/>
                  </a:lnTo>
                  <a:lnTo>
                    <a:pt x="24" y="12"/>
                  </a:lnTo>
                  <a:lnTo>
                    <a:pt x="21" y="11"/>
                  </a:lnTo>
                  <a:lnTo>
                    <a:pt x="18" y="9"/>
                  </a:lnTo>
                  <a:lnTo>
                    <a:pt x="16" y="8"/>
                  </a:lnTo>
                  <a:lnTo>
                    <a:pt x="13" y="8"/>
                  </a:lnTo>
                  <a:lnTo>
                    <a:pt x="13" y="9"/>
                  </a:lnTo>
                  <a:lnTo>
                    <a:pt x="15" y="10"/>
                  </a:lnTo>
                  <a:lnTo>
                    <a:pt x="13" y="10"/>
                  </a:lnTo>
                  <a:lnTo>
                    <a:pt x="15" y="12"/>
                  </a:lnTo>
                  <a:lnTo>
                    <a:pt x="13" y="11"/>
                  </a:lnTo>
                  <a:lnTo>
                    <a:pt x="9" y="10"/>
                  </a:lnTo>
                  <a:lnTo>
                    <a:pt x="12" y="14"/>
                  </a:lnTo>
                  <a:lnTo>
                    <a:pt x="14" y="15"/>
                  </a:lnTo>
                  <a:lnTo>
                    <a:pt x="17" y="16"/>
                  </a:lnTo>
                  <a:lnTo>
                    <a:pt x="14" y="15"/>
                  </a:lnTo>
                  <a:lnTo>
                    <a:pt x="12" y="14"/>
                  </a:lnTo>
                  <a:lnTo>
                    <a:pt x="8" y="15"/>
                  </a:lnTo>
                  <a:lnTo>
                    <a:pt x="10" y="17"/>
                  </a:lnTo>
                  <a:lnTo>
                    <a:pt x="13" y="17"/>
                  </a:lnTo>
                  <a:lnTo>
                    <a:pt x="16" y="18"/>
                  </a:lnTo>
                  <a:lnTo>
                    <a:pt x="13" y="18"/>
                  </a:lnTo>
                  <a:lnTo>
                    <a:pt x="14" y="18"/>
                  </a:lnTo>
                  <a:lnTo>
                    <a:pt x="16" y="19"/>
                  </a:lnTo>
                  <a:lnTo>
                    <a:pt x="13" y="20"/>
                  </a:lnTo>
                  <a:lnTo>
                    <a:pt x="10" y="18"/>
                  </a:lnTo>
                  <a:lnTo>
                    <a:pt x="8" y="17"/>
                  </a:lnTo>
                  <a:lnTo>
                    <a:pt x="5" y="17"/>
                  </a:lnTo>
                  <a:lnTo>
                    <a:pt x="7" y="19"/>
                  </a:lnTo>
                  <a:lnTo>
                    <a:pt x="7" y="21"/>
                  </a:lnTo>
                  <a:lnTo>
                    <a:pt x="5" y="20"/>
                  </a:lnTo>
                  <a:lnTo>
                    <a:pt x="1" y="20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6" y="24"/>
                  </a:lnTo>
                  <a:lnTo>
                    <a:pt x="8" y="25"/>
                  </a:lnTo>
                  <a:lnTo>
                    <a:pt x="10" y="25"/>
                  </a:lnTo>
                  <a:lnTo>
                    <a:pt x="13" y="24"/>
                  </a:lnTo>
                  <a:lnTo>
                    <a:pt x="16" y="24"/>
                  </a:lnTo>
                  <a:lnTo>
                    <a:pt x="18" y="21"/>
                  </a:lnTo>
                  <a:lnTo>
                    <a:pt x="22" y="21"/>
                  </a:lnTo>
                  <a:lnTo>
                    <a:pt x="22" y="21"/>
                  </a:lnTo>
                  <a:lnTo>
                    <a:pt x="24" y="23"/>
                  </a:lnTo>
                  <a:lnTo>
                    <a:pt x="24" y="20"/>
                  </a:lnTo>
                  <a:lnTo>
                    <a:pt x="26" y="20"/>
                  </a:lnTo>
                  <a:lnTo>
                    <a:pt x="30" y="23"/>
                  </a:lnTo>
                  <a:lnTo>
                    <a:pt x="32" y="21"/>
                  </a:lnTo>
                  <a:lnTo>
                    <a:pt x="30" y="25"/>
                  </a:lnTo>
                  <a:lnTo>
                    <a:pt x="33" y="23"/>
                  </a:lnTo>
                  <a:lnTo>
                    <a:pt x="35" y="25"/>
                  </a:lnTo>
                  <a:lnTo>
                    <a:pt x="39" y="25"/>
                  </a:lnTo>
                  <a:lnTo>
                    <a:pt x="38" y="25"/>
                  </a:lnTo>
                  <a:lnTo>
                    <a:pt x="34" y="25"/>
                  </a:lnTo>
                  <a:lnTo>
                    <a:pt x="32" y="27"/>
                  </a:lnTo>
                  <a:lnTo>
                    <a:pt x="30" y="28"/>
                  </a:lnTo>
                  <a:lnTo>
                    <a:pt x="30" y="31"/>
                  </a:lnTo>
                  <a:lnTo>
                    <a:pt x="32" y="32"/>
                  </a:lnTo>
                  <a:lnTo>
                    <a:pt x="34" y="32"/>
                  </a:lnTo>
                  <a:lnTo>
                    <a:pt x="38" y="32"/>
                  </a:lnTo>
                  <a:lnTo>
                    <a:pt x="34" y="34"/>
                  </a:lnTo>
                  <a:lnTo>
                    <a:pt x="34" y="33"/>
                  </a:lnTo>
                  <a:lnTo>
                    <a:pt x="31" y="33"/>
                  </a:lnTo>
                  <a:lnTo>
                    <a:pt x="29" y="33"/>
                  </a:lnTo>
                  <a:lnTo>
                    <a:pt x="26" y="34"/>
                  </a:lnTo>
                  <a:lnTo>
                    <a:pt x="23" y="34"/>
                  </a:lnTo>
                  <a:lnTo>
                    <a:pt x="21" y="34"/>
                  </a:lnTo>
                  <a:lnTo>
                    <a:pt x="17" y="34"/>
                  </a:lnTo>
                  <a:lnTo>
                    <a:pt x="15" y="35"/>
                  </a:lnTo>
                  <a:lnTo>
                    <a:pt x="13" y="36"/>
                  </a:lnTo>
                  <a:lnTo>
                    <a:pt x="9" y="36"/>
                  </a:lnTo>
                  <a:lnTo>
                    <a:pt x="7" y="38"/>
                  </a:lnTo>
                  <a:lnTo>
                    <a:pt x="9" y="41"/>
                  </a:lnTo>
                  <a:lnTo>
                    <a:pt x="13" y="38"/>
                  </a:lnTo>
                  <a:lnTo>
                    <a:pt x="15" y="38"/>
                  </a:lnTo>
                  <a:lnTo>
                    <a:pt x="17" y="38"/>
                  </a:lnTo>
                  <a:lnTo>
                    <a:pt x="21" y="38"/>
                  </a:lnTo>
                  <a:lnTo>
                    <a:pt x="23" y="38"/>
                  </a:lnTo>
                  <a:lnTo>
                    <a:pt x="26" y="40"/>
                  </a:lnTo>
                  <a:lnTo>
                    <a:pt x="29" y="38"/>
                  </a:lnTo>
                  <a:lnTo>
                    <a:pt x="30" y="42"/>
                  </a:lnTo>
                  <a:lnTo>
                    <a:pt x="32" y="41"/>
                  </a:lnTo>
                  <a:lnTo>
                    <a:pt x="30" y="41"/>
                  </a:lnTo>
                  <a:lnTo>
                    <a:pt x="30" y="44"/>
                  </a:lnTo>
                  <a:lnTo>
                    <a:pt x="32" y="46"/>
                  </a:lnTo>
                  <a:lnTo>
                    <a:pt x="33" y="46"/>
                  </a:lnTo>
                  <a:lnTo>
                    <a:pt x="35" y="44"/>
                  </a:lnTo>
                  <a:lnTo>
                    <a:pt x="38" y="43"/>
                  </a:lnTo>
                  <a:lnTo>
                    <a:pt x="40" y="42"/>
                  </a:lnTo>
                  <a:lnTo>
                    <a:pt x="41" y="42"/>
                  </a:lnTo>
                  <a:lnTo>
                    <a:pt x="40" y="43"/>
                  </a:lnTo>
                  <a:lnTo>
                    <a:pt x="40" y="43"/>
                  </a:lnTo>
                  <a:lnTo>
                    <a:pt x="39" y="43"/>
                  </a:lnTo>
                  <a:lnTo>
                    <a:pt x="38" y="44"/>
                  </a:lnTo>
                  <a:lnTo>
                    <a:pt x="35" y="45"/>
                  </a:lnTo>
                  <a:lnTo>
                    <a:pt x="34" y="46"/>
                  </a:lnTo>
                  <a:lnTo>
                    <a:pt x="35" y="50"/>
                  </a:lnTo>
                  <a:lnTo>
                    <a:pt x="38" y="48"/>
                  </a:lnTo>
                  <a:lnTo>
                    <a:pt x="40" y="48"/>
                  </a:lnTo>
                  <a:lnTo>
                    <a:pt x="43" y="48"/>
                  </a:lnTo>
                  <a:lnTo>
                    <a:pt x="42" y="49"/>
                  </a:lnTo>
                  <a:lnTo>
                    <a:pt x="40" y="48"/>
                  </a:lnTo>
                  <a:lnTo>
                    <a:pt x="37" y="50"/>
                  </a:lnTo>
                  <a:lnTo>
                    <a:pt x="38" y="52"/>
                  </a:lnTo>
                  <a:lnTo>
                    <a:pt x="37" y="53"/>
                  </a:lnTo>
                  <a:lnTo>
                    <a:pt x="34" y="53"/>
                  </a:lnTo>
                  <a:lnTo>
                    <a:pt x="35" y="54"/>
                  </a:lnTo>
                  <a:lnTo>
                    <a:pt x="33" y="55"/>
                  </a:lnTo>
                  <a:lnTo>
                    <a:pt x="30" y="55"/>
                  </a:lnTo>
                  <a:lnTo>
                    <a:pt x="27" y="57"/>
                  </a:lnTo>
                  <a:lnTo>
                    <a:pt x="25" y="55"/>
                  </a:lnTo>
                  <a:lnTo>
                    <a:pt x="24" y="59"/>
                  </a:lnTo>
                  <a:lnTo>
                    <a:pt x="27" y="60"/>
                  </a:lnTo>
                  <a:lnTo>
                    <a:pt x="30" y="59"/>
                  </a:lnTo>
                  <a:lnTo>
                    <a:pt x="32" y="60"/>
                  </a:lnTo>
                  <a:lnTo>
                    <a:pt x="35" y="60"/>
                  </a:lnTo>
                  <a:lnTo>
                    <a:pt x="38" y="59"/>
                  </a:lnTo>
                  <a:lnTo>
                    <a:pt x="40" y="60"/>
                  </a:lnTo>
                  <a:lnTo>
                    <a:pt x="43" y="60"/>
                  </a:lnTo>
                  <a:lnTo>
                    <a:pt x="44" y="58"/>
                  </a:lnTo>
                  <a:lnTo>
                    <a:pt x="48" y="58"/>
                  </a:lnTo>
                  <a:lnTo>
                    <a:pt x="47" y="59"/>
                  </a:lnTo>
                  <a:lnTo>
                    <a:pt x="49" y="60"/>
                  </a:lnTo>
                  <a:lnTo>
                    <a:pt x="52" y="59"/>
                  </a:lnTo>
                  <a:lnTo>
                    <a:pt x="51" y="61"/>
                  </a:lnTo>
                  <a:lnTo>
                    <a:pt x="54" y="62"/>
                  </a:lnTo>
                  <a:lnTo>
                    <a:pt x="56" y="60"/>
                  </a:lnTo>
                  <a:lnTo>
                    <a:pt x="57" y="62"/>
                  </a:lnTo>
                  <a:lnTo>
                    <a:pt x="56" y="63"/>
                  </a:lnTo>
                  <a:lnTo>
                    <a:pt x="58" y="66"/>
                  </a:lnTo>
                  <a:lnTo>
                    <a:pt x="60" y="66"/>
                  </a:lnTo>
                  <a:lnTo>
                    <a:pt x="61" y="66"/>
                  </a:lnTo>
                  <a:lnTo>
                    <a:pt x="61" y="67"/>
                  </a:lnTo>
                  <a:lnTo>
                    <a:pt x="65" y="67"/>
                  </a:lnTo>
                  <a:lnTo>
                    <a:pt x="67" y="67"/>
                  </a:lnTo>
                  <a:lnTo>
                    <a:pt x="69" y="68"/>
                  </a:lnTo>
                  <a:lnTo>
                    <a:pt x="72" y="68"/>
                  </a:lnTo>
                  <a:lnTo>
                    <a:pt x="74" y="69"/>
                  </a:lnTo>
                  <a:lnTo>
                    <a:pt x="77" y="69"/>
                  </a:lnTo>
                  <a:lnTo>
                    <a:pt x="80" y="69"/>
                  </a:lnTo>
                  <a:lnTo>
                    <a:pt x="82" y="69"/>
                  </a:lnTo>
                  <a:lnTo>
                    <a:pt x="85" y="67"/>
                  </a:lnTo>
                  <a:lnTo>
                    <a:pt x="85" y="67"/>
                  </a:lnTo>
                  <a:lnTo>
                    <a:pt x="89" y="67"/>
                  </a:lnTo>
                  <a:lnTo>
                    <a:pt x="91" y="64"/>
                  </a:lnTo>
                  <a:lnTo>
                    <a:pt x="90" y="64"/>
                  </a:lnTo>
                  <a:lnTo>
                    <a:pt x="91" y="62"/>
                  </a:lnTo>
                  <a:lnTo>
                    <a:pt x="93" y="62"/>
                  </a:lnTo>
                  <a:lnTo>
                    <a:pt x="97" y="61"/>
                  </a:lnTo>
                  <a:lnTo>
                    <a:pt x="99" y="61"/>
                  </a:lnTo>
                  <a:lnTo>
                    <a:pt x="100" y="61"/>
                  </a:lnTo>
                  <a:lnTo>
                    <a:pt x="103" y="61"/>
                  </a:lnTo>
                  <a:lnTo>
                    <a:pt x="103" y="58"/>
                  </a:lnTo>
                  <a:lnTo>
                    <a:pt x="105" y="61"/>
                  </a:lnTo>
                  <a:lnTo>
                    <a:pt x="107" y="59"/>
                  </a:lnTo>
                  <a:lnTo>
                    <a:pt x="109" y="59"/>
                  </a:lnTo>
                  <a:lnTo>
                    <a:pt x="112" y="57"/>
                  </a:lnTo>
                  <a:lnTo>
                    <a:pt x="112" y="57"/>
                  </a:lnTo>
                  <a:lnTo>
                    <a:pt x="115" y="55"/>
                  </a:lnTo>
                  <a:lnTo>
                    <a:pt x="117" y="53"/>
                  </a:lnTo>
                  <a:lnTo>
                    <a:pt x="120" y="52"/>
                  </a:lnTo>
                  <a:lnTo>
                    <a:pt x="123" y="51"/>
                  </a:lnTo>
                  <a:lnTo>
                    <a:pt x="125" y="49"/>
                  </a:lnTo>
                  <a:lnTo>
                    <a:pt x="125" y="49"/>
                  </a:lnTo>
                  <a:lnTo>
                    <a:pt x="126" y="50"/>
                  </a:lnTo>
                  <a:lnTo>
                    <a:pt x="129" y="50"/>
                  </a:lnTo>
                  <a:lnTo>
                    <a:pt x="132" y="49"/>
                  </a:lnTo>
                  <a:lnTo>
                    <a:pt x="134" y="48"/>
                  </a:lnTo>
                  <a:lnTo>
                    <a:pt x="134" y="48"/>
                  </a:lnTo>
                  <a:lnTo>
                    <a:pt x="137" y="46"/>
                  </a:lnTo>
                  <a:lnTo>
                    <a:pt x="137" y="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31" name="Freeform 231">
              <a:extLst>
                <a:ext uri="{FF2B5EF4-FFF2-40B4-BE49-F238E27FC236}">
                  <a16:creationId xmlns:a16="http://schemas.microsoft.com/office/drawing/2014/main" id="{E48F5449-4FEB-4FC2-9677-95DFBC1BA70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9138" y="2473325"/>
              <a:ext cx="398462" cy="195263"/>
            </a:xfrm>
            <a:custGeom>
              <a:avLst/>
              <a:gdLst>
                <a:gd name="T0" fmla="*/ 238 w 251"/>
                <a:gd name="T1" fmla="*/ 93 h 123"/>
                <a:gd name="T2" fmla="*/ 226 w 251"/>
                <a:gd name="T3" fmla="*/ 97 h 123"/>
                <a:gd name="T4" fmla="*/ 220 w 251"/>
                <a:gd name="T5" fmla="*/ 103 h 123"/>
                <a:gd name="T6" fmla="*/ 235 w 251"/>
                <a:gd name="T7" fmla="*/ 99 h 123"/>
                <a:gd name="T8" fmla="*/ 233 w 251"/>
                <a:gd name="T9" fmla="*/ 111 h 123"/>
                <a:gd name="T10" fmla="*/ 211 w 251"/>
                <a:gd name="T11" fmla="*/ 114 h 123"/>
                <a:gd name="T12" fmla="*/ 191 w 251"/>
                <a:gd name="T13" fmla="*/ 110 h 123"/>
                <a:gd name="T14" fmla="*/ 177 w 251"/>
                <a:gd name="T15" fmla="*/ 107 h 123"/>
                <a:gd name="T16" fmla="*/ 167 w 251"/>
                <a:gd name="T17" fmla="*/ 106 h 123"/>
                <a:gd name="T18" fmla="*/ 148 w 251"/>
                <a:gd name="T19" fmla="*/ 111 h 123"/>
                <a:gd name="T20" fmla="*/ 128 w 251"/>
                <a:gd name="T21" fmla="*/ 118 h 123"/>
                <a:gd name="T22" fmla="*/ 109 w 251"/>
                <a:gd name="T23" fmla="*/ 120 h 123"/>
                <a:gd name="T24" fmla="*/ 90 w 251"/>
                <a:gd name="T25" fmla="*/ 122 h 123"/>
                <a:gd name="T26" fmla="*/ 76 w 251"/>
                <a:gd name="T27" fmla="*/ 110 h 123"/>
                <a:gd name="T28" fmla="*/ 63 w 251"/>
                <a:gd name="T29" fmla="*/ 103 h 123"/>
                <a:gd name="T30" fmla="*/ 43 w 251"/>
                <a:gd name="T31" fmla="*/ 102 h 123"/>
                <a:gd name="T32" fmla="*/ 25 w 251"/>
                <a:gd name="T33" fmla="*/ 91 h 123"/>
                <a:gd name="T34" fmla="*/ 38 w 251"/>
                <a:gd name="T35" fmla="*/ 81 h 123"/>
                <a:gd name="T36" fmla="*/ 58 w 251"/>
                <a:gd name="T37" fmla="*/ 78 h 123"/>
                <a:gd name="T38" fmla="*/ 77 w 251"/>
                <a:gd name="T39" fmla="*/ 78 h 123"/>
                <a:gd name="T40" fmla="*/ 97 w 251"/>
                <a:gd name="T41" fmla="*/ 78 h 123"/>
                <a:gd name="T42" fmla="*/ 96 w 251"/>
                <a:gd name="T43" fmla="*/ 73 h 123"/>
                <a:gd name="T44" fmla="*/ 76 w 251"/>
                <a:gd name="T45" fmla="*/ 69 h 123"/>
                <a:gd name="T46" fmla="*/ 56 w 251"/>
                <a:gd name="T47" fmla="*/ 71 h 123"/>
                <a:gd name="T48" fmla="*/ 34 w 251"/>
                <a:gd name="T49" fmla="*/ 71 h 123"/>
                <a:gd name="T50" fmla="*/ 16 w 251"/>
                <a:gd name="T51" fmla="*/ 66 h 123"/>
                <a:gd name="T52" fmla="*/ 23 w 251"/>
                <a:gd name="T53" fmla="*/ 56 h 123"/>
                <a:gd name="T54" fmla="*/ 45 w 251"/>
                <a:gd name="T55" fmla="*/ 51 h 123"/>
                <a:gd name="T56" fmla="*/ 53 w 251"/>
                <a:gd name="T57" fmla="*/ 49 h 123"/>
                <a:gd name="T58" fmla="*/ 33 w 251"/>
                <a:gd name="T59" fmla="*/ 49 h 123"/>
                <a:gd name="T60" fmla="*/ 14 w 251"/>
                <a:gd name="T61" fmla="*/ 51 h 123"/>
                <a:gd name="T62" fmla="*/ 12 w 251"/>
                <a:gd name="T63" fmla="*/ 46 h 123"/>
                <a:gd name="T64" fmla="*/ 4 w 251"/>
                <a:gd name="T65" fmla="*/ 35 h 123"/>
                <a:gd name="T66" fmla="*/ 7 w 251"/>
                <a:gd name="T67" fmla="*/ 24 h 123"/>
                <a:gd name="T68" fmla="*/ 26 w 251"/>
                <a:gd name="T69" fmla="*/ 12 h 123"/>
                <a:gd name="T70" fmla="*/ 46 w 251"/>
                <a:gd name="T71" fmla="*/ 5 h 123"/>
                <a:gd name="T72" fmla="*/ 64 w 251"/>
                <a:gd name="T73" fmla="*/ 0 h 123"/>
                <a:gd name="T74" fmla="*/ 68 w 251"/>
                <a:gd name="T75" fmla="*/ 15 h 123"/>
                <a:gd name="T76" fmla="*/ 71 w 251"/>
                <a:gd name="T77" fmla="*/ 18 h 123"/>
                <a:gd name="T78" fmla="*/ 83 w 251"/>
                <a:gd name="T79" fmla="*/ 9 h 123"/>
                <a:gd name="T80" fmla="*/ 104 w 251"/>
                <a:gd name="T81" fmla="*/ 15 h 123"/>
                <a:gd name="T82" fmla="*/ 100 w 251"/>
                <a:gd name="T83" fmla="*/ 28 h 123"/>
                <a:gd name="T84" fmla="*/ 111 w 251"/>
                <a:gd name="T85" fmla="*/ 23 h 123"/>
                <a:gd name="T86" fmla="*/ 125 w 251"/>
                <a:gd name="T87" fmla="*/ 23 h 123"/>
                <a:gd name="T88" fmla="*/ 125 w 251"/>
                <a:gd name="T89" fmla="*/ 17 h 123"/>
                <a:gd name="T90" fmla="*/ 116 w 251"/>
                <a:gd name="T91" fmla="*/ 12 h 123"/>
                <a:gd name="T92" fmla="*/ 131 w 251"/>
                <a:gd name="T93" fmla="*/ 14 h 123"/>
                <a:gd name="T94" fmla="*/ 144 w 251"/>
                <a:gd name="T95" fmla="*/ 22 h 123"/>
                <a:gd name="T96" fmla="*/ 149 w 251"/>
                <a:gd name="T97" fmla="*/ 40 h 123"/>
                <a:gd name="T98" fmla="*/ 162 w 251"/>
                <a:gd name="T99" fmla="*/ 40 h 123"/>
                <a:gd name="T100" fmla="*/ 154 w 251"/>
                <a:gd name="T101" fmla="*/ 23 h 123"/>
                <a:gd name="T102" fmla="*/ 149 w 251"/>
                <a:gd name="T103" fmla="*/ 6 h 123"/>
                <a:gd name="T104" fmla="*/ 160 w 251"/>
                <a:gd name="T105" fmla="*/ 3 h 123"/>
                <a:gd name="T106" fmla="*/ 177 w 251"/>
                <a:gd name="T107" fmla="*/ 7 h 123"/>
                <a:gd name="T108" fmla="*/ 191 w 251"/>
                <a:gd name="T109" fmla="*/ 23 h 123"/>
                <a:gd name="T110" fmla="*/ 199 w 251"/>
                <a:gd name="T111" fmla="*/ 41 h 123"/>
                <a:gd name="T112" fmla="*/ 199 w 251"/>
                <a:gd name="T113" fmla="*/ 58 h 123"/>
                <a:gd name="T114" fmla="*/ 217 w 251"/>
                <a:gd name="T115" fmla="*/ 71 h 123"/>
                <a:gd name="T116" fmla="*/ 227 w 251"/>
                <a:gd name="T117" fmla="*/ 74 h 123"/>
                <a:gd name="T118" fmla="*/ 243 w 251"/>
                <a:gd name="T119" fmla="*/ 82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51" h="123">
                  <a:moveTo>
                    <a:pt x="250" y="85"/>
                  </a:moveTo>
                  <a:lnTo>
                    <a:pt x="250" y="89"/>
                  </a:lnTo>
                  <a:lnTo>
                    <a:pt x="251" y="91"/>
                  </a:lnTo>
                  <a:lnTo>
                    <a:pt x="250" y="93"/>
                  </a:lnTo>
                  <a:lnTo>
                    <a:pt x="244" y="93"/>
                  </a:lnTo>
                  <a:lnTo>
                    <a:pt x="242" y="91"/>
                  </a:lnTo>
                  <a:lnTo>
                    <a:pt x="238" y="93"/>
                  </a:lnTo>
                  <a:lnTo>
                    <a:pt x="236" y="92"/>
                  </a:lnTo>
                  <a:lnTo>
                    <a:pt x="234" y="90"/>
                  </a:lnTo>
                  <a:lnTo>
                    <a:pt x="232" y="90"/>
                  </a:lnTo>
                  <a:lnTo>
                    <a:pt x="228" y="91"/>
                  </a:lnTo>
                  <a:lnTo>
                    <a:pt x="226" y="91"/>
                  </a:lnTo>
                  <a:lnTo>
                    <a:pt x="228" y="94"/>
                  </a:lnTo>
                  <a:lnTo>
                    <a:pt x="226" y="97"/>
                  </a:lnTo>
                  <a:lnTo>
                    <a:pt x="224" y="97"/>
                  </a:lnTo>
                  <a:lnTo>
                    <a:pt x="220" y="95"/>
                  </a:lnTo>
                  <a:lnTo>
                    <a:pt x="218" y="94"/>
                  </a:lnTo>
                  <a:lnTo>
                    <a:pt x="216" y="95"/>
                  </a:lnTo>
                  <a:lnTo>
                    <a:pt x="220" y="98"/>
                  </a:lnTo>
                  <a:lnTo>
                    <a:pt x="221" y="100"/>
                  </a:lnTo>
                  <a:lnTo>
                    <a:pt x="220" y="103"/>
                  </a:lnTo>
                  <a:lnTo>
                    <a:pt x="220" y="106"/>
                  </a:lnTo>
                  <a:lnTo>
                    <a:pt x="221" y="103"/>
                  </a:lnTo>
                  <a:lnTo>
                    <a:pt x="225" y="101"/>
                  </a:lnTo>
                  <a:lnTo>
                    <a:pt x="227" y="100"/>
                  </a:lnTo>
                  <a:lnTo>
                    <a:pt x="229" y="99"/>
                  </a:lnTo>
                  <a:lnTo>
                    <a:pt x="233" y="98"/>
                  </a:lnTo>
                  <a:lnTo>
                    <a:pt x="235" y="99"/>
                  </a:lnTo>
                  <a:lnTo>
                    <a:pt x="234" y="102"/>
                  </a:lnTo>
                  <a:lnTo>
                    <a:pt x="233" y="105"/>
                  </a:lnTo>
                  <a:lnTo>
                    <a:pt x="235" y="103"/>
                  </a:lnTo>
                  <a:lnTo>
                    <a:pt x="238" y="106"/>
                  </a:lnTo>
                  <a:lnTo>
                    <a:pt x="237" y="108"/>
                  </a:lnTo>
                  <a:lnTo>
                    <a:pt x="235" y="110"/>
                  </a:lnTo>
                  <a:lnTo>
                    <a:pt x="233" y="111"/>
                  </a:lnTo>
                  <a:lnTo>
                    <a:pt x="229" y="111"/>
                  </a:lnTo>
                  <a:lnTo>
                    <a:pt x="227" y="114"/>
                  </a:lnTo>
                  <a:lnTo>
                    <a:pt x="221" y="115"/>
                  </a:lnTo>
                  <a:lnTo>
                    <a:pt x="219" y="114"/>
                  </a:lnTo>
                  <a:lnTo>
                    <a:pt x="216" y="115"/>
                  </a:lnTo>
                  <a:lnTo>
                    <a:pt x="213" y="114"/>
                  </a:lnTo>
                  <a:lnTo>
                    <a:pt x="211" y="114"/>
                  </a:lnTo>
                  <a:lnTo>
                    <a:pt x="208" y="114"/>
                  </a:lnTo>
                  <a:lnTo>
                    <a:pt x="205" y="112"/>
                  </a:lnTo>
                  <a:lnTo>
                    <a:pt x="202" y="111"/>
                  </a:lnTo>
                  <a:lnTo>
                    <a:pt x="200" y="114"/>
                  </a:lnTo>
                  <a:lnTo>
                    <a:pt x="196" y="114"/>
                  </a:lnTo>
                  <a:lnTo>
                    <a:pt x="194" y="112"/>
                  </a:lnTo>
                  <a:lnTo>
                    <a:pt x="191" y="110"/>
                  </a:lnTo>
                  <a:lnTo>
                    <a:pt x="194" y="108"/>
                  </a:lnTo>
                  <a:lnTo>
                    <a:pt x="191" y="108"/>
                  </a:lnTo>
                  <a:lnTo>
                    <a:pt x="188" y="108"/>
                  </a:lnTo>
                  <a:lnTo>
                    <a:pt x="186" y="106"/>
                  </a:lnTo>
                  <a:lnTo>
                    <a:pt x="183" y="106"/>
                  </a:lnTo>
                  <a:lnTo>
                    <a:pt x="181" y="106"/>
                  </a:lnTo>
                  <a:lnTo>
                    <a:pt x="177" y="107"/>
                  </a:lnTo>
                  <a:lnTo>
                    <a:pt x="175" y="105"/>
                  </a:lnTo>
                  <a:lnTo>
                    <a:pt x="176" y="102"/>
                  </a:lnTo>
                  <a:lnTo>
                    <a:pt x="174" y="99"/>
                  </a:lnTo>
                  <a:lnTo>
                    <a:pt x="171" y="98"/>
                  </a:lnTo>
                  <a:lnTo>
                    <a:pt x="169" y="101"/>
                  </a:lnTo>
                  <a:lnTo>
                    <a:pt x="167" y="102"/>
                  </a:lnTo>
                  <a:lnTo>
                    <a:pt x="167" y="106"/>
                  </a:lnTo>
                  <a:lnTo>
                    <a:pt x="164" y="107"/>
                  </a:lnTo>
                  <a:lnTo>
                    <a:pt x="161" y="109"/>
                  </a:lnTo>
                  <a:lnTo>
                    <a:pt x="159" y="110"/>
                  </a:lnTo>
                  <a:lnTo>
                    <a:pt x="156" y="110"/>
                  </a:lnTo>
                  <a:lnTo>
                    <a:pt x="153" y="111"/>
                  </a:lnTo>
                  <a:lnTo>
                    <a:pt x="150" y="111"/>
                  </a:lnTo>
                  <a:lnTo>
                    <a:pt x="148" y="111"/>
                  </a:lnTo>
                  <a:lnTo>
                    <a:pt x="144" y="114"/>
                  </a:lnTo>
                  <a:lnTo>
                    <a:pt x="142" y="115"/>
                  </a:lnTo>
                  <a:lnTo>
                    <a:pt x="139" y="116"/>
                  </a:lnTo>
                  <a:lnTo>
                    <a:pt x="136" y="117"/>
                  </a:lnTo>
                  <a:lnTo>
                    <a:pt x="134" y="117"/>
                  </a:lnTo>
                  <a:lnTo>
                    <a:pt x="131" y="118"/>
                  </a:lnTo>
                  <a:lnTo>
                    <a:pt x="128" y="118"/>
                  </a:lnTo>
                  <a:lnTo>
                    <a:pt x="125" y="119"/>
                  </a:lnTo>
                  <a:lnTo>
                    <a:pt x="123" y="118"/>
                  </a:lnTo>
                  <a:lnTo>
                    <a:pt x="119" y="119"/>
                  </a:lnTo>
                  <a:lnTo>
                    <a:pt x="117" y="119"/>
                  </a:lnTo>
                  <a:lnTo>
                    <a:pt x="115" y="120"/>
                  </a:lnTo>
                  <a:lnTo>
                    <a:pt x="111" y="119"/>
                  </a:lnTo>
                  <a:lnTo>
                    <a:pt x="109" y="120"/>
                  </a:lnTo>
                  <a:lnTo>
                    <a:pt x="106" y="120"/>
                  </a:lnTo>
                  <a:lnTo>
                    <a:pt x="109" y="122"/>
                  </a:lnTo>
                  <a:lnTo>
                    <a:pt x="106" y="122"/>
                  </a:lnTo>
                  <a:lnTo>
                    <a:pt x="104" y="120"/>
                  </a:lnTo>
                  <a:lnTo>
                    <a:pt x="94" y="122"/>
                  </a:lnTo>
                  <a:lnTo>
                    <a:pt x="92" y="122"/>
                  </a:lnTo>
                  <a:lnTo>
                    <a:pt x="90" y="122"/>
                  </a:lnTo>
                  <a:lnTo>
                    <a:pt x="87" y="123"/>
                  </a:lnTo>
                  <a:lnTo>
                    <a:pt x="84" y="123"/>
                  </a:lnTo>
                  <a:lnTo>
                    <a:pt x="81" y="120"/>
                  </a:lnTo>
                  <a:lnTo>
                    <a:pt x="79" y="119"/>
                  </a:lnTo>
                  <a:lnTo>
                    <a:pt x="76" y="116"/>
                  </a:lnTo>
                  <a:lnTo>
                    <a:pt x="76" y="114"/>
                  </a:lnTo>
                  <a:lnTo>
                    <a:pt x="76" y="110"/>
                  </a:lnTo>
                  <a:lnTo>
                    <a:pt x="75" y="108"/>
                  </a:lnTo>
                  <a:lnTo>
                    <a:pt x="76" y="106"/>
                  </a:lnTo>
                  <a:lnTo>
                    <a:pt x="74" y="105"/>
                  </a:lnTo>
                  <a:lnTo>
                    <a:pt x="71" y="103"/>
                  </a:lnTo>
                  <a:lnTo>
                    <a:pt x="68" y="103"/>
                  </a:lnTo>
                  <a:lnTo>
                    <a:pt x="65" y="103"/>
                  </a:lnTo>
                  <a:lnTo>
                    <a:pt x="63" y="103"/>
                  </a:lnTo>
                  <a:lnTo>
                    <a:pt x="59" y="103"/>
                  </a:lnTo>
                  <a:lnTo>
                    <a:pt x="57" y="103"/>
                  </a:lnTo>
                  <a:lnTo>
                    <a:pt x="55" y="105"/>
                  </a:lnTo>
                  <a:lnTo>
                    <a:pt x="51" y="103"/>
                  </a:lnTo>
                  <a:lnTo>
                    <a:pt x="49" y="103"/>
                  </a:lnTo>
                  <a:lnTo>
                    <a:pt x="46" y="103"/>
                  </a:lnTo>
                  <a:lnTo>
                    <a:pt x="43" y="102"/>
                  </a:lnTo>
                  <a:lnTo>
                    <a:pt x="41" y="101"/>
                  </a:lnTo>
                  <a:lnTo>
                    <a:pt x="38" y="100"/>
                  </a:lnTo>
                  <a:lnTo>
                    <a:pt x="36" y="100"/>
                  </a:lnTo>
                  <a:lnTo>
                    <a:pt x="33" y="97"/>
                  </a:lnTo>
                  <a:lnTo>
                    <a:pt x="31" y="94"/>
                  </a:lnTo>
                  <a:lnTo>
                    <a:pt x="29" y="93"/>
                  </a:lnTo>
                  <a:lnTo>
                    <a:pt x="25" y="91"/>
                  </a:lnTo>
                  <a:lnTo>
                    <a:pt x="25" y="89"/>
                  </a:lnTo>
                  <a:lnTo>
                    <a:pt x="23" y="85"/>
                  </a:lnTo>
                  <a:lnTo>
                    <a:pt x="24" y="84"/>
                  </a:lnTo>
                  <a:lnTo>
                    <a:pt x="28" y="83"/>
                  </a:lnTo>
                  <a:lnTo>
                    <a:pt x="30" y="83"/>
                  </a:lnTo>
                  <a:lnTo>
                    <a:pt x="33" y="82"/>
                  </a:lnTo>
                  <a:lnTo>
                    <a:pt x="38" y="81"/>
                  </a:lnTo>
                  <a:lnTo>
                    <a:pt x="41" y="81"/>
                  </a:lnTo>
                  <a:lnTo>
                    <a:pt x="43" y="80"/>
                  </a:lnTo>
                  <a:lnTo>
                    <a:pt x="47" y="80"/>
                  </a:lnTo>
                  <a:lnTo>
                    <a:pt x="49" y="80"/>
                  </a:lnTo>
                  <a:lnTo>
                    <a:pt x="53" y="78"/>
                  </a:lnTo>
                  <a:lnTo>
                    <a:pt x="55" y="78"/>
                  </a:lnTo>
                  <a:lnTo>
                    <a:pt x="58" y="78"/>
                  </a:lnTo>
                  <a:lnTo>
                    <a:pt x="60" y="78"/>
                  </a:lnTo>
                  <a:lnTo>
                    <a:pt x="64" y="78"/>
                  </a:lnTo>
                  <a:lnTo>
                    <a:pt x="66" y="77"/>
                  </a:lnTo>
                  <a:lnTo>
                    <a:pt x="68" y="78"/>
                  </a:lnTo>
                  <a:lnTo>
                    <a:pt x="72" y="78"/>
                  </a:lnTo>
                  <a:lnTo>
                    <a:pt x="74" y="78"/>
                  </a:lnTo>
                  <a:lnTo>
                    <a:pt x="77" y="78"/>
                  </a:lnTo>
                  <a:lnTo>
                    <a:pt x="80" y="78"/>
                  </a:lnTo>
                  <a:lnTo>
                    <a:pt x="83" y="80"/>
                  </a:lnTo>
                  <a:lnTo>
                    <a:pt x="85" y="80"/>
                  </a:lnTo>
                  <a:lnTo>
                    <a:pt x="89" y="81"/>
                  </a:lnTo>
                  <a:lnTo>
                    <a:pt x="91" y="80"/>
                  </a:lnTo>
                  <a:lnTo>
                    <a:pt x="94" y="78"/>
                  </a:lnTo>
                  <a:lnTo>
                    <a:pt x="97" y="78"/>
                  </a:lnTo>
                  <a:lnTo>
                    <a:pt x="99" y="78"/>
                  </a:lnTo>
                  <a:lnTo>
                    <a:pt x="102" y="78"/>
                  </a:lnTo>
                  <a:lnTo>
                    <a:pt x="105" y="77"/>
                  </a:lnTo>
                  <a:lnTo>
                    <a:pt x="102" y="77"/>
                  </a:lnTo>
                  <a:lnTo>
                    <a:pt x="99" y="76"/>
                  </a:lnTo>
                  <a:lnTo>
                    <a:pt x="98" y="76"/>
                  </a:lnTo>
                  <a:lnTo>
                    <a:pt x="96" y="73"/>
                  </a:lnTo>
                  <a:lnTo>
                    <a:pt x="92" y="73"/>
                  </a:lnTo>
                  <a:lnTo>
                    <a:pt x="90" y="73"/>
                  </a:lnTo>
                  <a:lnTo>
                    <a:pt x="87" y="72"/>
                  </a:lnTo>
                  <a:lnTo>
                    <a:pt x="84" y="72"/>
                  </a:lnTo>
                  <a:lnTo>
                    <a:pt x="82" y="71"/>
                  </a:lnTo>
                  <a:lnTo>
                    <a:pt x="79" y="69"/>
                  </a:lnTo>
                  <a:lnTo>
                    <a:pt x="76" y="69"/>
                  </a:lnTo>
                  <a:lnTo>
                    <a:pt x="73" y="68"/>
                  </a:lnTo>
                  <a:lnTo>
                    <a:pt x="71" y="68"/>
                  </a:lnTo>
                  <a:lnTo>
                    <a:pt x="67" y="69"/>
                  </a:lnTo>
                  <a:lnTo>
                    <a:pt x="65" y="69"/>
                  </a:lnTo>
                  <a:lnTo>
                    <a:pt x="62" y="71"/>
                  </a:lnTo>
                  <a:lnTo>
                    <a:pt x="59" y="71"/>
                  </a:lnTo>
                  <a:lnTo>
                    <a:pt x="56" y="71"/>
                  </a:lnTo>
                  <a:lnTo>
                    <a:pt x="51" y="71"/>
                  </a:lnTo>
                  <a:lnTo>
                    <a:pt x="48" y="71"/>
                  </a:lnTo>
                  <a:lnTo>
                    <a:pt x="46" y="71"/>
                  </a:lnTo>
                  <a:lnTo>
                    <a:pt x="42" y="72"/>
                  </a:lnTo>
                  <a:lnTo>
                    <a:pt x="40" y="71"/>
                  </a:lnTo>
                  <a:lnTo>
                    <a:pt x="37" y="71"/>
                  </a:lnTo>
                  <a:lnTo>
                    <a:pt x="34" y="71"/>
                  </a:lnTo>
                  <a:lnTo>
                    <a:pt x="32" y="71"/>
                  </a:lnTo>
                  <a:lnTo>
                    <a:pt x="29" y="71"/>
                  </a:lnTo>
                  <a:lnTo>
                    <a:pt x="26" y="71"/>
                  </a:lnTo>
                  <a:lnTo>
                    <a:pt x="23" y="71"/>
                  </a:lnTo>
                  <a:lnTo>
                    <a:pt x="21" y="71"/>
                  </a:lnTo>
                  <a:lnTo>
                    <a:pt x="19" y="67"/>
                  </a:lnTo>
                  <a:lnTo>
                    <a:pt x="16" y="66"/>
                  </a:lnTo>
                  <a:lnTo>
                    <a:pt x="13" y="65"/>
                  </a:lnTo>
                  <a:lnTo>
                    <a:pt x="11" y="61"/>
                  </a:lnTo>
                  <a:lnTo>
                    <a:pt x="13" y="59"/>
                  </a:lnTo>
                  <a:lnTo>
                    <a:pt x="15" y="58"/>
                  </a:lnTo>
                  <a:lnTo>
                    <a:pt x="17" y="57"/>
                  </a:lnTo>
                  <a:lnTo>
                    <a:pt x="21" y="57"/>
                  </a:lnTo>
                  <a:lnTo>
                    <a:pt x="23" y="56"/>
                  </a:lnTo>
                  <a:lnTo>
                    <a:pt x="26" y="56"/>
                  </a:lnTo>
                  <a:lnTo>
                    <a:pt x="32" y="55"/>
                  </a:lnTo>
                  <a:lnTo>
                    <a:pt x="33" y="54"/>
                  </a:lnTo>
                  <a:lnTo>
                    <a:pt x="36" y="52"/>
                  </a:lnTo>
                  <a:lnTo>
                    <a:pt x="39" y="52"/>
                  </a:lnTo>
                  <a:lnTo>
                    <a:pt x="41" y="52"/>
                  </a:lnTo>
                  <a:lnTo>
                    <a:pt x="45" y="51"/>
                  </a:lnTo>
                  <a:lnTo>
                    <a:pt x="41" y="50"/>
                  </a:lnTo>
                  <a:lnTo>
                    <a:pt x="45" y="49"/>
                  </a:lnTo>
                  <a:lnTo>
                    <a:pt x="47" y="49"/>
                  </a:lnTo>
                  <a:lnTo>
                    <a:pt x="50" y="49"/>
                  </a:lnTo>
                  <a:lnTo>
                    <a:pt x="53" y="49"/>
                  </a:lnTo>
                  <a:lnTo>
                    <a:pt x="56" y="48"/>
                  </a:lnTo>
                  <a:lnTo>
                    <a:pt x="53" y="49"/>
                  </a:lnTo>
                  <a:lnTo>
                    <a:pt x="50" y="48"/>
                  </a:lnTo>
                  <a:lnTo>
                    <a:pt x="47" y="47"/>
                  </a:lnTo>
                  <a:lnTo>
                    <a:pt x="45" y="48"/>
                  </a:lnTo>
                  <a:lnTo>
                    <a:pt x="42" y="48"/>
                  </a:lnTo>
                  <a:lnTo>
                    <a:pt x="39" y="49"/>
                  </a:lnTo>
                  <a:lnTo>
                    <a:pt x="37" y="49"/>
                  </a:lnTo>
                  <a:lnTo>
                    <a:pt x="33" y="49"/>
                  </a:lnTo>
                  <a:lnTo>
                    <a:pt x="31" y="50"/>
                  </a:lnTo>
                  <a:lnTo>
                    <a:pt x="28" y="50"/>
                  </a:lnTo>
                  <a:lnTo>
                    <a:pt x="25" y="51"/>
                  </a:lnTo>
                  <a:lnTo>
                    <a:pt x="23" y="50"/>
                  </a:lnTo>
                  <a:lnTo>
                    <a:pt x="20" y="51"/>
                  </a:lnTo>
                  <a:lnTo>
                    <a:pt x="17" y="51"/>
                  </a:lnTo>
                  <a:lnTo>
                    <a:pt x="14" y="51"/>
                  </a:lnTo>
                  <a:lnTo>
                    <a:pt x="12" y="49"/>
                  </a:lnTo>
                  <a:lnTo>
                    <a:pt x="14" y="48"/>
                  </a:lnTo>
                  <a:lnTo>
                    <a:pt x="17" y="48"/>
                  </a:lnTo>
                  <a:lnTo>
                    <a:pt x="20" y="47"/>
                  </a:lnTo>
                  <a:lnTo>
                    <a:pt x="17" y="45"/>
                  </a:lnTo>
                  <a:lnTo>
                    <a:pt x="14" y="45"/>
                  </a:lnTo>
                  <a:lnTo>
                    <a:pt x="12" y="46"/>
                  </a:lnTo>
                  <a:lnTo>
                    <a:pt x="10" y="45"/>
                  </a:lnTo>
                  <a:lnTo>
                    <a:pt x="6" y="45"/>
                  </a:lnTo>
                  <a:lnTo>
                    <a:pt x="4" y="47"/>
                  </a:lnTo>
                  <a:lnTo>
                    <a:pt x="0" y="43"/>
                  </a:lnTo>
                  <a:lnTo>
                    <a:pt x="0" y="41"/>
                  </a:lnTo>
                  <a:lnTo>
                    <a:pt x="0" y="39"/>
                  </a:lnTo>
                  <a:lnTo>
                    <a:pt x="4" y="35"/>
                  </a:lnTo>
                  <a:lnTo>
                    <a:pt x="6" y="33"/>
                  </a:lnTo>
                  <a:lnTo>
                    <a:pt x="8" y="31"/>
                  </a:lnTo>
                  <a:lnTo>
                    <a:pt x="12" y="31"/>
                  </a:lnTo>
                  <a:lnTo>
                    <a:pt x="14" y="30"/>
                  </a:lnTo>
                  <a:lnTo>
                    <a:pt x="13" y="26"/>
                  </a:lnTo>
                  <a:lnTo>
                    <a:pt x="11" y="26"/>
                  </a:lnTo>
                  <a:lnTo>
                    <a:pt x="7" y="24"/>
                  </a:lnTo>
                  <a:lnTo>
                    <a:pt x="11" y="22"/>
                  </a:lnTo>
                  <a:lnTo>
                    <a:pt x="13" y="20"/>
                  </a:lnTo>
                  <a:lnTo>
                    <a:pt x="16" y="18"/>
                  </a:lnTo>
                  <a:lnTo>
                    <a:pt x="19" y="16"/>
                  </a:lnTo>
                  <a:lnTo>
                    <a:pt x="21" y="15"/>
                  </a:lnTo>
                  <a:lnTo>
                    <a:pt x="24" y="13"/>
                  </a:lnTo>
                  <a:lnTo>
                    <a:pt x="26" y="12"/>
                  </a:lnTo>
                  <a:lnTo>
                    <a:pt x="30" y="11"/>
                  </a:lnTo>
                  <a:lnTo>
                    <a:pt x="32" y="9"/>
                  </a:lnTo>
                  <a:lnTo>
                    <a:pt x="36" y="8"/>
                  </a:lnTo>
                  <a:lnTo>
                    <a:pt x="38" y="8"/>
                  </a:lnTo>
                  <a:lnTo>
                    <a:pt x="40" y="6"/>
                  </a:lnTo>
                  <a:lnTo>
                    <a:pt x="43" y="6"/>
                  </a:lnTo>
                  <a:lnTo>
                    <a:pt x="46" y="5"/>
                  </a:lnTo>
                  <a:lnTo>
                    <a:pt x="49" y="5"/>
                  </a:lnTo>
                  <a:lnTo>
                    <a:pt x="51" y="4"/>
                  </a:lnTo>
                  <a:lnTo>
                    <a:pt x="55" y="3"/>
                  </a:lnTo>
                  <a:lnTo>
                    <a:pt x="57" y="1"/>
                  </a:lnTo>
                  <a:lnTo>
                    <a:pt x="59" y="0"/>
                  </a:lnTo>
                  <a:lnTo>
                    <a:pt x="62" y="0"/>
                  </a:lnTo>
                  <a:lnTo>
                    <a:pt x="64" y="0"/>
                  </a:lnTo>
                  <a:lnTo>
                    <a:pt x="67" y="1"/>
                  </a:lnTo>
                  <a:lnTo>
                    <a:pt x="70" y="4"/>
                  </a:lnTo>
                  <a:lnTo>
                    <a:pt x="71" y="6"/>
                  </a:lnTo>
                  <a:lnTo>
                    <a:pt x="71" y="9"/>
                  </a:lnTo>
                  <a:lnTo>
                    <a:pt x="70" y="12"/>
                  </a:lnTo>
                  <a:lnTo>
                    <a:pt x="71" y="15"/>
                  </a:lnTo>
                  <a:lnTo>
                    <a:pt x="68" y="15"/>
                  </a:lnTo>
                  <a:lnTo>
                    <a:pt x="66" y="16"/>
                  </a:lnTo>
                  <a:lnTo>
                    <a:pt x="65" y="18"/>
                  </a:lnTo>
                  <a:lnTo>
                    <a:pt x="63" y="20"/>
                  </a:lnTo>
                  <a:lnTo>
                    <a:pt x="63" y="21"/>
                  </a:lnTo>
                  <a:lnTo>
                    <a:pt x="65" y="22"/>
                  </a:lnTo>
                  <a:lnTo>
                    <a:pt x="67" y="21"/>
                  </a:lnTo>
                  <a:lnTo>
                    <a:pt x="71" y="18"/>
                  </a:lnTo>
                  <a:lnTo>
                    <a:pt x="73" y="20"/>
                  </a:lnTo>
                  <a:lnTo>
                    <a:pt x="76" y="20"/>
                  </a:lnTo>
                  <a:lnTo>
                    <a:pt x="79" y="17"/>
                  </a:lnTo>
                  <a:lnTo>
                    <a:pt x="76" y="16"/>
                  </a:lnTo>
                  <a:lnTo>
                    <a:pt x="77" y="14"/>
                  </a:lnTo>
                  <a:lnTo>
                    <a:pt x="81" y="11"/>
                  </a:lnTo>
                  <a:lnTo>
                    <a:pt x="83" y="9"/>
                  </a:lnTo>
                  <a:lnTo>
                    <a:pt x="87" y="9"/>
                  </a:lnTo>
                  <a:lnTo>
                    <a:pt x="89" y="11"/>
                  </a:lnTo>
                  <a:lnTo>
                    <a:pt x="91" y="12"/>
                  </a:lnTo>
                  <a:lnTo>
                    <a:pt x="94" y="13"/>
                  </a:lnTo>
                  <a:lnTo>
                    <a:pt x="97" y="13"/>
                  </a:lnTo>
                  <a:lnTo>
                    <a:pt x="100" y="14"/>
                  </a:lnTo>
                  <a:lnTo>
                    <a:pt x="104" y="15"/>
                  </a:lnTo>
                  <a:lnTo>
                    <a:pt x="106" y="16"/>
                  </a:lnTo>
                  <a:lnTo>
                    <a:pt x="108" y="17"/>
                  </a:lnTo>
                  <a:lnTo>
                    <a:pt x="108" y="18"/>
                  </a:lnTo>
                  <a:lnTo>
                    <a:pt x="108" y="21"/>
                  </a:lnTo>
                  <a:lnTo>
                    <a:pt x="106" y="23"/>
                  </a:lnTo>
                  <a:lnTo>
                    <a:pt x="102" y="25"/>
                  </a:lnTo>
                  <a:lnTo>
                    <a:pt x="100" y="28"/>
                  </a:lnTo>
                  <a:lnTo>
                    <a:pt x="102" y="28"/>
                  </a:lnTo>
                  <a:lnTo>
                    <a:pt x="101" y="30"/>
                  </a:lnTo>
                  <a:lnTo>
                    <a:pt x="104" y="28"/>
                  </a:lnTo>
                  <a:lnTo>
                    <a:pt x="105" y="25"/>
                  </a:lnTo>
                  <a:lnTo>
                    <a:pt x="108" y="26"/>
                  </a:lnTo>
                  <a:lnTo>
                    <a:pt x="110" y="26"/>
                  </a:lnTo>
                  <a:lnTo>
                    <a:pt x="111" y="23"/>
                  </a:lnTo>
                  <a:lnTo>
                    <a:pt x="115" y="22"/>
                  </a:lnTo>
                  <a:lnTo>
                    <a:pt x="117" y="23"/>
                  </a:lnTo>
                  <a:lnTo>
                    <a:pt x="121" y="24"/>
                  </a:lnTo>
                  <a:lnTo>
                    <a:pt x="121" y="22"/>
                  </a:lnTo>
                  <a:lnTo>
                    <a:pt x="125" y="24"/>
                  </a:lnTo>
                  <a:lnTo>
                    <a:pt x="128" y="24"/>
                  </a:lnTo>
                  <a:lnTo>
                    <a:pt x="125" y="23"/>
                  </a:lnTo>
                  <a:lnTo>
                    <a:pt x="123" y="21"/>
                  </a:lnTo>
                  <a:lnTo>
                    <a:pt x="125" y="22"/>
                  </a:lnTo>
                  <a:lnTo>
                    <a:pt x="128" y="23"/>
                  </a:lnTo>
                  <a:lnTo>
                    <a:pt x="125" y="20"/>
                  </a:lnTo>
                  <a:lnTo>
                    <a:pt x="125" y="20"/>
                  </a:lnTo>
                  <a:lnTo>
                    <a:pt x="123" y="17"/>
                  </a:lnTo>
                  <a:lnTo>
                    <a:pt x="125" y="17"/>
                  </a:lnTo>
                  <a:lnTo>
                    <a:pt x="125" y="17"/>
                  </a:lnTo>
                  <a:lnTo>
                    <a:pt x="128" y="17"/>
                  </a:lnTo>
                  <a:lnTo>
                    <a:pt x="125" y="16"/>
                  </a:lnTo>
                  <a:lnTo>
                    <a:pt x="124" y="16"/>
                  </a:lnTo>
                  <a:lnTo>
                    <a:pt x="121" y="14"/>
                  </a:lnTo>
                  <a:lnTo>
                    <a:pt x="118" y="14"/>
                  </a:lnTo>
                  <a:lnTo>
                    <a:pt x="116" y="12"/>
                  </a:lnTo>
                  <a:lnTo>
                    <a:pt x="117" y="9"/>
                  </a:lnTo>
                  <a:lnTo>
                    <a:pt x="119" y="9"/>
                  </a:lnTo>
                  <a:lnTo>
                    <a:pt x="123" y="9"/>
                  </a:lnTo>
                  <a:lnTo>
                    <a:pt x="125" y="11"/>
                  </a:lnTo>
                  <a:lnTo>
                    <a:pt x="127" y="11"/>
                  </a:lnTo>
                  <a:lnTo>
                    <a:pt x="130" y="12"/>
                  </a:lnTo>
                  <a:lnTo>
                    <a:pt x="131" y="14"/>
                  </a:lnTo>
                  <a:lnTo>
                    <a:pt x="134" y="16"/>
                  </a:lnTo>
                  <a:lnTo>
                    <a:pt x="136" y="16"/>
                  </a:lnTo>
                  <a:lnTo>
                    <a:pt x="136" y="17"/>
                  </a:lnTo>
                  <a:lnTo>
                    <a:pt x="140" y="18"/>
                  </a:lnTo>
                  <a:lnTo>
                    <a:pt x="139" y="21"/>
                  </a:lnTo>
                  <a:lnTo>
                    <a:pt x="142" y="21"/>
                  </a:lnTo>
                  <a:lnTo>
                    <a:pt x="144" y="22"/>
                  </a:lnTo>
                  <a:lnTo>
                    <a:pt x="144" y="25"/>
                  </a:lnTo>
                  <a:lnTo>
                    <a:pt x="144" y="28"/>
                  </a:lnTo>
                  <a:lnTo>
                    <a:pt x="145" y="31"/>
                  </a:lnTo>
                  <a:lnTo>
                    <a:pt x="147" y="33"/>
                  </a:lnTo>
                  <a:lnTo>
                    <a:pt x="147" y="35"/>
                  </a:lnTo>
                  <a:lnTo>
                    <a:pt x="150" y="38"/>
                  </a:lnTo>
                  <a:lnTo>
                    <a:pt x="149" y="40"/>
                  </a:lnTo>
                  <a:lnTo>
                    <a:pt x="150" y="43"/>
                  </a:lnTo>
                  <a:lnTo>
                    <a:pt x="152" y="43"/>
                  </a:lnTo>
                  <a:lnTo>
                    <a:pt x="156" y="46"/>
                  </a:lnTo>
                  <a:lnTo>
                    <a:pt x="154" y="43"/>
                  </a:lnTo>
                  <a:lnTo>
                    <a:pt x="158" y="42"/>
                  </a:lnTo>
                  <a:lnTo>
                    <a:pt x="160" y="41"/>
                  </a:lnTo>
                  <a:lnTo>
                    <a:pt x="162" y="40"/>
                  </a:lnTo>
                  <a:lnTo>
                    <a:pt x="161" y="38"/>
                  </a:lnTo>
                  <a:lnTo>
                    <a:pt x="159" y="35"/>
                  </a:lnTo>
                  <a:lnTo>
                    <a:pt x="158" y="33"/>
                  </a:lnTo>
                  <a:lnTo>
                    <a:pt x="156" y="31"/>
                  </a:lnTo>
                  <a:lnTo>
                    <a:pt x="157" y="28"/>
                  </a:lnTo>
                  <a:lnTo>
                    <a:pt x="154" y="25"/>
                  </a:lnTo>
                  <a:lnTo>
                    <a:pt x="154" y="23"/>
                  </a:lnTo>
                  <a:lnTo>
                    <a:pt x="152" y="20"/>
                  </a:lnTo>
                  <a:lnTo>
                    <a:pt x="152" y="17"/>
                  </a:lnTo>
                  <a:lnTo>
                    <a:pt x="151" y="16"/>
                  </a:lnTo>
                  <a:lnTo>
                    <a:pt x="151" y="14"/>
                  </a:lnTo>
                  <a:lnTo>
                    <a:pt x="150" y="11"/>
                  </a:lnTo>
                  <a:lnTo>
                    <a:pt x="151" y="8"/>
                  </a:lnTo>
                  <a:lnTo>
                    <a:pt x="149" y="6"/>
                  </a:lnTo>
                  <a:lnTo>
                    <a:pt x="151" y="5"/>
                  </a:lnTo>
                  <a:lnTo>
                    <a:pt x="154" y="5"/>
                  </a:lnTo>
                  <a:lnTo>
                    <a:pt x="151" y="4"/>
                  </a:lnTo>
                  <a:lnTo>
                    <a:pt x="152" y="0"/>
                  </a:lnTo>
                  <a:lnTo>
                    <a:pt x="156" y="1"/>
                  </a:lnTo>
                  <a:lnTo>
                    <a:pt x="158" y="1"/>
                  </a:lnTo>
                  <a:lnTo>
                    <a:pt x="160" y="3"/>
                  </a:lnTo>
                  <a:lnTo>
                    <a:pt x="164" y="5"/>
                  </a:lnTo>
                  <a:lnTo>
                    <a:pt x="166" y="5"/>
                  </a:lnTo>
                  <a:lnTo>
                    <a:pt x="166" y="1"/>
                  </a:lnTo>
                  <a:lnTo>
                    <a:pt x="168" y="1"/>
                  </a:lnTo>
                  <a:lnTo>
                    <a:pt x="171" y="4"/>
                  </a:lnTo>
                  <a:lnTo>
                    <a:pt x="174" y="5"/>
                  </a:lnTo>
                  <a:lnTo>
                    <a:pt x="177" y="7"/>
                  </a:lnTo>
                  <a:lnTo>
                    <a:pt x="179" y="8"/>
                  </a:lnTo>
                  <a:lnTo>
                    <a:pt x="183" y="9"/>
                  </a:lnTo>
                  <a:lnTo>
                    <a:pt x="185" y="12"/>
                  </a:lnTo>
                  <a:lnTo>
                    <a:pt x="187" y="14"/>
                  </a:lnTo>
                  <a:lnTo>
                    <a:pt x="187" y="17"/>
                  </a:lnTo>
                  <a:lnTo>
                    <a:pt x="190" y="20"/>
                  </a:lnTo>
                  <a:lnTo>
                    <a:pt x="191" y="23"/>
                  </a:lnTo>
                  <a:lnTo>
                    <a:pt x="191" y="25"/>
                  </a:lnTo>
                  <a:lnTo>
                    <a:pt x="192" y="28"/>
                  </a:lnTo>
                  <a:lnTo>
                    <a:pt x="194" y="31"/>
                  </a:lnTo>
                  <a:lnTo>
                    <a:pt x="194" y="33"/>
                  </a:lnTo>
                  <a:lnTo>
                    <a:pt x="195" y="37"/>
                  </a:lnTo>
                  <a:lnTo>
                    <a:pt x="196" y="39"/>
                  </a:lnTo>
                  <a:lnTo>
                    <a:pt x="199" y="41"/>
                  </a:lnTo>
                  <a:lnTo>
                    <a:pt x="201" y="45"/>
                  </a:lnTo>
                  <a:lnTo>
                    <a:pt x="202" y="47"/>
                  </a:lnTo>
                  <a:lnTo>
                    <a:pt x="203" y="49"/>
                  </a:lnTo>
                  <a:lnTo>
                    <a:pt x="203" y="52"/>
                  </a:lnTo>
                  <a:lnTo>
                    <a:pt x="201" y="54"/>
                  </a:lnTo>
                  <a:lnTo>
                    <a:pt x="201" y="56"/>
                  </a:lnTo>
                  <a:lnTo>
                    <a:pt x="199" y="58"/>
                  </a:lnTo>
                  <a:lnTo>
                    <a:pt x="202" y="61"/>
                  </a:lnTo>
                  <a:lnTo>
                    <a:pt x="204" y="61"/>
                  </a:lnTo>
                  <a:lnTo>
                    <a:pt x="207" y="65"/>
                  </a:lnTo>
                  <a:lnTo>
                    <a:pt x="209" y="67"/>
                  </a:lnTo>
                  <a:lnTo>
                    <a:pt x="211" y="68"/>
                  </a:lnTo>
                  <a:lnTo>
                    <a:pt x="215" y="71"/>
                  </a:lnTo>
                  <a:lnTo>
                    <a:pt x="217" y="71"/>
                  </a:lnTo>
                  <a:lnTo>
                    <a:pt x="220" y="73"/>
                  </a:lnTo>
                  <a:lnTo>
                    <a:pt x="222" y="73"/>
                  </a:lnTo>
                  <a:lnTo>
                    <a:pt x="220" y="72"/>
                  </a:lnTo>
                  <a:lnTo>
                    <a:pt x="219" y="69"/>
                  </a:lnTo>
                  <a:lnTo>
                    <a:pt x="222" y="71"/>
                  </a:lnTo>
                  <a:lnTo>
                    <a:pt x="224" y="74"/>
                  </a:lnTo>
                  <a:lnTo>
                    <a:pt x="227" y="74"/>
                  </a:lnTo>
                  <a:lnTo>
                    <a:pt x="229" y="75"/>
                  </a:lnTo>
                  <a:lnTo>
                    <a:pt x="233" y="77"/>
                  </a:lnTo>
                  <a:lnTo>
                    <a:pt x="235" y="78"/>
                  </a:lnTo>
                  <a:lnTo>
                    <a:pt x="237" y="78"/>
                  </a:lnTo>
                  <a:lnTo>
                    <a:pt x="241" y="80"/>
                  </a:lnTo>
                  <a:lnTo>
                    <a:pt x="241" y="82"/>
                  </a:lnTo>
                  <a:lnTo>
                    <a:pt x="243" y="82"/>
                  </a:lnTo>
                  <a:lnTo>
                    <a:pt x="246" y="82"/>
                  </a:lnTo>
                  <a:lnTo>
                    <a:pt x="249" y="83"/>
                  </a:lnTo>
                  <a:lnTo>
                    <a:pt x="250" y="85"/>
                  </a:lnTo>
                  <a:lnTo>
                    <a:pt x="250" y="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32" name="Freeform 232">
              <a:extLst>
                <a:ext uri="{FF2B5EF4-FFF2-40B4-BE49-F238E27FC236}">
                  <a16:creationId xmlns:a16="http://schemas.microsoft.com/office/drawing/2014/main" id="{39CDCEFA-A1B8-4F4F-91CF-3ED5622C8A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43325" y="2311400"/>
              <a:ext cx="450850" cy="188913"/>
            </a:xfrm>
            <a:custGeom>
              <a:avLst/>
              <a:gdLst>
                <a:gd name="T0" fmla="*/ 235 w 284"/>
                <a:gd name="T1" fmla="*/ 46 h 119"/>
                <a:gd name="T2" fmla="*/ 229 w 284"/>
                <a:gd name="T3" fmla="*/ 57 h 119"/>
                <a:gd name="T4" fmla="*/ 238 w 284"/>
                <a:gd name="T5" fmla="*/ 59 h 119"/>
                <a:gd name="T6" fmla="*/ 227 w 284"/>
                <a:gd name="T7" fmla="*/ 62 h 119"/>
                <a:gd name="T8" fmla="*/ 220 w 284"/>
                <a:gd name="T9" fmla="*/ 71 h 119"/>
                <a:gd name="T10" fmla="*/ 203 w 284"/>
                <a:gd name="T11" fmla="*/ 73 h 119"/>
                <a:gd name="T12" fmla="*/ 188 w 284"/>
                <a:gd name="T13" fmla="*/ 66 h 119"/>
                <a:gd name="T14" fmla="*/ 183 w 284"/>
                <a:gd name="T15" fmla="*/ 70 h 119"/>
                <a:gd name="T16" fmla="*/ 166 w 284"/>
                <a:gd name="T17" fmla="*/ 72 h 119"/>
                <a:gd name="T18" fmla="*/ 155 w 284"/>
                <a:gd name="T19" fmla="*/ 68 h 119"/>
                <a:gd name="T20" fmla="*/ 143 w 284"/>
                <a:gd name="T21" fmla="*/ 73 h 119"/>
                <a:gd name="T22" fmla="*/ 130 w 284"/>
                <a:gd name="T23" fmla="*/ 71 h 119"/>
                <a:gd name="T24" fmla="*/ 113 w 284"/>
                <a:gd name="T25" fmla="*/ 70 h 119"/>
                <a:gd name="T26" fmla="*/ 108 w 284"/>
                <a:gd name="T27" fmla="*/ 64 h 119"/>
                <a:gd name="T28" fmla="*/ 94 w 284"/>
                <a:gd name="T29" fmla="*/ 70 h 119"/>
                <a:gd name="T30" fmla="*/ 83 w 284"/>
                <a:gd name="T31" fmla="*/ 64 h 119"/>
                <a:gd name="T32" fmla="*/ 74 w 284"/>
                <a:gd name="T33" fmla="*/ 68 h 119"/>
                <a:gd name="T34" fmla="*/ 66 w 284"/>
                <a:gd name="T35" fmla="*/ 54 h 119"/>
                <a:gd name="T36" fmla="*/ 67 w 284"/>
                <a:gd name="T37" fmla="*/ 42 h 119"/>
                <a:gd name="T38" fmla="*/ 58 w 284"/>
                <a:gd name="T39" fmla="*/ 28 h 119"/>
                <a:gd name="T40" fmla="*/ 42 w 284"/>
                <a:gd name="T41" fmla="*/ 23 h 119"/>
                <a:gd name="T42" fmla="*/ 24 w 284"/>
                <a:gd name="T43" fmla="*/ 24 h 119"/>
                <a:gd name="T44" fmla="*/ 16 w 284"/>
                <a:gd name="T45" fmla="*/ 20 h 119"/>
                <a:gd name="T46" fmla="*/ 11 w 284"/>
                <a:gd name="T47" fmla="*/ 14 h 119"/>
                <a:gd name="T48" fmla="*/ 4 w 284"/>
                <a:gd name="T49" fmla="*/ 9 h 119"/>
                <a:gd name="T50" fmla="*/ 8 w 284"/>
                <a:gd name="T51" fmla="*/ 0 h 119"/>
                <a:gd name="T52" fmla="*/ 25 w 284"/>
                <a:gd name="T53" fmla="*/ 3 h 119"/>
                <a:gd name="T54" fmla="*/ 42 w 284"/>
                <a:gd name="T55" fmla="*/ 5 h 119"/>
                <a:gd name="T56" fmla="*/ 44 w 284"/>
                <a:gd name="T57" fmla="*/ 19 h 119"/>
                <a:gd name="T58" fmla="*/ 61 w 284"/>
                <a:gd name="T59" fmla="*/ 14 h 119"/>
                <a:gd name="T60" fmla="*/ 82 w 284"/>
                <a:gd name="T61" fmla="*/ 13 h 119"/>
                <a:gd name="T62" fmla="*/ 77 w 284"/>
                <a:gd name="T63" fmla="*/ 16 h 119"/>
                <a:gd name="T64" fmla="*/ 89 w 284"/>
                <a:gd name="T65" fmla="*/ 20 h 119"/>
                <a:gd name="T66" fmla="*/ 104 w 284"/>
                <a:gd name="T67" fmla="*/ 23 h 119"/>
                <a:gd name="T68" fmla="*/ 91 w 284"/>
                <a:gd name="T69" fmla="*/ 25 h 119"/>
                <a:gd name="T70" fmla="*/ 77 w 284"/>
                <a:gd name="T71" fmla="*/ 24 h 119"/>
                <a:gd name="T72" fmla="*/ 87 w 284"/>
                <a:gd name="T73" fmla="*/ 28 h 119"/>
                <a:gd name="T74" fmla="*/ 82 w 284"/>
                <a:gd name="T75" fmla="*/ 30 h 119"/>
                <a:gd name="T76" fmla="*/ 94 w 284"/>
                <a:gd name="T77" fmla="*/ 30 h 119"/>
                <a:gd name="T78" fmla="*/ 105 w 284"/>
                <a:gd name="T79" fmla="*/ 38 h 119"/>
                <a:gd name="T80" fmla="*/ 105 w 284"/>
                <a:gd name="T81" fmla="*/ 43 h 119"/>
                <a:gd name="T82" fmla="*/ 116 w 284"/>
                <a:gd name="T83" fmla="*/ 42 h 119"/>
                <a:gd name="T84" fmla="*/ 130 w 284"/>
                <a:gd name="T85" fmla="*/ 41 h 119"/>
                <a:gd name="T86" fmla="*/ 146 w 284"/>
                <a:gd name="T87" fmla="*/ 47 h 119"/>
                <a:gd name="T88" fmla="*/ 152 w 284"/>
                <a:gd name="T89" fmla="*/ 43 h 119"/>
                <a:gd name="T90" fmla="*/ 168 w 284"/>
                <a:gd name="T91" fmla="*/ 39 h 119"/>
                <a:gd name="T92" fmla="*/ 185 w 284"/>
                <a:gd name="T93" fmla="*/ 38 h 119"/>
                <a:gd name="T94" fmla="*/ 204 w 284"/>
                <a:gd name="T95" fmla="*/ 36 h 119"/>
                <a:gd name="T96" fmla="*/ 220 w 284"/>
                <a:gd name="T97" fmla="*/ 41 h 119"/>
                <a:gd name="T98" fmla="*/ 231 w 284"/>
                <a:gd name="T99" fmla="*/ 93 h 119"/>
                <a:gd name="T100" fmla="*/ 248 w 284"/>
                <a:gd name="T101" fmla="*/ 94 h 119"/>
                <a:gd name="T102" fmla="*/ 265 w 284"/>
                <a:gd name="T103" fmla="*/ 97 h 119"/>
                <a:gd name="T104" fmla="*/ 279 w 284"/>
                <a:gd name="T105" fmla="*/ 109 h 119"/>
                <a:gd name="T106" fmla="*/ 275 w 284"/>
                <a:gd name="T107" fmla="*/ 116 h 119"/>
                <a:gd name="T108" fmla="*/ 254 w 284"/>
                <a:gd name="T109" fmla="*/ 115 h 119"/>
                <a:gd name="T110" fmla="*/ 237 w 284"/>
                <a:gd name="T111" fmla="*/ 118 h 119"/>
                <a:gd name="T112" fmla="*/ 228 w 284"/>
                <a:gd name="T113" fmla="*/ 106 h 119"/>
                <a:gd name="T114" fmla="*/ 220 w 284"/>
                <a:gd name="T115" fmla="*/ 94 h 119"/>
                <a:gd name="T116" fmla="*/ 231 w 284"/>
                <a:gd name="T117" fmla="*/ 93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84" h="119">
                  <a:moveTo>
                    <a:pt x="231" y="43"/>
                  </a:moveTo>
                  <a:lnTo>
                    <a:pt x="231" y="43"/>
                  </a:lnTo>
                  <a:lnTo>
                    <a:pt x="228" y="46"/>
                  </a:lnTo>
                  <a:lnTo>
                    <a:pt x="231" y="46"/>
                  </a:lnTo>
                  <a:lnTo>
                    <a:pt x="232" y="46"/>
                  </a:lnTo>
                  <a:lnTo>
                    <a:pt x="235" y="46"/>
                  </a:lnTo>
                  <a:lnTo>
                    <a:pt x="238" y="48"/>
                  </a:lnTo>
                  <a:lnTo>
                    <a:pt x="237" y="50"/>
                  </a:lnTo>
                  <a:lnTo>
                    <a:pt x="237" y="53"/>
                  </a:lnTo>
                  <a:lnTo>
                    <a:pt x="233" y="54"/>
                  </a:lnTo>
                  <a:lnTo>
                    <a:pt x="231" y="56"/>
                  </a:lnTo>
                  <a:lnTo>
                    <a:pt x="229" y="57"/>
                  </a:lnTo>
                  <a:lnTo>
                    <a:pt x="226" y="58"/>
                  </a:lnTo>
                  <a:lnTo>
                    <a:pt x="229" y="59"/>
                  </a:lnTo>
                  <a:lnTo>
                    <a:pt x="231" y="58"/>
                  </a:lnTo>
                  <a:lnTo>
                    <a:pt x="232" y="58"/>
                  </a:lnTo>
                  <a:lnTo>
                    <a:pt x="235" y="57"/>
                  </a:lnTo>
                  <a:lnTo>
                    <a:pt x="238" y="59"/>
                  </a:lnTo>
                  <a:lnTo>
                    <a:pt x="239" y="62"/>
                  </a:lnTo>
                  <a:lnTo>
                    <a:pt x="237" y="63"/>
                  </a:lnTo>
                  <a:lnTo>
                    <a:pt x="233" y="63"/>
                  </a:lnTo>
                  <a:lnTo>
                    <a:pt x="231" y="63"/>
                  </a:lnTo>
                  <a:lnTo>
                    <a:pt x="229" y="63"/>
                  </a:lnTo>
                  <a:lnTo>
                    <a:pt x="227" y="62"/>
                  </a:lnTo>
                  <a:lnTo>
                    <a:pt x="229" y="64"/>
                  </a:lnTo>
                  <a:lnTo>
                    <a:pt x="228" y="67"/>
                  </a:lnTo>
                  <a:lnTo>
                    <a:pt x="228" y="70"/>
                  </a:lnTo>
                  <a:lnTo>
                    <a:pt x="226" y="70"/>
                  </a:lnTo>
                  <a:lnTo>
                    <a:pt x="222" y="71"/>
                  </a:lnTo>
                  <a:lnTo>
                    <a:pt x="220" y="71"/>
                  </a:lnTo>
                  <a:lnTo>
                    <a:pt x="217" y="70"/>
                  </a:lnTo>
                  <a:lnTo>
                    <a:pt x="214" y="71"/>
                  </a:lnTo>
                  <a:lnTo>
                    <a:pt x="211" y="72"/>
                  </a:lnTo>
                  <a:lnTo>
                    <a:pt x="209" y="73"/>
                  </a:lnTo>
                  <a:lnTo>
                    <a:pt x="205" y="73"/>
                  </a:lnTo>
                  <a:lnTo>
                    <a:pt x="203" y="73"/>
                  </a:lnTo>
                  <a:lnTo>
                    <a:pt x="200" y="72"/>
                  </a:lnTo>
                  <a:lnTo>
                    <a:pt x="197" y="71"/>
                  </a:lnTo>
                  <a:lnTo>
                    <a:pt x="194" y="72"/>
                  </a:lnTo>
                  <a:lnTo>
                    <a:pt x="192" y="71"/>
                  </a:lnTo>
                  <a:lnTo>
                    <a:pt x="189" y="68"/>
                  </a:lnTo>
                  <a:lnTo>
                    <a:pt x="188" y="66"/>
                  </a:lnTo>
                  <a:lnTo>
                    <a:pt x="188" y="63"/>
                  </a:lnTo>
                  <a:lnTo>
                    <a:pt x="186" y="63"/>
                  </a:lnTo>
                  <a:lnTo>
                    <a:pt x="183" y="63"/>
                  </a:lnTo>
                  <a:lnTo>
                    <a:pt x="186" y="65"/>
                  </a:lnTo>
                  <a:lnTo>
                    <a:pt x="184" y="67"/>
                  </a:lnTo>
                  <a:lnTo>
                    <a:pt x="183" y="70"/>
                  </a:lnTo>
                  <a:lnTo>
                    <a:pt x="180" y="71"/>
                  </a:lnTo>
                  <a:lnTo>
                    <a:pt x="177" y="71"/>
                  </a:lnTo>
                  <a:lnTo>
                    <a:pt x="175" y="72"/>
                  </a:lnTo>
                  <a:lnTo>
                    <a:pt x="171" y="72"/>
                  </a:lnTo>
                  <a:lnTo>
                    <a:pt x="169" y="72"/>
                  </a:lnTo>
                  <a:lnTo>
                    <a:pt x="166" y="72"/>
                  </a:lnTo>
                  <a:lnTo>
                    <a:pt x="163" y="70"/>
                  </a:lnTo>
                  <a:lnTo>
                    <a:pt x="162" y="67"/>
                  </a:lnTo>
                  <a:lnTo>
                    <a:pt x="162" y="70"/>
                  </a:lnTo>
                  <a:lnTo>
                    <a:pt x="160" y="72"/>
                  </a:lnTo>
                  <a:lnTo>
                    <a:pt x="158" y="72"/>
                  </a:lnTo>
                  <a:lnTo>
                    <a:pt x="155" y="68"/>
                  </a:lnTo>
                  <a:lnTo>
                    <a:pt x="155" y="72"/>
                  </a:lnTo>
                  <a:lnTo>
                    <a:pt x="153" y="72"/>
                  </a:lnTo>
                  <a:lnTo>
                    <a:pt x="150" y="73"/>
                  </a:lnTo>
                  <a:lnTo>
                    <a:pt x="147" y="73"/>
                  </a:lnTo>
                  <a:lnTo>
                    <a:pt x="146" y="70"/>
                  </a:lnTo>
                  <a:lnTo>
                    <a:pt x="143" y="73"/>
                  </a:lnTo>
                  <a:lnTo>
                    <a:pt x="141" y="72"/>
                  </a:lnTo>
                  <a:lnTo>
                    <a:pt x="138" y="70"/>
                  </a:lnTo>
                  <a:lnTo>
                    <a:pt x="138" y="73"/>
                  </a:lnTo>
                  <a:lnTo>
                    <a:pt x="136" y="73"/>
                  </a:lnTo>
                  <a:lnTo>
                    <a:pt x="134" y="73"/>
                  </a:lnTo>
                  <a:lnTo>
                    <a:pt x="130" y="71"/>
                  </a:lnTo>
                  <a:lnTo>
                    <a:pt x="128" y="73"/>
                  </a:lnTo>
                  <a:lnTo>
                    <a:pt x="125" y="72"/>
                  </a:lnTo>
                  <a:lnTo>
                    <a:pt x="122" y="73"/>
                  </a:lnTo>
                  <a:lnTo>
                    <a:pt x="119" y="72"/>
                  </a:lnTo>
                  <a:lnTo>
                    <a:pt x="117" y="72"/>
                  </a:lnTo>
                  <a:lnTo>
                    <a:pt x="113" y="70"/>
                  </a:lnTo>
                  <a:lnTo>
                    <a:pt x="116" y="67"/>
                  </a:lnTo>
                  <a:lnTo>
                    <a:pt x="115" y="64"/>
                  </a:lnTo>
                  <a:lnTo>
                    <a:pt x="113" y="62"/>
                  </a:lnTo>
                  <a:lnTo>
                    <a:pt x="111" y="64"/>
                  </a:lnTo>
                  <a:lnTo>
                    <a:pt x="110" y="67"/>
                  </a:lnTo>
                  <a:lnTo>
                    <a:pt x="108" y="64"/>
                  </a:lnTo>
                  <a:lnTo>
                    <a:pt x="107" y="67"/>
                  </a:lnTo>
                  <a:lnTo>
                    <a:pt x="105" y="70"/>
                  </a:lnTo>
                  <a:lnTo>
                    <a:pt x="102" y="70"/>
                  </a:lnTo>
                  <a:lnTo>
                    <a:pt x="100" y="71"/>
                  </a:lnTo>
                  <a:lnTo>
                    <a:pt x="98" y="71"/>
                  </a:lnTo>
                  <a:lnTo>
                    <a:pt x="94" y="70"/>
                  </a:lnTo>
                  <a:lnTo>
                    <a:pt x="93" y="71"/>
                  </a:lnTo>
                  <a:lnTo>
                    <a:pt x="90" y="70"/>
                  </a:lnTo>
                  <a:lnTo>
                    <a:pt x="87" y="70"/>
                  </a:lnTo>
                  <a:lnTo>
                    <a:pt x="85" y="68"/>
                  </a:lnTo>
                  <a:lnTo>
                    <a:pt x="82" y="67"/>
                  </a:lnTo>
                  <a:lnTo>
                    <a:pt x="83" y="64"/>
                  </a:lnTo>
                  <a:lnTo>
                    <a:pt x="83" y="62"/>
                  </a:lnTo>
                  <a:lnTo>
                    <a:pt x="81" y="64"/>
                  </a:lnTo>
                  <a:lnTo>
                    <a:pt x="77" y="66"/>
                  </a:lnTo>
                  <a:lnTo>
                    <a:pt x="79" y="68"/>
                  </a:lnTo>
                  <a:lnTo>
                    <a:pt x="76" y="66"/>
                  </a:lnTo>
                  <a:lnTo>
                    <a:pt x="74" y="68"/>
                  </a:lnTo>
                  <a:lnTo>
                    <a:pt x="70" y="66"/>
                  </a:lnTo>
                  <a:lnTo>
                    <a:pt x="68" y="65"/>
                  </a:lnTo>
                  <a:lnTo>
                    <a:pt x="67" y="63"/>
                  </a:lnTo>
                  <a:lnTo>
                    <a:pt x="66" y="59"/>
                  </a:lnTo>
                  <a:lnTo>
                    <a:pt x="64" y="57"/>
                  </a:lnTo>
                  <a:lnTo>
                    <a:pt x="66" y="54"/>
                  </a:lnTo>
                  <a:lnTo>
                    <a:pt x="62" y="54"/>
                  </a:lnTo>
                  <a:lnTo>
                    <a:pt x="60" y="51"/>
                  </a:lnTo>
                  <a:lnTo>
                    <a:pt x="61" y="48"/>
                  </a:lnTo>
                  <a:lnTo>
                    <a:pt x="61" y="46"/>
                  </a:lnTo>
                  <a:lnTo>
                    <a:pt x="64" y="43"/>
                  </a:lnTo>
                  <a:lnTo>
                    <a:pt x="67" y="42"/>
                  </a:lnTo>
                  <a:lnTo>
                    <a:pt x="66" y="39"/>
                  </a:lnTo>
                  <a:lnTo>
                    <a:pt x="65" y="37"/>
                  </a:lnTo>
                  <a:lnTo>
                    <a:pt x="64" y="33"/>
                  </a:lnTo>
                  <a:lnTo>
                    <a:pt x="60" y="32"/>
                  </a:lnTo>
                  <a:lnTo>
                    <a:pt x="58" y="30"/>
                  </a:lnTo>
                  <a:lnTo>
                    <a:pt x="58" y="28"/>
                  </a:lnTo>
                  <a:lnTo>
                    <a:pt x="56" y="24"/>
                  </a:lnTo>
                  <a:lnTo>
                    <a:pt x="53" y="23"/>
                  </a:lnTo>
                  <a:lnTo>
                    <a:pt x="50" y="20"/>
                  </a:lnTo>
                  <a:lnTo>
                    <a:pt x="47" y="21"/>
                  </a:lnTo>
                  <a:lnTo>
                    <a:pt x="44" y="23"/>
                  </a:lnTo>
                  <a:lnTo>
                    <a:pt x="42" y="23"/>
                  </a:lnTo>
                  <a:lnTo>
                    <a:pt x="39" y="23"/>
                  </a:lnTo>
                  <a:lnTo>
                    <a:pt x="35" y="23"/>
                  </a:lnTo>
                  <a:lnTo>
                    <a:pt x="33" y="23"/>
                  </a:lnTo>
                  <a:lnTo>
                    <a:pt x="30" y="22"/>
                  </a:lnTo>
                  <a:lnTo>
                    <a:pt x="27" y="23"/>
                  </a:lnTo>
                  <a:lnTo>
                    <a:pt x="24" y="24"/>
                  </a:lnTo>
                  <a:lnTo>
                    <a:pt x="22" y="22"/>
                  </a:lnTo>
                  <a:lnTo>
                    <a:pt x="24" y="22"/>
                  </a:lnTo>
                  <a:lnTo>
                    <a:pt x="27" y="21"/>
                  </a:lnTo>
                  <a:lnTo>
                    <a:pt x="21" y="20"/>
                  </a:lnTo>
                  <a:lnTo>
                    <a:pt x="18" y="20"/>
                  </a:lnTo>
                  <a:lnTo>
                    <a:pt x="16" y="20"/>
                  </a:lnTo>
                  <a:lnTo>
                    <a:pt x="13" y="19"/>
                  </a:lnTo>
                  <a:lnTo>
                    <a:pt x="11" y="16"/>
                  </a:lnTo>
                  <a:lnTo>
                    <a:pt x="14" y="16"/>
                  </a:lnTo>
                  <a:lnTo>
                    <a:pt x="16" y="14"/>
                  </a:lnTo>
                  <a:lnTo>
                    <a:pt x="14" y="15"/>
                  </a:lnTo>
                  <a:lnTo>
                    <a:pt x="11" y="14"/>
                  </a:lnTo>
                  <a:lnTo>
                    <a:pt x="8" y="13"/>
                  </a:lnTo>
                  <a:lnTo>
                    <a:pt x="6" y="12"/>
                  </a:lnTo>
                  <a:lnTo>
                    <a:pt x="2" y="11"/>
                  </a:lnTo>
                  <a:lnTo>
                    <a:pt x="0" y="11"/>
                  </a:lnTo>
                  <a:lnTo>
                    <a:pt x="0" y="7"/>
                  </a:lnTo>
                  <a:lnTo>
                    <a:pt x="4" y="9"/>
                  </a:lnTo>
                  <a:lnTo>
                    <a:pt x="6" y="7"/>
                  </a:lnTo>
                  <a:lnTo>
                    <a:pt x="4" y="6"/>
                  </a:lnTo>
                  <a:lnTo>
                    <a:pt x="0" y="4"/>
                  </a:lnTo>
                  <a:lnTo>
                    <a:pt x="4" y="3"/>
                  </a:lnTo>
                  <a:lnTo>
                    <a:pt x="6" y="3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4" y="0"/>
                  </a:lnTo>
                  <a:lnTo>
                    <a:pt x="17" y="0"/>
                  </a:lnTo>
                  <a:lnTo>
                    <a:pt x="21" y="0"/>
                  </a:lnTo>
                  <a:lnTo>
                    <a:pt x="23" y="2"/>
                  </a:lnTo>
                  <a:lnTo>
                    <a:pt x="25" y="3"/>
                  </a:lnTo>
                  <a:lnTo>
                    <a:pt x="28" y="3"/>
                  </a:lnTo>
                  <a:lnTo>
                    <a:pt x="31" y="3"/>
                  </a:lnTo>
                  <a:lnTo>
                    <a:pt x="34" y="5"/>
                  </a:lnTo>
                  <a:lnTo>
                    <a:pt x="36" y="5"/>
                  </a:lnTo>
                  <a:lnTo>
                    <a:pt x="40" y="4"/>
                  </a:lnTo>
                  <a:lnTo>
                    <a:pt x="42" y="5"/>
                  </a:lnTo>
                  <a:lnTo>
                    <a:pt x="45" y="6"/>
                  </a:lnTo>
                  <a:lnTo>
                    <a:pt x="48" y="8"/>
                  </a:lnTo>
                  <a:lnTo>
                    <a:pt x="51" y="11"/>
                  </a:lnTo>
                  <a:lnTo>
                    <a:pt x="50" y="13"/>
                  </a:lnTo>
                  <a:lnTo>
                    <a:pt x="47" y="16"/>
                  </a:lnTo>
                  <a:lnTo>
                    <a:pt x="44" y="19"/>
                  </a:lnTo>
                  <a:lnTo>
                    <a:pt x="48" y="17"/>
                  </a:lnTo>
                  <a:lnTo>
                    <a:pt x="50" y="15"/>
                  </a:lnTo>
                  <a:lnTo>
                    <a:pt x="53" y="13"/>
                  </a:lnTo>
                  <a:lnTo>
                    <a:pt x="56" y="13"/>
                  </a:lnTo>
                  <a:lnTo>
                    <a:pt x="59" y="13"/>
                  </a:lnTo>
                  <a:lnTo>
                    <a:pt x="61" y="14"/>
                  </a:lnTo>
                  <a:lnTo>
                    <a:pt x="65" y="13"/>
                  </a:lnTo>
                  <a:lnTo>
                    <a:pt x="67" y="12"/>
                  </a:lnTo>
                  <a:lnTo>
                    <a:pt x="73" y="12"/>
                  </a:lnTo>
                  <a:lnTo>
                    <a:pt x="76" y="12"/>
                  </a:lnTo>
                  <a:lnTo>
                    <a:pt x="78" y="12"/>
                  </a:lnTo>
                  <a:lnTo>
                    <a:pt x="82" y="13"/>
                  </a:lnTo>
                  <a:lnTo>
                    <a:pt x="84" y="14"/>
                  </a:lnTo>
                  <a:lnTo>
                    <a:pt x="86" y="15"/>
                  </a:lnTo>
                  <a:lnTo>
                    <a:pt x="85" y="17"/>
                  </a:lnTo>
                  <a:lnTo>
                    <a:pt x="83" y="17"/>
                  </a:lnTo>
                  <a:lnTo>
                    <a:pt x="79" y="17"/>
                  </a:lnTo>
                  <a:lnTo>
                    <a:pt x="77" y="16"/>
                  </a:lnTo>
                  <a:lnTo>
                    <a:pt x="74" y="17"/>
                  </a:lnTo>
                  <a:lnTo>
                    <a:pt x="77" y="17"/>
                  </a:lnTo>
                  <a:lnTo>
                    <a:pt x="81" y="17"/>
                  </a:lnTo>
                  <a:lnTo>
                    <a:pt x="83" y="19"/>
                  </a:lnTo>
                  <a:lnTo>
                    <a:pt x="85" y="20"/>
                  </a:lnTo>
                  <a:lnTo>
                    <a:pt x="89" y="20"/>
                  </a:lnTo>
                  <a:lnTo>
                    <a:pt x="92" y="20"/>
                  </a:lnTo>
                  <a:lnTo>
                    <a:pt x="94" y="21"/>
                  </a:lnTo>
                  <a:lnTo>
                    <a:pt x="96" y="21"/>
                  </a:lnTo>
                  <a:lnTo>
                    <a:pt x="99" y="22"/>
                  </a:lnTo>
                  <a:lnTo>
                    <a:pt x="102" y="22"/>
                  </a:lnTo>
                  <a:lnTo>
                    <a:pt x="104" y="23"/>
                  </a:lnTo>
                  <a:lnTo>
                    <a:pt x="103" y="25"/>
                  </a:lnTo>
                  <a:lnTo>
                    <a:pt x="100" y="25"/>
                  </a:lnTo>
                  <a:lnTo>
                    <a:pt x="98" y="26"/>
                  </a:lnTo>
                  <a:lnTo>
                    <a:pt x="94" y="25"/>
                  </a:lnTo>
                  <a:lnTo>
                    <a:pt x="94" y="25"/>
                  </a:lnTo>
                  <a:lnTo>
                    <a:pt x="91" y="25"/>
                  </a:lnTo>
                  <a:lnTo>
                    <a:pt x="89" y="26"/>
                  </a:lnTo>
                  <a:lnTo>
                    <a:pt x="91" y="26"/>
                  </a:lnTo>
                  <a:lnTo>
                    <a:pt x="89" y="26"/>
                  </a:lnTo>
                  <a:lnTo>
                    <a:pt x="85" y="25"/>
                  </a:lnTo>
                  <a:lnTo>
                    <a:pt x="83" y="25"/>
                  </a:lnTo>
                  <a:lnTo>
                    <a:pt x="77" y="24"/>
                  </a:lnTo>
                  <a:lnTo>
                    <a:pt x="74" y="24"/>
                  </a:lnTo>
                  <a:lnTo>
                    <a:pt x="76" y="26"/>
                  </a:lnTo>
                  <a:lnTo>
                    <a:pt x="78" y="26"/>
                  </a:lnTo>
                  <a:lnTo>
                    <a:pt x="82" y="26"/>
                  </a:lnTo>
                  <a:lnTo>
                    <a:pt x="84" y="29"/>
                  </a:lnTo>
                  <a:lnTo>
                    <a:pt x="87" y="28"/>
                  </a:lnTo>
                  <a:lnTo>
                    <a:pt x="90" y="30"/>
                  </a:lnTo>
                  <a:lnTo>
                    <a:pt x="86" y="30"/>
                  </a:lnTo>
                  <a:lnTo>
                    <a:pt x="84" y="30"/>
                  </a:lnTo>
                  <a:lnTo>
                    <a:pt x="82" y="30"/>
                  </a:lnTo>
                  <a:lnTo>
                    <a:pt x="78" y="30"/>
                  </a:lnTo>
                  <a:lnTo>
                    <a:pt x="82" y="30"/>
                  </a:lnTo>
                  <a:lnTo>
                    <a:pt x="81" y="33"/>
                  </a:lnTo>
                  <a:lnTo>
                    <a:pt x="83" y="31"/>
                  </a:lnTo>
                  <a:lnTo>
                    <a:pt x="86" y="31"/>
                  </a:lnTo>
                  <a:lnTo>
                    <a:pt x="89" y="32"/>
                  </a:lnTo>
                  <a:lnTo>
                    <a:pt x="92" y="32"/>
                  </a:lnTo>
                  <a:lnTo>
                    <a:pt x="94" y="30"/>
                  </a:lnTo>
                  <a:lnTo>
                    <a:pt x="94" y="30"/>
                  </a:lnTo>
                  <a:lnTo>
                    <a:pt x="98" y="33"/>
                  </a:lnTo>
                  <a:lnTo>
                    <a:pt x="98" y="36"/>
                  </a:lnTo>
                  <a:lnTo>
                    <a:pt x="100" y="34"/>
                  </a:lnTo>
                  <a:lnTo>
                    <a:pt x="102" y="36"/>
                  </a:lnTo>
                  <a:lnTo>
                    <a:pt x="105" y="38"/>
                  </a:lnTo>
                  <a:lnTo>
                    <a:pt x="103" y="41"/>
                  </a:lnTo>
                  <a:lnTo>
                    <a:pt x="100" y="41"/>
                  </a:lnTo>
                  <a:lnTo>
                    <a:pt x="98" y="42"/>
                  </a:lnTo>
                  <a:lnTo>
                    <a:pt x="100" y="43"/>
                  </a:lnTo>
                  <a:lnTo>
                    <a:pt x="103" y="42"/>
                  </a:lnTo>
                  <a:lnTo>
                    <a:pt x="105" y="43"/>
                  </a:lnTo>
                  <a:lnTo>
                    <a:pt x="108" y="46"/>
                  </a:lnTo>
                  <a:lnTo>
                    <a:pt x="111" y="46"/>
                  </a:lnTo>
                  <a:lnTo>
                    <a:pt x="111" y="43"/>
                  </a:lnTo>
                  <a:lnTo>
                    <a:pt x="111" y="41"/>
                  </a:lnTo>
                  <a:lnTo>
                    <a:pt x="113" y="40"/>
                  </a:lnTo>
                  <a:lnTo>
                    <a:pt x="116" y="42"/>
                  </a:lnTo>
                  <a:lnTo>
                    <a:pt x="118" y="46"/>
                  </a:lnTo>
                  <a:lnTo>
                    <a:pt x="121" y="43"/>
                  </a:lnTo>
                  <a:lnTo>
                    <a:pt x="124" y="42"/>
                  </a:lnTo>
                  <a:lnTo>
                    <a:pt x="126" y="42"/>
                  </a:lnTo>
                  <a:lnTo>
                    <a:pt x="129" y="45"/>
                  </a:lnTo>
                  <a:lnTo>
                    <a:pt x="130" y="41"/>
                  </a:lnTo>
                  <a:lnTo>
                    <a:pt x="133" y="42"/>
                  </a:lnTo>
                  <a:lnTo>
                    <a:pt x="136" y="45"/>
                  </a:lnTo>
                  <a:lnTo>
                    <a:pt x="138" y="46"/>
                  </a:lnTo>
                  <a:lnTo>
                    <a:pt x="142" y="46"/>
                  </a:lnTo>
                  <a:lnTo>
                    <a:pt x="143" y="48"/>
                  </a:lnTo>
                  <a:lnTo>
                    <a:pt x="146" y="47"/>
                  </a:lnTo>
                  <a:lnTo>
                    <a:pt x="149" y="47"/>
                  </a:lnTo>
                  <a:lnTo>
                    <a:pt x="151" y="47"/>
                  </a:lnTo>
                  <a:lnTo>
                    <a:pt x="154" y="47"/>
                  </a:lnTo>
                  <a:lnTo>
                    <a:pt x="151" y="46"/>
                  </a:lnTo>
                  <a:lnTo>
                    <a:pt x="149" y="43"/>
                  </a:lnTo>
                  <a:lnTo>
                    <a:pt x="152" y="43"/>
                  </a:lnTo>
                  <a:lnTo>
                    <a:pt x="154" y="42"/>
                  </a:lnTo>
                  <a:lnTo>
                    <a:pt x="158" y="42"/>
                  </a:lnTo>
                  <a:lnTo>
                    <a:pt x="160" y="41"/>
                  </a:lnTo>
                  <a:lnTo>
                    <a:pt x="163" y="40"/>
                  </a:lnTo>
                  <a:lnTo>
                    <a:pt x="166" y="40"/>
                  </a:lnTo>
                  <a:lnTo>
                    <a:pt x="168" y="39"/>
                  </a:lnTo>
                  <a:lnTo>
                    <a:pt x="171" y="39"/>
                  </a:lnTo>
                  <a:lnTo>
                    <a:pt x="173" y="38"/>
                  </a:lnTo>
                  <a:lnTo>
                    <a:pt x="177" y="36"/>
                  </a:lnTo>
                  <a:lnTo>
                    <a:pt x="179" y="36"/>
                  </a:lnTo>
                  <a:lnTo>
                    <a:pt x="181" y="37"/>
                  </a:lnTo>
                  <a:lnTo>
                    <a:pt x="185" y="38"/>
                  </a:lnTo>
                  <a:lnTo>
                    <a:pt x="190" y="38"/>
                  </a:lnTo>
                  <a:lnTo>
                    <a:pt x="193" y="37"/>
                  </a:lnTo>
                  <a:lnTo>
                    <a:pt x="196" y="36"/>
                  </a:lnTo>
                  <a:lnTo>
                    <a:pt x="198" y="36"/>
                  </a:lnTo>
                  <a:lnTo>
                    <a:pt x="202" y="36"/>
                  </a:lnTo>
                  <a:lnTo>
                    <a:pt x="204" y="36"/>
                  </a:lnTo>
                  <a:lnTo>
                    <a:pt x="211" y="36"/>
                  </a:lnTo>
                  <a:lnTo>
                    <a:pt x="213" y="37"/>
                  </a:lnTo>
                  <a:lnTo>
                    <a:pt x="217" y="38"/>
                  </a:lnTo>
                  <a:lnTo>
                    <a:pt x="214" y="40"/>
                  </a:lnTo>
                  <a:lnTo>
                    <a:pt x="218" y="41"/>
                  </a:lnTo>
                  <a:lnTo>
                    <a:pt x="220" y="41"/>
                  </a:lnTo>
                  <a:lnTo>
                    <a:pt x="223" y="40"/>
                  </a:lnTo>
                  <a:lnTo>
                    <a:pt x="226" y="41"/>
                  </a:lnTo>
                  <a:lnTo>
                    <a:pt x="229" y="41"/>
                  </a:lnTo>
                  <a:lnTo>
                    <a:pt x="231" y="43"/>
                  </a:lnTo>
                  <a:lnTo>
                    <a:pt x="231" y="43"/>
                  </a:lnTo>
                  <a:close/>
                  <a:moveTo>
                    <a:pt x="231" y="93"/>
                  </a:moveTo>
                  <a:lnTo>
                    <a:pt x="231" y="93"/>
                  </a:lnTo>
                  <a:lnTo>
                    <a:pt x="235" y="94"/>
                  </a:lnTo>
                  <a:lnTo>
                    <a:pt x="237" y="94"/>
                  </a:lnTo>
                  <a:lnTo>
                    <a:pt x="240" y="96"/>
                  </a:lnTo>
                  <a:lnTo>
                    <a:pt x="246" y="96"/>
                  </a:lnTo>
                  <a:lnTo>
                    <a:pt x="248" y="94"/>
                  </a:lnTo>
                  <a:lnTo>
                    <a:pt x="252" y="94"/>
                  </a:lnTo>
                  <a:lnTo>
                    <a:pt x="254" y="94"/>
                  </a:lnTo>
                  <a:lnTo>
                    <a:pt x="257" y="94"/>
                  </a:lnTo>
                  <a:lnTo>
                    <a:pt x="260" y="96"/>
                  </a:lnTo>
                  <a:lnTo>
                    <a:pt x="263" y="97"/>
                  </a:lnTo>
                  <a:lnTo>
                    <a:pt x="265" y="97"/>
                  </a:lnTo>
                  <a:lnTo>
                    <a:pt x="269" y="99"/>
                  </a:lnTo>
                  <a:lnTo>
                    <a:pt x="271" y="100"/>
                  </a:lnTo>
                  <a:lnTo>
                    <a:pt x="273" y="103"/>
                  </a:lnTo>
                  <a:lnTo>
                    <a:pt x="275" y="103"/>
                  </a:lnTo>
                  <a:lnTo>
                    <a:pt x="278" y="106"/>
                  </a:lnTo>
                  <a:lnTo>
                    <a:pt x="279" y="109"/>
                  </a:lnTo>
                  <a:lnTo>
                    <a:pt x="281" y="110"/>
                  </a:lnTo>
                  <a:lnTo>
                    <a:pt x="282" y="113"/>
                  </a:lnTo>
                  <a:lnTo>
                    <a:pt x="284" y="116"/>
                  </a:lnTo>
                  <a:lnTo>
                    <a:pt x="281" y="117"/>
                  </a:lnTo>
                  <a:lnTo>
                    <a:pt x="279" y="117"/>
                  </a:lnTo>
                  <a:lnTo>
                    <a:pt x="275" y="116"/>
                  </a:lnTo>
                  <a:lnTo>
                    <a:pt x="273" y="116"/>
                  </a:lnTo>
                  <a:lnTo>
                    <a:pt x="270" y="116"/>
                  </a:lnTo>
                  <a:lnTo>
                    <a:pt x="267" y="116"/>
                  </a:lnTo>
                  <a:lnTo>
                    <a:pt x="265" y="115"/>
                  </a:lnTo>
                  <a:lnTo>
                    <a:pt x="256" y="115"/>
                  </a:lnTo>
                  <a:lnTo>
                    <a:pt x="254" y="115"/>
                  </a:lnTo>
                  <a:lnTo>
                    <a:pt x="250" y="116"/>
                  </a:lnTo>
                  <a:lnTo>
                    <a:pt x="248" y="116"/>
                  </a:lnTo>
                  <a:lnTo>
                    <a:pt x="245" y="117"/>
                  </a:lnTo>
                  <a:lnTo>
                    <a:pt x="243" y="118"/>
                  </a:lnTo>
                  <a:lnTo>
                    <a:pt x="239" y="119"/>
                  </a:lnTo>
                  <a:lnTo>
                    <a:pt x="237" y="118"/>
                  </a:lnTo>
                  <a:lnTo>
                    <a:pt x="233" y="116"/>
                  </a:lnTo>
                  <a:lnTo>
                    <a:pt x="231" y="116"/>
                  </a:lnTo>
                  <a:lnTo>
                    <a:pt x="230" y="114"/>
                  </a:lnTo>
                  <a:lnTo>
                    <a:pt x="229" y="111"/>
                  </a:lnTo>
                  <a:lnTo>
                    <a:pt x="229" y="108"/>
                  </a:lnTo>
                  <a:lnTo>
                    <a:pt x="228" y="106"/>
                  </a:lnTo>
                  <a:lnTo>
                    <a:pt x="224" y="105"/>
                  </a:lnTo>
                  <a:lnTo>
                    <a:pt x="222" y="105"/>
                  </a:lnTo>
                  <a:lnTo>
                    <a:pt x="219" y="103"/>
                  </a:lnTo>
                  <a:lnTo>
                    <a:pt x="219" y="100"/>
                  </a:lnTo>
                  <a:lnTo>
                    <a:pt x="220" y="98"/>
                  </a:lnTo>
                  <a:lnTo>
                    <a:pt x="220" y="94"/>
                  </a:lnTo>
                  <a:lnTo>
                    <a:pt x="220" y="92"/>
                  </a:lnTo>
                  <a:lnTo>
                    <a:pt x="222" y="92"/>
                  </a:lnTo>
                  <a:lnTo>
                    <a:pt x="226" y="92"/>
                  </a:lnTo>
                  <a:lnTo>
                    <a:pt x="228" y="93"/>
                  </a:lnTo>
                  <a:lnTo>
                    <a:pt x="231" y="93"/>
                  </a:lnTo>
                  <a:lnTo>
                    <a:pt x="231" y="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33" name="Freeform 233">
              <a:extLst>
                <a:ext uri="{FF2B5EF4-FFF2-40B4-BE49-F238E27FC236}">
                  <a16:creationId xmlns:a16="http://schemas.microsoft.com/office/drawing/2014/main" id="{94F5788B-70E7-4B4D-9C7D-C6049B7960E8}"/>
                </a:ext>
              </a:extLst>
            </p:cNvPr>
            <p:cNvSpPr>
              <a:spLocks/>
            </p:cNvSpPr>
            <p:nvPr/>
          </p:nvSpPr>
          <p:spPr bwMode="auto">
            <a:xfrm>
              <a:off x="3614738" y="2330450"/>
              <a:ext cx="119062" cy="74613"/>
            </a:xfrm>
            <a:custGeom>
              <a:avLst/>
              <a:gdLst>
                <a:gd name="T0" fmla="*/ 36 w 75"/>
                <a:gd name="T1" fmla="*/ 31 h 47"/>
                <a:gd name="T2" fmla="*/ 39 w 75"/>
                <a:gd name="T3" fmla="*/ 30 h 47"/>
                <a:gd name="T4" fmla="*/ 47 w 75"/>
                <a:gd name="T5" fmla="*/ 28 h 47"/>
                <a:gd name="T6" fmla="*/ 49 w 75"/>
                <a:gd name="T7" fmla="*/ 27 h 47"/>
                <a:gd name="T8" fmla="*/ 38 w 75"/>
                <a:gd name="T9" fmla="*/ 28 h 47"/>
                <a:gd name="T10" fmla="*/ 30 w 75"/>
                <a:gd name="T11" fmla="*/ 29 h 47"/>
                <a:gd name="T12" fmla="*/ 21 w 75"/>
                <a:gd name="T13" fmla="*/ 30 h 47"/>
                <a:gd name="T14" fmla="*/ 10 w 75"/>
                <a:gd name="T15" fmla="*/ 31 h 47"/>
                <a:gd name="T16" fmla="*/ 2 w 75"/>
                <a:gd name="T17" fmla="*/ 31 h 47"/>
                <a:gd name="T18" fmla="*/ 5 w 75"/>
                <a:gd name="T19" fmla="*/ 26 h 47"/>
                <a:gd name="T20" fmla="*/ 9 w 75"/>
                <a:gd name="T21" fmla="*/ 25 h 47"/>
                <a:gd name="T22" fmla="*/ 11 w 75"/>
                <a:gd name="T23" fmla="*/ 21 h 47"/>
                <a:gd name="T24" fmla="*/ 20 w 75"/>
                <a:gd name="T25" fmla="*/ 26 h 47"/>
                <a:gd name="T26" fmla="*/ 23 w 75"/>
                <a:gd name="T27" fmla="*/ 25 h 47"/>
                <a:gd name="T28" fmla="*/ 20 w 75"/>
                <a:gd name="T29" fmla="*/ 18 h 47"/>
                <a:gd name="T30" fmla="*/ 12 w 75"/>
                <a:gd name="T31" fmla="*/ 17 h 47"/>
                <a:gd name="T32" fmla="*/ 14 w 75"/>
                <a:gd name="T33" fmla="*/ 12 h 47"/>
                <a:gd name="T34" fmla="*/ 10 w 75"/>
                <a:gd name="T35" fmla="*/ 9 h 47"/>
                <a:gd name="T36" fmla="*/ 18 w 75"/>
                <a:gd name="T37" fmla="*/ 7 h 47"/>
                <a:gd name="T38" fmla="*/ 22 w 75"/>
                <a:gd name="T39" fmla="*/ 12 h 47"/>
                <a:gd name="T40" fmla="*/ 30 w 75"/>
                <a:gd name="T41" fmla="*/ 17 h 47"/>
                <a:gd name="T42" fmla="*/ 38 w 75"/>
                <a:gd name="T43" fmla="*/ 21 h 47"/>
                <a:gd name="T44" fmla="*/ 44 w 75"/>
                <a:gd name="T45" fmla="*/ 19 h 47"/>
                <a:gd name="T46" fmla="*/ 38 w 75"/>
                <a:gd name="T47" fmla="*/ 18 h 47"/>
                <a:gd name="T48" fmla="*/ 38 w 75"/>
                <a:gd name="T49" fmla="*/ 14 h 47"/>
                <a:gd name="T50" fmla="*/ 40 w 75"/>
                <a:gd name="T51" fmla="*/ 14 h 47"/>
                <a:gd name="T52" fmla="*/ 32 w 75"/>
                <a:gd name="T53" fmla="*/ 11 h 47"/>
                <a:gd name="T54" fmla="*/ 38 w 75"/>
                <a:gd name="T55" fmla="*/ 10 h 47"/>
                <a:gd name="T56" fmla="*/ 28 w 75"/>
                <a:gd name="T57" fmla="*/ 7 h 47"/>
                <a:gd name="T58" fmla="*/ 32 w 75"/>
                <a:gd name="T59" fmla="*/ 1 h 47"/>
                <a:gd name="T60" fmla="*/ 44 w 75"/>
                <a:gd name="T61" fmla="*/ 2 h 47"/>
                <a:gd name="T62" fmla="*/ 51 w 75"/>
                <a:gd name="T63" fmla="*/ 7 h 47"/>
                <a:gd name="T64" fmla="*/ 55 w 75"/>
                <a:gd name="T65" fmla="*/ 2 h 47"/>
                <a:gd name="T66" fmla="*/ 57 w 75"/>
                <a:gd name="T67" fmla="*/ 0 h 47"/>
                <a:gd name="T68" fmla="*/ 61 w 75"/>
                <a:gd name="T69" fmla="*/ 3 h 47"/>
                <a:gd name="T70" fmla="*/ 69 w 75"/>
                <a:gd name="T71" fmla="*/ 4 h 47"/>
                <a:gd name="T72" fmla="*/ 72 w 75"/>
                <a:gd name="T73" fmla="*/ 12 h 47"/>
                <a:gd name="T74" fmla="*/ 71 w 75"/>
                <a:gd name="T75" fmla="*/ 21 h 47"/>
                <a:gd name="T76" fmla="*/ 71 w 75"/>
                <a:gd name="T77" fmla="*/ 27 h 47"/>
                <a:gd name="T78" fmla="*/ 73 w 75"/>
                <a:gd name="T79" fmla="*/ 33 h 47"/>
                <a:gd name="T80" fmla="*/ 71 w 75"/>
                <a:gd name="T81" fmla="*/ 31 h 47"/>
                <a:gd name="T82" fmla="*/ 66 w 75"/>
                <a:gd name="T83" fmla="*/ 36 h 47"/>
                <a:gd name="T84" fmla="*/ 69 w 75"/>
                <a:gd name="T85" fmla="*/ 41 h 47"/>
                <a:gd name="T86" fmla="*/ 64 w 75"/>
                <a:gd name="T87" fmla="*/ 41 h 47"/>
                <a:gd name="T88" fmla="*/ 63 w 75"/>
                <a:gd name="T89" fmla="*/ 46 h 47"/>
                <a:gd name="T90" fmla="*/ 55 w 75"/>
                <a:gd name="T91" fmla="*/ 46 h 47"/>
                <a:gd name="T92" fmla="*/ 46 w 75"/>
                <a:gd name="T93" fmla="*/ 44 h 47"/>
                <a:gd name="T94" fmla="*/ 38 w 75"/>
                <a:gd name="T95" fmla="*/ 47 h 47"/>
                <a:gd name="T96" fmla="*/ 32 w 75"/>
                <a:gd name="T97" fmla="*/ 41 h 47"/>
                <a:gd name="T98" fmla="*/ 38 w 75"/>
                <a:gd name="T99" fmla="*/ 39 h 47"/>
                <a:gd name="T100" fmla="*/ 32 w 75"/>
                <a:gd name="T101" fmla="*/ 38 h 47"/>
                <a:gd name="T102" fmla="*/ 30 w 75"/>
                <a:gd name="T103" fmla="*/ 34 h 47"/>
                <a:gd name="T104" fmla="*/ 38 w 75"/>
                <a:gd name="T105" fmla="*/ 33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75" h="47">
                  <a:moveTo>
                    <a:pt x="38" y="33"/>
                  </a:moveTo>
                  <a:lnTo>
                    <a:pt x="38" y="33"/>
                  </a:lnTo>
                  <a:lnTo>
                    <a:pt x="36" y="31"/>
                  </a:lnTo>
                  <a:lnTo>
                    <a:pt x="38" y="31"/>
                  </a:lnTo>
                  <a:lnTo>
                    <a:pt x="38" y="30"/>
                  </a:lnTo>
                  <a:lnTo>
                    <a:pt x="39" y="30"/>
                  </a:lnTo>
                  <a:lnTo>
                    <a:pt x="42" y="28"/>
                  </a:lnTo>
                  <a:lnTo>
                    <a:pt x="45" y="28"/>
                  </a:lnTo>
                  <a:lnTo>
                    <a:pt x="47" y="28"/>
                  </a:lnTo>
                  <a:lnTo>
                    <a:pt x="51" y="28"/>
                  </a:lnTo>
                  <a:lnTo>
                    <a:pt x="53" y="27"/>
                  </a:lnTo>
                  <a:lnTo>
                    <a:pt x="49" y="27"/>
                  </a:lnTo>
                  <a:lnTo>
                    <a:pt x="44" y="27"/>
                  </a:lnTo>
                  <a:lnTo>
                    <a:pt x="42" y="27"/>
                  </a:lnTo>
                  <a:lnTo>
                    <a:pt x="38" y="28"/>
                  </a:lnTo>
                  <a:lnTo>
                    <a:pt x="36" y="28"/>
                  </a:lnTo>
                  <a:lnTo>
                    <a:pt x="32" y="28"/>
                  </a:lnTo>
                  <a:lnTo>
                    <a:pt x="30" y="29"/>
                  </a:lnTo>
                  <a:lnTo>
                    <a:pt x="27" y="29"/>
                  </a:lnTo>
                  <a:lnTo>
                    <a:pt x="25" y="29"/>
                  </a:lnTo>
                  <a:lnTo>
                    <a:pt x="21" y="30"/>
                  </a:lnTo>
                  <a:lnTo>
                    <a:pt x="19" y="30"/>
                  </a:lnTo>
                  <a:lnTo>
                    <a:pt x="13" y="30"/>
                  </a:lnTo>
                  <a:lnTo>
                    <a:pt x="10" y="31"/>
                  </a:lnTo>
                  <a:lnTo>
                    <a:pt x="8" y="31"/>
                  </a:lnTo>
                  <a:lnTo>
                    <a:pt x="4" y="31"/>
                  </a:lnTo>
                  <a:lnTo>
                    <a:pt x="2" y="31"/>
                  </a:lnTo>
                  <a:lnTo>
                    <a:pt x="0" y="29"/>
                  </a:lnTo>
                  <a:lnTo>
                    <a:pt x="2" y="28"/>
                  </a:lnTo>
                  <a:lnTo>
                    <a:pt x="5" y="26"/>
                  </a:lnTo>
                  <a:lnTo>
                    <a:pt x="8" y="26"/>
                  </a:lnTo>
                  <a:lnTo>
                    <a:pt x="10" y="27"/>
                  </a:lnTo>
                  <a:lnTo>
                    <a:pt x="9" y="25"/>
                  </a:lnTo>
                  <a:lnTo>
                    <a:pt x="5" y="24"/>
                  </a:lnTo>
                  <a:lnTo>
                    <a:pt x="9" y="22"/>
                  </a:lnTo>
                  <a:lnTo>
                    <a:pt x="11" y="21"/>
                  </a:lnTo>
                  <a:lnTo>
                    <a:pt x="14" y="22"/>
                  </a:lnTo>
                  <a:lnTo>
                    <a:pt x="17" y="24"/>
                  </a:lnTo>
                  <a:lnTo>
                    <a:pt x="20" y="26"/>
                  </a:lnTo>
                  <a:lnTo>
                    <a:pt x="22" y="25"/>
                  </a:lnTo>
                  <a:lnTo>
                    <a:pt x="26" y="24"/>
                  </a:lnTo>
                  <a:lnTo>
                    <a:pt x="23" y="25"/>
                  </a:lnTo>
                  <a:lnTo>
                    <a:pt x="20" y="24"/>
                  </a:lnTo>
                  <a:lnTo>
                    <a:pt x="17" y="20"/>
                  </a:lnTo>
                  <a:lnTo>
                    <a:pt x="20" y="18"/>
                  </a:lnTo>
                  <a:lnTo>
                    <a:pt x="18" y="19"/>
                  </a:lnTo>
                  <a:lnTo>
                    <a:pt x="14" y="19"/>
                  </a:lnTo>
                  <a:lnTo>
                    <a:pt x="12" y="17"/>
                  </a:lnTo>
                  <a:lnTo>
                    <a:pt x="14" y="13"/>
                  </a:lnTo>
                  <a:lnTo>
                    <a:pt x="18" y="12"/>
                  </a:lnTo>
                  <a:lnTo>
                    <a:pt x="14" y="12"/>
                  </a:lnTo>
                  <a:lnTo>
                    <a:pt x="12" y="12"/>
                  </a:lnTo>
                  <a:lnTo>
                    <a:pt x="9" y="12"/>
                  </a:lnTo>
                  <a:lnTo>
                    <a:pt x="10" y="9"/>
                  </a:lnTo>
                  <a:lnTo>
                    <a:pt x="12" y="7"/>
                  </a:lnTo>
                  <a:lnTo>
                    <a:pt x="15" y="5"/>
                  </a:lnTo>
                  <a:lnTo>
                    <a:pt x="18" y="7"/>
                  </a:lnTo>
                  <a:lnTo>
                    <a:pt x="21" y="8"/>
                  </a:lnTo>
                  <a:lnTo>
                    <a:pt x="23" y="9"/>
                  </a:lnTo>
                  <a:lnTo>
                    <a:pt x="22" y="12"/>
                  </a:lnTo>
                  <a:lnTo>
                    <a:pt x="26" y="12"/>
                  </a:lnTo>
                  <a:lnTo>
                    <a:pt x="28" y="13"/>
                  </a:lnTo>
                  <a:lnTo>
                    <a:pt x="30" y="17"/>
                  </a:lnTo>
                  <a:lnTo>
                    <a:pt x="32" y="17"/>
                  </a:lnTo>
                  <a:lnTo>
                    <a:pt x="36" y="19"/>
                  </a:lnTo>
                  <a:lnTo>
                    <a:pt x="38" y="21"/>
                  </a:lnTo>
                  <a:lnTo>
                    <a:pt x="38" y="22"/>
                  </a:lnTo>
                  <a:lnTo>
                    <a:pt x="42" y="21"/>
                  </a:lnTo>
                  <a:lnTo>
                    <a:pt x="44" y="19"/>
                  </a:lnTo>
                  <a:lnTo>
                    <a:pt x="42" y="20"/>
                  </a:lnTo>
                  <a:lnTo>
                    <a:pt x="38" y="18"/>
                  </a:lnTo>
                  <a:lnTo>
                    <a:pt x="38" y="18"/>
                  </a:lnTo>
                  <a:lnTo>
                    <a:pt x="37" y="18"/>
                  </a:lnTo>
                  <a:lnTo>
                    <a:pt x="36" y="14"/>
                  </a:lnTo>
                  <a:lnTo>
                    <a:pt x="38" y="14"/>
                  </a:lnTo>
                  <a:lnTo>
                    <a:pt x="40" y="14"/>
                  </a:lnTo>
                  <a:lnTo>
                    <a:pt x="44" y="14"/>
                  </a:lnTo>
                  <a:lnTo>
                    <a:pt x="40" y="14"/>
                  </a:lnTo>
                  <a:lnTo>
                    <a:pt x="38" y="13"/>
                  </a:lnTo>
                  <a:lnTo>
                    <a:pt x="36" y="13"/>
                  </a:lnTo>
                  <a:lnTo>
                    <a:pt x="32" y="11"/>
                  </a:lnTo>
                  <a:lnTo>
                    <a:pt x="36" y="10"/>
                  </a:lnTo>
                  <a:lnTo>
                    <a:pt x="38" y="11"/>
                  </a:lnTo>
                  <a:lnTo>
                    <a:pt x="38" y="10"/>
                  </a:lnTo>
                  <a:lnTo>
                    <a:pt x="36" y="8"/>
                  </a:lnTo>
                  <a:lnTo>
                    <a:pt x="30" y="8"/>
                  </a:lnTo>
                  <a:lnTo>
                    <a:pt x="28" y="7"/>
                  </a:lnTo>
                  <a:lnTo>
                    <a:pt x="27" y="4"/>
                  </a:lnTo>
                  <a:lnTo>
                    <a:pt x="30" y="2"/>
                  </a:lnTo>
                  <a:lnTo>
                    <a:pt x="32" y="1"/>
                  </a:lnTo>
                  <a:lnTo>
                    <a:pt x="36" y="0"/>
                  </a:lnTo>
                  <a:lnTo>
                    <a:pt x="38" y="1"/>
                  </a:lnTo>
                  <a:lnTo>
                    <a:pt x="44" y="2"/>
                  </a:lnTo>
                  <a:lnTo>
                    <a:pt x="46" y="3"/>
                  </a:lnTo>
                  <a:lnTo>
                    <a:pt x="49" y="4"/>
                  </a:lnTo>
                  <a:lnTo>
                    <a:pt x="51" y="7"/>
                  </a:lnTo>
                  <a:lnTo>
                    <a:pt x="53" y="4"/>
                  </a:lnTo>
                  <a:lnTo>
                    <a:pt x="52" y="2"/>
                  </a:lnTo>
                  <a:lnTo>
                    <a:pt x="55" y="2"/>
                  </a:lnTo>
                  <a:lnTo>
                    <a:pt x="57" y="0"/>
                  </a:lnTo>
                  <a:lnTo>
                    <a:pt x="55" y="0"/>
                  </a:lnTo>
                  <a:lnTo>
                    <a:pt x="57" y="0"/>
                  </a:lnTo>
                  <a:lnTo>
                    <a:pt x="61" y="1"/>
                  </a:lnTo>
                  <a:lnTo>
                    <a:pt x="63" y="2"/>
                  </a:lnTo>
                  <a:lnTo>
                    <a:pt x="61" y="3"/>
                  </a:lnTo>
                  <a:lnTo>
                    <a:pt x="63" y="3"/>
                  </a:lnTo>
                  <a:lnTo>
                    <a:pt x="66" y="4"/>
                  </a:lnTo>
                  <a:lnTo>
                    <a:pt x="69" y="4"/>
                  </a:lnTo>
                  <a:lnTo>
                    <a:pt x="70" y="8"/>
                  </a:lnTo>
                  <a:lnTo>
                    <a:pt x="69" y="10"/>
                  </a:lnTo>
                  <a:lnTo>
                    <a:pt x="72" y="12"/>
                  </a:lnTo>
                  <a:lnTo>
                    <a:pt x="72" y="16"/>
                  </a:lnTo>
                  <a:lnTo>
                    <a:pt x="71" y="18"/>
                  </a:lnTo>
                  <a:lnTo>
                    <a:pt x="71" y="21"/>
                  </a:lnTo>
                  <a:lnTo>
                    <a:pt x="71" y="24"/>
                  </a:lnTo>
                  <a:lnTo>
                    <a:pt x="69" y="26"/>
                  </a:lnTo>
                  <a:lnTo>
                    <a:pt x="71" y="27"/>
                  </a:lnTo>
                  <a:lnTo>
                    <a:pt x="74" y="27"/>
                  </a:lnTo>
                  <a:lnTo>
                    <a:pt x="74" y="30"/>
                  </a:lnTo>
                  <a:lnTo>
                    <a:pt x="73" y="33"/>
                  </a:lnTo>
                  <a:lnTo>
                    <a:pt x="75" y="35"/>
                  </a:lnTo>
                  <a:lnTo>
                    <a:pt x="72" y="34"/>
                  </a:lnTo>
                  <a:lnTo>
                    <a:pt x="71" y="31"/>
                  </a:lnTo>
                  <a:lnTo>
                    <a:pt x="68" y="33"/>
                  </a:lnTo>
                  <a:lnTo>
                    <a:pt x="65" y="34"/>
                  </a:lnTo>
                  <a:lnTo>
                    <a:pt x="66" y="36"/>
                  </a:lnTo>
                  <a:lnTo>
                    <a:pt x="64" y="37"/>
                  </a:lnTo>
                  <a:lnTo>
                    <a:pt x="66" y="39"/>
                  </a:lnTo>
                  <a:lnTo>
                    <a:pt x="69" y="41"/>
                  </a:lnTo>
                  <a:lnTo>
                    <a:pt x="70" y="43"/>
                  </a:lnTo>
                  <a:lnTo>
                    <a:pt x="68" y="43"/>
                  </a:lnTo>
                  <a:lnTo>
                    <a:pt x="64" y="41"/>
                  </a:lnTo>
                  <a:lnTo>
                    <a:pt x="65" y="43"/>
                  </a:lnTo>
                  <a:lnTo>
                    <a:pt x="66" y="46"/>
                  </a:lnTo>
                  <a:lnTo>
                    <a:pt x="63" y="46"/>
                  </a:lnTo>
                  <a:lnTo>
                    <a:pt x="61" y="46"/>
                  </a:lnTo>
                  <a:lnTo>
                    <a:pt x="57" y="46"/>
                  </a:lnTo>
                  <a:lnTo>
                    <a:pt x="55" y="46"/>
                  </a:lnTo>
                  <a:lnTo>
                    <a:pt x="52" y="46"/>
                  </a:lnTo>
                  <a:lnTo>
                    <a:pt x="49" y="46"/>
                  </a:lnTo>
                  <a:lnTo>
                    <a:pt x="46" y="44"/>
                  </a:lnTo>
                  <a:lnTo>
                    <a:pt x="44" y="47"/>
                  </a:lnTo>
                  <a:lnTo>
                    <a:pt x="42" y="47"/>
                  </a:lnTo>
                  <a:lnTo>
                    <a:pt x="38" y="47"/>
                  </a:lnTo>
                  <a:lnTo>
                    <a:pt x="36" y="46"/>
                  </a:lnTo>
                  <a:lnTo>
                    <a:pt x="32" y="45"/>
                  </a:lnTo>
                  <a:lnTo>
                    <a:pt x="32" y="41"/>
                  </a:lnTo>
                  <a:lnTo>
                    <a:pt x="36" y="41"/>
                  </a:lnTo>
                  <a:lnTo>
                    <a:pt x="38" y="39"/>
                  </a:lnTo>
                  <a:lnTo>
                    <a:pt x="38" y="39"/>
                  </a:lnTo>
                  <a:lnTo>
                    <a:pt x="38" y="39"/>
                  </a:lnTo>
                  <a:lnTo>
                    <a:pt x="35" y="39"/>
                  </a:lnTo>
                  <a:lnTo>
                    <a:pt x="32" y="38"/>
                  </a:lnTo>
                  <a:lnTo>
                    <a:pt x="29" y="37"/>
                  </a:lnTo>
                  <a:lnTo>
                    <a:pt x="32" y="36"/>
                  </a:lnTo>
                  <a:lnTo>
                    <a:pt x="30" y="34"/>
                  </a:lnTo>
                  <a:lnTo>
                    <a:pt x="32" y="34"/>
                  </a:lnTo>
                  <a:lnTo>
                    <a:pt x="36" y="33"/>
                  </a:lnTo>
                  <a:lnTo>
                    <a:pt x="38" y="33"/>
                  </a:lnTo>
                  <a:lnTo>
                    <a:pt x="38" y="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34" name="Freeform 234">
              <a:extLst>
                <a:ext uri="{FF2B5EF4-FFF2-40B4-BE49-F238E27FC236}">
                  <a16:creationId xmlns:a16="http://schemas.microsoft.com/office/drawing/2014/main" id="{42803298-6947-4EA9-9E22-215D2BA9A5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52825" y="2165350"/>
              <a:ext cx="150812" cy="163513"/>
            </a:xfrm>
            <a:custGeom>
              <a:avLst/>
              <a:gdLst>
                <a:gd name="T0" fmla="*/ 82 w 95"/>
                <a:gd name="T1" fmla="*/ 7 h 103"/>
                <a:gd name="T2" fmla="*/ 86 w 95"/>
                <a:gd name="T3" fmla="*/ 12 h 103"/>
                <a:gd name="T4" fmla="*/ 95 w 95"/>
                <a:gd name="T5" fmla="*/ 12 h 103"/>
                <a:gd name="T6" fmla="*/ 94 w 95"/>
                <a:gd name="T7" fmla="*/ 4 h 103"/>
                <a:gd name="T8" fmla="*/ 88 w 95"/>
                <a:gd name="T9" fmla="*/ 1 h 103"/>
                <a:gd name="T10" fmla="*/ 81 w 95"/>
                <a:gd name="T11" fmla="*/ 0 h 103"/>
                <a:gd name="T12" fmla="*/ 75 w 95"/>
                <a:gd name="T13" fmla="*/ 4 h 103"/>
                <a:gd name="T14" fmla="*/ 77 w 95"/>
                <a:gd name="T15" fmla="*/ 7 h 103"/>
                <a:gd name="T16" fmla="*/ 81 w 95"/>
                <a:gd name="T17" fmla="*/ 103 h 103"/>
                <a:gd name="T18" fmla="*/ 77 w 95"/>
                <a:gd name="T19" fmla="*/ 101 h 103"/>
                <a:gd name="T20" fmla="*/ 77 w 95"/>
                <a:gd name="T21" fmla="*/ 47 h 103"/>
                <a:gd name="T22" fmla="*/ 84 w 95"/>
                <a:gd name="T23" fmla="*/ 48 h 103"/>
                <a:gd name="T24" fmla="*/ 81 w 95"/>
                <a:gd name="T25" fmla="*/ 56 h 103"/>
                <a:gd name="T26" fmla="*/ 88 w 95"/>
                <a:gd name="T27" fmla="*/ 61 h 103"/>
                <a:gd name="T28" fmla="*/ 88 w 95"/>
                <a:gd name="T29" fmla="*/ 70 h 103"/>
                <a:gd name="T30" fmla="*/ 81 w 95"/>
                <a:gd name="T31" fmla="*/ 71 h 103"/>
                <a:gd name="T32" fmla="*/ 74 w 95"/>
                <a:gd name="T33" fmla="*/ 71 h 103"/>
                <a:gd name="T34" fmla="*/ 66 w 95"/>
                <a:gd name="T35" fmla="*/ 64 h 103"/>
                <a:gd name="T36" fmla="*/ 59 w 95"/>
                <a:gd name="T37" fmla="*/ 60 h 103"/>
                <a:gd name="T38" fmla="*/ 50 w 95"/>
                <a:gd name="T39" fmla="*/ 57 h 103"/>
                <a:gd name="T40" fmla="*/ 42 w 95"/>
                <a:gd name="T41" fmla="*/ 58 h 103"/>
                <a:gd name="T42" fmla="*/ 35 w 95"/>
                <a:gd name="T43" fmla="*/ 54 h 103"/>
                <a:gd name="T44" fmla="*/ 27 w 95"/>
                <a:gd name="T45" fmla="*/ 56 h 103"/>
                <a:gd name="T46" fmla="*/ 19 w 95"/>
                <a:gd name="T47" fmla="*/ 57 h 103"/>
                <a:gd name="T48" fmla="*/ 10 w 95"/>
                <a:gd name="T49" fmla="*/ 53 h 103"/>
                <a:gd name="T50" fmla="*/ 13 w 95"/>
                <a:gd name="T51" fmla="*/ 48 h 103"/>
                <a:gd name="T52" fmla="*/ 22 w 95"/>
                <a:gd name="T53" fmla="*/ 49 h 103"/>
                <a:gd name="T54" fmla="*/ 30 w 95"/>
                <a:gd name="T55" fmla="*/ 49 h 103"/>
                <a:gd name="T56" fmla="*/ 23 w 95"/>
                <a:gd name="T57" fmla="*/ 46 h 103"/>
                <a:gd name="T58" fmla="*/ 30 w 95"/>
                <a:gd name="T59" fmla="*/ 41 h 103"/>
                <a:gd name="T60" fmla="*/ 22 w 95"/>
                <a:gd name="T61" fmla="*/ 43 h 103"/>
                <a:gd name="T62" fmla="*/ 22 w 95"/>
                <a:gd name="T63" fmla="*/ 36 h 103"/>
                <a:gd name="T64" fmla="*/ 15 w 95"/>
                <a:gd name="T65" fmla="*/ 39 h 103"/>
                <a:gd name="T66" fmla="*/ 11 w 95"/>
                <a:gd name="T67" fmla="*/ 37 h 103"/>
                <a:gd name="T68" fmla="*/ 6 w 95"/>
                <a:gd name="T69" fmla="*/ 35 h 103"/>
                <a:gd name="T70" fmla="*/ 0 w 95"/>
                <a:gd name="T71" fmla="*/ 30 h 103"/>
                <a:gd name="T72" fmla="*/ 6 w 95"/>
                <a:gd name="T73" fmla="*/ 26 h 103"/>
                <a:gd name="T74" fmla="*/ 15 w 95"/>
                <a:gd name="T75" fmla="*/ 26 h 103"/>
                <a:gd name="T76" fmla="*/ 23 w 95"/>
                <a:gd name="T77" fmla="*/ 23 h 103"/>
                <a:gd name="T78" fmla="*/ 32 w 95"/>
                <a:gd name="T79" fmla="*/ 26 h 103"/>
                <a:gd name="T80" fmla="*/ 39 w 95"/>
                <a:gd name="T81" fmla="*/ 30 h 103"/>
                <a:gd name="T82" fmla="*/ 42 w 95"/>
                <a:gd name="T83" fmla="*/ 39 h 103"/>
                <a:gd name="T84" fmla="*/ 48 w 95"/>
                <a:gd name="T85" fmla="*/ 34 h 103"/>
                <a:gd name="T86" fmla="*/ 53 w 95"/>
                <a:gd name="T87" fmla="*/ 32 h 103"/>
                <a:gd name="T88" fmla="*/ 64 w 95"/>
                <a:gd name="T89" fmla="*/ 41 h 103"/>
                <a:gd name="T90" fmla="*/ 71 w 95"/>
                <a:gd name="T91" fmla="*/ 40 h 103"/>
                <a:gd name="T92" fmla="*/ 77 w 95"/>
                <a:gd name="T93" fmla="*/ 47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95" h="103">
                  <a:moveTo>
                    <a:pt x="77" y="7"/>
                  </a:moveTo>
                  <a:lnTo>
                    <a:pt x="78" y="7"/>
                  </a:lnTo>
                  <a:lnTo>
                    <a:pt x="82" y="7"/>
                  </a:lnTo>
                  <a:lnTo>
                    <a:pt x="84" y="7"/>
                  </a:lnTo>
                  <a:lnTo>
                    <a:pt x="87" y="9"/>
                  </a:lnTo>
                  <a:lnTo>
                    <a:pt x="86" y="12"/>
                  </a:lnTo>
                  <a:lnTo>
                    <a:pt x="90" y="12"/>
                  </a:lnTo>
                  <a:lnTo>
                    <a:pt x="92" y="13"/>
                  </a:lnTo>
                  <a:lnTo>
                    <a:pt x="95" y="12"/>
                  </a:lnTo>
                  <a:lnTo>
                    <a:pt x="95" y="10"/>
                  </a:lnTo>
                  <a:lnTo>
                    <a:pt x="94" y="7"/>
                  </a:lnTo>
                  <a:lnTo>
                    <a:pt x="94" y="4"/>
                  </a:lnTo>
                  <a:lnTo>
                    <a:pt x="94" y="3"/>
                  </a:lnTo>
                  <a:lnTo>
                    <a:pt x="91" y="1"/>
                  </a:lnTo>
                  <a:lnTo>
                    <a:pt x="88" y="1"/>
                  </a:lnTo>
                  <a:lnTo>
                    <a:pt x="85" y="1"/>
                  </a:lnTo>
                  <a:lnTo>
                    <a:pt x="83" y="0"/>
                  </a:lnTo>
                  <a:lnTo>
                    <a:pt x="81" y="0"/>
                  </a:lnTo>
                  <a:lnTo>
                    <a:pt x="79" y="0"/>
                  </a:lnTo>
                  <a:lnTo>
                    <a:pt x="76" y="2"/>
                  </a:lnTo>
                  <a:lnTo>
                    <a:pt x="75" y="4"/>
                  </a:lnTo>
                  <a:lnTo>
                    <a:pt x="75" y="5"/>
                  </a:lnTo>
                  <a:lnTo>
                    <a:pt x="76" y="7"/>
                  </a:lnTo>
                  <a:lnTo>
                    <a:pt x="77" y="7"/>
                  </a:lnTo>
                  <a:lnTo>
                    <a:pt x="77" y="7"/>
                  </a:lnTo>
                  <a:close/>
                  <a:moveTo>
                    <a:pt x="77" y="103"/>
                  </a:moveTo>
                  <a:lnTo>
                    <a:pt x="81" y="103"/>
                  </a:lnTo>
                  <a:lnTo>
                    <a:pt x="83" y="103"/>
                  </a:lnTo>
                  <a:lnTo>
                    <a:pt x="81" y="101"/>
                  </a:lnTo>
                  <a:lnTo>
                    <a:pt x="77" y="101"/>
                  </a:lnTo>
                  <a:lnTo>
                    <a:pt x="77" y="103"/>
                  </a:lnTo>
                  <a:lnTo>
                    <a:pt x="77" y="103"/>
                  </a:lnTo>
                  <a:close/>
                  <a:moveTo>
                    <a:pt x="77" y="47"/>
                  </a:moveTo>
                  <a:lnTo>
                    <a:pt x="78" y="47"/>
                  </a:lnTo>
                  <a:lnTo>
                    <a:pt x="81" y="47"/>
                  </a:lnTo>
                  <a:lnTo>
                    <a:pt x="84" y="48"/>
                  </a:lnTo>
                  <a:lnTo>
                    <a:pt x="82" y="51"/>
                  </a:lnTo>
                  <a:lnTo>
                    <a:pt x="81" y="54"/>
                  </a:lnTo>
                  <a:lnTo>
                    <a:pt x="81" y="56"/>
                  </a:lnTo>
                  <a:lnTo>
                    <a:pt x="84" y="56"/>
                  </a:lnTo>
                  <a:lnTo>
                    <a:pt x="86" y="60"/>
                  </a:lnTo>
                  <a:lnTo>
                    <a:pt x="88" y="61"/>
                  </a:lnTo>
                  <a:lnTo>
                    <a:pt x="92" y="64"/>
                  </a:lnTo>
                  <a:lnTo>
                    <a:pt x="90" y="66"/>
                  </a:lnTo>
                  <a:lnTo>
                    <a:pt x="88" y="70"/>
                  </a:lnTo>
                  <a:lnTo>
                    <a:pt x="86" y="70"/>
                  </a:lnTo>
                  <a:lnTo>
                    <a:pt x="83" y="71"/>
                  </a:lnTo>
                  <a:lnTo>
                    <a:pt x="81" y="71"/>
                  </a:lnTo>
                  <a:lnTo>
                    <a:pt x="77" y="71"/>
                  </a:lnTo>
                  <a:lnTo>
                    <a:pt x="76" y="71"/>
                  </a:lnTo>
                  <a:lnTo>
                    <a:pt x="74" y="71"/>
                  </a:lnTo>
                  <a:lnTo>
                    <a:pt x="70" y="70"/>
                  </a:lnTo>
                  <a:lnTo>
                    <a:pt x="68" y="68"/>
                  </a:lnTo>
                  <a:lnTo>
                    <a:pt x="66" y="64"/>
                  </a:lnTo>
                  <a:lnTo>
                    <a:pt x="65" y="62"/>
                  </a:lnTo>
                  <a:lnTo>
                    <a:pt x="61" y="60"/>
                  </a:lnTo>
                  <a:lnTo>
                    <a:pt x="59" y="60"/>
                  </a:lnTo>
                  <a:lnTo>
                    <a:pt x="56" y="58"/>
                  </a:lnTo>
                  <a:lnTo>
                    <a:pt x="53" y="57"/>
                  </a:lnTo>
                  <a:lnTo>
                    <a:pt x="50" y="57"/>
                  </a:lnTo>
                  <a:lnTo>
                    <a:pt x="48" y="56"/>
                  </a:lnTo>
                  <a:lnTo>
                    <a:pt x="44" y="57"/>
                  </a:lnTo>
                  <a:lnTo>
                    <a:pt x="42" y="58"/>
                  </a:lnTo>
                  <a:lnTo>
                    <a:pt x="39" y="56"/>
                  </a:lnTo>
                  <a:lnTo>
                    <a:pt x="39" y="54"/>
                  </a:lnTo>
                  <a:lnTo>
                    <a:pt x="35" y="54"/>
                  </a:lnTo>
                  <a:lnTo>
                    <a:pt x="33" y="55"/>
                  </a:lnTo>
                  <a:lnTo>
                    <a:pt x="31" y="55"/>
                  </a:lnTo>
                  <a:lnTo>
                    <a:pt x="27" y="56"/>
                  </a:lnTo>
                  <a:lnTo>
                    <a:pt x="25" y="57"/>
                  </a:lnTo>
                  <a:lnTo>
                    <a:pt x="22" y="57"/>
                  </a:lnTo>
                  <a:lnTo>
                    <a:pt x="19" y="57"/>
                  </a:lnTo>
                  <a:lnTo>
                    <a:pt x="16" y="57"/>
                  </a:lnTo>
                  <a:lnTo>
                    <a:pt x="14" y="55"/>
                  </a:lnTo>
                  <a:lnTo>
                    <a:pt x="10" y="53"/>
                  </a:lnTo>
                  <a:lnTo>
                    <a:pt x="8" y="51"/>
                  </a:lnTo>
                  <a:lnTo>
                    <a:pt x="10" y="48"/>
                  </a:lnTo>
                  <a:lnTo>
                    <a:pt x="13" y="48"/>
                  </a:lnTo>
                  <a:lnTo>
                    <a:pt x="16" y="48"/>
                  </a:lnTo>
                  <a:lnTo>
                    <a:pt x="18" y="48"/>
                  </a:lnTo>
                  <a:lnTo>
                    <a:pt x="22" y="49"/>
                  </a:lnTo>
                  <a:lnTo>
                    <a:pt x="24" y="49"/>
                  </a:lnTo>
                  <a:lnTo>
                    <a:pt x="27" y="49"/>
                  </a:lnTo>
                  <a:lnTo>
                    <a:pt x="30" y="49"/>
                  </a:lnTo>
                  <a:lnTo>
                    <a:pt x="28" y="47"/>
                  </a:lnTo>
                  <a:lnTo>
                    <a:pt x="26" y="47"/>
                  </a:lnTo>
                  <a:lnTo>
                    <a:pt x="23" y="46"/>
                  </a:lnTo>
                  <a:lnTo>
                    <a:pt x="26" y="45"/>
                  </a:lnTo>
                  <a:lnTo>
                    <a:pt x="30" y="44"/>
                  </a:lnTo>
                  <a:lnTo>
                    <a:pt x="30" y="41"/>
                  </a:lnTo>
                  <a:lnTo>
                    <a:pt x="27" y="41"/>
                  </a:lnTo>
                  <a:lnTo>
                    <a:pt x="24" y="41"/>
                  </a:lnTo>
                  <a:lnTo>
                    <a:pt x="22" y="43"/>
                  </a:lnTo>
                  <a:lnTo>
                    <a:pt x="22" y="40"/>
                  </a:lnTo>
                  <a:lnTo>
                    <a:pt x="24" y="38"/>
                  </a:lnTo>
                  <a:lnTo>
                    <a:pt x="22" y="36"/>
                  </a:lnTo>
                  <a:lnTo>
                    <a:pt x="18" y="36"/>
                  </a:lnTo>
                  <a:lnTo>
                    <a:pt x="16" y="37"/>
                  </a:lnTo>
                  <a:lnTo>
                    <a:pt x="15" y="39"/>
                  </a:lnTo>
                  <a:lnTo>
                    <a:pt x="11" y="41"/>
                  </a:lnTo>
                  <a:lnTo>
                    <a:pt x="9" y="39"/>
                  </a:lnTo>
                  <a:lnTo>
                    <a:pt x="11" y="37"/>
                  </a:lnTo>
                  <a:lnTo>
                    <a:pt x="11" y="34"/>
                  </a:lnTo>
                  <a:lnTo>
                    <a:pt x="9" y="34"/>
                  </a:lnTo>
                  <a:lnTo>
                    <a:pt x="6" y="35"/>
                  </a:lnTo>
                  <a:lnTo>
                    <a:pt x="3" y="35"/>
                  </a:lnTo>
                  <a:lnTo>
                    <a:pt x="0" y="34"/>
                  </a:lnTo>
                  <a:lnTo>
                    <a:pt x="0" y="30"/>
                  </a:lnTo>
                  <a:lnTo>
                    <a:pt x="1" y="28"/>
                  </a:lnTo>
                  <a:lnTo>
                    <a:pt x="3" y="26"/>
                  </a:lnTo>
                  <a:lnTo>
                    <a:pt x="6" y="26"/>
                  </a:lnTo>
                  <a:lnTo>
                    <a:pt x="9" y="26"/>
                  </a:lnTo>
                  <a:lnTo>
                    <a:pt x="11" y="26"/>
                  </a:lnTo>
                  <a:lnTo>
                    <a:pt x="15" y="26"/>
                  </a:lnTo>
                  <a:lnTo>
                    <a:pt x="17" y="24"/>
                  </a:lnTo>
                  <a:lnTo>
                    <a:pt x="20" y="24"/>
                  </a:lnTo>
                  <a:lnTo>
                    <a:pt x="23" y="23"/>
                  </a:lnTo>
                  <a:lnTo>
                    <a:pt x="26" y="24"/>
                  </a:lnTo>
                  <a:lnTo>
                    <a:pt x="28" y="26"/>
                  </a:lnTo>
                  <a:lnTo>
                    <a:pt x="32" y="26"/>
                  </a:lnTo>
                  <a:lnTo>
                    <a:pt x="34" y="27"/>
                  </a:lnTo>
                  <a:lnTo>
                    <a:pt x="37" y="28"/>
                  </a:lnTo>
                  <a:lnTo>
                    <a:pt x="39" y="30"/>
                  </a:lnTo>
                  <a:lnTo>
                    <a:pt x="41" y="34"/>
                  </a:lnTo>
                  <a:lnTo>
                    <a:pt x="40" y="36"/>
                  </a:lnTo>
                  <a:lnTo>
                    <a:pt x="42" y="39"/>
                  </a:lnTo>
                  <a:lnTo>
                    <a:pt x="44" y="37"/>
                  </a:lnTo>
                  <a:lnTo>
                    <a:pt x="47" y="34"/>
                  </a:lnTo>
                  <a:lnTo>
                    <a:pt x="48" y="34"/>
                  </a:lnTo>
                  <a:lnTo>
                    <a:pt x="50" y="32"/>
                  </a:lnTo>
                  <a:lnTo>
                    <a:pt x="53" y="32"/>
                  </a:lnTo>
                  <a:lnTo>
                    <a:pt x="53" y="32"/>
                  </a:lnTo>
                  <a:lnTo>
                    <a:pt x="60" y="36"/>
                  </a:lnTo>
                  <a:lnTo>
                    <a:pt x="62" y="38"/>
                  </a:lnTo>
                  <a:lnTo>
                    <a:pt x="64" y="41"/>
                  </a:lnTo>
                  <a:lnTo>
                    <a:pt x="66" y="41"/>
                  </a:lnTo>
                  <a:lnTo>
                    <a:pt x="69" y="41"/>
                  </a:lnTo>
                  <a:lnTo>
                    <a:pt x="71" y="40"/>
                  </a:lnTo>
                  <a:lnTo>
                    <a:pt x="75" y="43"/>
                  </a:lnTo>
                  <a:lnTo>
                    <a:pt x="77" y="43"/>
                  </a:lnTo>
                  <a:lnTo>
                    <a:pt x="77" y="47"/>
                  </a:lnTo>
                  <a:lnTo>
                    <a:pt x="77" y="4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35" name="Freeform 235">
              <a:extLst>
                <a:ext uri="{FF2B5EF4-FFF2-40B4-BE49-F238E27FC236}">
                  <a16:creationId xmlns:a16="http://schemas.microsoft.com/office/drawing/2014/main" id="{A3408BB4-D859-45FD-AE45-80A6E6113F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94063" y="2320925"/>
              <a:ext cx="301625" cy="174625"/>
            </a:xfrm>
            <a:custGeom>
              <a:avLst/>
              <a:gdLst>
                <a:gd name="T0" fmla="*/ 125 w 190"/>
                <a:gd name="T1" fmla="*/ 20 h 110"/>
                <a:gd name="T2" fmla="*/ 131 w 190"/>
                <a:gd name="T3" fmla="*/ 27 h 110"/>
                <a:gd name="T4" fmla="*/ 144 w 190"/>
                <a:gd name="T5" fmla="*/ 31 h 110"/>
                <a:gd name="T6" fmla="*/ 151 w 190"/>
                <a:gd name="T7" fmla="*/ 23 h 110"/>
                <a:gd name="T8" fmla="*/ 165 w 190"/>
                <a:gd name="T9" fmla="*/ 30 h 110"/>
                <a:gd name="T10" fmla="*/ 160 w 190"/>
                <a:gd name="T11" fmla="*/ 45 h 110"/>
                <a:gd name="T12" fmla="*/ 144 w 190"/>
                <a:gd name="T13" fmla="*/ 54 h 110"/>
                <a:gd name="T14" fmla="*/ 129 w 190"/>
                <a:gd name="T15" fmla="*/ 54 h 110"/>
                <a:gd name="T16" fmla="*/ 117 w 190"/>
                <a:gd name="T17" fmla="*/ 52 h 110"/>
                <a:gd name="T18" fmla="*/ 103 w 190"/>
                <a:gd name="T19" fmla="*/ 57 h 110"/>
                <a:gd name="T20" fmla="*/ 85 w 190"/>
                <a:gd name="T21" fmla="*/ 65 h 110"/>
                <a:gd name="T22" fmla="*/ 69 w 190"/>
                <a:gd name="T23" fmla="*/ 68 h 110"/>
                <a:gd name="T24" fmla="*/ 52 w 190"/>
                <a:gd name="T25" fmla="*/ 67 h 110"/>
                <a:gd name="T26" fmla="*/ 50 w 190"/>
                <a:gd name="T27" fmla="*/ 58 h 110"/>
                <a:gd name="T28" fmla="*/ 66 w 190"/>
                <a:gd name="T29" fmla="*/ 53 h 110"/>
                <a:gd name="T30" fmla="*/ 88 w 190"/>
                <a:gd name="T31" fmla="*/ 49 h 110"/>
                <a:gd name="T32" fmla="*/ 77 w 190"/>
                <a:gd name="T33" fmla="*/ 49 h 110"/>
                <a:gd name="T34" fmla="*/ 63 w 190"/>
                <a:gd name="T35" fmla="*/ 50 h 110"/>
                <a:gd name="T36" fmla="*/ 52 w 190"/>
                <a:gd name="T37" fmla="*/ 47 h 110"/>
                <a:gd name="T38" fmla="*/ 51 w 190"/>
                <a:gd name="T39" fmla="*/ 42 h 110"/>
                <a:gd name="T40" fmla="*/ 43 w 190"/>
                <a:gd name="T41" fmla="*/ 50 h 110"/>
                <a:gd name="T42" fmla="*/ 29 w 190"/>
                <a:gd name="T43" fmla="*/ 50 h 110"/>
                <a:gd name="T44" fmla="*/ 17 w 190"/>
                <a:gd name="T45" fmla="*/ 50 h 110"/>
                <a:gd name="T46" fmla="*/ 3 w 190"/>
                <a:gd name="T47" fmla="*/ 48 h 110"/>
                <a:gd name="T48" fmla="*/ 12 w 190"/>
                <a:gd name="T49" fmla="*/ 39 h 110"/>
                <a:gd name="T50" fmla="*/ 29 w 190"/>
                <a:gd name="T51" fmla="*/ 36 h 110"/>
                <a:gd name="T52" fmla="*/ 24 w 190"/>
                <a:gd name="T53" fmla="*/ 35 h 110"/>
                <a:gd name="T54" fmla="*/ 4 w 190"/>
                <a:gd name="T55" fmla="*/ 36 h 110"/>
                <a:gd name="T56" fmla="*/ 20 w 190"/>
                <a:gd name="T57" fmla="*/ 30 h 110"/>
                <a:gd name="T58" fmla="*/ 37 w 190"/>
                <a:gd name="T59" fmla="*/ 27 h 110"/>
                <a:gd name="T60" fmla="*/ 20 w 190"/>
                <a:gd name="T61" fmla="*/ 28 h 110"/>
                <a:gd name="T62" fmla="*/ 14 w 190"/>
                <a:gd name="T63" fmla="*/ 20 h 110"/>
                <a:gd name="T64" fmla="*/ 34 w 190"/>
                <a:gd name="T65" fmla="*/ 20 h 110"/>
                <a:gd name="T66" fmla="*/ 25 w 190"/>
                <a:gd name="T67" fmla="*/ 18 h 110"/>
                <a:gd name="T68" fmla="*/ 36 w 190"/>
                <a:gd name="T69" fmla="*/ 10 h 110"/>
                <a:gd name="T70" fmla="*/ 50 w 190"/>
                <a:gd name="T71" fmla="*/ 19 h 110"/>
                <a:gd name="T72" fmla="*/ 66 w 190"/>
                <a:gd name="T73" fmla="*/ 19 h 110"/>
                <a:gd name="T74" fmla="*/ 76 w 190"/>
                <a:gd name="T75" fmla="*/ 27 h 110"/>
                <a:gd name="T76" fmla="*/ 84 w 190"/>
                <a:gd name="T77" fmla="*/ 35 h 110"/>
                <a:gd name="T78" fmla="*/ 101 w 190"/>
                <a:gd name="T79" fmla="*/ 37 h 110"/>
                <a:gd name="T80" fmla="*/ 117 w 190"/>
                <a:gd name="T81" fmla="*/ 37 h 110"/>
                <a:gd name="T82" fmla="*/ 106 w 190"/>
                <a:gd name="T83" fmla="*/ 28 h 110"/>
                <a:gd name="T84" fmla="*/ 113 w 190"/>
                <a:gd name="T85" fmla="*/ 24 h 110"/>
                <a:gd name="T86" fmla="*/ 99 w 190"/>
                <a:gd name="T87" fmla="*/ 15 h 110"/>
                <a:gd name="T88" fmla="*/ 112 w 190"/>
                <a:gd name="T89" fmla="*/ 3 h 110"/>
                <a:gd name="T90" fmla="*/ 121 w 190"/>
                <a:gd name="T91" fmla="*/ 7 h 110"/>
                <a:gd name="T92" fmla="*/ 188 w 190"/>
                <a:gd name="T93" fmla="*/ 43 h 110"/>
                <a:gd name="T94" fmla="*/ 178 w 190"/>
                <a:gd name="T95" fmla="*/ 51 h 110"/>
                <a:gd name="T96" fmla="*/ 181 w 190"/>
                <a:gd name="T97" fmla="*/ 40 h 110"/>
                <a:gd name="T98" fmla="*/ 160 w 190"/>
                <a:gd name="T99" fmla="*/ 103 h 110"/>
                <a:gd name="T100" fmla="*/ 145 w 190"/>
                <a:gd name="T101" fmla="*/ 93 h 110"/>
                <a:gd name="T102" fmla="*/ 165 w 190"/>
                <a:gd name="T103" fmla="*/ 86 h 110"/>
                <a:gd name="T104" fmla="*/ 178 w 190"/>
                <a:gd name="T105" fmla="*/ 93 h 110"/>
                <a:gd name="T106" fmla="*/ 169 w 190"/>
                <a:gd name="T107" fmla="*/ 11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90" h="110">
                  <a:moveTo>
                    <a:pt x="125" y="11"/>
                  </a:moveTo>
                  <a:lnTo>
                    <a:pt x="123" y="13"/>
                  </a:lnTo>
                  <a:lnTo>
                    <a:pt x="126" y="14"/>
                  </a:lnTo>
                  <a:lnTo>
                    <a:pt x="129" y="16"/>
                  </a:lnTo>
                  <a:lnTo>
                    <a:pt x="128" y="18"/>
                  </a:lnTo>
                  <a:lnTo>
                    <a:pt x="125" y="20"/>
                  </a:lnTo>
                  <a:lnTo>
                    <a:pt x="126" y="23"/>
                  </a:lnTo>
                  <a:lnTo>
                    <a:pt x="128" y="23"/>
                  </a:lnTo>
                  <a:lnTo>
                    <a:pt x="131" y="23"/>
                  </a:lnTo>
                  <a:lnTo>
                    <a:pt x="134" y="23"/>
                  </a:lnTo>
                  <a:lnTo>
                    <a:pt x="135" y="26"/>
                  </a:lnTo>
                  <a:lnTo>
                    <a:pt x="131" y="27"/>
                  </a:lnTo>
                  <a:lnTo>
                    <a:pt x="132" y="31"/>
                  </a:lnTo>
                  <a:lnTo>
                    <a:pt x="135" y="27"/>
                  </a:lnTo>
                  <a:lnTo>
                    <a:pt x="138" y="27"/>
                  </a:lnTo>
                  <a:lnTo>
                    <a:pt x="140" y="27"/>
                  </a:lnTo>
                  <a:lnTo>
                    <a:pt x="143" y="28"/>
                  </a:lnTo>
                  <a:lnTo>
                    <a:pt x="144" y="31"/>
                  </a:lnTo>
                  <a:lnTo>
                    <a:pt x="146" y="34"/>
                  </a:lnTo>
                  <a:lnTo>
                    <a:pt x="146" y="31"/>
                  </a:lnTo>
                  <a:lnTo>
                    <a:pt x="149" y="30"/>
                  </a:lnTo>
                  <a:lnTo>
                    <a:pt x="146" y="27"/>
                  </a:lnTo>
                  <a:lnTo>
                    <a:pt x="147" y="25"/>
                  </a:lnTo>
                  <a:lnTo>
                    <a:pt x="151" y="23"/>
                  </a:lnTo>
                  <a:lnTo>
                    <a:pt x="153" y="23"/>
                  </a:lnTo>
                  <a:lnTo>
                    <a:pt x="155" y="24"/>
                  </a:lnTo>
                  <a:lnTo>
                    <a:pt x="159" y="24"/>
                  </a:lnTo>
                  <a:lnTo>
                    <a:pt x="161" y="25"/>
                  </a:lnTo>
                  <a:lnTo>
                    <a:pt x="164" y="27"/>
                  </a:lnTo>
                  <a:lnTo>
                    <a:pt x="165" y="30"/>
                  </a:lnTo>
                  <a:lnTo>
                    <a:pt x="165" y="32"/>
                  </a:lnTo>
                  <a:lnTo>
                    <a:pt x="166" y="35"/>
                  </a:lnTo>
                  <a:lnTo>
                    <a:pt x="163" y="37"/>
                  </a:lnTo>
                  <a:lnTo>
                    <a:pt x="163" y="40"/>
                  </a:lnTo>
                  <a:lnTo>
                    <a:pt x="162" y="43"/>
                  </a:lnTo>
                  <a:lnTo>
                    <a:pt x="160" y="45"/>
                  </a:lnTo>
                  <a:lnTo>
                    <a:pt x="160" y="49"/>
                  </a:lnTo>
                  <a:lnTo>
                    <a:pt x="157" y="51"/>
                  </a:lnTo>
                  <a:lnTo>
                    <a:pt x="154" y="52"/>
                  </a:lnTo>
                  <a:lnTo>
                    <a:pt x="152" y="52"/>
                  </a:lnTo>
                  <a:lnTo>
                    <a:pt x="148" y="52"/>
                  </a:lnTo>
                  <a:lnTo>
                    <a:pt x="144" y="54"/>
                  </a:lnTo>
                  <a:lnTo>
                    <a:pt x="140" y="54"/>
                  </a:lnTo>
                  <a:lnTo>
                    <a:pt x="138" y="54"/>
                  </a:lnTo>
                  <a:lnTo>
                    <a:pt x="135" y="52"/>
                  </a:lnTo>
                  <a:lnTo>
                    <a:pt x="134" y="50"/>
                  </a:lnTo>
                  <a:lnTo>
                    <a:pt x="131" y="52"/>
                  </a:lnTo>
                  <a:lnTo>
                    <a:pt x="129" y="54"/>
                  </a:lnTo>
                  <a:lnTo>
                    <a:pt x="126" y="54"/>
                  </a:lnTo>
                  <a:lnTo>
                    <a:pt x="123" y="53"/>
                  </a:lnTo>
                  <a:lnTo>
                    <a:pt x="120" y="53"/>
                  </a:lnTo>
                  <a:lnTo>
                    <a:pt x="122" y="52"/>
                  </a:lnTo>
                  <a:lnTo>
                    <a:pt x="120" y="51"/>
                  </a:lnTo>
                  <a:lnTo>
                    <a:pt x="117" y="52"/>
                  </a:lnTo>
                  <a:lnTo>
                    <a:pt x="114" y="53"/>
                  </a:lnTo>
                  <a:lnTo>
                    <a:pt x="112" y="56"/>
                  </a:lnTo>
                  <a:lnTo>
                    <a:pt x="109" y="57"/>
                  </a:lnTo>
                  <a:lnTo>
                    <a:pt x="106" y="56"/>
                  </a:lnTo>
                  <a:lnTo>
                    <a:pt x="103" y="57"/>
                  </a:lnTo>
                  <a:lnTo>
                    <a:pt x="103" y="57"/>
                  </a:lnTo>
                  <a:lnTo>
                    <a:pt x="100" y="57"/>
                  </a:lnTo>
                  <a:lnTo>
                    <a:pt x="97" y="58"/>
                  </a:lnTo>
                  <a:lnTo>
                    <a:pt x="94" y="58"/>
                  </a:lnTo>
                  <a:lnTo>
                    <a:pt x="94" y="61"/>
                  </a:lnTo>
                  <a:lnTo>
                    <a:pt x="91" y="62"/>
                  </a:lnTo>
                  <a:lnTo>
                    <a:pt x="85" y="65"/>
                  </a:lnTo>
                  <a:lnTo>
                    <a:pt x="83" y="65"/>
                  </a:lnTo>
                  <a:lnTo>
                    <a:pt x="79" y="66"/>
                  </a:lnTo>
                  <a:lnTo>
                    <a:pt x="77" y="67"/>
                  </a:lnTo>
                  <a:lnTo>
                    <a:pt x="74" y="67"/>
                  </a:lnTo>
                  <a:lnTo>
                    <a:pt x="71" y="68"/>
                  </a:lnTo>
                  <a:lnTo>
                    <a:pt x="69" y="68"/>
                  </a:lnTo>
                  <a:lnTo>
                    <a:pt x="66" y="68"/>
                  </a:lnTo>
                  <a:lnTo>
                    <a:pt x="63" y="69"/>
                  </a:lnTo>
                  <a:lnTo>
                    <a:pt x="60" y="68"/>
                  </a:lnTo>
                  <a:lnTo>
                    <a:pt x="58" y="68"/>
                  </a:lnTo>
                  <a:lnTo>
                    <a:pt x="54" y="68"/>
                  </a:lnTo>
                  <a:lnTo>
                    <a:pt x="52" y="67"/>
                  </a:lnTo>
                  <a:lnTo>
                    <a:pt x="49" y="66"/>
                  </a:lnTo>
                  <a:lnTo>
                    <a:pt x="46" y="65"/>
                  </a:lnTo>
                  <a:lnTo>
                    <a:pt x="43" y="62"/>
                  </a:lnTo>
                  <a:lnTo>
                    <a:pt x="44" y="60"/>
                  </a:lnTo>
                  <a:lnTo>
                    <a:pt x="46" y="59"/>
                  </a:lnTo>
                  <a:lnTo>
                    <a:pt x="50" y="58"/>
                  </a:lnTo>
                  <a:lnTo>
                    <a:pt x="52" y="57"/>
                  </a:lnTo>
                  <a:lnTo>
                    <a:pt x="55" y="57"/>
                  </a:lnTo>
                  <a:lnTo>
                    <a:pt x="58" y="56"/>
                  </a:lnTo>
                  <a:lnTo>
                    <a:pt x="61" y="54"/>
                  </a:lnTo>
                  <a:lnTo>
                    <a:pt x="63" y="53"/>
                  </a:lnTo>
                  <a:lnTo>
                    <a:pt x="66" y="53"/>
                  </a:lnTo>
                  <a:lnTo>
                    <a:pt x="69" y="52"/>
                  </a:lnTo>
                  <a:lnTo>
                    <a:pt x="71" y="52"/>
                  </a:lnTo>
                  <a:lnTo>
                    <a:pt x="75" y="52"/>
                  </a:lnTo>
                  <a:lnTo>
                    <a:pt x="79" y="53"/>
                  </a:lnTo>
                  <a:lnTo>
                    <a:pt x="83" y="50"/>
                  </a:lnTo>
                  <a:lnTo>
                    <a:pt x="88" y="49"/>
                  </a:lnTo>
                  <a:lnTo>
                    <a:pt x="91" y="45"/>
                  </a:lnTo>
                  <a:lnTo>
                    <a:pt x="88" y="45"/>
                  </a:lnTo>
                  <a:lnTo>
                    <a:pt x="85" y="47"/>
                  </a:lnTo>
                  <a:lnTo>
                    <a:pt x="83" y="48"/>
                  </a:lnTo>
                  <a:lnTo>
                    <a:pt x="79" y="48"/>
                  </a:lnTo>
                  <a:lnTo>
                    <a:pt x="77" y="49"/>
                  </a:lnTo>
                  <a:lnTo>
                    <a:pt x="75" y="49"/>
                  </a:lnTo>
                  <a:lnTo>
                    <a:pt x="71" y="47"/>
                  </a:lnTo>
                  <a:lnTo>
                    <a:pt x="69" y="48"/>
                  </a:lnTo>
                  <a:lnTo>
                    <a:pt x="66" y="45"/>
                  </a:lnTo>
                  <a:lnTo>
                    <a:pt x="67" y="49"/>
                  </a:lnTo>
                  <a:lnTo>
                    <a:pt x="63" y="50"/>
                  </a:lnTo>
                  <a:lnTo>
                    <a:pt x="61" y="49"/>
                  </a:lnTo>
                  <a:lnTo>
                    <a:pt x="58" y="50"/>
                  </a:lnTo>
                  <a:lnTo>
                    <a:pt x="55" y="50"/>
                  </a:lnTo>
                  <a:lnTo>
                    <a:pt x="52" y="51"/>
                  </a:lnTo>
                  <a:lnTo>
                    <a:pt x="50" y="49"/>
                  </a:lnTo>
                  <a:lnTo>
                    <a:pt x="52" y="47"/>
                  </a:lnTo>
                  <a:lnTo>
                    <a:pt x="50" y="47"/>
                  </a:lnTo>
                  <a:lnTo>
                    <a:pt x="51" y="44"/>
                  </a:lnTo>
                  <a:lnTo>
                    <a:pt x="53" y="43"/>
                  </a:lnTo>
                  <a:lnTo>
                    <a:pt x="57" y="41"/>
                  </a:lnTo>
                  <a:lnTo>
                    <a:pt x="53" y="41"/>
                  </a:lnTo>
                  <a:lnTo>
                    <a:pt x="51" y="42"/>
                  </a:lnTo>
                  <a:lnTo>
                    <a:pt x="48" y="42"/>
                  </a:lnTo>
                  <a:lnTo>
                    <a:pt x="46" y="44"/>
                  </a:lnTo>
                  <a:lnTo>
                    <a:pt x="44" y="45"/>
                  </a:lnTo>
                  <a:lnTo>
                    <a:pt x="42" y="45"/>
                  </a:lnTo>
                  <a:lnTo>
                    <a:pt x="44" y="48"/>
                  </a:lnTo>
                  <a:lnTo>
                    <a:pt x="43" y="50"/>
                  </a:lnTo>
                  <a:lnTo>
                    <a:pt x="41" y="51"/>
                  </a:lnTo>
                  <a:lnTo>
                    <a:pt x="37" y="52"/>
                  </a:lnTo>
                  <a:lnTo>
                    <a:pt x="34" y="53"/>
                  </a:lnTo>
                  <a:lnTo>
                    <a:pt x="32" y="51"/>
                  </a:lnTo>
                  <a:lnTo>
                    <a:pt x="33" y="49"/>
                  </a:lnTo>
                  <a:lnTo>
                    <a:pt x="29" y="50"/>
                  </a:lnTo>
                  <a:lnTo>
                    <a:pt x="27" y="50"/>
                  </a:lnTo>
                  <a:lnTo>
                    <a:pt x="26" y="53"/>
                  </a:lnTo>
                  <a:lnTo>
                    <a:pt x="24" y="53"/>
                  </a:lnTo>
                  <a:lnTo>
                    <a:pt x="20" y="52"/>
                  </a:lnTo>
                  <a:lnTo>
                    <a:pt x="19" y="49"/>
                  </a:lnTo>
                  <a:lnTo>
                    <a:pt x="17" y="50"/>
                  </a:lnTo>
                  <a:lnTo>
                    <a:pt x="17" y="47"/>
                  </a:lnTo>
                  <a:lnTo>
                    <a:pt x="14" y="48"/>
                  </a:lnTo>
                  <a:lnTo>
                    <a:pt x="11" y="49"/>
                  </a:lnTo>
                  <a:lnTo>
                    <a:pt x="8" y="48"/>
                  </a:lnTo>
                  <a:lnTo>
                    <a:pt x="6" y="48"/>
                  </a:lnTo>
                  <a:lnTo>
                    <a:pt x="3" y="48"/>
                  </a:lnTo>
                  <a:lnTo>
                    <a:pt x="0" y="47"/>
                  </a:lnTo>
                  <a:lnTo>
                    <a:pt x="0" y="44"/>
                  </a:lnTo>
                  <a:lnTo>
                    <a:pt x="1" y="41"/>
                  </a:lnTo>
                  <a:lnTo>
                    <a:pt x="4" y="40"/>
                  </a:lnTo>
                  <a:lnTo>
                    <a:pt x="7" y="39"/>
                  </a:lnTo>
                  <a:lnTo>
                    <a:pt x="12" y="39"/>
                  </a:lnTo>
                  <a:lnTo>
                    <a:pt x="16" y="40"/>
                  </a:lnTo>
                  <a:lnTo>
                    <a:pt x="18" y="40"/>
                  </a:lnTo>
                  <a:lnTo>
                    <a:pt x="20" y="39"/>
                  </a:lnTo>
                  <a:lnTo>
                    <a:pt x="24" y="37"/>
                  </a:lnTo>
                  <a:lnTo>
                    <a:pt x="26" y="36"/>
                  </a:lnTo>
                  <a:lnTo>
                    <a:pt x="29" y="36"/>
                  </a:lnTo>
                  <a:lnTo>
                    <a:pt x="32" y="34"/>
                  </a:lnTo>
                  <a:lnTo>
                    <a:pt x="35" y="33"/>
                  </a:lnTo>
                  <a:lnTo>
                    <a:pt x="32" y="33"/>
                  </a:lnTo>
                  <a:lnTo>
                    <a:pt x="29" y="34"/>
                  </a:lnTo>
                  <a:lnTo>
                    <a:pt x="26" y="34"/>
                  </a:lnTo>
                  <a:lnTo>
                    <a:pt x="24" y="35"/>
                  </a:lnTo>
                  <a:lnTo>
                    <a:pt x="20" y="36"/>
                  </a:lnTo>
                  <a:lnTo>
                    <a:pt x="18" y="36"/>
                  </a:lnTo>
                  <a:lnTo>
                    <a:pt x="15" y="36"/>
                  </a:lnTo>
                  <a:lnTo>
                    <a:pt x="9" y="36"/>
                  </a:lnTo>
                  <a:lnTo>
                    <a:pt x="7" y="36"/>
                  </a:lnTo>
                  <a:lnTo>
                    <a:pt x="4" y="36"/>
                  </a:lnTo>
                  <a:lnTo>
                    <a:pt x="7" y="33"/>
                  </a:lnTo>
                  <a:lnTo>
                    <a:pt x="9" y="31"/>
                  </a:lnTo>
                  <a:lnTo>
                    <a:pt x="11" y="31"/>
                  </a:lnTo>
                  <a:lnTo>
                    <a:pt x="15" y="31"/>
                  </a:lnTo>
                  <a:lnTo>
                    <a:pt x="18" y="30"/>
                  </a:lnTo>
                  <a:lnTo>
                    <a:pt x="20" y="30"/>
                  </a:lnTo>
                  <a:lnTo>
                    <a:pt x="23" y="30"/>
                  </a:lnTo>
                  <a:lnTo>
                    <a:pt x="26" y="30"/>
                  </a:lnTo>
                  <a:lnTo>
                    <a:pt x="28" y="30"/>
                  </a:lnTo>
                  <a:lnTo>
                    <a:pt x="32" y="28"/>
                  </a:lnTo>
                  <a:lnTo>
                    <a:pt x="34" y="28"/>
                  </a:lnTo>
                  <a:lnTo>
                    <a:pt x="37" y="27"/>
                  </a:lnTo>
                  <a:lnTo>
                    <a:pt x="34" y="27"/>
                  </a:lnTo>
                  <a:lnTo>
                    <a:pt x="32" y="28"/>
                  </a:lnTo>
                  <a:lnTo>
                    <a:pt x="28" y="28"/>
                  </a:lnTo>
                  <a:lnTo>
                    <a:pt x="26" y="27"/>
                  </a:lnTo>
                  <a:lnTo>
                    <a:pt x="23" y="27"/>
                  </a:lnTo>
                  <a:lnTo>
                    <a:pt x="20" y="28"/>
                  </a:lnTo>
                  <a:lnTo>
                    <a:pt x="17" y="28"/>
                  </a:lnTo>
                  <a:lnTo>
                    <a:pt x="15" y="28"/>
                  </a:lnTo>
                  <a:lnTo>
                    <a:pt x="11" y="26"/>
                  </a:lnTo>
                  <a:lnTo>
                    <a:pt x="15" y="24"/>
                  </a:lnTo>
                  <a:lnTo>
                    <a:pt x="11" y="23"/>
                  </a:lnTo>
                  <a:lnTo>
                    <a:pt x="14" y="20"/>
                  </a:lnTo>
                  <a:lnTo>
                    <a:pt x="17" y="19"/>
                  </a:lnTo>
                  <a:lnTo>
                    <a:pt x="19" y="19"/>
                  </a:lnTo>
                  <a:lnTo>
                    <a:pt x="23" y="19"/>
                  </a:lnTo>
                  <a:lnTo>
                    <a:pt x="28" y="19"/>
                  </a:lnTo>
                  <a:lnTo>
                    <a:pt x="31" y="19"/>
                  </a:lnTo>
                  <a:lnTo>
                    <a:pt x="34" y="20"/>
                  </a:lnTo>
                  <a:lnTo>
                    <a:pt x="36" y="20"/>
                  </a:lnTo>
                  <a:lnTo>
                    <a:pt x="40" y="19"/>
                  </a:lnTo>
                  <a:lnTo>
                    <a:pt x="36" y="19"/>
                  </a:lnTo>
                  <a:lnTo>
                    <a:pt x="34" y="18"/>
                  </a:lnTo>
                  <a:lnTo>
                    <a:pt x="31" y="18"/>
                  </a:lnTo>
                  <a:lnTo>
                    <a:pt x="25" y="18"/>
                  </a:lnTo>
                  <a:lnTo>
                    <a:pt x="23" y="17"/>
                  </a:lnTo>
                  <a:lnTo>
                    <a:pt x="25" y="14"/>
                  </a:lnTo>
                  <a:lnTo>
                    <a:pt x="27" y="13"/>
                  </a:lnTo>
                  <a:lnTo>
                    <a:pt x="31" y="11"/>
                  </a:lnTo>
                  <a:lnTo>
                    <a:pt x="33" y="11"/>
                  </a:lnTo>
                  <a:lnTo>
                    <a:pt x="36" y="10"/>
                  </a:lnTo>
                  <a:lnTo>
                    <a:pt x="38" y="10"/>
                  </a:lnTo>
                  <a:lnTo>
                    <a:pt x="42" y="10"/>
                  </a:lnTo>
                  <a:lnTo>
                    <a:pt x="44" y="11"/>
                  </a:lnTo>
                  <a:lnTo>
                    <a:pt x="48" y="14"/>
                  </a:lnTo>
                  <a:lnTo>
                    <a:pt x="48" y="16"/>
                  </a:lnTo>
                  <a:lnTo>
                    <a:pt x="50" y="19"/>
                  </a:lnTo>
                  <a:lnTo>
                    <a:pt x="52" y="18"/>
                  </a:lnTo>
                  <a:lnTo>
                    <a:pt x="55" y="18"/>
                  </a:lnTo>
                  <a:lnTo>
                    <a:pt x="58" y="17"/>
                  </a:lnTo>
                  <a:lnTo>
                    <a:pt x="60" y="17"/>
                  </a:lnTo>
                  <a:lnTo>
                    <a:pt x="63" y="17"/>
                  </a:lnTo>
                  <a:lnTo>
                    <a:pt x="66" y="19"/>
                  </a:lnTo>
                  <a:lnTo>
                    <a:pt x="69" y="20"/>
                  </a:lnTo>
                  <a:lnTo>
                    <a:pt x="70" y="24"/>
                  </a:lnTo>
                  <a:lnTo>
                    <a:pt x="74" y="24"/>
                  </a:lnTo>
                  <a:lnTo>
                    <a:pt x="76" y="25"/>
                  </a:lnTo>
                  <a:lnTo>
                    <a:pt x="79" y="27"/>
                  </a:lnTo>
                  <a:lnTo>
                    <a:pt x="76" y="27"/>
                  </a:lnTo>
                  <a:lnTo>
                    <a:pt x="74" y="30"/>
                  </a:lnTo>
                  <a:lnTo>
                    <a:pt x="76" y="30"/>
                  </a:lnTo>
                  <a:lnTo>
                    <a:pt x="79" y="30"/>
                  </a:lnTo>
                  <a:lnTo>
                    <a:pt x="82" y="31"/>
                  </a:lnTo>
                  <a:lnTo>
                    <a:pt x="85" y="33"/>
                  </a:lnTo>
                  <a:lnTo>
                    <a:pt x="84" y="35"/>
                  </a:lnTo>
                  <a:lnTo>
                    <a:pt x="86" y="39"/>
                  </a:lnTo>
                  <a:lnTo>
                    <a:pt x="89" y="37"/>
                  </a:lnTo>
                  <a:lnTo>
                    <a:pt x="92" y="36"/>
                  </a:lnTo>
                  <a:lnTo>
                    <a:pt x="95" y="36"/>
                  </a:lnTo>
                  <a:lnTo>
                    <a:pt x="97" y="37"/>
                  </a:lnTo>
                  <a:lnTo>
                    <a:pt x="101" y="37"/>
                  </a:lnTo>
                  <a:lnTo>
                    <a:pt x="103" y="37"/>
                  </a:lnTo>
                  <a:lnTo>
                    <a:pt x="105" y="37"/>
                  </a:lnTo>
                  <a:lnTo>
                    <a:pt x="108" y="37"/>
                  </a:lnTo>
                  <a:lnTo>
                    <a:pt x="111" y="39"/>
                  </a:lnTo>
                  <a:lnTo>
                    <a:pt x="114" y="39"/>
                  </a:lnTo>
                  <a:lnTo>
                    <a:pt x="117" y="37"/>
                  </a:lnTo>
                  <a:lnTo>
                    <a:pt x="119" y="35"/>
                  </a:lnTo>
                  <a:lnTo>
                    <a:pt x="118" y="33"/>
                  </a:lnTo>
                  <a:lnTo>
                    <a:pt x="114" y="32"/>
                  </a:lnTo>
                  <a:lnTo>
                    <a:pt x="112" y="31"/>
                  </a:lnTo>
                  <a:lnTo>
                    <a:pt x="109" y="31"/>
                  </a:lnTo>
                  <a:lnTo>
                    <a:pt x="106" y="28"/>
                  </a:lnTo>
                  <a:lnTo>
                    <a:pt x="103" y="28"/>
                  </a:lnTo>
                  <a:lnTo>
                    <a:pt x="103" y="27"/>
                  </a:lnTo>
                  <a:lnTo>
                    <a:pt x="104" y="26"/>
                  </a:lnTo>
                  <a:lnTo>
                    <a:pt x="108" y="26"/>
                  </a:lnTo>
                  <a:lnTo>
                    <a:pt x="110" y="25"/>
                  </a:lnTo>
                  <a:lnTo>
                    <a:pt x="113" y="24"/>
                  </a:lnTo>
                  <a:lnTo>
                    <a:pt x="112" y="20"/>
                  </a:lnTo>
                  <a:lnTo>
                    <a:pt x="109" y="19"/>
                  </a:lnTo>
                  <a:lnTo>
                    <a:pt x="106" y="18"/>
                  </a:lnTo>
                  <a:lnTo>
                    <a:pt x="103" y="18"/>
                  </a:lnTo>
                  <a:lnTo>
                    <a:pt x="102" y="17"/>
                  </a:lnTo>
                  <a:lnTo>
                    <a:pt x="99" y="15"/>
                  </a:lnTo>
                  <a:lnTo>
                    <a:pt x="101" y="13"/>
                  </a:lnTo>
                  <a:lnTo>
                    <a:pt x="103" y="11"/>
                  </a:lnTo>
                  <a:lnTo>
                    <a:pt x="106" y="10"/>
                  </a:lnTo>
                  <a:lnTo>
                    <a:pt x="106" y="8"/>
                  </a:lnTo>
                  <a:lnTo>
                    <a:pt x="110" y="6"/>
                  </a:lnTo>
                  <a:lnTo>
                    <a:pt x="112" y="3"/>
                  </a:lnTo>
                  <a:lnTo>
                    <a:pt x="114" y="1"/>
                  </a:lnTo>
                  <a:lnTo>
                    <a:pt x="118" y="1"/>
                  </a:lnTo>
                  <a:lnTo>
                    <a:pt x="120" y="0"/>
                  </a:lnTo>
                  <a:lnTo>
                    <a:pt x="123" y="3"/>
                  </a:lnTo>
                  <a:lnTo>
                    <a:pt x="123" y="6"/>
                  </a:lnTo>
                  <a:lnTo>
                    <a:pt x="121" y="7"/>
                  </a:lnTo>
                  <a:lnTo>
                    <a:pt x="123" y="9"/>
                  </a:lnTo>
                  <a:lnTo>
                    <a:pt x="125" y="11"/>
                  </a:lnTo>
                  <a:lnTo>
                    <a:pt x="125" y="11"/>
                  </a:lnTo>
                  <a:close/>
                  <a:moveTo>
                    <a:pt x="183" y="40"/>
                  </a:moveTo>
                  <a:lnTo>
                    <a:pt x="186" y="41"/>
                  </a:lnTo>
                  <a:lnTo>
                    <a:pt x="188" y="43"/>
                  </a:lnTo>
                  <a:lnTo>
                    <a:pt x="189" y="45"/>
                  </a:lnTo>
                  <a:lnTo>
                    <a:pt x="190" y="49"/>
                  </a:lnTo>
                  <a:lnTo>
                    <a:pt x="188" y="50"/>
                  </a:lnTo>
                  <a:lnTo>
                    <a:pt x="183" y="51"/>
                  </a:lnTo>
                  <a:lnTo>
                    <a:pt x="181" y="51"/>
                  </a:lnTo>
                  <a:lnTo>
                    <a:pt x="178" y="51"/>
                  </a:lnTo>
                  <a:lnTo>
                    <a:pt x="176" y="50"/>
                  </a:lnTo>
                  <a:lnTo>
                    <a:pt x="173" y="49"/>
                  </a:lnTo>
                  <a:lnTo>
                    <a:pt x="176" y="45"/>
                  </a:lnTo>
                  <a:lnTo>
                    <a:pt x="177" y="43"/>
                  </a:lnTo>
                  <a:lnTo>
                    <a:pt x="179" y="41"/>
                  </a:lnTo>
                  <a:lnTo>
                    <a:pt x="181" y="40"/>
                  </a:lnTo>
                  <a:lnTo>
                    <a:pt x="183" y="40"/>
                  </a:lnTo>
                  <a:lnTo>
                    <a:pt x="183" y="40"/>
                  </a:lnTo>
                  <a:close/>
                  <a:moveTo>
                    <a:pt x="166" y="109"/>
                  </a:moveTo>
                  <a:lnTo>
                    <a:pt x="165" y="108"/>
                  </a:lnTo>
                  <a:lnTo>
                    <a:pt x="163" y="105"/>
                  </a:lnTo>
                  <a:lnTo>
                    <a:pt x="160" y="103"/>
                  </a:lnTo>
                  <a:lnTo>
                    <a:pt x="157" y="101"/>
                  </a:lnTo>
                  <a:lnTo>
                    <a:pt x="155" y="97"/>
                  </a:lnTo>
                  <a:lnTo>
                    <a:pt x="153" y="96"/>
                  </a:lnTo>
                  <a:lnTo>
                    <a:pt x="151" y="95"/>
                  </a:lnTo>
                  <a:lnTo>
                    <a:pt x="147" y="94"/>
                  </a:lnTo>
                  <a:lnTo>
                    <a:pt x="145" y="93"/>
                  </a:lnTo>
                  <a:lnTo>
                    <a:pt x="146" y="91"/>
                  </a:lnTo>
                  <a:lnTo>
                    <a:pt x="148" y="88"/>
                  </a:lnTo>
                  <a:lnTo>
                    <a:pt x="151" y="87"/>
                  </a:lnTo>
                  <a:lnTo>
                    <a:pt x="154" y="86"/>
                  </a:lnTo>
                  <a:lnTo>
                    <a:pt x="162" y="86"/>
                  </a:lnTo>
                  <a:lnTo>
                    <a:pt x="165" y="86"/>
                  </a:lnTo>
                  <a:lnTo>
                    <a:pt x="168" y="86"/>
                  </a:lnTo>
                  <a:lnTo>
                    <a:pt x="171" y="86"/>
                  </a:lnTo>
                  <a:lnTo>
                    <a:pt x="173" y="88"/>
                  </a:lnTo>
                  <a:lnTo>
                    <a:pt x="176" y="90"/>
                  </a:lnTo>
                  <a:lnTo>
                    <a:pt x="178" y="91"/>
                  </a:lnTo>
                  <a:lnTo>
                    <a:pt x="178" y="93"/>
                  </a:lnTo>
                  <a:lnTo>
                    <a:pt x="178" y="96"/>
                  </a:lnTo>
                  <a:lnTo>
                    <a:pt x="177" y="99"/>
                  </a:lnTo>
                  <a:lnTo>
                    <a:pt x="174" y="101"/>
                  </a:lnTo>
                  <a:lnTo>
                    <a:pt x="172" y="104"/>
                  </a:lnTo>
                  <a:lnTo>
                    <a:pt x="170" y="107"/>
                  </a:lnTo>
                  <a:lnTo>
                    <a:pt x="169" y="110"/>
                  </a:lnTo>
                  <a:lnTo>
                    <a:pt x="166" y="109"/>
                  </a:lnTo>
                  <a:lnTo>
                    <a:pt x="166" y="10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36" name="Freeform 236">
              <a:extLst>
                <a:ext uri="{FF2B5EF4-FFF2-40B4-BE49-F238E27FC236}">
                  <a16:creationId xmlns:a16="http://schemas.microsoft.com/office/drawing/2014/main" id="{6574C7BC-0A22-4D91-9A3A-62E767CC354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86138" y="2233613"/>
              <a:ext cx="193675" cy="76200"/>
            </a:xfrm>
            <a:custGeom>
              <a:avLst/>
              <a:gdLst>
                <a:gd name="T0" fmla="*/ 47 w 122"/>
                <a:gd name="T1" fmla="*/ 2 h 48"/>
                <a:gd name="T2" fmla="*/ 52 w 122"/>
                <a:gd name="T3" fmla="*/ 5 h 48"/>
                <a:gd name="T4" fmla="*/ 54 w 122"/>
                <a:gd name="T5" fmla="*/ 10 h 48"/>
                <a:gd name="T6" fmla="*/ 51 w 122"/>
                <a:gd name="T7" fmla="*/ 13 h 48"/>
                <a:gd name="T8" fmla="*/ 45 w 122"/>
                <a:gd name="T9" fmla="*/ 12 h 48"/>
                <a:gd name="T10" fmla="*/ 42 w 122"/>
                <a:gd name="T11" fmla="*/ 13 h 48"/>
                <a:gd name="T12" fmla="*/ 36 w 122"/>
                <a:gd name="T13" fmla="*/ 13 h 48"/>
                <a:gd name="T14" fmla="*/ 30 w 122"/>
                <a:gd name="T15" fmla="*/ 11 h 48"/>
                <a:gd name="T16" fmla="*/ 25 w 122"/>
                <a:gd name="T17" fmla="*/ 14 h 48"/>
                <a:gd name="T18" fmla="*/ 19 w 122"/>
                <a:gd name="T19" fmla="*/ 13 h 48"/>
                <a:gd name="T20" fmla="*/ 13 w 122"/>
                <a:gd name="T21" fmla="*/ 11 h 48"/>
                <a:gd name="T22" fmla="*/ 8 w 122"/>
                <a:gd name="T23" fmla="*/ 12 h 48"/>
                <a:gd name="T24" fmla="*/ 3 w 122"/>
                <a:gd name="T25" fmla="*/ 14 h 48"/>
                <a:gd name="T26" fmla="*/ 3 w 122"/>
                <a:gd name="T27" fmla="*/ 10 h 48"/>
                <a:gd name="T28" fmla="*/ 9 w 122"/>
                <a:gd name="T29" fmla="*/ 8 h 48"/>
                <a:gd name="T30" fmla="*/ 14 w 122"/>
                <a:gd name="T31" fmla="*/ 6 h 48"/>
                <a:gd name="T32" fmla="*/ 20 w 122"/>
                <a:gd name="T33" fmla="*/ 5 h 48"/>
                <a:gd name="T34" fmla="*/ 26 w 122"/>
                <a:gd name="T35" fmla="*/ 3 h 48"/>
                <a:gd name="T36" fmla="*/ 31 w 122"/>
                <a:gd name="T37" fmla="*/ 1 h 48"/>
                <a:gd name="T38" fmla="*/ 37 w 122"/>
                <a:gd name="T39" fmla="*/ 0 h 48"/>
                <a:gd name="T40" fmla="*/ 43 w 122"/>
                <a:gd name="T41" fmla="*/ 1 h 48"/>
                <a:gd name="T42" fmla="*/ 45 w 122"/>
                <a:gd name="T43" fmla="*/ 2 h 48"/>
                <a:gd name="T44" fmla="*/ 48 w 122"/>
                <a:gd name="T45" fmla="*/ 19 h 48"/>
                <a:gd name="T46" fmla="*/ 48 w 122"/>
                <a:gd name="T47" fmla="*/ 23 h 48"/>
                <a:gd name="T48" fmla="*/ 43 w 122"/>
                <a:gd name="T49" fmla="*/ 26 h 48"/>
                <a:gd name="T50" fmla="*/ 36 w 122"/>
                <a:gd name="T51" fmla="*/ 26 h 48"/>
                <a:gd name="T52" fmla="*/ 36 w 122"/>
                <a:gd name="T53" fmla="*/ 29 h 48"/>
                <a:gd name="T54" fmla="*/ 41 w 122"/>
                <a:gd name="T55" fmla="*/ 28 h 48"/>
                <a:gd name="T56" fmla="*/ 44 w 122"/>
                <a:gd name="T57" fmla="*/ 34 h 48"/>
                <a:gd name="T58" fmla="*/ 41 w 122"/>
                <a:gd name="T59" fmla="*/ 37 h 48"/>
                <a:gd name="T60" fmla="*/ 35 w 122"/>
                <a:gd name="T61" fmla="*/ 38 h 48"/>
                <a:gd name="T62" fmla="*/ 29 w 122"/>
                <a:gd name="T63" fmla="*/ 39 h 48"/>
                <a:gd name="T64" fmla="*/ 24 w 122"/>
                <a:gd name="T65" fmla="*/ 40 h 48"/>
                <a:gd name="T66" fmla="*/ 14 w 122"/>
                <a:gd name="T67" fmla="*/ 42 h 48"/>
                <a:gd name="T68" fmla="*/ 10 w 122"/>
                <a:gd name="T69" fmla="*/ 38 h 48"/>
                <a:gd name="T70" fmla="*/ 4 w 122"/>
                <a:gd name="T71" fmla="*/ 36 h 48"/>
                <a:gd name="T72" fmla="*/ 1 w 122"/>
                <a:gd name="T73" fmla="*/ 32 h 48"/>
                <a:gd name="T74" fmla="*/ 0 w 122"/>
                <a:gd name="T75" fmla="*/ 27 h 48"/>
                <a:gd name="T76" fmla="*/ 5 w 122"/>
                <a:gd name="T77" fmla="*/ 25 h 48"/>
                <a:gd name="T78" fmla="*/ 11 w 122"/>
                <a:gd name="T79" fmla="*/ 22 h 48"/>
                <a:gd name="T80" fmla="*/ 17 w 122"/>
                <a:gd name="T81" fmla="*/ 21 h 48"/>
                <a:gd name="T82" fmla="*/ 24 w 122"/>
                <a:gd name="T83" fmla="*/ 21 h 48"/>
                <a:gd name="T84" fmla="*/ 29 w 122"/>
                <a:gd name="T85" fmla="*/ 20 h 48"/>
                <a:gd name="T86" fmla="*/ 34 w 122"/>
                <a:gd name="T87" fmla="*/ 20 h 48"/>
                <a:gd name="T88" fmla="*/ 39 w 122"/>
                <a:gd name="T89" fmla="*/ 19 h 48"/>
                <a:gd name="T90" fmla="*/ 45 w 122"/>
                <a:gd name="T91" fmla="*/ 19 h 48"/>
                <a:gd name="T92" fmla="*/ 105 w 122"/>
                <a:gd name="T93" fmla="*/ 29 h 48"/>
                <a:gd name="T94" fmla="*/ 110 w 122"/>
                <a:gd name="T95" fmla="*/ 32 h 48"/>
                <a:gd name="T96" fmla="*/ 114 w 122"/>
                <a:gd name="T97" fmla="*/ 37 h 48"/>
                <a:gd name="T98" fmla="*/ 119 w 122"/>
                <a:gd name="T99" fmla="*/ 40 h 48"/>
                <a:gd name="T100" fmla="*/ 122 w 122"/>
                <a:gd name="T101" fmla="*/ 46 h 48"/>
                <a:gd name="T102" fmla="*/ 116 w 122"/>
                <a:gd name="T103" fmla="*/ 48 h 48"/>
                <a:gd name="T104" fmla="*/ 113 w 122"/>
                <a:gd name="T105" fmla="*/ 46 h 48"/>
                <a:gd name="T106" fmla="*/ 107 w 122"/>
                <a:gd name="T107" fmla="*/ 43 h 48"/>
                <a:gd name="T108" fmla="*/ 104 w 122"/>
                <a:gd name="T109" fmla="*/ 37 h 48"/>
                <a:gd name="T110" fmla="*/ 101 w 122"/>
                <a:gd name="T111" fmla="*/ 31 h 48"/>
                <a:gd name="T112" fmla="*/ 102 w 122"/>
                <a:gd name="T113" fmla="*/ 29 h 48"/>
                <a:gd name="T114" fmla="*/ 105 w 122"/>
                <a:gd name="T115" fmla="*/ 29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22" h="48">
                  <a:moveTo>
                    <a:pt x="45" y="2"/>
                  </a:moveTo>
                  <a:lnTo>
                    <a:pt x="47" y="2"/>
                  </a:lnTo>
                  <a:lnTo>
                    <a:pt x="50" y="4"/>
                  </a:lnTo>
                  <a:lnTo>
                    <a:pt x="52" y="5"/>
                  </a:lnTo>
                  <a:lnTo>
                    <a:pt x="55" y="8"/>
                  </a:lnTo>
                  <a:lnTo>
                    <a:pt x="54" y="10"/>
                  </a:lnTo>
                  <a:lnTo>
                    <a:pt x="54" y="13"/>
                  </a:lnTo>
                  <a:lnTo>
                    <a:pt x="51" y="13"/>
                  </a:lnTo>
                  <a:lnTo>
                    <a:pt x="48" y="13"/>
                  </a:lnTo>
                  <a:lnTo>
                    <a:pt x="45" y="12"/>
                  </a:lnTo>
                  <a:lnTo>
                    <a:pt x="45" y="12"/>
                  </a:lnTo>
                  <a:lnTo>
                    <a:pt x="42" y="13"/>
                  </a:lnTo>
                  <a:lnTo>
                    <a:pt x="39" y="13"/>
                  </a:lnTo>
                  <a:lnTo>
                    <a:pt x="36" y="13"/>
                  </a:lnTo>
                  <a:lnTo>
                    <a:pt x="34" y="12"/>
                  </a:lnTo>
                  <a:lnTo>
                    <a:pt x="30" y="11"/>
                  </a:lnTo>
                  <a:lnTo>
                    <a:pt x="28" y="13"/>
                  </a:lnTo>
                  <a:lnTo>
                    <a:pt x="25" y="14"/>
                  </a:lnTo>
                  <a:lnTo>
                    <a:pt x="22" y="14"/>
                  </a:lnTo>
                  <a:lnTo>
                    <a:pt x="19" y="13"/>
                  </a:lnTo>
                  <a:lnTo>
                    <a:pt x="17" y="11"/>
                  </a:lnTo>
                  <a:lnTo>
                    <a:pt x="13" y="11"/>
                  </a:lnTo>
                  <a:lnTo>
                    <a:pt x="11" y="12"/>
                  </a:lnTo>
                  <a:lnTo>
                    <a:pt x="8" y="12"/>
                  </a:lnTo>
                  <a:lnTo>
                    <a:pt x="5" y="13"/>
                  </a:lnTo>
                  <a:lnTo>
                    <a:pt x="3" y="14"/>
                  </a:lnTo>
                  <a:lnTo>
                    <a:pt x="0" y="12"/>
                  </a:lnTo>
                  <a:lnTo>
                    <a:pt x="3" y="10"/>
                  </a:lnTo>
                  <a:lnTo>
                    <a:pt x="5" y="9"/>
                  </a:lnTo>
                  <a:lnTo>
                    <a:pt x="9" y="8"/>
                  </a:lnTo>
                  <a:lnTo>
                    <a:pt x="11" y="6"/>
                  </a:lnTo>
                  <a:lnTo>
                    <a:pt x="14" y="6"/>
                  </a:lnTo>
                  <a:lnTo>
                    <a:pt x="17" y="5"/>
                  </a:lnTo>
                  <a:lnTo>
                    <a:pt x="20" y="5"/>
                  </a:lnTo>
                  <a:lnTo>
                    <a:pt x="22" y="5"/>
                  </a:lnTo>
                  <a:lnTo>
                    <a:pt x="26" y="3"/>
                  </a:lnTo>
                  <a:lnTo>
                    <a:pt x="28" y="2"/>
                  </a:lnTo>
                  <a:lnTo>
                    <a:pt x="31" y="1"/>
                  </a:lnTo>
                  <a:lnTo>
                    <a:pt x="34" y="0"/>
                  </a:lnTo>
                  <a:lnTo>
                    <a:pt x="37" y="0"/>
                  </a:lnTo>
                  <a:lnTo>
                    <a:pt x="39" y="0"/>
                  </a:lnTo>
                  <a:lnTo>
                    <a:pt x="43" y="1"/>
                  </a:lnTo>
                  <a:lnTo>
                    <a:pt x="45" y="2"/>
                  </a:lnTo>
                  <a:lnTo>
                    <a:pt x="45" y="2"/>
                  </a:lnTo>
                  <a:close/>
                  <a:moveTo>
                    <a:pt x="45" y="19"/>
                  </a:moveTo>
                  <a:lnTo>
                    <a:pt x="48" y="19"/>
                  </a:lnTo>
                  <a:lnTo>
                    <a:pt x="51" y="21"/>
                  </a:lnTo>
                  <a:lnTo>
                    <a:pt x="48" y="23"/>
                  </a:lnTo>
                  <a:lnTo>
                    <a:pt x="45" y="25"/>
                  </a:lnTo>
                  <a:lnTo>
                    <a:pt x="43" y="26"/>
                  </a:lnTo>
                  <a:lnTo>
                    <a:pt x="39" y="26"/>
                  </a:lnTo>
                  <a:lnTo>
                    <a:pt x="36" y="26"/>
                  </a:lnTo>
                  <a:lnTo>
                    <a:pt x="34" y="26"/>
                  </a:lnTo>
                  <a:lnTo>
                    <a:pt x="36" y="29"/>
                  </a:lnTo>
                  <a:lnTo>
                    <a:pt x="38" y="29"/>
                  </a:lnTo>
                  <a:lnTo>
                    <a:pt x="41" y="28"/>
                  </a:lnTo>
                  <a:lnTo>
                    <a:pt x="44" y="30"/>
                  </a:lnTo>
                  <a:lnTo>
                    <a:pt x="44" y="34"/>
                  </a:lnTo>
                  <a:lnTo>
                    <a:pt x="43" y="36"/>
                  </a:lnTo>
                  <a:lnTo>
                    <a:pt x="41" y="37"/>
                  </a:lnTo>
                  <a:lnTo>
                    <a:pt x="37" y="38"/>
                  </a:lnTo>
                  <a:lnTo>
                    <a:pt x="35" y="38"/>
                  </a:lnTo>
                  <a:lnTo>
                    <a:pt x="31" y="39"/>
                  </a:lnTo>
                  <a:lnTo>
                    <a:pt x="29" y="39"/>
                  </a:lnTo>
                  <a:lnTo>
                    <a:pt x="26" y="39"/>
                  </a:lnTo>
                  <a:lnTo>
                    <a:pt x="24" y="40"/>
                  </a:lnTo>
                  <a:lnTo>
                    <a:pt x="18" y="42"/>
                  </a:lnTo>
                  <a:lnTo>
                    <a:pt x="14" y="42"/>
                  </a:lnTo>
                  <a:lnTo>
                    <a:pt x="12" y="40"/>
                  </a:lnTo>
                  <a:lnTo>
                    <a:pt x="10" y="38"/>
                  </a:lnTo>
                  <a:lnTo>
                    <a:pt x="7" y="38"/>
                  </a:lnTo>
                  <a:lnTo>
                    <a:pt x="4" y="36"/>
                  </a:lnTo>
                  <a:lnTo>
                    <a:pt x="2" y="35"/>
                  </a:lnTo>
                  <a:lnTo>
                    <a:pt x="1" y="32"/>
                  </a:lnTo>
                  <a:lnTo>
                    <a:pt x="1" y="29"/>
                  </a:lnTo>
                  <a:lnTo>
                    <a:pt x="0" y="27"/>
                  </a:lnTo>
                  <a:lnTo>
                    <a:pt x="3" y="25"/>
                  </a:lnTo>
                  <a:lnTo>
                    <a:pt x="5" y="25"/>
                  </a:lnTo>
                  <a:lnTo>
                    <a:pt x="9" y="23"/>
                  </a:lnTo>
                  <a:lnTo>
                    <a:pt x="11" y="22"/>
                  </a:lnTo>
                  <a:lnTo>
                    <a:pt x="14" y="21"/>
                  </a:lnTo>
                  <a:lnTo>
                    <a:pt x="17" y="21"/>
                  </a:lnTo>
                  <a:lnTo>
                    <a:pt x="20" y="21"/>
                  </a:lnTo>
                  <a:lnTo>
                    <a:pt x="24" y="21"/>
                  </a:lnTo>
                  <a:lnTo>
                    <a:pt x="26" y="20"/>
                  </a:lnTo>
                  <a:lnTo>
                    <a:pt x="29" y="20"/>
                  </a:lnTo>
                  <a:lnTo>
                    <a:pt x="31" y="20"/>
                  </a:lnTo>
                  <a:lnTo>
                    <a:pt x="34" y="20"/>
                  </a:lnTo>
                  <a:lnTo>
                    <a:pt x="37" y="19"/>
                  </a:lnTo>
                  <a:lnTo>
                    <a:pt x="39" y="19"/>
                  </a:lnTo>
                  <a:lnTo>
                    <a:pt x="43" y="19"/>
                  </a:lnTo>
                  <a:lnTo>
                    <a:pt x="45" y="19"/>
                  </a:lnTo>
                  <a:lnTo>
                    <a:pt x="45" y="19"/>
                  </a:lnTo>
                  <a:close/>
                  <a:moveTo>
                    <a:pt x="105" y="29"/>
                  </a:moveTo>
                  <a:lnTo>
                    <a:pt x="106" y="30"/>
                  </a:lnTo>
                  <a:lnTo>
                    <a:pt x="110" y="32"/>
                  </a:lnTo>
                  <a:lnTo>
                    <a:pt x="112" y="34"/>
                  </a:lnTo>
                  <a:lnTo>
                    <a:pt x="114" y="37"/>
                  </a:lnTo>
                  <a:lnTo>
                    <a:pt x="115" y="39"/>
                  </a:lnTo>
                  <a:lnTo>
                    <a:pt x="119" y="40"/>
                  </a:lnTo>
                  <a:lnTo>
                    <a:pt x="121" y="43"/>
                  </a:lnTo>
                  <a:lnTo>
                    <a:pt x="122" y="46"/>
                  </a:lnTo>
                  <a:lnTo>
                    <a:pt x="120" y="47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13" y="46"/>
                  </a:lnTo>
                  <a:lnTo>
                    <a:pt x="111" y="45"/>
                  </a:lnTo>
                  <a:lnTo>
                    <a:pt x="107" y="43"/>
                  </a:lnTo>
                  <a:lnTo>
                    <a:pt x="105" y="40"/>
                  </a:lnTo>
                  <a:lnTo>
                    <a:pt x="104" y="37"/>
                  </a:lnTo>
                  <a:lnTo>
                    <a:pt x="102" y="35"/>
                  </a:lnTo>
                  <a:lnTo>
                    <a:pt x="101" y="31"/>
                  </a:lnTo>
                  <a:lnTo>
                    <a:pt x="102" y="29"/>
                  </a:lnTo>
                  <a:lnTo>
                    <a:pt x="102" y="29"/>
                  </a:lnTo>
                  <a:lnTo>
                    <a:pt x="105" y="29"/>
                  </a:lnTo>
                  <a:lnTo>
                    <a:pt x="105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37" name="Freeform 237">
              <a:extLst>
                <a:ext uri="{FF2B5EF4-FFF2-40B4-BE49-F238E27FC236}">
                  <a16:creationId xmlns:a16="http://schemas.microsoft.com/office/drawing/2014/main" id="{4DA46E54-99BE-4893-AD96-465D93118CB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13088" y="2424113"/>
              <a:ext cx="230187" cy="142875"/>
            </a:xfrm>
            <a:custGeom>
              <a:avLst/>
              <a:gdLst>
                <a:gd name="T0" fmla="*/ 86 w 145"/>
                <a:gd name="T1" fmla="*/ 60 h 90"/>
                <a:gd name="T2" fmla="*/ 91 w 145"/>
                <a:gd name="T3" fmla="*/ 53 h 90"/>
                <a:gd name="T4" fmla="*/ 98 w 145"/>
                <a:gd name="T5" fmla="*/ 47 h 90"/>
                <a:gd name="T6" fmla="*/ 106 w 145"/>
                <a:gd name="T7" fmla="*/ 44 h 90"/>
                <a:gd name="T8" fmla="*/ 114 w 145"/>
                <a:gd name="T9" fmla="*/ 40 h 90"/>
                <a:gd name="T10" fmla="*/ 122 w 145"/>
                <a:gd name="T11" fmla="*/ 37 h 90"/>
                <a:gd name="T12" fmla="*/ 131 w 145"/>
                <a:gd name="T13" fmla="*/ 34 h 90"/>
                <a:gd name="T14" fmla="*/ 139 w 145"/>
                <a:gd name="T15" fmla="*/ 31 h 90"/>
                <a:gd name="T16" fmla="*/ 145 w 145"/>
                <a:gd name="T17" fmla="*/ 28 h 90"/>
                <a:gd name="T18" fmla="*/ 138 w 145"/>
                <a:gd name="T19" fmla="*/ 22 h 90"/>
                <a:gd name="T20" fmla="*/ 130 w 145"/>
                <a:gd name="T21" fmla="*/ 17 h 90"/>
                <a:gd name="T22" fmla="*/ 118 w 145"/>
                <a:gd name="T23" fmla="*/ 10 h 90"/>
                <a:gd name="T24" fmla="*/ 112 w 145"/>
                <a:gd name="T25" fmla="*/ 8 h 90"/>
                <a:gd name="T26" fmla="*/ 100 w 145"/>
                <a:gd name="T27" fmla="*/ 8 h 90"/>
                <a:gd name="T28" fmla="*/ 95 w 145"/>
                <a:gd name="T29" fmla="*/ 14 h 90"/>
                <a:gd name="T30" fmla="*/ 91 w 145"/>
                <a:gd name="T31" fmla="*/ 9 h 90"/>
                <a:gd name="T32" fmla="*/ 83 w 145"/>
                <a:gd name="T33" fmla="*/ 13 h 90"/>
                <a:gd name="T34" fmla="*/ 87 w 145"/>
                <a:gd name="T35" fmla="*/ 9 h 90"/>
                <a:gd name="T36" fmla="*/ 80 w 145"/>
                <a:gd name="T37" fmla="*/ 8 h 90"/>
                <a:gd name="T38" fmla="*/ 73 w 145"/>
                <a:gd name="T39" fmla="*/ 5 h 90"/>
                <a:gd name="T40" fmla="*/ 65 w 145"/>
                <a:gd name="T41" fmla="*/ 1 h 90"/>
                <a:gd name="T42" fmla="*/ 57 w 145"/>
                <a:gd name="T43" fmla="*/ 0 h 90"/>
                <a:gd name="T44" fmla="*/ 48 w 145"/>
                <a:gd name="T45" fmla="*/ 2 h 90"/>
                <a:gd name="T46" fmla="*/ 40 w 145"/>
                <a:gd name="T47" fmla="*/ 2 h 90"/>
                <a:gd name="T48" fmla="*/ 31 w 145"/>
                <a:gd name="T49" fmla="*/ 3 h 90"/>
                <a:gd name="T50" fmla="*/ 23 w 145"/>
                <a:gd name="T51" fmla="*/ 4 h 90"/>
                <a:gd name="T52" fmla="*/ 15 w 145"/>
                <a:gd name="T53" fmla="*/ 5 h 90"/>
                <a:gd name="T54" fmla="*/ 19 w 145"/>
                <a:gd name="T55" fmla="*/ 12 h 90"/>
                <a:gd name="T56" fmla="*/ 26 w 145"/>
                <a:gd name="T57" fmla="*/ 19 h 90"/>
                <a:gd name="T58" fmla="*/ 26 w 145"/>
                <a:gd name="T59" fmla="*/ 26 h 90"/>
                <a:gd name="T60" fmla="*/ 19 w 145"/>
                <a:gd name="T61" fmla="*/ 31 h 90"/>
                <a:gd name="T62" fmla="*/ 14 w 145"/>
                <a:gd name="T63" fmla="*/ 40 h 90"/>
                <a:gd name="T64" fmla="*/ 14 w 145"/>
                <a:gd name="T65" fmla="*/ 44 h 90"/>
                <a:gd name="T66" fmla="*/ 11 w 145"/>
                <a:gd name="T67" fmla="*/ 49 h 90"/>
                <a:gd name="T68" fmla="*/ 7 w 145"/>
                <a:gd name="T69" fmla="*/ 54 h 90"/>
                <a:gd name="T70" fmla="*/ 4 w 145"/>
                <a:gd name="T71" fmla="*/ 62 h 90"/>
                <a:gd name="T72" fmla="*/ 2 w 145"/>
                <a:gd name="T73" fmla="*/ 68 h 90"/>
                <a:gd name="T74" fmla="*/ 11 w 145"/>
                <a:gd name="T75" fmla="*/ 69 h 90"/>
                <a:gd name="T76" fmla="*/ 19 w 145"/>
                <a:gd name="T77" fmla="*/ 72 h 90"/>
                <a:gd name="T78" fmla="*/ 27 w 145"/>
                <a:gd name="T79" fmla="*/ 77 h 90"/>
                <a:gd name="T80" fmla="*/ 32 w 145"/>
                <a:gd name="T81" fmla="*/ 85 h 90"/>
                <a:gd name="T82" fmla="*/ 40 w 145"/>
                <a:gd name="T83" fmla="*/ 90 h 90"/>
                <a:gd name="T84" fmla="*/ 48 w 145"/>
                <a:gd name="T85" fmla="*/ 86 h 90"/>
                <a:gd name="T86" fmla="*/ 56 w 145"/>
                <a:gd name="T87" fmla="*/ 80 h 90"/>
                <a:gd name="T88" fmla="*/ 65 w 145"/>
                <a:gd name="T89" fmla="*/ 81 h 90"/>
                <a:gd name="T90" fmla="*/ 73 w 145"/>
                <a:gd name="T91" fmla="*/ 79 h 90"/>
                <a:gd name="T92" fmla="*/ 74 w 145"/>
                <a:gd name="T93" fmla="*/ 71 h 90"/>
                <a:gd name="T94" fmla="*/ 78 w 145"/>
                <a:gd name="T95" fmla="*/ 63 h 90"/>
                <a:gd name="T96" fmla="*/ 80 w 145"/>
                <a:gd name="T97" fmla="*/ 61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45" h="90">
                  <a:moveTo>
                    <a:pt x="80" y="61"/>
                  </a:moveTo>
                  <a:lnTo>
                    <a:pt x="82" y="61"/>
                  </a:lnTo>
                  <a:lnTo>
                    <a:pt x="86" y="60"/>
                  </a:lnTo>
                  <a:lnTo>
                    <a:pt x="88" y="59"/>
                  </a:lnTo>
                  <a:lnTo>
                    <a:pt x="90" y="55"/>
                  </a:lnTo>
                  <a:lnTo>
                    <a:pt x="91" y="53"/>
                  </a:lnTo>
                  <a:lnTo>
                    <a:pt x="92" y="51"/>
                  </a:lnTo>
                  <a:lnTo>
                    <a:pt x="95" y="49"/>
                  </a:lnTo>
                  <a:lnTo>
                    <a:pt x="98" y="47"/>
                  </a:lnTo>
                  <a:lnTo>
                    <a:pt x="100" y="47"/>
                  </a:lnTo>
                  <a:lnTo>
                    <a:pt x="103" y="45"/>
                  </a:lnTo>
                  <a:lnTo>
                    <a:pt x="106" y="44"/>
                  </a:lnTo>
                  <a:lnTo>
                    <a:pt x="108" y="44"/>
                  </a:lnTo>
                  <a:lnTo>
                    <a:pt x="112" y="42"/>
                  </a:lnTo>
                  <a:lnTo>
                    <a:pt x="114" y="40"/>
                  </a:lnTo>
                  <a:lnTo>
                    <a:pt x="117" y="39"/>
                  </a:lnTo>
                  <a:lnTo>
                    <a:pt x="120" y="38"/>
                  </a:lnTo>
                  <a:lnTo>
                    <a:pt x="122" y="37"/>
                  </a:lnTo>
                  <a:lnTo>
                    <a:pt x="125" y="36"/>
                  </a:lnTo>
                  <a:lnTo>
                    <a:pt x="128" y="35"/>
                  </a:lnTo>
                  <a:lnTo>
                    <a:pt x="131" y="34"/>
                  </a:lnTo>
                  <a:lnTo>
                    <a:pt x="133" y="32"/>
                  </a:lnTo>
                  <a:lnTo>
                    <a:pt x="135" y="32"/>
                  </a:lnTo>
                  <a:lnTo>
                    <a:pt x="139" y="31"/>
                  </a:lnTo>
                  <a:lnTo>
                    <a:pt x="141" y="30"/>
                  </a:lnTo>
                  <a:lnTo>
                    <a:pt x="145" y="28"/>
                  </a:lnTo>
                  <a:lnTo>
                    <a:pt x="145" y="28"/>
                  </a:lnTo>
                  <a:lnTo>
                    <a:pt x="143" y="26"/>
                  </a:lnTo>
                  <a:lnTo>
                    <a:pt x="140" y="23"/>
                  </a:lnTo>
                  <a:lnTo>
                    <a:pt x="138" y="22"/>
                  </a:lnTo>
                  <a:lnTo>
                    <a:pt x="134" y="20"/>
                  </a:lnTo>
                  <a:lnTo>
                    <a:pt x="132" y="19"/>
                  </a:lnTo>
                  <a:lnTo>
                    <a:pt x="130" y="17"/>
                  </a:lnTo>
                  <a:lnTo>
                    <a:pt x="126" y="14"/>
                  </a:lnTo>
                  <a:lnTo>
                    <a:pt x="124" y="12"/>
                  </a:lnTo>
                  <a:lnTo>
                    <a:pt x="118" y="10"/>
                  </a:lnTo>
                  <a:lnTo>
                    <a:pt x="116" y="9"/>
                  </a:lnTo>
                  <a:lnTo>
                    <a:pt x="113" y="8"/>
                  </a:lnTo>
                  <a:lnTo>
                    <a:pt x="112" y="8"/>
                  </a:lnTo>
                  <a:lnTo>
                    <a:pt x="108" y="8"/>
                  </a:lnTo>
                  <a:lnTo>
                    <a:pt x="106" y="6"/>
                  </a:lnTo>
                  <a:lnTo>
                    <a:pt x="100" y="8"/>
                  </a:lnTo>
                  <a:lnTo>
                    <a:pt x="97" y="9"/>
                  </a:lnTo>
                  <a:lnTo>
                    <a:pt x="97" y="12"/>
                  </a:lnTo>
                  <a:lnTo>
                    <a:pt x="95" y="14"/>
                  </a:lnTo>
                  <a:lnTo>
                    <a:pt x="91" y="14"/>
                  </a:lnTo>
                  <a:lnTo>
                    <a:pt x="94" y="11"/>
                  </a:lnTo>
                  <a:lnTo>
                    <a:pt x="91" y="9"/>
                  </a:lnTo>
                  <a:lnTo>
                    <a:pt x="88" y="9"/>
                  </a:lnTo>
                  <a:lnTo>
                    <a:pt x="86" y="11"/>
                  </a:lnTo>
                  <a:lnTo>
                    <a:pt x="83" y="13"/>
                  </a:lnTo>
                  <a:lnTo>
                    <a:pt x="83" y="13"/>
                  </a:lnTo>
                  <a:lnTo>
                    <a:pt x="85" y="10"/>
                  </a:lnTo>
                  <a:lnTo>
                    <a:pt x="87" y="9"/>
                  </a:lnTo>
                  <a:lnTo>
                    <a:pt x="85" y="8"/>
                  </a:lnTo>
                  <a:lnTo>
                    <a:pt x="81" y="8"/>
                  </a:lnTo>
                  <a:lnTo>
                    <a:pt x="80" y="8"/>
                  </a:lnTo>
                  <a:lnTo>
                    <a:pt x="79" y="8"/>
                  </a:lnTo>
                  <a:lnTo>
                    <a:pt x="77" y="6"/>
                  </a:lnTo>
                  <a:lnTo>
                    <a:pt x="73" y="5"/>
                  </a:lnTo>
                  <a:lnTo>
                    <a:pt x="71" y="4"/>
                  </a:lnTo>
                  <a:lnTo>
                    <a:pt x="69" y="3"/>
                  </a:lnTo>
                  <a:lnTo>
                    <a:pt x="65" y="1"/>
                  </a:lnTo>
                  <a:lnTo>
                    <a:pt x="63" y="0"/>
                  </a:lnTo>
                  <a:lnTo>
                    <a:pt x="60" y="0"/>
                  </a:lnTo>
                  <a:lnTo>
                    <a:pt x="57" y="0"/>
                  </a:lnTo>
                  <a:lnTo>
                    <a:pt x="54" y="1"/>
                  </a:lnTo>
                  <a:lnTo>
                    <a:pt x="52" y="1"/>
                  </a:lnTo>
                  <a:lnTo>
                    <a:pt x="48" y="2"/>
                  </a:lnTo>
                  <a:lnTo>
                    <a:pt x="46" y="2"/>
                  </a:lnTo>
                  <a:lnTo>
                    <a:pt x="43" y="2"/>
                  </a:lnTo>
                  <a:lnTo>
                    <a:pt x="40" y="2"/>
                  </a:lnTo>
                  <a:lnTo>
                    <a:pt x="37" y="3"/>
                  </a:lnTo>
                  <a:lnTo>
                    <a:pt x="35" y="3"/>
                  </a:lnTo>
                  <a:lnTo>
                    <a:pt x="31" y="3"/>
                  </a:lnTo>
                  <a:lnTo>
                    <a:pt x="29" y="3"/>
                  </a:lnTo>
                  <a:lnTo>
                    <a:pt x="27" y="4"/>
                  </a:lnTo>
                  <a:lnTo>
                    <a:pt x="23" y="4"/>
                  </a:lnTo>
                  <a:lnTo>
                    <a:pt x="21" y="4"/>
                  </a:lnTo>
                  <a:lnTo>
                    <a:pt x="18" y="5"/>
                  </a:lnTo>
                  <a:lnTo>
                    <a:pt x="15" y="5"/>
                  </a:lnTo>
                  <a:lnTo>
                    <a:pt x="18" y="8"/>
                  </a:lnTo>
                  <a:lnTo>
                    <a:pt x="19" y="10"/>
                  </a:lnTo>
                  <a:lnTo>
                    <a:pt x="19" y="12"/>
                  </a:lnTo>
                  <a:lnTo>
                    <a:pt x="21" y="15"/>
                  </a:lnTo>
                  <a:lnTo>
                    <a:pt x="23" y="18"/>
                  </a:lnTo>
                  <a:lnTo>
                    <a:pt x="26" y="19"/>
                  </a:lnTo>
                  <a:lnTo>
                    <a:pt x="28" y="20"/>
                  </a:lnTo>
                  <a:lnTo>
                    <a:pt x="27" y="22"/>
                  </a:lnTo>
                  <a:lnTo>
                    <a:pt x="26" y="26"/>
                  </a:lnTo>
                  <a:lnTo>
                    <a:pt x="23" y="28"/>
                  </a:lnTo>
                  <a:lnTo>
                    <a:pt x="20" y="29"/>
                  </a:lnTo>
                  <a:lnTo>
                    <a:pt x="19" y="31"/>
                  </a:lnTo>
                  <a:lnTo>
                    <a:pt x="18" y="35"/>
                  </a:lnTo>
                  <a:lnTo>
                    <a:pt x="14" y="37"/>
                  </a:lnTo>
                  <a:lnTo>
                    <a:pt x="14" y="40"/>
                  </a:lnTo>
                  <a:lnTo>
                    <a:pt x="18" y="40"/>
                  </a:lnTo>
                  <a:lnTo>
                    <a:pt x="17" y="44"/>
                  </a:lnTo>
                  <a:lnTo>
                    <a:pt x="14" y="44"/>
                  </a:lnTo>
                  <a:lnTo>
                    <a:pt x="11" y="44"/>
                  </a:lnTo>
                  <a:lnTo>
                    <a:pt x="12" y="47"/>
                  </a:lnTo>
                  <a:lnTo>
                    <a:pt x="11" y="49"/>
                  </a:lnTo>
                  <a:lnTo>
                    <a:pt x="11" y="52"/>
                  </a:lnTo>
                  <a:lnTo>
                    <a:pt x="9" y="54"/>
                  </a:lnTo>
                  <a:lnTo>
                    <a:pt x="7" y="54"/>
                  </a:lnTo>
                  <a:lnTo>
                    <a:pt x="6" y="57"/>
                  </a:lnTo>
                  <a:lnTo>
                    <a:pt x="5" y="60"/>
                  </a:lnTo>
                  <a:lnTo>
                    <a:pt x="4" y="62"/>
                  </a:lnTo>
                  <a:lnTo>
                    <a:pt x="2" y="65"/>
                  </a:lnTo>
                  <a:lnTo>
                    <a:pt x="0" y="68"/>
                  </a:lnTo>
                  <a:lnTo>
                    <a:pt x="2" y="68"/>
                  </a:lnTo>
                  <a:lnTo>
                    <a:pt x="5" y="68"/>
                  </a:lnTo>
                  <a:lnTo>
                    <a:pt x="7" y="68"/>
                  </a:lnTo>
                  <a:lnTo>
                    <a:pt x="11" y="69"/>
                  </a:lnTo>
                  <a:lnTo>
                    <a:pt x="13" y="70"/>
                  </a:lnTo>
                  <a:lnTo>
                    <a:pt x="17" y="71"/>
                  </a:lnTo>
                  <a:lnTo>
                    <a:pt x="19" y="72"/>
                  </a:lnTo>
                  <a:lnTo>
                    <a:pt x="21" y="73"/>
                  </a:lnTo>
                  <a:lnTo>
                    <a:pt x="24" y="74"/>
                  </a:lnTo>
                  <a:lnTo>
                    <a:pt x="27" y="77"/>
                  </a:lnTo>
                  <a:lnTo>
                    <a:pt x="30" y="79"/>
                  </a:lnTo>
                  <a:lnTo>
                    <a:pt x="31" y="82"/>
                  </a:lnTo>
                  <a:lnTo>
                    <a:pt x="32" y="85"/>
                  </a:lnTo>
                  <a:lnTo>
                    <a:pt x="35" y="88"/>
                  </a:lnTo>
                  <a:lnTo>
                    <a:pt x="37" y="89"/>
                  </a:lnTo>
                  <a:lnTo>
                    <a:pt x="40" y="90"/>
                  </a:lnTo>
                  <a:lnTo>
                    <a:pt x="43" y="89"/>
                  </a:lnTo>
                  <a:lnTo>
                    <a:pt x="46" y="87"/>
                  </a:lnTo>
                  <a:lnTo>
                    <a:pt x="48" y="86"/>
                  </a:lnTo>
                  <a:lnTo>
                    <a:pt x="52" y="86"/>
                  </a:lnTo>
                  <a:lnTo>
                    <a:pt x="54" y="83"/>
                  </a:lnTo>
                  <a:lnTo>
                    <a:pt x="56" y="80"/>
                  </a:lnTo>
                  <a:lnTo>
                    <a:pt x="60" y="82"/>
                  </a:lnTo>
                  <a:lnTo>
                    <a:pt x="62" y="82"/>
                  </a:lnTo>
                  <a:lnTo>
                    <a:pt x="65" y="81"/>
                  </a:lnTo>
                  <a:lnTo>
                    <a:pt x="68" y="81"/>
                  </a:lnTo>
                  <a:lnTo>
                    <a:pt x="70" y="80"/>
                  </a:lnTo>
                  <a:lnTo>
                    <a:pt x="73" y="79"/>
                  </a:lnTo>
                  <a:lnTo>
                    <a:pt x="74" y="77"/>
                  </a:lnTo>
                  <a:lnTo>
                    <a:pt x="74" y="73"/>
                  </a:lnTo>
                  <a:lnTo>
                    <a:pt x="74" y="71"/>
                  </a:lnTo>
                  <a:lnTo>
                    <a:pt x="74" y="68"/>
                  </a:lnTo>
                  <a:lnTo>
                    <a:pt x="77" y="65"/>
                  </a:lnTo>
                  <a:lnTo>
                    <a:pt x="78" y="63"/>
                  </a:lnTo>
                  <a:lnTo>
                    <a:pt x="78" y="60"/>
                  </a:lnTo>
                  <a:lnTo>
                    <a:pt x="80" y="61"/>
                  </a:lnTo>
                  <a:lnTo>
                    <a:pt x="80" y="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38" name="Freeform 238">
              <a:extLst>
                <a:ext uri="{FF2B5EF4-FFF2-40B4-BE49-F238E27FC236}">
                  <a16:creationId xmlns:a16="http://schemas.microsoft.com/office/drawing/2014/main" id="{642C66A1-D290-4923-A155-792EE6DFA254}"/>
                </a:ext>
              </a:extLst>
            </p:cNvPr>
            <p:cNvSpPr>
              <a:spLocks/>
            </p:cNvSpPr>
            <p:nvPr/>
          </p:nvSpPr>
          <p:spPr bwMode="auto">
            <a:xfrm>
              <a:off x="8308975" y="4687888"/>
              <a:ext cx="879475" cy="661988"/>
            </a:xfrm>
            <a:custGeom>
              <a:avLst/>
              <a:gdLst>
                <a:gd name="T0" fmla="*/ 539 w 554"/>
                <a:gd name="T1" fmla="*/ 313 h 417"/>
                <a:gd name="T2" fmla="*/ 517 w 554"/>
                <a:gd name="T3" fmla="*/ 344 h 417"/>
                <a:gd name="T4" fmla="*/ 504 w 554"/>
                <a:gd name="T5" fmla="*/ 378 h 417"/>
                <a:gd name="T6" fmla="*/ 480 w 554"/>
                <a:gd name="T7" fmla="*/ 397 h 417"/>
                <a:gd name="T8" fmla="*/ 456 w 554"/>
                <a:gd name="T9" fmla="*/ 415 h 417"/>
                <a:gd name="T10" fmla="*/ 437 w 554"/>
                <a:gd name="T11" fmla="*/ 402 h 417"/>
                <a:gd name="T12" fmla="*/ 412 w 554"/>
                <a:gd name="T13" fmla="*/ 412 h 417"/>
                <a:gd name="T14" fmla="*/ 375 w 554"/>
                <a:gd name="T15" fmla="*/ 399 h 417"/>
                <a:gd name="T16" fmla="*/ 360 w 554"/>
                <a:gd name="T17" fmla="*/ 366 h 417"/>
                <a:gd name="T18" fmla="*/ 355 w 554"/>
                <a:gd name="T19" fmla="*/ 358 h 417"/>
                <a:gd name="T20" fmla="*/ 341 w 554"/>
                <a:gd name="T21" fmla="*/ 341 h 417"/>
                <a:gd name="T22" fmla="*/ 333 w 554"/>
                <a:gd name="T23" fmla="*/ 347 h 417"/>
                <a:gd name="T24" fmla="*/ 337 w 554"/>
                <a:gd name="T25" fmla="*/ 316 h 417"/>
                <a:gd name="T26" fmla="*/ 312 w 554"/>
                <a:gd name="T27" fmla="*/ 347 h 417"/>
                <a:gd name="T28" fmla="*/ 299 w 554"/>
                <a:gd name="T29" fmla="*/ 333 h 417"/>
                <a:gd name="T30" fmla="*/ 278 w 554"/>
                <a:gd name="T31" fmla="*/ 309 h 417"/>
                <a:gd name="T32" fmla="*/ 239 w 554"/>
                <a:gd name="T33" fmla="*/ 299 h 417"/>
                <a:gd name="T34" fmla="*/ 192 w 554"/>
                <a:gd name="T35" fmla="*/ 311 h 417"/>
                <a:gd name="T36" fmla="*/ 154 w 554"/>
                <a:gd name="T37" fmla="*/ 321 h 417"/>
                <a:gd name="T38" fmla="*/ 124 w 554"/>
                <a:gd name="T39" fmla="*/ 337 h 417"/>
                <a:gd name="T40" fmla="*/ 89 w 554"/>
                <a:gd name="T41" fmla="*/ 339 h 417"/>
                <a:gd name="T42" fmla="*/ 57 w 554"/>
                <a:gd name="T43" fmla="*/ 353 h 417"/>
                <a:gd name="T44" fmla="*/ 25 w 554"/>
                <a:gd name="T45" fmla="*/ 333 h 417"/>
                <a:gd name="T46" fmla="*/ 35 w 554"/>
                <a:gd name="T47" fmla="*/ 310 h 417"/>
                <a:gd name="T48" fmla="*/ 25 w 554"/>
                <a:gd name="T49" fmla="*/ 270 h 417"/>
                <a:gd name="T50" fmla="*/ 10 w 554"/>
                <a:gd name="T51" fmla="*/ 234 h 417"/>
                <a:gd name="T52" fmla="*/ 6 w 554"/>
                <a:gd name="T53" fmla="*/ 217 h 417"/>
                <a:gd name="T54" fmla="*/ 13 w 554"/>
                <a:gd name="T55" fmla="*/ 211 h 417"/>
                <a:gd name="T56" fmla="*/ 8 w 554"/>
                <a:gd name="T57" fmla="*/ 176 h 417"/>
                <a:gd name="T58" fmla="*/ 18 w 554"/>
                <a:gd name="T59" fmla="*/ 160 h 417"/>
                <a:gd name="T60" fmla="*/ 51 w 554"/>
                <a:gd name="T61" fmla="*/ 140 h 417"/>
                <a:gd name="T62" fmla="*/ 89 w 554"/>
                <a:gd name="T63" fmla="*/ 131 h 417"/>
                <a:gd name="T64" fmla="*/ 118 w 554"/>
                <a:gd name="T65" fmla="*/ 111 h 417"/>
                <a:gd name="T66" fmla="*/ 134 w 554"/>
                <a:gd name="T67" fmla="*/ 80 h 417"/>
                <a:gd name="T68" fmla="*/ 147 w 554"/>
                <a:gd name="T69" fmla="*/ 85 h 417"/>
                <a:gd name="T70" fmla="*/ 155 w 554"/>
                <a:gd name="T71" fmla="*/ 79 h 417"/>
                <a:gd name="T72" fmla="*/ 163 w 554"/>
                <a:gd name="T73" fmla="*/ 61 h 417"/>
                <a:gd name="T74" fmla="*/ 177 w 554"/>
                <a:gd name="T75" fmla="*/ 47 h 417"/>
                <a:gd name="T76" fmla="*/ 206 w 554"/>
                <a:gd name="T77" fmla="*/ 56 h 417"/>
                <a:gd name="T78" fmla="*/ 218 w 554"/>
                <a:gd name="T79" fmla="*/ 58 h 417"/>
                <a:gd name="T80" fmla="*/ 227 w 554"/>
                <a:gd name="T81" fmla="*/ 46 h 417"/>
                <a:gd name="T82" fmla="*/ 245 w 554"/>
                <a:gd name="T83" fmla="*/ 21 h 417"/>
                <a:gd name="T84" fmla="*/ 260 w 554"/>
                <a:gd name="T85" fmla="*/ 11 h 417"/>
                <a:gd name="T86" fmla="*/ 280 w 554"/>
                <a:gd name="T87" fmla="*/ 14 h 417"/>
                <a:gd name="T88" fmla="*/ 308 w 554"/>
                <a:gd name="T89" fmla="*/ 21 h 417"/>
                <a:gd name="T90" fmla="*/ 321 w 554"/>
                <a:gd name="T91" fmla="*/ 32 h 417"/>
                <a:gd name="T92" fmla="*/ 305 w 554"/>
                <a:gd name="T93" fmla="*/ 58 h 417"/>
                <a:gd name="T94" fmla="*/ 340 w 554"/>
                <a:gd name="T95" fmla="*/ 81 h 417"/>
                <a:gd name="T96" fmla="*/ 368 w 554"/>
                <a:gd name="T97" fmla="*/ 98 h 417"/>
                <a:gd name="T98" fmla="*/ 386 w 554"/>
                <a:gd name="T99" fmla="*/ 72 h 417"/>
                <a:gd name="T100" fmla="*/ 391 w 554"/>
                <a:gd name="T101" fmla="*/ 37 h 417"/>
                <a:gd name="T102" fmla="*/ 397 w 554"/>
                <a:gd name="T103" fmla="*/ 7 h 417"/>
                <a:gd name="T104" fmla="*/ 411 w 554"/>
                <a:gd name="T105" fmla="*/ 23 h 417"/>
                <a:gd name="T106" fmla="*/ 427 w 554"/>
                <a:gd name="T107" fmla="*/ 50 h 417"/>
                <a:gd name="T108" fmla="*/ 443 w 554"/>
                <a:gd name="T109" fmla="*/ 77 h 417"/>
                <a:gd name="T110" fmla="*/ 454 w 554"/>
                <a:gd name="T111" fmla="*/ 109 h 417"/>
                <a:gd name="T112" fmla="*/ 482 w 554"/>
                <a:gd name="T113" fmla="*/ 130 h 417"/>
                <a:gd name="T114" fmla="*/ 497 w 554"/>
                <a:gd name="T115" fmla="*/ 158 h 417"/>
                <a:gd name="T116" fmla="*/ 516 w 554"/>
                <a:gd name="T117" fmla="*/ 169 h 417"/>
                <a:gd name="T118" fmla="*/ 535 w 554"/>
                <a:gd name="T119" fmla="*/ 198 h 417"/>
                <a:gd name="T120" fmla="*/ 547 w 554"/>
                <a:gd name="T121" fmla="*/ 229 h 417"/>
                <a:gd name="T122" fmla="*/ 551 w 554"/>
                <a:gd name="T123" fmla="*/ 265 h 4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54" h="417">
                  <a:moveTo>
                    <a:pt x="548" y="276"/>
                  </a:moveTo>
                  <a:lnTo>
                    <a:pt x="548" y="278"/>
                  </a:lnTo>
                  <a:lnTo>
                    <a:pt x="547" y="280"/>
                  </a:lnTo>
                  <a:lnTo>
                    <a:pt x="546" y="284"/>
                  </a:lnTo>
                  <a:lnTo>
                    <a:pt x="546" y="286"/>
                  </a:lnTo>
                  <a:lnTo>
                    <a:pt x="546" y="288"/>
                  </a:lnTo>
                  <a:lnTo>
                    <a:pt x="546" y="292"/>
                  </a:lnTo>
                  <a:lnTo>
                    <a:pt x="546" y="294"/>
                  </a:lnTo>
                  <a:lnTo>
                    <a:pt x="545" y="296"/>
                  </a:lnTo>
                  <a:lnTo>
                    <a:pt x="544" y="299"/>
                  </a:lnTo>
                  <a:lnTo>
                    <a:pt x="543" y="302"/>
                  </a:lnTo>
                  <a:lnTo>
                    <a:pt x="542" y="305"/>
                  </a:lnTo>
                  <a:lnTo>
                    <a:pt x="539" y="307"/>
                  </a:lnTo>
                  <a:lnTo>
                    <a:pt x="539" y="313"/>
                  </a:lnTo>
                  <a:lnTo>
                    <a:pt x="539" y="313"/>
                  </a:lnTo>
                  <a:lnTo>
                    <a:pt x="537" y="314"/>
                  </a:lnTo>
                  <a:lnTo>
                    <a:pt x="535" y="318"/>
                  </a:lnTo>
                  <a:lnTo>
                    <a:pt x="533" y="319"/>
                  </a:lnTo>
                  <a:lnTo>
                    <a:pt x="529" y="320"/>
                  </a:lnTo>
                  <a:lnTo>
                    <a:pt x="528" y="323"/>
                  </a:lnTo>
                  <a:lnTo>
                    <a:pt x="526" y="325"/>
                  </a:lnTo>
                  <a:lnTo>
                    <a:pt x="525" y="328"/>
                  </a:lnTo>
                  <a:lnTo>
                    <a:pt x="522" y="331"/>
                  </a:lnTo>
                  <a:lnTo>
                    <a:pt x="522" y="333"/>
                  </a:lnTo>
                  <a:lnTo>
                    <a:pt x="521" y="336"/>
                  </a:lnTo>
                  <a:lnTo>
                    <a:pt x="520" y="339"/>
                  </a:lnTo>
                  <a:lnTo>
                    <a:pt x="518" y="341"/>
                  </a:lnTo>
                  <a:lnTo>
                    <a:pt x="517" y="344"/>
                  </a:lnTo>
                  <a:lnTo>
                    <a:pt x="517" y="347"/>
                  </a:lnTo>
                  <a:lnTo>
                    <a:pt x="516" y="349"/>
                  </a:lnTo>
                  <a:lnTo>
                    <a:pt x="516" y="352"/>
                  </a:lnTo>
                  <a:lnTo>
                    <a:pt x="516" y="353"/>
                  </a:lnTo>
                  <a:lnTo>
                    <a:pt x="514" y="355"/>
                  </a:lnTo>
                  <a:lnTo>
                    <a:pt x="511" y="357"/>
                  </a:lnTo>
                  <a:lnTo>
                    <a:pt x="510" y="359"/>
                  </a:lnTo>
                  <a:lnTo>
                    <a:pt x="509" y="362"/>
                  </a:lnTo>
                  <a:lnTo>
                    <a:pt x="508" y="365"/>
                  </a:lnTo>
                  <a:lnTo>
                    <a:pt x="506" y="367"/>
                  </a:lnTo>
                  <a:lnTo>
                    <a:pt x="506" y="370"/>
                  </a:lnTo>
                  <a:lnTo>
                    <a:pt x="506" y="373"/>
                  </a:lnTo>
                  <a:lnTo>
                    <a:pt x="505" y="375"/>
                  </a:lnTo>
                  <a:lnTo>
                    <a:pt x="504" y="378"/>
                  </a:lnTo>
                  <a:lnTo>
                    <a:pt x="504" y="380"/>
                  </a:lnTo>
                  <a:lnTo>
                    <a:pt x="503" y="383"/>
                  </a:lnTo>
                  <a:lnTo>
                    <a:pt x="504" y="386"/>
                  </a:lnTo>
                  <a:lnTo>
                    <a:pt x="504" y="388"/>
                  </a:lnTo>
                  <a:lnTo>
                    <a:pt x="504" y="389"/>
                  </a:lnTo>
                  <a:lnTo>
                    <a:pt x="504" y="391"/>
                  </a:lnTo>
                  <a:lnTo>
                    <a:pt x="503" y="392"/>
                  </a:lnTo>
                  <a:lnTo>
                    <a:pt x="501" y="393"/>
                  </a:lnTo>
                  <a:lnTo>
                    <a:pt x="499" y="396"/>
                  </a:lnTo>
                  <a:lnTo>
                    <a:pt x="495" y="396"/>
                  </a:lnTo>
                  <a:lnTo>
                    <a:pt x="488" y="396"/>
                  </a:lnTo>
                  <a:lnTo>
                    <a:pt x="486" y="396"/>
                  </a:lnTo>
                  <a:lnTo>
                    <a:pt x="483" y="396"/>
                  </a:lnTo>
                  <a:lnTo>
                    <a:pt x="480" y="397"/>
                  </a:lnTo>
                  <a:lnTo>
                    <a:pt x="477" y="398"/>
                  </a:lnTo>
                  <a:lnTo>
                    <a:pt x="475" y="399"/>
                  </a:lnTo>
                  <a:lnTo>
                    <a:pt x="473" y="400"/>
                  </a:lnTo>
                  <a:lnTo>
                    <a:pt x="469" y="402"/>
                  </a:lnTo>
                  <a:lnTo>
                    <a:pt x="467" y="405"/>
                  </a:lnTo>
                  <a:lnTo>
                    <a:pt x="465" y="408"/>
                  </a:lnTo>
                  <a:lnTo>
                    <a:pt x="461" y="410"/>
                  </a:lnTo>
                  <a:lnTo>
                    <a:pt x="461" y="409"/>
                  </a:lnTo>
                  <a:lnTo>
                    <a:pt x="459" y="410"/>
                  </a:lnTo>
                  <a:lnTo>
                    <a:pt x="456" y="410"/>
                  </a:lnTo>
                  <a:lnTo>
                    <a:pt x="453" y="410"/>
                  </a:lnTo>
                  <a:lnTo>
                    <a:pt x="453" y="413"/>
                  </a:lnTo>
                  <a:lnTo>
                    <a:pt x="457" y="412"/>
                  </a:lnTo>
                  <a:lnTo>
                    <a:pt x="456" y="415"/>
                  </a:lnTo>
                  <a:lnTo>
                    <a:pt x="456" y="417"/>
                  </a:lnTo>
                  <a:lnTo>
                    <a:pt x="453" y="415"/>
                  </a:lnTo>
                  <a:lnTo>
                    <a:pt x="451" y="413"/>
                  </a:lnTo>
                  <a:lnTo>
                    <a:pt x="449" y="413"/>
                  </a:lnTo>
                  <a:lnTo>
                    <a:pt x="445" y="409"/>
                  </a:lnTo>
                  <a:lnTo>
                    <a:pt x="443" y="408"/>
                  </a:lnTo>
                  <a:lnTo>
                    <a:pt x="443" y="406"/>
                  </a:lnTo>
                  <a:lnTo>
                    <a:pt x="443" y="402"/>
                  </a:lnTo>
                  <a:lnTo>
                    <a:pt x="440" y="404"/>
                  </a:lnTo>
                  <a:lnTo>
                    <a:pt x="440" y="406"/>
                  </a:lnTo>
                  <a:lnTo>
                    <a:pt x="436" y="407"/>
                  </a:lnTo>
                  <a:lnTo>
                    <a:pt x="434" y="405"/>
                  </a:lnTo>
                  <a:lnTo>
                    <a:pt x="437" y="402"/>
                  </a:lnTo>
                  <a:lnTo>
                    <a:pt x="437" y="402"/>
                  </a:lnTo>
                  <a:lnTo>
                    <a:pt x="437" y="400"/>
                  </a:lnTo>
                  <a:lnTo>
                    <a:pt x="435" y="397"/>
                  </a:lnTo>
                  <a:lnTo>
                    <a:pt x="433" y="399"/>
                  </a:lnTo>
                  <a:lnTo>
                    <a:pt x="431" y="400"/>
                  </a:lnTo>
                  <a:lnTo>
                    <a:pt x="427" y="401"/>
                  </a:lnTo>
                  <a:lnTo>
                    <a:pt x="431" y="404"/>
                  </a:lnTo>
                  <a:lnTo>
                    <a:pt x="427" y="404"/>
                  </a:lnTo>
                  <a:lnTo>
                    <a:pt x="427" y="405"/>
                  </a:lnTo>
                  <a:lnTo>
                    <a:pt x="424" y="407"/>
                  </a:lnTo>
                  <a:lnTo>
                    <a:pt x="422" y="408"/>
                  </a:lnTo>
                  <a:lnTo>
                    <a:pt x="419" y="410"/>
                  </a:lnTo>
                  <a:lnTo>
                    <a:pt x="416" y="413"/>
                  </a:lnTo>
                  <a:lnTo>
                    <a:pt x="416" y="413"/>
                  </a:lnTo>
                  <a:lnTo>
                    <a:pt x="412" y="412"/>
                  </a:lnTo>
                  <a:lnTo>
                    <a:pt x="410" y="409"/>
                  </a:lnTo>
                  <a:lnTo>
                    <a:pt x="408" y="408"/>
                  </a:lnTo>
                  <a:lnTo>
                    <a:pt x="405" y="407"/>
                  </a:lnTo>
                  <a:lnTo>
                    <a:pt x="402" y="405"/>
                  </a:lnTo>
                  <a:lnTo>
                    <a:pt x="400" y="405"/>
                  </a:lnTo>
                  <a:lnTo>
                    <a:pt x="397" y="405"/>
                  </a:lnTo>
                  <a:lnTo>
                    <a:pt x="394" y="404"/>
                  </a:lnTo>
                  <a:lnTo>
                    <a:pt x="391" y="404"/>
                  </a:lnTo>
                  <a:lnTo>
                    <a:pt x="389" y="406"/>
                  </a:lnTo>
                  <a:lnTo>
                    <a:pt x="386" y="404"/>
                  </a:lnTo>
                  <a:lnTo>
                    <a:pt x="383" y="401"/>
                  </a:lnTo>
                  <a:lnTo>
                    <a:pt x="381" y="400"/>
                  </a:lnTo>
                  <a:lnTo>
                    <a:pt x="378" y="400"/>
                  </a:lnTo>
                  <a:lnTo>
                    <a:pt x="375" y="399"/>
                  </a:lnTo>
                  <a:lnTo>
                    <a:pt x="373" y="398"/>
                  </a:lnTo>
                  <a:lnTo>
                    <a:pt x="372" y="395"/>
                  </a:lnTo>
                  <a:lnTo>
                    <a:pt x="369" y="392"/>
                  </a:lnTo>
                  <a:lnTo>
                    <a:pt x="368" y="391"/>
                  </a:lnTo>
                  <a:lnTo>
                    <a:pt x="366" y="389"/>
                  </a:lnTo>
                  <a:lnTo>
                    <a:pt x="365" y="387"/>
                  </a:lnTo>
                  <a:lnTo>
                    <a:pt x="364" y="383"/>
                  </a:lnTo>
                  <a:lnTo>
                    <a:pt x="366" y="381"/>
                  </a:lnTo>
                  <a:lnTo>
                    <a:pt x="366" y="380"/>
                  </a:lnTo>
                  <a:lnTo>
                    <a:pt x="366" y="378"/>
                  </a:lnTo>
                  <a:lnTo>
                    <a:pt x="365" y="374"/>
                  </a:lnTo>
                  <a:lnTo>
                    <a:pt x="364" y="372"/>
                  </a:lnTo>
                  <a:lnTo>
                    <a:pt x="363" y="370"/>
                  </a:lnTo>
                  <a:lnTo>
                    <a:pt x="360" y="366"/>
                  </a:lnTo>
                  <a:lnTo>
                    <a:pt x="357" y="364"/>
                  </a:lnTo>
                  <a:lnTo>
                    <a:pt x="355" y="362"/>
                  </a:lnTo>
                  <a:lnTo>
                    <a:pt x="357" y="364"/>
                  </a:lnTo>
                  <a:lnTo>
                    <a:pt x="360" y="366"/>
                  </a:lnTo>
                  <a:lnTo>
                    <a:pt x="362" y="369"/>
                  </a:lnTo>
                  <a:lnTo>
                    <a:pt x="364" y="371"/>
                  </a:lnTo>
                  <a:lnTo>
                    <a:pt x="362" y="367"/>
                  </a:lnTo>
                  <a:lnTo>
                    <a:pt x="359" y="365"/>
                  </a:lnTo>
                  <a:lnTo>
                    <a:pt x="357" y="363"/>
                  </a:lnTo>
                  <a:lnTo>
                    <a:pt x="356" y="361"/>
                  </a:lnTo>
                  <a:lnTo>
                    <a:pt x="358" y="361"/>
                  </a:lnTo>
                  <a:lnTo>
                    <a:pt x="359" y="358"/>
                  </a:lnTo>
                  <a:lnTo>
                    <a:pt x="357" y="357"/>
                  </a:lnTo>
                  <a:lnTo>
                    <a:pt x="355" y="358"/>
                  </a:lnTo>
                  <a:lnTo>
                    <a:pt x="352" y="361"/>
                  </a:lnTo>
                  <a:lnTo>
                    <a:pt x="350" y="361"/>
                  </a:lnTo>
                  <a:lnTo>
                    <a:pt x="347" y="362"/>
                  </a:lnTo>
                  <a:lnTo>
                    <a:pt x="345" y="362"/>
                  </a:lnTo>
                  <a:lnTo>
                    <a:pt x="342" y="363"/>
                  </a:lnTo>
                  <a:lnTo>
                    <a:pt x="343" y="359"/>
                  </a:lnTo>
                  <a:lnTo>
                    <a:pt x="347" y="357"/>
                  </a:lnTo>
                  <a:lnTo>
                    <a:pt x="347" y="355"/>
                  </a:lnTo>
                  <a:lnTo>
                    <a:pt x="347" y="352"/>
                  </a:lnTo>
                  <a:lnTo>
                    <a:pt x="347" y="349"/>
                  </a:lnTo>
                  <a:lnTo>
                    <a:pt x="347" y="347"/>
                  </a:lnTo>
                  <a:lnTo>
                    <a:pt x="345" y="344"/>
                  </a:lnTo>
                  <a:lnTo>
                    <a:pt x="343" y="341"/>
                  </a:lnTo>
                  <a:lnTo>
                    <a:pt x="341" y="341"/>
                  </a:lnTo>
                  <a:lnTo>
                    <a:pt x="339" y="344"/>
                  </a:lnTo>
                  <a:lnTo>
                    <a:pt x="339" y="346"/>
                  </a:lnTo>
                  <a:lnTo>
                    <a:pt x="339" y="347"/>
                  </a:lnTo>
                  <a:lnTo>
                    <a:pt x="339" y="349"/>
                  </a:lnTo>
                  <a:lnTo>
                    <a:pt x="338" y="352"/>
                  </a:lnTo>
                  <a:lnTo>
                    <a:pt x="335" y="355"/>
                  </a:lnTo>
                  <a:lnTo>
                    <a:pt x="333" y="354"/>
                  </a:lnTo>
                  <a:lnTo>
                    <a:pt x="330" y="355"/>
                  </a:lnTo>
                  <a:lnTo>
                    <a:pt x="325" y="356"/>
                  </a:lnTo>
                  <a:lnTo>
                    <a:pt x="326" y="354"/>
                  </a:lnTo>
                  <a:lnTo>
                    <a:pt x="328" y="350"/>
                  </a:lnTo>
                  <a:lnTo>
                    <a:pt x="330" y="350"/>
                  </a:lnTo>
                  <a:lnTo>
                    <a:pt x="333" y="349"/>
                  </a:lnTo>
                  <a:lnTo>
                    <a:pt x="333" y="347"/>
                  </a:lnTo>
                  <a:lnTo>
                    <a:pt x="333" y="344"/>
                  </a:lnTo>
                  <a:lnTo>
                    <a:pt x="333" y="344"/>
                  </a:lnTo>
                  <a:lnTo>
                    <a:pt x="333" y="340"/>
                  </a:lnTo>
                  <a:lnTo>
                    <a:pt x="334" y="338"/>
                  </a:lnTo>
                  <a:lnTo>
                    <a:pt x="335" y="335"/>
                  </a:lnTo>
                  <a:lnTo>
                    <a:pt x="337" y="332"/>
                  </a:lnTo>
                  <a:lnTo>
                    <a:pt x="340" y="330"/>
                  </a:lnTo>
                  <a:lnTo>
                    <a:pt x="339" y="327"/>
                  </a:lnTo>
                  <a:lnTo>
                    <a:pt x="339" y="324"/>
                  </a:lnTo>
                  <a:lnTo>
                    <a:pt x="341" y="323"/>
                  </a:lnTo>
                  <a:lnTo>
                    <a:pt x="340" y="320"/>
                  </a:lnTo>
                  <a:lnTo>
                    <a:pt x="339" y="318"/>
                  </a:lnTo>
                  <a:lnTo>
                    <a:pt x="338" y="315"/>
                  </a:lnTo>
                  <a:lnTo>
                    <a:pt x="337" y="316"/>
                  </a:lnTo>
                  <a:lnTo>
                    <a:pt x="338" y="319"/>
                  </a:lnTo>
                  <a:lnTo>
                    <a:pt x="337" y="321"/>
                  </a:lnTo>
                  <a:lnTo>
                    <a:pt x="334" y="323"/>
                  </a:lnTo>
                  <a:lnTo>
                    <a:pt x="332" y="325"/>
                  </a:lnTo>
                  <a:lnTo>
                    <a:pt x="332" y="328"/>
                  </a:lnTo>
                  <a:lnTo>
                    <a:pt x="330" y="331"/>
                  </a:lnTo>
                  <a:lnTo>
                    <a:pt x="328" y="332"/>
                  </a:lnTo>
                  <a:lnTo>
                    <a:pt x="325" y="333"/>
                  </a:lnTo>
                  <a:lnTo>
                    <a:pt x="322" y="335"/>
                  </a:lnTo>
                  <a:lnTo>
                    <a:pt x="320" y="337"/>
                  </a:lnTo>
                  <a:lnTo>
                    <a:pt x="317" y="339"/>
                  </a:lnTo>
                  <a:lnTo>
                    <a:pt x="316" y="341"/>
                  </a:lnTo>
                  <a:lnTo>
                    <a:pt x="314" y="344"/>
                  </a:lnTo>
                  <a:lnTo>
                    <a:pt x="312" y="347"/>
                  </a:lnTo>
                  <a:lnTo>
                    <a:pt x="311" y="349"/>
                  </a:lnTo>
                  <a:lnTo>
                    <a:pt x="313" y="349"/>
                  </a:lnTo>
                  <a:lnTo>
                    <a:pt x="313" y="353"/>
                  </a:lnTo>
                  <a:lnTo>
                    <a:pt x="311" y="350"/>
                  </a:lnTo>
                  <a:lnTo>
                    <a:pt x="308" y="352"/>
                  </a:lnTo>
                  <a:lnTo>
                    <a:pt x="306" y="348"/>
                  </a:lnTo>
                  <a:lnTo>
                    <a:pt x="304" y="346"/>
                  </a:lnTo>
                  <a:lnTo>
                    <a:pt x="303" y="344"/>
                  </a:lnTo>
                  <a:lnTo>
                    <a:pt x="305" y="344"/>
                  </a:lnTo>
                  <a:lnTo>
                    <a:pt x="304" y="341"/>
                  </a:lnTo>
                  <a:lnTo>
                    <a:pt x="303" y="339"/>
                  </a:lnTo>
                  <a:lnTo>
                    <a:pt x="303" y="336"/>
                  </a:lnTo>
                  <a:lnTo>
                    <a:pt x="303" y="336"/>
                  </a:lnTo>
                  <a:lnTo>
                    <a:pt x="299" y="333"/>
                  </a:lnTo>
                  <a:lnTo>
                    <a:pt x="297" y="330"/>
                  </a:lnTo>
                  <a:lnTo>
                    <a:pt x="297" y="328"/>
                  </a:lnTo>
                  <a:lnTo>
                    <a:pt x="295" y="325"/>
                  </a:lnTo>
                  <a:lnTo>
                    <a:pt x="291" y="323"/>
                  </a:lnTo>
                  <a:lnTo>
                    <a:pt x="289" y="323"/>
                  </a:lnTo>
                  <a:lnTo>
                    <a:pt x="287" y="320"/>
                  </a:lnTo>
                  <a:lnTo>
                    <a:pt x="289" y="318"/>
                  </a:lnTo>
                  <a:lnTo>
                    <a:pt x="289" y="318"/>
                  </a:lnTo>
                  <a:lnTo>
                    <a:pt x="289" y="314"/>
                  </a:lnTo>
                  <a:lnTo>
                    <a:pt x="287" y="313"/>
                  </a:lnTo>
                  <a:lnTo>
                    <a:pt x="283" y="313"/>
                  </a:lnTo>
                  <a:lnTo>
                    <a:pt x="283" y="311"/>
                  </a:lnTo>
                  <a:lnTo>
                    <a:pt x="281" y="307"/>
                  </a:lnTo>
                  <a:lnTo>
                    <a:pt x="278" y="309"/>
                  </a:lnTo>
                  <a:lnTo>
                    <a:pt x="275" y="310"/>
                  </a:lnTo>
                  <a:lnTo>
                    <a:pt x="270" y="306"/>
                  </a:lnTo>
                  <a:lnTo>
                    <a:pt x="269" y="305"/>
                  </a:lnTo>
                  <a:lnTo>
                    <a:pt x="266" y="305"/>
                  </a:lnTo>
                  <a:lnTo>
                    <a:pt x="263" y="306"/>
                  </a:lnTo>
                  <a:lnTo>
                    <a:pt x="261" y="306"/>
                  </a:lnTo>
                  <a:lnTo>
                    <a:pt x="258" y="304"/>
                  </a:lnTo>
                  <a:lnTo>
                    <a:pt x="255" y="302"/>
                  </a:lnTo>
                  <a:lnTo>
                    <a:pt x="253" y="301"/>
                  </a:lnTo>
                  <a:lnTo>
                    <a:pt x="249" y="299"/>
                  </a:lnTo>
                  <a:lnTo>
                    <a:pt x="247" y="298"/>
                  </a:lnTo>
                  <a:lnTo>
                    <a:pt x="245" y="299"/>
                  </a:lnTo>
                  <a:lnTo>
                    <a:pt x="241" y="301"/>
                  </a:lnTo>
                  <a:lnTo>
                    <a:pt x="239" y="299"/>
                  </a:lnTo>
                  <a:lnTo>
                    <a:pt x="236" y="299"/>
                  </a:lnTo>
                  <a:lnTo>
                    <a:pt x="234" y="299"/>
                  </a:lnTo>
                  <a:lnTo>
                    <a:pt x="228" y="301"/>
                  </a:lnTo>
                  <a:lnTo>
                    <a:pt x="226" y="301"/>
                  </a:lnTo>
                  <a:lnTo>
                    <a:pt x="223" y="301"/>
                  </a:lnTo>
                  <a:lnTo>
                    <a:pt x="220" y="301"/>
                  </a:lnTo>
                  <a:lnTo>
                    <a:pt x="218" y="302"/>
                  </a:lnTo>
                  <a:lnTo>
                    <a:pt x="214" y="303"/>
                  </a:lnTo>
                  <a:lnTo>
                    <a:pt x="209" y="305"/>
                  </a:lnTo>
                  <a:lnTo>
                    <a:pt x="204" y="307"/>
                  </a:lnTo>
                  <a:lnTo>
                    <a:pt x="201" y="309"/>
                  </a:lnTo>
                  <a:lnTo>
                    <a:pt x="198" y="309"/>
                  </a:lnTo>
                  <a:lnTo>
                    <a:pt x="195" y="310"/>
                  </a:lnTo>
                  <a:lnTo>
                    <a:pt x="192" y="311"/>
                  </a:lnTo>
                  <a:lnTo>
                    <a:pt x="189" y="311"/>
                  </a:lnTo>
                  <a:lnTo>
                    <a:pt x="186" y="311"/>
                  </a:lnTo>
                  <a:lnTo>
                    <a:pt x="184" y="311"/>
                  </a:lnTo>
                  <a:lnTo>
                    <a:pt x="180" y="311"/>
                  </a:lnTo>
                  <a:lnTo>
                    <a:pt x="178" y="310"/>
                  </a:lnTo>
                  <a:lnTo>
                    <a:pt x="176" y="311"/>
                  </a:lnTo>
                  <a:lnTo>
                    <a:pt x="173" y="312"/>
                  </a:lnTo>
                  <a:lnTo>
                    <a:pt x="171" y="313"/>
                  </a:lnTo>
                  <a:lnTo>
                    <a:pt x="168" y="315"/>
                  </a:lnTo>
                  <a:lnTo>
                    <a:pt x="166" y="316"/>
                  </a:lnTo>
                  <a:lnTo>
                    <a:pt x="163" y="318"/>
                  </a:lnTo>
                  <a:lnTo>
                    <a:pt x="160" y="319"/>
                  </a:lnTo>
                  <a:lnTo>
                    <a:pt x="158" y="320"/>
                  </a:lnTo>
                  <a:lnTo>
                    <a:pt x="154" y="321"/>
                  </a:lnTo>
                  <a:lnTo>
                    <a:pt x="152" y="322"/>
                  </a:lnTo>
                  <a:lnTo>
                    <a:pt x="150" y="324"/>
                  </a:lnTo>
                  <a:lnTo>
                    <a:pt x="149" y="328"/>
                  </a:lnTo>
                  <a:lnTo>
                    <a:pt x="149" y="330"/>
                  </a:lnTo>
                  <a:lnTo>
                    <a:pt x="145" y="332"/>
                  </a:lnTo>
                  <a:lnTo>
                    <a:pt x="145" y="332"/>
                  </a:lnTo>
                  <a:lnTo>
                    <a:pt x="143" y="335"/>
                  </a:lnTo>
                  <a:lnTo>
                    <a:pt x="139" y="335"/>
                  </a:lnTo>
                  <a:lnTo>
                    <a:pt x="137" y="337"/>
                  </a:lnTo>
                  <a:lnTo>
                    <a:pt x="134" y="335"/>
                  </a:lnTo>
                  <a:lnTo>
                    <a:pt x="132" y="335"/>
                  </a:lnTo>
                  <a:lnTo>
                    <a:pt x="129" y="336"/>
                  </a:lnTo>
                  <a:lnTo>
                    <a:pt x="126" y="336"/>
                  </a:lnTo>
                  <a:lnTo>
                    <a:pt x="124" y="337"/>
                  </a:lnTo>
                  <a:lnTo>
                    <a:pt x="121" y="335"/>
                  </a:lnTo>
                  <a:lnTo>
                    <a:pt x="119" y="335"/>
                  </a:lnTo>
                  <a:lnTo>
                    <a:pt x="117" y="335"/>
                  </a:lnTo>
                  <a:lnTo>
                    <a:pt x="115" y="335"/>
                  </a:lnTo>
                  <a:lnTo>
                    <a:pt x="112" y="335"/>
                  </a:lnTo>
                  <a:lnTo>
                    <a:pt x="109" y="335"/>
                  </a:lnTo>
                  <a:lnTo>
                    <a:pt x="107" y="335"/>
                  </a:lnTo>
                  <a:lnTo>
                    <a:pt x="104" y="335"/>
                  </a:lnTo>
                  <a:lnTo>
                    <a:pt x="101" y="336"/>
                  </a:lnTo>
                  <a:lnTo>
                    <a:pt x="99" y="336"/>
                  </a:lnTo>
                  <a:lnTo>
                    <a:pt x="95" y="336"/>
                  </a:lnTo>
                  <a:lnTo>
                    <a:pt x="94" y="336"/>
                  </a:lnTo>
                  <a:lnTo>
                    <a:pt x="91" y="337"/>
                  </a:lnTo>
                  <a:lnTo>
                    <a:pt x="89" y="339"/>
                  </a:lnTo>
                  <a:lnTo>
                    <a:pt x="86" y="341"/>
                  </a:lnTo>
                  <a:lnTo>
                    <a:pt x="85" y="344"/>
                  </a:lnTo>
                  <a:lnTo>
                    <a:pt x="83" y="345"/>
                  </a:lnTo>
                  <a:lnTo>
                    <a:pt x="79" y="344"/>
                  </a:lnTo>
                  <a:lnTo>
                    <a:pt x="77" y="345"/>
                  </a:lnTo>
                  <a:lnTo>
                    <a:pt x="74" y="347"/>
                  </a:lnTo>
                  <a:lnTo>
                    <a:pt x="72" y="350"/>
                  </a:lnTo>
                  <a:lnTo>
                    <a:pt x="69" y="352"/>
                  </a:lnTo>
                  <a:lnTo>
                    <a:pt x="67" y="353"/>
                  </a:lnTo>
                  <a:lnTo>
                    <a:pt x="65" y="353"/>
                  </a:lnTo>
                  <a:lnTo>
                    <a:pt x="65" y="354"/>
                  </a:lnTo>
                  <a:lnTo>
                    <a:pt x="61" y="353"/>
                  </a:lnTo>
                  <a:lnTo>
                    <a:pt x="59" y="354"/>
                  </a:lnTo>
                  <a:lnTo>
                    <a:pt x="57" y="353"/>
                  </a:lnTo>
                  <a:lnTo>
                    <a:pt x="53" y="353"/>
                  </a:lnTo>
                  <a:lnTo>
                    <a:pt x="51" y="353"/>
                  </a:lnTo>
                  <a:lnTo>
                    <a:pt x="48" y="353"/>
                  </a:lnTo>
                  <a:lnTo>
                    <a:pt x="45" y="352"/>
                  </a:lnTo>
                  <a:lnTo>
                    <a:pt x="43" y="350"/>
                  </a:lnTo>
                  <a:lnTo>
                    <a:pt x="40" y="349"/>
                  </a:lnTo>
                  <a:lnTo>
                    <a:pt x="38" y="347"/>
                  </a:lnTo>
                  <a:lnTo>
                    <a:pt x="35" y="345"/>
                  </a:lnTo>
                  <a:lnTo>
                    <a:pt x="32" y="342"/>
                  </a:lnTo>
                  <a:lnTo>
                    <a:pt x="30" y="341"/>
                  </a:lnTo>
                  <a:lnTo>
                    <a:pt x="26" y="341"/>
                  </a:lnTo>
                  <a:lnTo>
                    <a:pt x="25" y="339"/>
                  </a:lnTo>
                  <a:lnTo>
                    <a:pt x="25" y="337"/>
                  </a:lnTo>
                  <a:lnTo>
                    <a:pt x="25" y="333"/>
                  </a:lnTo>
                  <a:lnTo>
                    <a:pt x="25" y="331"/>
                  </a:lnTo>
                  <a:lnTo>
                    <a:pt x="28" y="331"/>
                  </a:lnTo>
                  <a:lnTo>
                    <a:pt x="28" y="331"/>
                  </a:lnTo>
                  <a:lnTo>
                    <a:pt x="31" y="330"/>
                  </a:lnTo>
                  <a:lnTo>
                    <a:pt x="33" y="328"/>
                  </a:lnTo>
                  <a:lnTo>
                    <a:pt x="35" y="325"/>
                  </a:lnTo>
                  <a:lnTo>
                    <a:pt x="34" y="322"/>
                  </a:lnTo>
                  <a:lnTo>
                    <a:pt x="34" y="320"/>
                  </a:lnTo>
                  <a:lnTo>
                    <a:pt x="34" y="318"/>
                  </a:lnTo>
                  <a:lnTo>
                    <a:pt x="34" y="314"/>
                  </a:lnTo>
                  <a:lnTo>
                    <a:pt x="34" y="318"/>
                  </a:lnTo>
                  <a:lnTo>
                    <a:pt x="35" y="314"/>
                  </a:lnTo>
                  <a:lnTo>
                    <a:pt x="35" y="312"/>
                  </a:lnTo>
                  <a:lnTo>
                    <a:pt x="35" y="310"/>
                  </a:lnTo>
                  <a:lnTo>
                    <a:pt x="35" y="306"/>
                  </a:lnTo>
                  <a:lnTo>
                    <a:pt x="35" y="304"/>
                  </a:lnTo>
                  <a:lnTo>
                    <a:pt x="35" y="301"/>
                  </a:lnTo>
                  <a:lnTo>
                    <a:pt x="33" y="298"/>
                  </a:lnTo>
                  <a:lnTo>
                    <a:pt x="32" y="296"/>
                  </a:lnTo>
                  <a:lnTo>
                    <a:pt x="31" y="293"/>
                  </a:lnTo>
                  <a:lnTo>
                    <a:pt x="30" y="290"/>
                  </a:lnTo>
                  <a:lnTo>
                    <a:pt x="27" y="287"/>
                  </a:lnTo>
                  <a:lnTo>
                    <a:pt x="26" y="285"/>
                  </a:lnTo>
                  <a:lnTo>
                    <a:pt x="26" y="282"/>
                  </a:lnTo>
                  <a:lnTo>
                    <a:pt x="25" y="279"/>
                  </a:lnTo>
                  <a:lnTo>
                    <a:pt x="25" y="277"/>
                  </a:lnTo>
                  <a:lnTo>
                    <a:pt x="25" y="276"/>
                  </a:lnTo>
                  <a:lnTo>
                    <a:pt x="25" y="270"/>
                  </a:lnTo>
                  <a:lnTo>
                    <a:pt x="25" y="268"/>
                  </a:lnTo>
                  <a:lnTo>
                    <a:pt x="24" y="265"/>
                  </a:lnTo>
                  <a:lnTo>
                    <a:pt x="23" y="262"/>
                  </a:lnTo>
                  <a:lnTo>
                    <a:pt x="21" y="260"/>
                  </a:lnTo>
                  <a:lnTo>
                    <a:pt x="19" y="258"/>
                  </a:lnTo>
                  <a:lnTo>
                    <a:pt x="19" y="255"/>
                  </a:lnTo>
                  <a:lnTo>
                    <a:pt x="17" y="252"/>
                  </a:lnTo>
                  <a:lnTo>
                    <a:pt x="16" y="250"/>
                  </a:lnTo>
                  <a:lnTo>
                    <a:pt x="14" y="247"/>
                  </a:lnTo>
                  <a:lnTo>
                    <a:pt x="13" y="244"/>
                  </a:lnTo>
                  <a:lnTo>
                    <a:pt x="14" y="242"/>
                  </a:lnTo>
                  <a:lnTo>
                    <a:pt x="13" y="239"/>
                  </a:lnTo>
                  <a:lnTo>
                    <a:pt x="13" y="236"/>
                  </a:lnTo>
                  <a:lnTo>
                    <a:pt x="10" y="234"/>
                  </a:lnTo>
                  <a:lnTo>
                    <a:pt x="9" y="230"/>
                  </a:lnTo>
                  <a:lnTo>
                    <a:pt x="7" y="228"/>
                  </a:lnTo>
                  <a:lnTo>
                    <a:pt x="5" y="226"/>
                  </a:lnTo>
                  <a:lnTo>
                    <a:pt x="5" y="225"/>
                  </a:lnTo>
                  <a:lnTo>
                    <a:pt x="2" y="222"/>
                  </a:lnTo>
                  <a:lnTo>
                    <a:pt x="0" y="219"/>
                  </a:lnTo>
                  <a:lnTo>
                    <a:pt x="4" y="222"/>
                  </a:lnTo>
                  <a:lnTo>
                    <a:pt x="4" y="219"/>
                  </a:lnTo>
                  <a:lnTo>
                    <a:pt x="5" y="222"/>
                  </a:lnTo>
                  <a:lnTo>
                    <a:pt x="6" y="225"/>
                  </a:lnTo>
                  <a:lnTo>
                    <a:pt x="8" y="226"/>
                  </a:lnTo>
                  <a:lnTo>
                    <a:pt x="10" y="222"/>
                  </a:lnTo>
                  <a:lnTo>
                    <a:pt x="8" y="220"/>
                  </a:lnTo>
                  <a:lnTo>
                    <a:pt x="6" y="217"/>
                  </a:lnTo>
                  <a:lnTo>
                    <a:pt x="5" y="215"/>
                  </a:lnTo>
                  <a:lnTo>
                    <a:pt x="4" y="212"/>
                  </a:lnTo>
                  <a:lnTo>
                    <a:pt x="6" y="212"/>
                  </a:lnTo>
                  <a:lnTo>
                    <a:pt x="8" y="216"/>
                  </a:lnTo>
                  <a:lnTo>
                    <a:pt x="8" y="218"/>
                  </a:lnTo>
                  <a:lnTo>
                    <a:pt x="8" y="219"/>
                  </a:lnTo>
                  <a:lnTo>
                    <a:pt x="10" y="217"/>
                  </a:lnTo>
                  <a:lnTo>
                    <a:pt x="10" y="219"/>
                  </a:lnTo>
                  <a:lnTo>
                    <a:pt x="11" y="221"/>
                  </a:lnTo>
                  <a:lnTo>
                    <a:pt x="15" y="222"/>
                  </a:lnTo>
                  <a:lnTo>
                    <a:pt x="14" y="219"/>
                  </a:lnTo>
                  <a:lnTo>
                    <a:pt x="15" y="217"/>
                  </a:lnTo>
                  <a:lnTo>
                    <a:pt x="15" y="215"/>
                  </a:lnTo>
                  <a:lnTo>
                    <a:pt x="13" y="211"/>
                  </a:lnTo>
                  <a:lnTo>
                    <a:pt x="11" y="209"/>
                  </a:lnTo>
                  <a:lnTo>
                    <a:pt x="9" y="207"/>
                  </a:lnTo>
                  <a:lnTo>
                    <a:pt x="8" y="203"/>
                  </a:lnTo>
                  <a:lnTo>
                    <a:pt x="7" y="201"/>
                  </a:lnTo>
                  <a:lnTo>
                    <a:pt x="7" y="201"/>
                  </a:lnTo>
                  <a:lnTo>
                    <a:pt x="6" y="198"/>
                  </a:lnTo>
                  <a:lnTo>
                    <a:pt x="4" y="195"/>
                  </a:lnTo>
                  <a:lnTo>
                    <a:pt x="4" y="192"/>
                  </a:lnTo>
                  <a:lnTo>
                    <a:pt x="4" y="190"/>
                  </a:lnTo>
                  <a:lnTo>
                    <a:pt x="5" y="187"/>
                  </a:lnTo>
                  <a:lnTo>
                    <a:pt x="5" y="184"/>
                  </a:lnTo>
                  <a:lnTo>
                    <a:pt x="7" y="182"/>
                  </a:lnTo>
                  <a:lnTo>
                    <a:pt x="8" y="179"/>
                  </a:lnTo>
                  <a:lnTo>
                    <a:pt x="8" y="176"/>
                  </a:lnTo>
                  <a:lnTo>
                    <a:pt x="9" y="174"/>
                  </a:lnTo>
                  <a:lnTo>
                    <a:pt x="8" y="170"/>
                  </a:lnTo>
                  <a:lnTo>
                    <a:pt x="7" y="168"/>
                  </a:lnTo>
                  <a:lnTo>
                    <a:pt x="8" y="167"/>
                  </a:lnTo>
                  <a:lnTo>
                    <a:pt x="9" y="164"/>
                  </a:lnTo>
                  <a:lnTo>
                    <a:pt x="10" y="161"/>
                  </a:lnTo>
                  <a:lnTo>
                    <a:pt x="10" y="158"/>
                  </a:lnTo>
                  <a:lnTo>
                    <a:pt x="14" y="156"/>
                  </a:lnTo>
                  <a:lnTo>
                    <a:pt x="14" y="159"/>
                  </a:lnTo>
                  <a:lnTo>
                    <a:pt x="13" y="161"/>
                  </a:lnTo>
                  <a:lnTo>
                    <a:pt x="14" y="165"/>
                  </a:lnTo>
                  <a:lnTo>
                    <a:pt x="16" y="166"/>
                  </a:lnTo>
                  <a:lnTo>
                    <a:pt x="17" y="164"/>
                  </a:lnTo>
                  <a:lnTo>
                    <a:pt x="18" y="160"/>
                  </a:lnTo>
                  <a:lnTo>
                    <a:pt x="19" y="159"/>
                  </a:lnTo>
                  <a:lnTo>
                    <a:pt x="21" y="157"/>
                  </a:lnTo>
                  <a:lnTo>
                    <a:pt x="23" y="156"/>
                  </a:lnTo>
                  <a:lnTo>
                    <a:pt x="24" y="154"/>
                  </a:lnTo>
                  <a:lnTo>
                    <a:pt x="27" y="153"/>
                  </a:lnTo>
                  <a:lnTo>
                    <a:pt x="30" y="152"/>
                  </a:lnTo>
                  <a:lnTo>
                    <a:pt x="33" y="151"/>
                  </a:lnTo>
                  <a:lnTo>
                    <a:pt x="35" y="149"/>
                  </a:lnTo>
                  <a:lnTo>
                    <a:pt x="38" y="145"/>
                  </a:lnTo>
                  <a:lnTo>
                    <a:pt x="40" y="144"/>
                  </a:lnTo>
                  <a:lnTo>
                    <a:pt x="43" y="142"/>
                  </a:lnTo>
                  <a:lnTo>
                    <a:pt x="45" y="142"/>
                  </a:lnTo>
                  <a:lnTo>
                    <a:pt x="49" y="140"/>
                  </a:lnTo>
                  <a:lnTo>
                    <a:pt x="51" y="140"/>
                  </a:lnTo>
                  <a:lnTo>
                    <a:pt x="55" y="139"/>
                  </a:lnTo>
                  <a:lnTo>
                    <a:pt x="57" y="141"/>
                  </a:lnTo>
                  <a:lnTo>
                    <a:pt x="59" y="140"/>
                  </a:lnTo>
                  <a:lnTo>
                    <a:pt x="62" y="140"/>
                  </a:lnTo>
                  <a:lnTo>
                    <a:pt x="65" y="139"/>
                  </a:lnTo>
                  <a:lnTo>
                    <a:pt x="67" y="136"/>
                  </a:lnTo>
                  <a:lnTo>
                    <a:pt x="69" y="135"/>
                  </a:lnTo>
                  <a:lnTo>
                    <a:pt x="73" y="135"/>
                  </a:lnTo>
                  <a:lnTo>
                    <a:pt x="74" y="134"/>
                  </a:lnTo>
                  <a:lnTo>
                    <a:pt x="77" y="134"/>
                  </a:lnTo>
                  <a:lnTo>
                    <a:pt x="79" y="132"/>
                  </a:lnTo>
                  <a:lnTo>
                    <a:pt x="82" y="130"/>
                  </a:lnTo>
                  <a:lnTo>
                    <a:pt x="86" y="130"/>
                  </a:lnTo>
                  <a:lnTo>
                    <a:pt x="89" y="131"/>
                  </a:lnTo>
                  <a:lnTo>
                    <a:pt x="91" y="130"/>
                  </a:lnTo>
                  <a:lnTo>
                    <a:pt x="93" y="130"/>
                  </a:lnTo>
                  <a:lnTo>
                    <a:pt x="94" y="130"/>
                  </a:lnTo>
                  <a:lnTo>
                    <a:pt x="96" y="128"/>
                  </a:lnTo>
                  <a:lnTo>
                    <a:pt x="99" y="128"/>
                  </a:lnTo>
                  <a:lnTo>
                    <a:pt x="102" y="127"/>
                  </a:lnTo>
                  <a:lnTo>
                    <a:pt x="104" y="126"/>
                  </a:lnTo>
                  <a:lnTo>
                    <a:pt x="108" y="125"/>
                  </a:lnTo>
                  <a:lnTo>
                    <a:pt x="110" y="123"/>
                  </a:lnTo>
                  <a:lnTo>
                    <a:pt x="112" y="121"/>
                  </a:lnTo>
                  <a:lnTo>
                    <a:pt x="115" y="117"/>
                  </a:lnTo>
                  <a:lnTo>
                    <a:pt x="116" y="115"/>
                  </a:lnTo>
                  <a:lnTo>
                    <a:pt x="116" y="111"/>
                  </a:lnTo>
                  <a:lnTo>
                    <a:pt x="118" y="111"/>
                  </a:lnTo>
                  <a:lnTo>
                    <a:pt x="119" y="108"/>
                  </a:lnTo>
                  <a:lnTo>
                    <a:pt x="121" y="108"/>
                  </a:lnTo>
                  <a:lnTo>
                    <a:pt x="124" y="105"/>
                  </a:lnTo>
                  <a:lnTo>
                    <a:pt x="126" y="102"/>
                  </a:lnTo>
                  <a:lnTo>
                    <a:pt x="124" y="101"/>
                  </a:lnTo>
                  <a:lnTo>
                    <a:pt x="124" y="99"/>
                  </a:lnTo>
                  <a:lnTo>
                    <a:pt x="124" y="96"/>
                  </a:lnTo>
                  <a:lnTo>
                    <a:pt x="124" y="93"/>
                  </a:lnTo>
                  <a:lnTo>
                    <a:pt x="125" y="90"/>
                  </a:lnTo>
                  <a:lnTo>
                    <a:pt x="126" y="88"/>
                  </a:lnTo>
                  <a:lnTo>
                    <a:pt x="128" y="87"/>
                  </a:lnTo>
                  <a:lnTo>
                    <a:pt x="130" y="84"/>
                  </a:lnTo>
                  <a:lnTo>
                    <a:pt x="132" y="82"/>
                  </a:lnTo>
                  <a:lnTo>
                    <a:pt x="134" y="80"/>
                  </a:lnTo>
                  <a:lnTo>
                    <a:pt x="135" y="82"/>
                  </a:lnTo>
                  <a:lnTo>
                    <a:pt x="136" y="84"/>
                  </a:lnTo>
                  <a:lnTo>
                    <a:pt x="138" y="88"/>
                  </a:lnTo>
                  <a:lnTo>
                    <a:pt x="139" y="90"/>
                  </a:lnTo>
                  <a:lnTo>
                    <a:pt x="141" y="92"/>
                  </a:lnTo>
                  <a:lnTo>
                    <a:pt x="143" y="96"/>
                  </a:lnTo>
                  <a:lnTo>
                    <a:pt x="143" y="96"/>
                  </a:lnTo>
                  <a:lnTo>
                    <a:pt x="143" y="93"/>
                  </a:lnTo>
                  <a:lnTo>
                    <a:pt x="143" y="90"/>
                  </a:lnTo>
                  <a:lnTo>
                    <a:pt x="143" y="88"/>
                  </a:lnTo>
                  <a:lnTo>
                    <a:pt x="146" y="90"/>
                  </a:lnTo>
                  <a:lnTo>
                    <a:pt x="147" y="90"/>
                  </a:lnTo>
                  <a:lnTo>
                    <a:pt x="146" y="88"/>
                  </a:lnTo>
                  <a:lnTo>
                    <a:pt x="147" y="85"/>
                  </a:lnTo>
                  <a:lnTo>
                    <a:pt x="145" y="85"/>
                  </a:lnTo>
                  <a:lnTo>
                    <a:pt x="143" y="83"/>
                  </a:lnTo>
                  <a:lnTo>
                    <a:pt x="142" y="81"/>
                  </a:lnTo>
                  <a:lnTo>
                    <a:pt x="144" y="80"/>
                  </a:lnTo>
                  <a:lnTo>
                    <a:pt x="145" y="79"/>
                  </a:lnTo>
                  <a:lnTo>
                    <a:pt x="143" y="76"/>
                  </a:lnTo>
                  <a:lnTo>
                    <a:pt x="145" y="76"/>
                  </a:lnTo>
                  <a:lnTo>
                    <a:pt x="147" y="79"/>
                  </a:lnTo>
                  <a:lnTo>
                    <a:pt x="150" y="77"/>
                  </a:lnTo>
                  <a:lnTo>
                    <a:pt x="152" y="79"/>
                  </a:lnTo>
                  <a:lnTo>
                    <a:pt x="159" y="79"/>
                  </a:lnTo>
                  <a:lnTo>
                    <a:pt x="161" y="80"/>
                  </a:lnTo>
                  <a:lnTo>
                    <a:pt x="159" y="79"/>
                  </a:lnTo>
                  <a:lnTo>
                    <a:pt x="155" y="79"/>
                  </a:lnTo>
                  <a:lnTo>
                    <a:pt x="154" y="75"/>
                  </a:lnTo>
                  <a:lnTo>
                    <a:pt x="156" y="73"/>
                  </a:lnTo>
                  <a:lnTo>
                    <a:pt x="154" y="72"/>
                  </a:lnTo>
                  <a:lnTo>
                    <a:pt x="154" y="68"/>
                  </a:lnTo>
                  <a:lnTo>
                    <a:pt x="154" y="68"/>
                  </a:lnTo>
                  <a:lnTo>
                    <a:pt x="156" y="66"/>
                  </a:lnTo>
                  <a:lnTo>
                    <a:pt x="159" y="64"/>
                  </a:lnTo>
                  <a:lnTo>
                    <a:pt x="161" y="65"/>
                  </a:lnTo>
                  <a:lnTo>
                    <a:pt x="163" y="66"/>
                  </a:lnTo>
                  <a:lnTo>
                    <a:pt x="164" y="67"/>
                  </a:lnTo>
                  <a:lnTo>
                    <a:pt x="164" y="64"/>
                  </a:lnTo>
                  <a:lnTo>
                    <a:pt x="161" y="64"/>
                  </a:lnTo>
                  <a:lnTo>
                    <a:pt x="160" y="62"/>
                  </a:lnTo>
                  <a:lnTo>
                    <a:pt x="163" y="61"/>
                  </a:lnTo>
                  <a:lnTo>
                    <a:pt x="166" y="61"/>
                  </a:lnTo>
                  <a:lnTo>
                    <a:pt x="167" y="62"/>
                  </a:lnTo>
                  <a:lnTo>
                    <a:pt x="164" y="58"/>
                  </a:lnTo>
                  <a:lnTo>
                    <a:pt x="164" y="56"/>
                  </a:lnTo>
                  <a:lnTo>
                    <a:pt x="167" y="54"/>
                  </a:lnTo>
                  <a:lnTo>
                    <a:pt x="169" y="53"/>
                  </a:lnTo>
                  <a:lnTo>
                    <a:pt x="170" y="53"/>
                  </a:lnTo>
                  <a:lnTo>
                    <a:pt x="170" y="50"/>
                  </a:lnTo>
                  <a:lnTo>
                    <a:pt x="171" y="53"/>
                  </a:lnTo>
                  <a:lnTo>
                    <a:pt x="175" y="54"/>
                  </a:lnTo>
                  <a:lnTo>
                    <a:pt x="177" y="51"/>
                  </a:lnTo>
                  <a:lnTo>
                    <a:pt x="177" y="49"/>
                  </a:lnTo>
                  <a:lnTo>
                    <a:pt x="178" y="47"/>
                  </a:lnTo>
                  <a:lnTo>
                    <a:pt x="177" y="47"/>
                  </a:lnTo>
                  <a:lnTo>
                    <a:pt x="178" y="46"/>
                  </a:lnTo>
                  <a:lnTo>
                    <a:pt x="179" y="48"/>
                  </a:lnTo>
                  <a:lnTo>
                    <a:pt x="181" y="46"/>
                  </a:lnTo>
                  <a:lnTo>
                    <a:pt x="183" y="47"/>
                  </a:lnTo>
                  <a:lnTo>
                    <a:pt x="186" y="47"/>
                  </a:lnTo>
                  <a:lnTo>
                    <a:pt x="188" y="45"/>
                  </a:lnTo>
                  <a:lnTo>
                    <a:pt x="188" y="42"/>
                  </a:lnTo>
                  <a:lnTo>
                    <a:pt x="189" y="41"/>
                  </a:lnTo>
                  <a:lnTo>
                    <a:pt x="190" y="45"/>
                  </a:lnTo>
                  <a:lnTo>
                    <a:pt x="194" y="45"/>
                  </a:lnTo>
                  <a:lnTo>
                    <a:pt x="200" y="48"/>
                  </a:lnTo>
                  <a:lnTo>
                    <a:pt x="201" y="51"/>
                  </a:lnTo>
                  <a:lnTo>
                    <a:pt x="204" y="54"/>
                  </a:lnTo>
                  <a:lnTo>
                    <a:pt x="206" y="56"/>
                  </a:lnTo>
                  <a:lnTo>
                    <a:pt x="206" y="57"/>
                  </a:lnTo>
                  <a:lnTo>
                    <a:pt x="205" y="59"/>
                  </a:lnTo>
                  <a:lnTo>
                    <a:pt x="204" y="62"/>
                  </a:lnTo>
                  <a:lnTo>
                    <a:pt x="204" y="65"/>
                  </a:lnTo>
                  <a:lnTo>
                    <a:pt x="204" y="66"/>
                  </a:lnTo>
                  <a:lnTo>
                    <a:pt x="205" y="64"/>
                  </a:lnTo>
                  <a:lnTo>
                    <a:pt x="207" y="65"/>
                  </a:lnTo>
                  <a:lnTo>
                    <a:pt x="206" y="63"/>
                  </a:lnTo>
                  <a:lnTo>
                    <a:pt x="206" y="61"/>
                  </a:lnTo>
                  <a:lnTo>
                    <a:pt x="209" y="61"/>
                  </a:lnTo>
                  <a:lnTo>
                    <a:pt x="210" y="57"/>
                  </a:lnTo>
                  <a:lnTo>
                    <a:pt x="212" y="56"/>
                  </a:lnTo>
                  <a:lnTo>
                    <a:pt x="215" y="57"/>
                  </a:lnTo>
                  <a:lnTo>
                    <a:pt x="218" y="58"/>
                  </a:lnTo>
                  <a:lnTo>
                    <a:pt x="220" y="61"/>
                  </a:lnTo>
                  <a:lnTo>
                    <a:pt x="220" y="58"/>
                  </a:lnTo>
                  <a:lnTo>
                    <a:pt x="223" y="58"/>
                  </a:lnTo>
                  <a:lnTo>
                    <a:pt x="226" y="61"/>
                  </a:lnTo>
                  <a:lnTo>
                    <a:pt x="227" y="63"/>
                  </a:lnTo>
                  <a:lnTo>
                    <a:pt x="227" y="62"/>
                  </a:lnTo>
                  <a:lnTo>
                    <a:pt x="226" y="58"/>
                  </a:lnTo>
                  <a:lnTo>
                    <a:pt x="229" y="57"/>
                  </a:lnTo>
                  <a:lnTo>
                    <a:pt x="226" y="55"/>
                  </a:lnTo>
                  <a:lnTo>
                    <a:pt x="223" y="53"/>
                  </a:lnTo>
                  <a:lnTo>
                    <a:pt x="222" y="50"/>
                  </a:lnTo>
                  <a:lnTo>
                    <a:pt x="224" y="47"/>
                  </a:lnTo>
                  <a:lnTo>
                    <a:pt x="224" y="47"/>
                  </a:lnTo>
                  <a:lnTo>
                    <a:pt x="227" y="46"/>
                  </a:lnTo>
                  <a:lnTo>
                    <a:pt x="228" y="40"/>
                  </a:lnTo>
                  <a:lnTo>
                    <a:pt x="231" y="39"/>
                  </a:lnTo>
                  <a:lnTo>
                    <a:pt x="234" y="37"/>
                  </a:lnTo>
                  <a:lnTo>
                    <a:pt x="236" y="37"/>
                  </a:lnTo>
                  <a:lnTo>
                    <a:pt x="232" y="34"/>
                  </a:lnTo>
                  <a:lnTo>
                    <a:pt x="232" y="31"/>
                  </a:lnTo>
                  <a:lnTo>
                    <a:pt x="235" y="31"/>
                  </a:lnTo>
                  <a:lnTo>
                    <a:pt x="236" y="29"/>
                  </a:lnTo>
                  <a:lnTo>
                    <a:pt x="238" y="27"/>
                  </a:lnTo>
                  <a:lnTo>
                    <a:pt x="239" y="24"/>
                  </a:lnTo>
                  <a:lnTo>
                    <a:pt x="241" y="25"/>
                  </a:lnTo>
                  <a:lnTo>
                    <a:pt x="243" y="24"/>
                  </a:lnTo>
                  <a:lnTo>
                    <a:pt x="245" y="23"/>
                  </a:lnTo>
                  <a:lnTo>
                    <a:pt x="245" y="21"/>
                  </a:lnTo>
                  <a:lnTo>
                    <a:pt x="247" y="21"/>
                  </a:lnTo>
                  <a:lnTo>
                    <a:pt x="250" y="21"/>
                  </a:lnTo>
                  <a:lnTo>
                    <a:pt x="253" y="22"/>
                  </a:lnTo>
                  <a:lnTo>
                    <a:pt x="255" y="21"/>
                  </a:lnTo>
                  <a:lnTo>
                    <a:pt x="258" y="22"/>
                  </a:lnTo>
                  <a:lnTo>
                    <a:pt x="261" y="21"/>
                  </a:lnTo>
                  <a:lnTo>
                    <a:pt x="263" y="21"/>
                  </a:lnTo>
                  <a:lnTo>
                    <a:pt x="264" y="21"/>
                  </a:lnTo>
                  <a:lnTo>
                    <a:pt x="266" y="19"/>
                  </a:lnTo>
                  <a:lnTo>
                    <a:pt x="267" y="16"/>
                  </a:lnTo>
                  <a:lnTo>
                    <a:pt x="267" y="14"/>
                  </a:lnTo>
                  <a:lnTo>
                    <a:pt x="265" y="11"/>
                  </a:lnTo>
                  <a:lnTo>
                    <a:pt x="263" y="10"/>
                  </a:lnTo>
                  <a:lnTo>
                    <a:pt x="260" y="11"/>
                  </a:lnTo>
                  <a:lnTo>
                    <a:pt x="257" y="8"/>
                  </a:lnTo>
                  <a:lnTo>
                    <a:pt x="256" y="8"/>
                  </a:lnTo>
                  <a:lnTo>
                    <a:pt x="258" y="6"/>
                  </a:lnTo>
                  <a:lnTo>
                    <a:pt x="261" y="8"/>
                  </a:lnTo>
                  <a:lnTo>
                    <a:pt x="261" y="6"/>
                  </a:lnTo>
                  <a:lnTo>
                    <a:pt x="263" y="6"/>
                  </a:lnTo>
                  <a:lnTo>
                    <a:pt x="265" y="8"/>
                  </a:lnTo>
                  <a:lnTo>
                    <a:pt x="266" y="8"/>
                  </a:lnTo>
                  <a:lnTo>
                    <a:pt x="269" y="11"/>
                  </a:lnTo>
                  <a:lnTo>
                    <a:pt x="271" y="8"/>
                  </a:lnTo>
                  <a:lnTo>
                    <a:pt x="273" y="11"/>
                  </a:lnTo>
                  <a:lnTo>
                    <a:pt x="274" y="13"/>
                  </a:lnTo>
                  <a:lnTo>
                    <a:pt x="277" y="13"/>
                  </a:lnTo>
                  <a:lnTo>
                    <a:pt x="280" y="14"/>
                  </a:lnTo>
                  <a:lnTo>
                    <a:pt x="282" y="14"/>
                  </a:lnTo>
                  <a:lnTo>
                    <a:pt x="284" y="14"/>
                  </a:lnTo>
                  <a:lnTo>
                    <a:pt x="288" y="16"/>
                  </a:lnTo>
                  <a:lnTo>
                    <a:pt x="290" y="17"/>
                  </a:lnTo>
                  <a:lnTo>
                    <a:pt x="292" y="19"/>
                  </a:lnTo>
                  <a:lnTo>
                    <a:pt x="295" y="17"/>
                  </a:lnTo>
                  <a:lnTo>
                    <a:pt x="298" y="20"/>
                  </a:lnTo>
                  <a:lnTo>
                    <a:pt x="300" y="21"/>
                  </a:lnTo>
                  <a:lnTo>
                    <a:pt x="303" y="21"/>
                  </a:lnTo>
                  <a:lnTo>
                    <a:pt x="306" y="20"/>
                  </a:lnTo>
                  <a:lnTo>
                    <a:pt x="308" y="19"/>
                  </a:lnTo>
                  <a:lnTo>
                    <a:pt x="311" y="15"/>
                  </a:lnTo>
                  <a:lnTo>
                    <a:pt x="311" y="19"/>
                  </a:lnTo>
                  <a:lnTo>
                    <a:pt x="308" y="21"/>
                  </a:lnTo>
                  <a:lnTo>
                    <a:pt x="312" y="20"/>
                  </a:lnTo>
                  <a:lnTo>
                    <a:pt x="313" y="22"/>
                  </a:lnTo>
                  <a:lnTo>
                    <a:pt x="315" y="24"/>
                  </a:lnTo>
                  <a:lnTo>
                    <a:pt x="317" y="23"/>
                  </a:lnTo>
                  <a:lnTo>
                    <a:pt x="317" y="21"/>
                  </a:lnTo>
                  <a:lnTo>
                    <a:pt x="318" y="17"/>
                  </a:lnTo>
                  <a:lnTo>
                    <a:pt x="321" y="16"/>
                  </a:lnTo>
                  <a:lnTo>
                    <a:pt x="321" y="20"/>
                  </a:lnTo>
                  <a:lnTo>
                    <a:pt x="324" y="20"/>
                  </a:lnTo>
                  <a:lnTo>
                    <a:pt x="326" y="23"/>
                  </a:lnTo>
                  <a:lnTo>
                    <a:pt x="324" y="25"/>
                  </a:lnTo>
                  <a:lnTo>
                    <a:pt x="321" y="28"/>
                  </a:lnTo>
                  <a:lnTo>
                    <a:pt x="320" y="30"/>
                  </a:lnTo>
                  <a:lnTo>
                    <a:pt x="321" y="32"/>
                  </a:lnTo>
                  <a:lnTo>
                    <a:pt x="320" y="34"/>
                  </a:lnTo>
                  <a:lnTo>
                    <a:pt x="317" y="34"/>
                  </a:lnTo>
                  <a:lnTo>
                    <a:pt x="314" y="34"/>
                  </a:lnTo>
                  <a:lnTo>
                    <a:pt x="312" y="37"/>
                  </a:lnTo>
                  <a:lnTo>
                    <a:pt x="312" y="39"/>
                  </a:lnTo>
                  <a:lnTo>
                    <a:pt x="312" y="41"/>
                  </a:lnTo>
                  <a:lnTo>
                    <a:pt x="314" y="41"/>
                  </a:lnTo>
                  <a:lnTo>
                    <a:pt x="313" y="44"/>
                  </a:lnTo>
                  <a:lnTo>
                    <a:pt x="312" y="47"/>
                  </a:lnTo>
                  <a:lnTo>
                    <a:pt x="311" y="49"/>
                  </a:lnTo>
                  <a:lnTo>
                    <a:pt x="308" y="51"/>
                  </a:lnTo>
                  <a:lnTo>
                    <a:pt x="307" y="55"/>
                  </a:lnTo>
                  <a:lnTo>
                    <a:pt x="305" y="56"/>
                  </a:lnTo>
                  <a:lnTo>
                    <a:pt x="305" y="58"/>
                  </a:lnTo>
                  <a:lnTo>
                    <a:pt x="308" y="61"/>
                  </a:lnTo>
                  <a:lnTo>
                    <a:pt x="311" y="62"/>
                  </a:lnTo>
                  <a:lnTo>
                    <a:pt x="314" y="64"/>
                  </a:lnTo>
                  <a:lnTo>
                    <a:pt x="316" y="65"/>
                  </a:lnTo>
                  <a:lnTo>
                    <a:pt x="317" y="68"/>
                  </a:lnTo>
                  <a:lnTo>
                    <a:pt x="321" y="70"/>
                  </a:lnTo>
                  <a:lnTo>
                    <a:pt x="322" y="70"/>
                  </a:lnTo>
                  <a:lnTo>
                    <a:pt x="324" y="73"/>
                  </a:lnTo>
                  <a:lnTo>
                    <a:pt x="326" y="72"/>
                  </a:lnTo>
                  <a:lnTo>
                    <a:pt x="330" y="73"/>
                  </a:lnTo>
                  <a:lnTo>
                    <a:pt x="332" y="75"/>
                  </a:lnTo>
                  <a:lnTo>
                    <a:pt x="334" y="76"/>
                  </a:lnTo>
                  <a:lnTo>
                    <a:pt x="338" y="79"/>
                  </a:lnTo>
                  <a:lnTo>
                    <a:pt x="340" y="81"/>
                  </a:lnTo>
                  <a:lnTo>
                    <a:pt x="340" y="81"/>
                  </a:lnTo>
                  <a:lnTo>
                    <a:pt x="343" y="83"/>
                  </a:lnTo>
                  <a:lnTo>
                    <a:pt x="346" y="84"/>
                  </a:lnTo>
                  <a:lnTo>
                    <a:pt x="349" y="84"/>
                  </a:lnTo>
                  <a:lnTo>
                    <a:pt x="351" y="85"/>
                  </a:lnTo>
                  <a:lnTo>
                    <a:pt x="355" y="87"/>
                  </a:lnTo>
                  <a:lnTo>
                    <a:pt x="356" y="89"/>
                  </a:lnTo>
                  <a:lnTo>
                    <a:pt x="357" y="91"/>
                  </a:lnTo>
                  <a:lnTo>
                    <a:pt x="358" y="92"/>
                  </a:lnTo>
                  <a:lnTo>
                    <a:pt x="360" y="93"/>
                  </a:lnTo>
                  <a:lnTo>
                    <a:pt x="364" y="96"/>
                  </a:lnTo>
                  <a:lnTo>
                    <a:pt x="365" y="96"/>
                  </a:lnTo>
                  <a:lnTo>
                    <a:pt x="367" y="97"/>
                  </a:lnTo>
                  <a:lnTo>
                    <a:pt x="368" y="98"/>
                  </a:lnTo>
                  <a:lnTo>
                    <a:pt x="371" y="98"/>
                  </a:lnTo>
                  <a:lnTo>
                    <a:pt x="373" y="97"/>
                  </a:lnTo>
                  <a:lnTo>
                    <a:pt x="376" y="96"/>
                  </a:lnTo>
                  <a:lnTo>
                    <a:pt x="377" y="94"/>
                  </a:lnTo>
                  <a:lnTo>
                    <a:pt x="380" y="92"/>
                  </a:lnTo>
                  <a:lnTo>
                    <a:pt x="381" y="90"/>
                  </a:lnTo>
                  <a:lnTo>
                    <a:pt x="382" y="87"/>
                  </a:lnTo>
                  <a:lnTo>
                    <a:pt x="383" y="84"/>
                  </a:lnTo>
                  <a:lnTo>
                    <a:pt x="384" y="83"/>
                  </a:lnTo>
                  <a:lnTo>
                    <a:pt x="385" y="81"/>
                  </a:lnTo>
                  <a:lnTo>
                    <a:pt x="386" y="77"/>
                  </a:lnTo>
                  <a:lnTo>
                    <a:pt x="388" y="75"/>
                  </a:lnTo>
                  <a:lnTo>
                    <a:pt x="388" y="74"/>
                  </a:lnTo>
                  <a:lnTo>
                    <a:pt x="386" y="72"/>
                  </a:lnTo>
                  <a:lnTo>
                    <a:pt x="388" y="70"/>
                  </a:lnTo>
                  <a:lnTo>
                    <a:pt x="388" y="66"/>
                  </a:lnTo>
                  <a:lnTo>
                    <a:pt x="389" y="64"/>
                  </a:lnTo>
                  <a:lnTo>
                    <a:pt x="390" y="63"/>
                  </a:lnTo>
                  <a:lnTo>
                    <a:pt x="391" y="59"/>
                  </a:lnTo>
                  <a:lnTo>
                    <a:pt x="390" y="57"/>
                  </a:lnTo>
                  <a:lnTo>
                    <a:pt x="389" y="55"/>
                  </a:lnTo>
                  <a:lnTo>
                    <a:pt x="389" y="51"/>
                  </a:lnTo>
                  <a:lnTo>
                    <a:pt x="390" y="49"/>
                  </a:lnTo>
                  <a:lnTo>
                    <a:pt x="390" y="47"/>
                  </a:lnTo>
                  <a:lnTo>
                    <a:pt x="388" y="44"/>
                  </a:lnTo>
                  <a:lnTo>
                    <a:pt x="389" y="41"/>
                  </a:lnTo>
                  <a:lnTo>
                    <a:pt x="390" y="38"/>
                  </a:lnTo>
                  <a:lnTo>
                    <a:pt x="391" y="37"/>
                  </a:lnTo>
                  <a:lnTo>
                    <a:pt x="391" y="37"/>
                  </a:lnTo>
                  <a:lnTo>
                    <a:pt x="390" y="33"/>
                  </a:lnTo>
                  <a:lnTo>
                    <a:pt x="390" y="31"/>
                  </a:lnTo>
                  <a:lnTo>
                    <a:pt x="392" y="29"/>
                  </a:lnTo>
                  <a:lnTo>
                    <a:pt x="395" y="28"/>
                  </a:lnTo>
                  <a:lnTo>
                    <a:pt x="392" y="25"/>
                  </a:lnTo>
                  <a:lnTo>
                    <a:pt x="390" y="25"/>
                  </a:lnTo>
                  <a:lnTo>
                    <a:pt x="391" y="22"/>
                  </a:lnTo>
                  <a:lnTo>
                    <a:pt x="392" y="20"/>
                  </a:lnTo>
                  <a:lnTo>
                    <a:pt x="395" y="19"/>
                  </a:lnTo>
                  <a:lnTo>
                    <a:pt x="394" y="15"/>
                  </a:lnTo>
                  <a:lnTo>
                    <a:pt x="395" y="13"/>
                  </a:lnTo>
                  <a:lnTo>
                    <a:pt x="397" y="11"/>
                  </a:lnTo>
                  <a:lnTo>
                    <a:pt x="397" y="7"/>
                  </a:lnTo>
                  <a:lnTo>
                    <a:pt x="398" y="5"/>
                  </a:lnTo>
                  <a:lnTo>
                    <a:pt x="400" y="3"/>
                  </a:lnTo>
                  <a:lnTo>
                    <a:pt x="401" y="0"/>
                  </a:lnTo>
                  <a:lnTo>
                    <a:pt x="403" y="0"/>
                  </a:lnTo>
                  <a:lnTo>
                    <a:pt x="402" y="3"/>
                  </a:lnTo>
                  <a:lnTo>
                    <a:pt x="405" y="4"/>
                  </a:lnTo>
                  <a:lnTo>
                    <a:pt x="407" y="6"/>
                  </a:lnTo>
                  <a:lnTo>
                    <a:pt x="407" y="8"/>
                  </a:lnTo>
                  <a:lnTo>
                    <a:pt x="407" y="12"/>
                  </a:lnTo>
                  <a:lnTo>
                    <a:pt x="407" y="14"/>
                  </a:lnTo>
                  <a:lnTo>
                    <a:pt x="410" y="16"/>
                  </a:lnTo>
                  <a:lnTo>
                    <a:pt x="412" y="17"/>
                  </a:lnTo>
                  <a:lnTo>
                    <a:pt x="410" y="20"/>
                  </a:lnTo>
                  <a:lnTo>
                    <a:pt x="411" y="23"/>
                  </a:lnTo>
                  <a:lnTo>
                    <a:pt x="414" y="25"/>
                  </a:lnTo>
                  <a:lnTo>
                    <a:pt x="414" y="28"/>
                  </a:lnTo>
                  <a:lnTo>
                    <a:pt x="416" y="31"/>
                  </a:lnTo>
                  <a:lnTo>
                    <a:pt x="416" y="33"/>
                  </a:lnTo>
                  <a:lnTo>
                    <a:pt x="416" y="37"/>
                  </a:lnTo>
                  <a:lnTo>
                    <a:pt x="417" y="39"/>
                  </a:lnTo>
                  <a:lnTo>
                    <a:pt x="416" y="41"/>
                  </a:lnTo>
                  <a:lnTo>
                    <a:pt x="417" y="45"/>
                  </a:lnTo>
                  <a:lnTo>
                    <a:pt x="417" y="45"/>
                  </a:lnTo>
                  <a:lnTo>
                    <a:pt x="418" y="47"/>
                  </a:lnTo>
                  <a:lnTo>
                    <a:pt x="419" y="50"/>
                  </a:lnTo>
                  <a:lnTo>
                    <a:pt x="422" y="53"/>
                  </a:lnTo>
                  <a:lnTo>
                    <a:pt x="425" y="51"/>
                  </a:lnTo>
                  <a:lnTo>
                    <a:pt x="427" y="50"/>
                  </a:lnTo>
                  <a:lnTo>
                    <a:pt x="429" y="48"/>
                  </a:lnTo>
                  <a:lnTo>
                    <a:pt x="431" y="50"/>
                  </a:lnTo>
                  <a:lnTo>
                    <a:pt x="432" y="54"/>
                  </a:lnTo>
                  <a:lnTo>
                    <a:pt x="434" y="54"/>
                  </a:lnTo>
                  <a:lnTo>
                    <a:pt x="436" y="57"/>
                  </a:lnTo>
                  <a:lnTo>
                    <a:pt x="440" y="58"/>
                  </a:lnTo>
                  <a:lnTo>
                    <a:pt x="441" y="58"/>
                  </a:lnTo>
                  <a:lnTo>
                    <a:pt x="440" y="62"/>
                  </a:lnTo>
                  <a:lnTo>
                    <a:pt x="440" y="64"/>
                  </a:lnTo>
                  <a:lnTo>
                    <a:pt x="440" y="67"/>
                  </a:lnTo>
                  <a:lnTo>
                    <a:pt x="441" y="70"/>
                  </a:lnTo>
                  <a:lnTo>
                    <a:pt x="441" y="72"/>
                  </a:lnTo>
                  <a:lnTo>
                    <a:pt x="443" y="75"/>
                  </a:lnTo>
                  <a:lnTo>
                    <a:pt x="443" y="77"/>
                  </a:lnTo>
                  <a:lnTo>
                    <a:pt x="442" y="80"/>
                  </a:lnTo>
                  <a:lnTo>
                    <a:pt x="444" y="83"/>
                  </a:lnTo>
                  <a:lnTo>
                    <a:pt x="446" y="85"/>
                  </a:lnTo>
                  <a:lnTo>
                    <a:pt x="446" y="87"/>
                  </a:lnTo>
                  <a:lnTo>
                    <a:pt x="450" y="87"/>
                  </a:lnTo>
                  <a:lnTo>
                    <a:pt x="449" y="89"/>
                  </a:lnTo>
                  <a:lnTo>
                    <a:pt x="450" y="91"/>
                  </a:lnTo>
                  <a:lnTo>
                    <a:pt x="451" y="94"/>
                  </a:lnTo>
                  <a:lnTo>
                    <a:pt x="452" y="97"/>
                  </a:lnTo>
                  <a:lnTo>
                    <a:pt x="451" y="99"/>
                  </a:lnTo>
                  <a:lnTo>
                    <a:pt x="451" y="102"/>
                  </a:lnTo>
                  <a:lnTo>
                    <a:pt x="450" y="105"/>
                  </a:lnTo>
                  <a:lnTo>
                    <a:pt x="452" y="108"/>
                  </a:lnTo>
                  <a:lnTo>
                    <a:pt x="454" y="109"/>
                  </a:lnTo>
                  <a:lnTo>
                    <a:pt x="454" y="113"/>
                  </a:lnTo>
                  <a:lnTo>
                    <a:pt x="454" y="115"/>
                  </a:lnTo>
                  <a:lnTo>
                    <a:pt x="457" y="117"/>
                  </a:lnTo>
                  <a:lnTo>
                    <a:pt x="462" y="121"/>
                  </a:lnTo>
                  <a:lnTo>
                    <a:pt x="465" y="121"/>
                  </a:lnTo>
                  <a:lnTo>
                    <a:pt x="468" y="122"/>
                  </a:lnTo>
                  <a:lnTo>
                    <a:pt x="470" y="122"/>
                  </a:lnTo>
                  <a:lnTo>
                    <a:pt x="471" y="125"/>
                  </a:lnTo>
                  <a:lnTo>
                    <a:pt x="471" y="125"/>
                  </a:lnTo>
                  <a:lnTo>
                    <a:pt x="473" y="127"/>
                  </a:lnTo>
                  <a:lnTo>
                    <a:pt x="475" y="126"/>
                  </a:lnTo>
                  <a:lnTo>
                    <a:pt x="476" y="128"/>
                  </a:lnTo>
                  <a:lnTo>
                    <a:pt x="479" y="130"/>
                  </a:lnTo>
                  <a:lnTo>
                    <a:pt x="482" y="130"/>
                  </a:lnTo>
                  <a:lnTo>
                    <a:pt x="483" y="133"/>
                  </a:lnTo>
                  <a:lnTo>
                    <a:pt x="486" y="133"/>
                  </a:lnTo>
                  <a:lnTo>
                    <a:pt x="488" y="134"/>
                  </a:lnTo>
                  <a:lnTo>
                    <a:pt x="490" y="136"/>
                  </a:lnTo>
                  <a:lnTo>
                    <a:pt x="487" y="139"/>
                  </a:lnTo>
                  <a:lnTo>
                    <a:pt x="488" y="141"/>
                  </a:lnTo>
                  <a:lnTo>
                    <a:pt x="491" y="143"/>
                  </a:lnTo>
                  <a:lnTo>
                    <a:pt x="493" y="144"/>
                  </a:lnTo>
                  <a:lnTo>
                    <a:pt x="494" y="148"/>
                  </a:lnTo>
                  <a:lnTo>
                    <a:pt x="495" y="148"/>
                  </a:lnTo>
                  <a:lnTo>
                    <a:pt x="495" y="151"/>
                  </a:lnTo>
                  <a:lnTo>
                    <a:pt x="497" y="152"/>
                  </a:lnTo>
                  <a:lnTo>
                    <a:pt x="497" y="154"/>
                  </a:lnTo>
                  <a:lnTo>
                    <a:pt x="497" y="158"/>
                  </a:lnTo>
                  <a:lnTo>
                    <a:pt x="499" y="160"/>
                  </a:lnTo>
                  <a:lnTo>
                    <a:pt x="500" y="162"/>
                  </a:lnTo>
                  <a:lnTo>
                    <a:pt x="501" y="166"/>
                  </a:lnTo>
                  <a:lnTo>
                    <a:pt x="503" y="165"/>
                  </a:lnTo>
                  <a:lnTo>
                    <a:pt x="504" y="167"/>
                  </a:lnTo>
                  <a:lnTo>
                    <a:pt x="504" y="166"/>
                  </a:lnTo>
                  <a:lnTo>
                    <a:pt x="503" y="164"/>
                  </a:lnTo>
                  <a:lnTo>
                    <a:pt x="504" y="161"/>
                  </a:lnTo>
                  <a:lnTo>
                    <a:pt x="508" y="164"/>
                  </a:lnTo>
                  <a:lnTo>
                    <a:pt x="512" y="167"/>
                  </a:lnTo>
                  <a:lnTo>
                    <a:pt x="512" y="165"/>
                  </a:lnTo>
                  <a:lnTo>
                    <a:pt x="514" y="165"/>
                  </a:lnTo>
                  <a:lnTo>
                    <a:pt x="514" y="167"/>
                  </a:lnTo>
                  <a:lnTo>
                    <a:pt x="516" y="169"/>
                  </a:lnTo>
                  <a:lnTo>
                    <a:pt x="514" y="173"/>
                  </a:lnTo>
                  <a:lnTo>
                    <a:pt x="516" y="175"/>
                  </a:lnTo>
                  <a:lnTo>
                    <a:pt x="516" y="177"/>
                  </a:lnTo>
                  <a:lnTo>
                    <a:pt x="517" y="181"/>
                  </a:lnTo>
                  <a:lnTo>
                    <a:pt x="516" y="181"/>
                  </a:lnTo>
                  <a:lnTo>
                    <a:pt x="519" y="182"/>
                  </a:lnTo>
                  <a:lnTo>
                    <a:pt x="520" y="184"/>
                  </a:lnTo>
                  <a:lnTo>
                    <a:pt x="523" y="186"/>
                  </a:lnTo>
                  <a:lnTo>
                    <a:pt x="525" y="187"/>
                  </a:lnTo>
                  <a:lnTo>
                    <a:pt x="528" y="187"/>
                  </a:lnTo>
                  <a:lnTo>
                    <a:pt x="530" y="190"/>
                  </a:lnTo>
                  <a:lnTo>
                    <a:pt x="531" y="192"/>
                  </a:lnTo>
                  <a:lnTo>
                    <a:pt x="533" y="194"/>
                  </a:lnTo>
                  <a:lnTo>
                    <a:pt x="535" y="198"/>
                  </a:lnTo>
                  <a:lnTo>
                    <a:pt x="538" y="199"/>
                  </a:lnTo>
                  <a:lnTo>
                    <a:pt x="539" y="201"/>
                  </a:lnTo>
                  <a:lnTo>
                    <a:pt x="539" y="203"/>
                  </a:lnTo>
                  <a:lnTo>
                    <a:pt x="542" y="205"/>
                  </a:lnTo>
                  <a:lnTo>
                    <a:pt x="545" y="208"/>
                  </a:lnTo>
                  <a:lnTo>
                    <a:pt x="544" y="211"/>
                  </a:lnTo>
                  <a:lnTo>
                    <a:pt x="545" y="213"/>
                  </a:lnTo>
                  <a:lnTo>
                    <a:pt x="546" y="215"/>
                  </a:lnTo>
                  <a:lnTo>
                    <a:pt x="548" y="216"/>
                  </a:lnTo>
                  <a:lnTo>
                    <a:pt x="547" y="218"/>
                  </a:lnTo>
                  <a:lnTo>
                    <a:pt x="547" y="221"/>
                  </a:lnTo>
                  <a:lnTo>
                    <a:pt x="547" y="224"/>
                  </a:lnTo>
                  <a:lnTo>
                    <a:pt x="547" y="227"/>
                  </a:lnTo>
                  <a:lnTo>
                    <a:pt x="547" y="229"/>
                  </a:lnTo>
                  <a:lnTo>
                    <a:pt x="548" y="232"/>
                  </a:lnTo>
                  <a:lnTo>
                    <a:pt x="547" y="235"/>
                  </a:lnTo>
                  <a:lnTo>
                    <a:pt x="548" y="237"/>
                  </a:lnTo>
                  <a:lnTo>
                    <a:pt x="550" y="241"/>
                  </a:lnTo>
                  <a:lnTo>
                    <a:pt x="552" y="243"/>
                  </a:lnTo>
                  <a:lnTo>
                    <a:pt x="552" y="245"/>
                  </a:lnTo>
                  <a:lnTo>
                    <a:pt x="553" y="248"/>
                  </a:lnTo>
                  <a:lnTo>
                    <a:pt x="554" y="248"/>
                  </a:lnTo>
                  <a:lnTo>
                    <a:pt x="554" y="252"/>
                  </a:lnTo>
                  <a:lnTo>
                    <a:pt x="554" y="254"/>
                  </a:lnTo>
                  <a:lnTo>
                    <a:pt x="554" y="256"/>
                  </a:lnTo>
                  <a:lnTo>
                    <a:pt x="554" y="260"/>
                  </a:lnTo>
                  <a:lnTo>
                    <a:pt x="552" y="262"/>
                  </a:lnTo>
                  <a:lnTo>
                    <a:pt x="551" y="265"/>
                  </a:lnTo>
                  <a:lnTo>
                    <a:pt x="551" y="268"/>
                  </a:lnTo>
                  <a:lnTo>
                    <a:pt x="551" y="270"/>
                  </a:lnTo>
                  <a:lnTo>
                    <a:pt x="550" y="273"/>
                  </a:lnTo>
                  <a:lnTo>
                    <a:pt x="548" y="276"/>
                  </a:lnTo>
                  <a:lnTo>
                    <a:pt x="548" y="2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39" name="Freeform 239">
              <a:extLst>
                <a:ext uri="{FF2B5EF4-FFF2-40B4-BE49-F238E27FC236}">
                  <a16:creationId xmlns:a16="http://schemas.microsoft.com/office/drawing/2014/main" id="{8E3946E9-0D04-4E55-AB01-7EAD2299588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75000" y="2281238"/>
              <a:ext cx="6811962" cy="2960688"/>
            </a:xfrm>
            <a:custGeom>
              <a:avLst/>
              <a:gdLst>
                <a:gd name="T0" fmla="*/ 4219 w 4291"/>
                <a:gd name="T1" fmla="*/ 276 h 1865"/>
                <a:gd name="T2" fmla="*/ 3874 w 4291"/>
                <a:gd name="T3" fmla="*/ 206 h 1865"/>
                <a:gd name="T4" fmla="*/ 3458 w 4291"/>
                <a:gd name="T5" fmla="*/ 175 h 1865"/>
                <a:gd name="T6" fmla="*/ 3144 w 4291"/>
                <a:gd name="T7" fmla="*/ 122 h 1865"/>
                <a:gd name="T8" fmla="*/ 3014 w 4291"/>
                <a:gd name="T9" fmla="*/ 50 h 1865"/>
                <a:gd name="T10" fmla="*/ 2764 w 4291"/>
                <a:gd name="T11" fmla="*/ 182 h 1865"/>
                <a:gd name="T12" fmla="*/ 2679 w 4291"/>
                <a:gd name="T13" fmla="*/ 213 h 1865"/>
                <a:gd name="T14" fmla="*/ 2405 w 4291"/>
                <a:gd name="T15" fmla="*/ 238 h 1865"/>
                <a:gd name="T16" fmla="*/ 2146 w 4291"/>
                <a:gd name="T17" fmla="*/ 293 h 1865"/>
                <a:gd name="T18" fmla="*/ 2066 w 4291"/>
                <a:gd name="T19" fmla="*/ 180 h 1865"/>
                <a:gd name="T20" fmla="*/ 1911 w 4291"/>
                <a:gd name="T21" fmla="*/ 248 h 1865"/>
                <a:gd name="T22" fmla="*/ 1822 w 4291"/>
                <a:gd name="T23" fmla="*/ 357 h 1865"/>
                <a:gd name="T24" fmla="*/ 1762 w 4291"/>
                <a:gd name="T25" fmla="*/ 416 h 1865"/>
                <a:gd name="T26" fmla="*/ 1905 w 4291"/>
                <a:gd name="T27" fmla="*/ 501 h 1865"/>
                <a:gd name="T28" fmla="*/ 1979 w 4291"/>
                <a:gd name="T29" fmla="*/ 392 h 1865"/>
                <a:gd name="T30" fmla="*/ 1877 w 4291"/>
                <a:gd name="T31" fmla="*/ 549 h 1865"/>
                <a:gd name="T32" fmla="*/ 1740 w 4291"/>
                <a:gd name="T33" fmla="*/ 592 h 1865"/>
                <a:gd name="T34" fmla="*/ 1565 w 4291"/>
                <a:gd name="T35" fmla="*/ 782 h 1865"/>
                <a:gd name="T36" fmla="*/ 1902 w 4291"/>
                <a:gd name="T37" fmla="*/ 811 h 1865"/>
                <a:gd name="T38" fmla="*/ 1982 w 4291"/>
                <a:gd name="T39" fmla="*/ 818 h 1865"/>
                <a:gd name="T40" fmla="*/ 2115 w 4291"/>
                <a:gd name="T41" fmla="*/ 677 h 1865"/>
                <a:gd name="T42" fmla="*/ 2071 w 4291"/>
                <a:gd name="T43" fmla="*/ 784 h 1865"/>
                <a:gd name="T44" fmla="*/ 2097 w 4291"/>
                <a:gd name="T45" fmla="*/ 925 h 1865"/>
                <a:gd name="T46" fmla="*/ 1563 w 4291"/>
                <a:gd name="T47" fmla="*/ 902 h 1865"/>
                <a:gd name="T48" fmla="*/ 1518 w 4291"/>
                <a:gd name="T49" fmla="*/ 1268 h 1865"/>
                <a:gd name="T50" fmla="*/ 1809 w 4291"/>
                <a:gd name="T51" fmla="*/ 1378 h 1865"/>
                <a:gd name="T52" fmla="*/ 2027 w 4291"/>
                <a:gd name="T53" fmla="*/ 1852 h 1865"/>
                <a:gd name="T54" fmla="*/ 2254 w 4291"/>
                <a:gd name="T55" fmla="*/ 1392 h 1865"/>
                <a:gd name="T56" fmla="*/ 2191 w 4291"/>
                <a:gd name="T57" fmla="*/ 1071 h 1865"/>
                <a:gd name="T58" fmla="*/ 2274 w 4291"/>
                <a:gd name="T59" fmla="*/ 1170 h 1865"/>
                <a:gd name="T60" fmla="*/ 2412 w 4291"/>
                <a:gd name="T61" fmla="*/ 1032 h 1865"/>
                <a:gd name="T62" fmla="*/ 2439 w 4291"/>
                <a:gd name="T63" fmla="*/ 996 h 1865"/>
                <a:gd name="T64" fmla="*/ 2683 w 4291"/>
                <a:gd name="T65" fmla="*/ 1097 h 1865"/>
                <a:gd name="T66" fmla="*/ 2798 w 4291"/>
                <a:gd name="T67" fmla="*/ 1143 h 1865"/>
                <a:gd name="T68" fmla="*/ 2926 w 4291"/>
                <a:gd name="T69" fmla="*/ 1048 h 1865"/>
                <a:gd name="T70" fmla="*/ 3035 w 4291"/>
                <a:gd name="T71" fmla="*/ 1197 h 1865"/>
                <a:gd name="T72" fmla="*/ 3044 w 4291"/>
                <a:gd name="T73" fmla="*/ 1223 h 1865"/>
                <a:gd name="T74" fmla="*/ 3166 w 4291"/>
                <a:gd name="T75" fmla="*/ 1219 h 1865"/>
                <a:gd name="T76" fmla="*/ 3197 w 4291"/>
                <a:gd name="T77" fmla="*/ 1074 h 1865"/>
                <a:gd name="T78" fmla="*/ 3350 w 4291"/>
                <a:gd name="T79" fmla="*/ 956 h 1865"/>
                <a:gd name="T80" fmla="*/ 3328 w 4291"/>
                <a:gd name="T81" fmla="*/ 789 h 1865"/>
                <a:gd name="T82" fmla="*/ 3457 w 4291"/>
                <a:gd name="T83" fmla="*/ 845 h 1865"/>
                <a:gd name="T84" fmla="*/ 3572 w 4291"/>
                <a:gd name="T85" fmla="*/ 549 h 1865"/>
                <a:gd name="T86" fmla="*/ 3865 w 4291"/>
                <a:gd name="T87" fmla="*/ 390 h 1865"/>
                <a:gd name="T88" fmla="*/ 3856 w 4291"/>
                <a:gd name="T89" fmla="*/ 565 h 1865"/>
                <a:gd name="T90" fmla="*/ 4091 w 4291"/>
                <a:gd name="T91" fmla="*/ 384 h 1865"/>
                <a:gd name="T92" fmla="*/ 4255 w 4291"/>
                <a:gd name="T93" fmla="*/ 324 h 1865"/>
                <a:gd name="T94" fmla="*/ 2431 w 4291"/>
                <a:gd name="T95" fmla="*/ 777 h 1865"/>
                <a:gd name="T96" fmla="*/ 2410 w 4291"/>
                <a:gd name="T97" fmla="*/ 792 h 1865"/>
                <a:gd name="T98" fmla="*/ 2419 w 4291"/>
                <a:gd name="T99" fmla="*/ 804 h 1865"/>
                <a:gd name="T100" fmla="*/ 2381 w 4291"/>
                <a:gd name="T101" fmla="*/ 842 h 1865"/>
                <a:gd name="T102" fmla="*/ 2361 w 4291"/>
                <a:gd name="T103" fmla="*/ 796 h 1865"/>
                <a:gd name="T104" fmla="*/ 2353 w 4291"/>
                <a:gd name="T105" fmla="*/ 763 h 1865"/>
                <a:gd name="T106" fmla="*/ 2326 w 4291"/>
                <a:gd name="T107" fmla="*/ 719 h 1865"/>
                <a:gd name="T108" fmla="*/ 2348 w 4291"/>
                <a:gd name="T109" fmla="*/ 693 h 1865"/>
                <a:gd name="T110" fmla="*/ 2372 w 4291"/>
                <a:gd name="T111" fmla="*/ 678 h 1865"/>
                <a:gd name="T112" fmla="*/ 2414 w 4291"/>
                <a:gd name="T113" fmla="*/ 691 h 1865"/>
                <a:gd name="T114" fmla="*/ 2397 w 4291"/>
                <a:gd name="T115" fmla="*/ 702 h 1865"/>
                <a:gd name="T116" fmla="*/ 2381 w 4291"/>
                <a:gd name="T117" fmla="*/ 722 h 1865"/>
                <a:gd name="T118" fmla="*/ 2405 w 4291"/>
                <a:gd name="T119" fmla="*/ 765 h 1865"/>
                <a:gd name="T120" fmla="*/ 2516 w 4291"/>
                <a:gd name="T121" fmla="*/ 714 h 1865"/>
                <a:gd name="T122" fmla="*/ 2504 w 4291"/>
                <a:gd name="T123" fmla="*/ 690 h 1865"/>
                <a:gd name="T124" fmla="*/ 2517 w 4291"/>
                <a:gd name="T125" fmla="*/ 682 h 18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291" h="1865">
                  <a:moveTo>
                    <a:pt x="98" y="9"/>
                  </a:moveTo>
                  <a:lnTo>
                    <a:pt x="95" y="8"/>
                  </a:lnTo>
                  <a:lnTo>
                    <a:pt x="92" y="6"/>
                  </a:lnTo>
                  <a:lnTo>
                    <a:pt x="89" y="5"/>
                  </a:lnTo>
                  <a:lnTo>
                    <a:pt x="86" y="6"/>
                  </a:lnTo>
                  <a:lnTo>
                    <a:pt x="83" y="6"/>
                  </a:lnTo>
                  <a:lnTo>
                    <a:pt x="81" y="8"/>
                  </a:lnTo>
                  <a:lnTo>
                    <a:pt x="83" y="9"/>
                  </a:lnTo>
                  <a:lnTo>
                    <a:pt x="86" y="9"/>
                  </a:lnTo>
                  <a:lnTo>
                    <a:pt x="84" y="12"/>
                  </a:lnTo>
                  <a:lnTo>
                    <a:pt x="81" y="10"/>
                  </a:lnTo>
                  <a:lnTo>
                    <a:pt x="78" y="13"/>
                  </a:lnTo>
                  <a:lnTo>
                    <a:pt x="75" y="12"/>
                  </a:lnTo>
                  <a:lnTo>
                    <a:pt x="73" y="12"/>
                  </a:lnTo>
                  <a:lnTo>
                    <a:pt x="69" y="10"/>
                  </a:lnTo>
                  <a:lnTo>
                    <a:pt x="67" y="10"/>
                  </a:lnTo>
                  <a:lnTo>
                    <a:pt x="64" y="10"/>
                  </a:lnTo>
                  <a:lnTo>
                    <a:pt x="58" y="12"/>
                  </a:lnTo>
                  <a:lnTo>
                    <a:pt x="56" y="12"/>
                  </a:lnTo>
                  <a:lnTo>
                    <a:pt x="52" y="12"/>
                  </a:lnTo>
                  <a:lnTo>
                    <a:pt x="50" y="15"/>
                  </a:lnTo>
                  <a:lnTo>
                    <a:pt x="48" y="17"/>
                  </a:lnTo>
                  <a:lnTo>
                    <a:pt x="44" y="18"/>
                  </a:lnTo>
                  <a:lnTo>
                    <a:pt x="42" y="21"/>
                  </a:lnTo>
                  <a:lnTo>
                    <a:pt x="41" y="21"/>
                  </a:lnTo>
                  <a:lnTo>
                    <a:pt x="39" y="24"/>
                  </a:lnTo>
                  <a:lnTo>
                    <a:pt x="36" y="25"/>
                  </a:lnTo>
                  <a:lnTo>
                    <a:pt x="35" y="27"/>
                  </a:lnTo>
                  <a:lnTo>
                    <a:pt x="33" y="28"/>
                  </a:lnTo>
                  <a:lnTo>
                    <a:pt x="30" y="30"/>
                  </a:lnTo>
                  <a:lnTo>
                    <a:pt x="26" y="31"/>
                  </a:lnTo>
                  <a:lnTo>
                    <a:pt x="24" y="32"/>
                  </a:lnTo>
                  <a:lnTo>
                    <a:pt x="22" y="35"/>
                  </a:lnTo>
                  <a:lnTo>
                    <a:pt x="19" y="38"/>
                  </a:lnTo>
                  <a:lnTo>
                    <a:pt x="16" y="38"/>
                  </a:lnTo>
                  <a:lnTo>
                    <a:pt x="14" y="38"/>
                  </a:lnTo>
                  <a:lnTo>
                    <a:pt x="10" y="38"/>
                  </a:lnTo>
                  <a:lnTo>
                    <a:pt x="8" y="39"/>
                  </a:lnTo>
                  <a:lnTo>
                    <a:pt x="5" y="41"/>
                  </a:lnTo>
                  <a:lnTo>
                    <a:pt x="2" y="43"/>
                  </a:lnTo>
                  <a:lnTo>
                    <a:pt x="0" y="45"/>
                  </a:lnTo>
                  <a:lnTo>
                    <a:pt x="6" y="44"/>
                  </a:lnTo>
                  <a:lnTo>
                    <a:pt x="7" y="48"/>
                  </a:lnTo>
                  <a:lnTo>
                    <a:pt x="5" y="50"/>
                  </a:lnTo>
                  <a:lnTo>
                    <a:pt x="7" y="52"/>
                  </a:lnTo>
                  <a:lnTo>
                    <a:pt x="10" y="51"/>
                  </a:lnTo>
                  <a:lnTo>
                    <a:pt x="13" y="49"/>
                  </a:lnTo>
                  <a:lnTo>
                    <a:pt x="16" y="48"/>
                  </a:lnTo>
                  <a:lnTo>
                    <a:pt x="18" y="49"/>
                  </a:lnTo>
                  <a:lnTo>
                    <a:pt x="22" y="50"/>
                  </a:lnTo>
                  <a:lnTo>
                    <a:pt x="24" y="51"/>
                  </a:lnTo>
                  <a:lnTo>
                    <a:pt x="26" y="50"/>
                  </a:lnTo>
                  <a:lnTo>
                    <a:pt x="27" y="47"/>
                  </a:lnTo>
                  <a:lnTo>
                    <a:pt x="29" y="44"/>
                  </a:lnTo>
                  <a:lnTo>
                    <a:pt x="32" y="45"/>
                  </a:lnTo>
                  <a:lnTo>
                    <a:pt x="31" y="48"/>
                  </a:lnTo>
                  <a:lnTo>
                    <a:pt x="34" y="50"/>
                  </a:lnTo>
                  <a:lnTo>
                    <a:pt x="35" y="52"/>
                  </a:lnTo>
                  <a:lnTo>
                    <a:pt x="35" y="55"/>
                  </a:lnTo>
                  <a:lnTo>
                    <a:pt x="39" y="53"/>
                  </a:lnTo>
                  <a:lnTo>
                    <a:pt x="41" y="55"/>
                  </a:lnTo>
                  <a:lnTo>
                    <a:pt x="41" y="53"/>
                  </a:lnTo>
                  <a:lnTo>
                    <a:pt x="44" y="53"/>
                  </a:lnTo>
                  <a:lnTo>
                    <a:pt x="46" y="50"/>
                  </a:lnTo>
                  <a:lnTo>
                    <a:pt x="47" y="48"/>
                  </a:lnTo>
                  <a:lnTo>
                    <a:pt x="44" y="47"/>
                  </a:lnTo>
                  <a:lnTo>
                    <a:pt x="47" y="47"/>
                  </a:lnTo>
                  <a:lnTo>
                    <a:pt x="47" y="43"/>
                  </a:lnTo>
                  <a:lnTo>
                    <a:pt x="47" y="41"/>
                  </a:lnTo>
                  <a:lnTo>
                    <a:pt x="49" y="42"/>
                  </a:lnTo>
                  <a:lnTo>
                    <a:pt x="51" y="45"/>
                  </a:lnTo>
                  <a:lnTo>
                    <a:pt x="53" y="48"/>
                  </a:lnTo>
                  <a:lnTo>
                    <a:pt x="57" y="44"/>
                  </a:lnTo>
                  <a:lnTo>
                    <a:pt x="57" y="42"/>
                  </a:lnTo>
                  <a:lnTo>
                    <a:pt x="59" y="42"/>
                  </a:lnTo>
                  <a:lnTo>
                    <a:pt x="60" y="39"/>
                  </a:lnTo>
                  <a:lnTo>
                    <a:pt x="58" y="36"/>
                  </a:lnTo>
                  <a:lnTo>
                    <a:pt x="57" y="34"/>
                  </a:lnTo>
                  <a:lnTo>
                    <a:pt x="60" y="35"/>
                  </a:lnTo>
                  <a:lnTo>
                    <a:pt x="63" y="34"/>
                  </a:lnTo>
                  <a:lnTo>
                    <a:pt x="64" y="31"/>
                  </a:lnTo>
                  <a:lnTo>
                    <a:pt x="65" y="28"/>
                  </a:lnTo>
                  <a:lnTo>
                    <a:pt x="67" y="28"/>
                  </a:lnTo>
                  <a:lnTo>
                    <a:pt x="70" y="26"/>
                  </a:lnTo>
                  <a:lnTo>
                    <a:pt x="70" y="30"/>
                  </a:lnTo>
                  <a:lnTo>
                    <a:pt x="69" y="32"/>
                  </a:lnTo>
                  <a:lnTo>
                    <a:pt x="69" y="35"/>
                  </a:lnTo>
                  <a:lnTo>
                    <a:pt x="68" y="38"/>
                  </a:lnTo>
                  <a:lnTo>
                    <a:pt x="70" y="40"/>
                  </a:lnTo>
                  <a:lnTo>
                    <a:pt x="74" y="42"/>
                  </a:lnTo>
                  <a:lnTo>
                    <a:pt x="77" y="42"/>
                  </a:lnTo>
                  <a:lnTo>
                    <a:pt x="79" y="42"/>
                  </a:lnTo>
                  <a:lnTo>
                    <a:pt x="82" y="40"/>
                  </a:lnTo>
                  <a:lnTo>
                    <a:pt x="82" y="38"/>
                  </a:lnTo>
                  <a:lnTo>
                    <a:pt x="82" y="35"/>
                  </a:lnTo>
                  <a:lnTo>
                    <a:pt x="84" y="34"/>
                  </a:lnTo>
                  <a:lnTo>
                    <a:pt x="87" y="33"/>
                  </a:lnTo>
                  <a:lnTo>
                    <a:pt x="90" y="33"/>
                  </a:lnTo>
                  <a:lnTo>
                    <a:pt x="93" y="33"/>
                  </a:lnTo>
                  <a:lnTo>
                    <a:pt x="95" y="31"/>
                  </a:lnTo>
                  <a:lnTo>
                    <a:pt x="96" y="28"/>
                  </a:lnTo>
                  <a:lnTo>
                    <a:pt x="94" y="26"/>
                  </a:lnTo>
                  <a:lnTo>
                    <a:pt x="92" y="24"/>
                  </a:lnTo>
                  <a:lnTo>
                    <a:pt x="94" y="24"/>
                  </a:lnTo>
                  <a:lnTo>
                    <a:pt x="98" y="24"/>
                  </a:lnTo>
                  <a:lnTo>
                    <a:pt x="98" y="22"/>
                  </a:lnTo>
                  <a:lnTo>
                    <a:pt x="94" y="21"/>
                  </a:lnTo>
                  <a:lnTo>
                    <a:pt x="92" y="18"/>
                  </a:lnTo>
                  <a:lnTo>
                    <a:pt x="95" y="16"/>
                  </a:lnTo>
                  <a:lnTo>
                    <a:pt x="98" y="15"/>
                  </a:lnTo>
                  <a:lnTo>
                    <a:pt x="101" y="14"/>
                  </a:lnTo>
                  <a:lnTo>
                    <a:pt x="103" y="13"/>
                  </a:lnTo>
                  <a:lnTo>
                    <a:pt x="101" y="9"/>
                  </a:lnTo>
                  <a:lnTo>
                    <a:pt x="98" y="9"/>
                  </a:lnTo>
                  <a:close/>
                  <a:moveTo>
                    <a:pt x="4288" y="297"/>
                  </a:moveTo>
                  <a:lnTo>
                    <a:pt x="4286" y="297"/>
                  </a:lnTo>
                  <a:lnTo>
                    <a:pt x="4286" y="297"/>
                  </a:lnTo>
                  <a:lnTo>
                    <a:pt x="4284" y="298"/>
                  </a:lnTo>
                  <a:lnTo>
                    <a:pt x="4283" y="295"/>
                  </a:lnTo>
                  <a:lnTo>
                    <a:pt x="4281" y="293"/>
                  </a:lnTo>
                  <a:lnTo>
                    <a:pt x="4279" y="296"/>
                  </a:lnTo>
                  <a:lnTo>
                    <a:pt x="4281" y="293"/>
                  </a:lnTo>
                  <a:lnTo>
                    <a:pt x="4279" y="292"/>
                  </a:lnTo>
                  <a:lnTo>
                    <a:pt x="4275" y="290"/>
                  </a:lnTo>
                  <a:lnTo>
                    <a:pt x="4273" y="288"/>
                  </a:lnTo>
                  <a:lnTo>
                    <a:pt x="4269" y="287"/>
                  </a:lnTo>
                  <a:lnTo>
                    <a:pt x="4267" y="284"/>
                  </a:lnTo>
                  <a:lnTo>
                    <a:pt x="4264" y="282"/>
                  </a:lnTo>
                  <a:lnTo>
                    <a:pt x="4264" y="280"/>
                  </a:lnTo>
                  <a:lnTo>
                    <a:pt x="4260" y="279"/>
                  </a:lnTo>
                  <a:lnTo>
                    <a:pt x="4258" y="279"/>
                  </a:lnTo>
                  <a:lnTo>
                    <a:pt x="4255" y="279"/>
                  </a:lnTo>
                  <a:lnTo>
                    <a:pt x="4250" y="278"/>
                  </a:lnTo>
                  <a:lnTo>
                    <a:pt x="4252" y="278"/>
                  </a:lnTo>
                  <a:lnTo>
                    <a:pt x="4250" y="278"/>
                  </a:lnTo>
                  <a:lnTo>
                    <a:pt x="4248" y="276"/>
                  </a:lnTo>
                  <a:lnTo>
                    <a:pt x="4245" y="276"/>
                  </a:lnTo>
                  <a:lnTo>
                    <a:pt x="4248" y="278"/>
                  </a:lnTo>
                  <a:lnTo>
                    <a:pt x="4250" y="279"/>
                  </a:lnTo>
                  <a:lnTo>
                    <a:pt x="4248" y="280"/>
                  </a:lnTo>
                  <a:lnTo>
                    <a:pt x="4246" y="280"/>
                  </a:lnTo>
                  <a:lnTo>
                    <a:pt x="4242" y="279"/>
                  </a:lnTo>
                  <a:lnTo>
                    <a:pt x="4243" y="281"/>
                  </a:lnTo>
                  <a:lnTo>
                    <a:pt x="4241" y="282"/>
                  </a:lnTo>
                  <a:lnTo>
                    <a:pt x="4241" y="279"/>
                  </a:lnTo>
                  <a:lnTo>
                    <a:pt x="4243" y="276"/>
                  </a:lnTo>
                  <a:lnTo>
                    <a:pt x="4241" y="276"/>
                  </a:lnTo>
                  <a:lnTo>
                    <a:pt x="4238" y="275"/>
                  </a:lnTo>
                  <a:lnTo>
                    <a:pt x="4235" y="275"/>
                  </a:lnTo>
                  <a:lnTo>
                    <a:pt x="4232" y="275"/>
                  </a:lnTo>
                  <a:lnTo>
                    <a:pt x="4230" y="275"/>
                  </a:lnTo>
                  <a:lnTo>
                    <a:pt x="4226" y="275"/>
                  </a:lnTo>
                  <a:lnTo>
                    <a:pt x="4224" y="275"/>
                  </a:lnTo>
                  <a:lnTo>
                    <a:pt x="4226" y="276"/>
                  </a:lnTo>
                  <a:lnTo>
                    <a:pt x="4230" y="278"/>
                  </a:lnTo>
                  <a:lnTo>
                    <a:pt x="4231" y="281"/>
                  </a:lnTo>
                  <a:lnTo>
                    <a:pt x="4232" y="283"/>
                  </a:lnTo>
                  <a:lnTo>
                    <a:pt x="4230" y="287"/>
                  </a:lnTo>
                  <a:lnTo>
                    <a:pt x="4228" y="288"/>
                  </a:lnTo>
                  <a:lnTo>
                    <a:pt x="4230" y="288"/>
                  </a:lnTo>
                  <a:lnTo>
                    <a:pt x="4233" y="289"/>
                  </a:lnTo>
                  <a:lnTo>
                    <a:pt x="4234" y="291"/>
                  </a:lnTo>
                  <a:lnTo>
                    <a:pt x="4232" y="295"/>
                  </a:lnTo>
                  <a:lnTo>
                    <a:pt x="4231" y="296"/>
                  </a:lnTo>
                  <a:lnTo>
                    <a:pt x="4231" y="293"/>
                  </a:lnTo>
                  <a:lnTo>
                    <a:pt x="4232" y="291"/>
                  </a:lnTo>
                  <a:lnTo>
                    <a:pt x="4229" y="290"/>
                  </a:lnTo>
                  <a:lnTo>
                    <a:pt x="4226" y="292"/>
                  </a:lnTo>
                  <a:lnTo>
                    <a:pt x="4225" y="290"/>
                  </a:lnTo>
                  <a:lnTo>
                    <a:pt x="4223" y="288"/>
                  </a:lnTo>
                  <a:lnTo>
                    <a:pt x="4220" y="287"/>
                  </a:lnTo>
                  <a:lnTo>
                    <a:pt x="4220" y="284"/>
                  </a:lnTo>
                  <a:lnTo>
                    <a:pt x="4221" y="281"/>
                  </a:lnTo>
                  <a:lnTo>
                    <a:pt x="4219" y="276"/>
                  </a:lnTo>
                  <a:lnTo>
                    <a:pt x="4220" y="273"/>
                  </a:lnTo>
                  <a:lnTo>
                    <a:pt x="4221" y="271"/>
                  </a:lnTo>
                  <a:lnTo>
                    <a:pt x="4219" y="267"/>
                  </a:lnTo>
                  <a:lnTo>
                    <a:pt x="4216" y="270"/>
                  </a:lnTo>
                  <a:lnTo>
                    <a:pt x="4213" y="270"/>
                  </a:lnTo>
                  <a:lnTo>
                    <a:pt x="4215" y="267"/>
                  </a:lnTo>
                  <a:lnTo>
                    <a:pt x="4214" y="265"/>
                  </a:lnTo>
                  <a:lnTo>
                    <a:pt x="4214" y="263"/>
                  </a:lnTo>
                  <a:lnTo>
                    <a:pt x="4212" y="262"/>
                  </a:lnTo>
                  <a:lnTo>
                    <a:pt x="4209" y="261"/>
                  </a:lnTo>
                  <a:lnTo>
                    <a:pt x="4207" y="260"/>
                  </a:lnTo>
                  <a:lnTo>
                    <a:pt x="4204" y="257"/>
                  </a:lnTo>
                  <a:lnTo>
                    <a:pt x="4202" y="256"/>
                  </a:lnTo>
                  <a:lnTo>
                    <a:pt x="4196" y="254"/>
                  </a:lnTo>
                  <a:lnTo>
                    <a:pt x="4192" y="253"/>
                  </a:lnTo>
                  <a:lnTo>
                    <a:pt x="4188" y="249"/>
                  </a:lnTo>
                  <a:lnTo>
                    <a:pt x="4185" y="248"/>
                  </a:lnTo>
                  <a:lnTo>
                    <a:pt x="4182" y="250"/>
                  </a:lnTo>
                  <a:lnTo>
                    <a:pt x="4181" y="248"/>
                  </a:lnTo>
                  <a:lnTo>
                    <a:pt x="4183" y="248"/>
                  </a:lnTo>
                  <a:lnTo>
                    <a:pt x="4181" y="246"/>
                  </a:lnTo>
                  <a:lnTo>
                    <a:pt x="4178" y="245"/>
                  </a:lnTo>
                  <a:lnTo>
                    <a:pt x="4175" y="244"/>
                  </a:lnTo>
                  <a:lnTo>
                    <a:pt x="4173" y="243"/>
                  </a:lnTo>
                  <a:lnTo>
                    <a:pt x="4175" y="244"/>
                  </a:lnTo>
                  <a:lnTo>
                    <a:pt x="4178" y="245"/>
                  </a:lnTo>
                  <a:lnTo>
                    <a:pt x="4181" y="247"/>
                  </a:lnTo>
                  <a:lnTo>
                    <a:pt x="4178" y="248"/>
                  </a:lnTo>
                  <a:lnTo>
                    <a:pt x="4177" y="245"/>
                  </a:lnTo>
                  <a:lnTo>
                    <a:pt x="4174" y="244"/>
                  </a:lnTo>
                  <a:lnTo>
                    <a:pt x="4171" y="243"/>
                  </a:lnTo>
                  <a:lnTo>
                    <a:pt x="4169" y="243"/>
                  </a:lnTo>
                  <a:lnTo>
                    <a:pt x="4166" y="239"/>
                  </a:lnTo>
                  <a:lnTo>
                    <a:pt x="4170" y="240"/>
                  </a:lnTo>
                  <a:lnTo>
                    <a:pt x="4168" y="238"/>
                  </a:lnTo>
                  <a:lnTo>
                    <a:pt x="4164" y="237"/>
                  </a:lnTo>
                  <a:lnTo>
                    <a:pt x="4162" y="236"/>
                  </a:lnTo>
                  <a:lnTo>
                    <a:pt x="4158" y="236"/>
                  </a:lnTo>
                  <a:lnTo>
                    <a:pt x="4157" y="232"/>
                  </a:lnTo>
                  <a:lnTo>
                    <a:pt x="4154" y="233"/>
                  </a:lnTo>
                  <a:lnTo>
                    <a:pt x="4152" y="232"/>
                  </a:lnTo>
                  <a:lnTo>
                    <a:pt x="4149" y="231"/>
                  </a:lnTo>
                  <a:lnTo>
                    <a:pt x="4147" y="231"/>
                  </a:lnTo>
                  <a:lnTo>
                    <a:pt x="4144" y="229"/>
                  </a:lnTo>
                  <a:lnTo>
                    <a:pt x="4147" y="230"/>
                  </a:lnTo>
                  <a:lnTo>
                    <a:pt x="4144" y="228"/>
                  </a:lnTo>
                  <a:lnTo>
                    <a:pt x="4141" y="226"/>
                  </a:lnTo>
                  <a:lnTo>
                    <a:pt x="4138" y="224"/>
                  </a:lnTo>
                  <a:lnTo>
                    <a:pt x="4136" y="224"/>
                  </a:lnTo>
                  <a:lnTo>
                    <a:pt x="4132" y="224"/>
                  </a:lnTo>
                  <a:lnTo>
                    <a:pt x="4136" y="223"/>
                  </a:lnTo>
                  <a:lnTo>
                    <a:pt x="4132" y="221"/>
                  </a:lnTo>
                  <a:lnTo>
                    <a:pt x="4130" y="220"/>
                  </a:lnTo>
                  <a:lnTo>
                    <a:pt x="4127" y="220"/>
                  </a:lnTo>
                  <a:lnTo>
                    <a:pt x="4124" y="220"/>
                  </a:lnTo>
                  <a:lnTo>
                    <a:pt x="4121" y="219"/>
                  </a:lnTo>
                  <a:lnTo>
                    <a:pt x="4119" y="218"/>
                  </a:lnTo>
                  <a:lnTo>
                    <a:pt x="4117" y="216"/>
                  </a:lnTo>
                  <a:lnTo>
                    <a:pt x="4113" y="216"/>
                  </a:lnTo>
                  <a:lnTo>
                    <a:pt x="4107" y="215"/>
                  </a:lnTo>
                  <a:lnTo>
                    <a:pt x="4105" y="214"/>
                  </a:lnTo>
                  <a:lnTo>
                    <a:pt x="4102" y="213"/>
                  </a:lnTo>
                  <a:lnTo>
                    <a:pt x="4100" y="212"/>
                  </a:lnTo>
                  <a:lnTo>
                    <a:pt x="4097" y="210"/>
                  </a:lnTo>
                  <a:lnTo>
                    <a:pt x="4094" y="209"/>
                  </a:lnTo>
                  <a:lnTo>
                    <a:pt x="4092" y="209"/>
                  </a:lnTo>
                  <a:lnTo>
                    <a:pt x="4088" y="210"/>
                  </a:lnTo>
                  <a:lnTo>
                    <a:pt x="4086" y="211"/>
                  </a:lnTo>
                  <a:lnTo>
                    <a:pt x="4083" y="210"/>
                  </a:lnTo>
                  <a:lnTo>
                    <a:pt x="4074" y="210"/>
                  </a:lnTo>
                  <a:lnTo>
                    <a:pt x="4071" y="210"/>
                  </a:lnTo>
                  <a:lnTo>
                    <a:pt x="4069" y="210"/>
                  </a:lnTo>
                  <a:lnTo>
                    <a:pt x="4066" y="210"/>
                  </a:lnTo>
                  <a:lnTo>
                    <a:pt x="4063" y="209"/>
                  </a:lnTo>
                  <a:lnTo>
                    <a:pt x="4060" y="207"/>
                  </a:lnTo>
                  <a:lnTo>
                    <a:pt x="4058" y="209"/>
                  </a:lnTo>
                  <a:lnTo>
                    <a:pt x="4060" y="211"/>
                  </a:lnTo>
                  <a:lnTo>
                    <a:pt x="4058" y="212"/>
                  </a:lnTo>
                  <a:lnTo>
                    <a:pt x="4057" y="212"/>
                  </a:lnTo>
                  <a:lnTo>
                    <a:pt x="4054" y="210"/>
                  </a:lnTo>
                  <a:lnTo>
                    <a:pt x="4051" y="209"/>
                  </a:lnTo>
                  <a:lnTo>
                    <a:pt x="4049" y="207"/>
                  </a:lnTo>
                  <a:lnTo>
                    <a:pt x="4046" y="207"/>
                  </a:lnTo>
                  <a:lnTo>
                    <a:pt x="4043" y="207"/>
                  </a:lnTo>
                  <a:lnTo>
                    <a:pt x="4041" y="206"/>
                  </a:lnTo>
                  <a:lnTo>
                    <a:pt x="4038" y="206"/>
                  </a:lnTo>
                  <a:lnTo>
                    <a:pt x="4036" y="206"/>
                  </a:lnTo>
                  <a:lnTo>
                    <a:pt x="4034" y="205"/>
                  </a:lnTo>
                  <a:lnTo>
                    <a:pt x="4030" y="205"/>
                  </a:lnTo>
                  <a:lnTo>
                    <a:pt x="4028" y="205"/>
                  </a:lnTo>
                  <a:lnTo>
                    <a:pt x="4025" y="204"/>
                  </a:lnTo>
                  <a:lnTo>
                    <a:pt x="4023" y="204"/>
                  </a:lnTo>
                  <a:lnTo>
                    <a:pt x="4019" y="203"/>
                  </a:lnTo>
                  <a:lnTo>
                    <a:pt x="4020" y="206"/>
                  </a:lnTo>
                  <a:lnTo>
                    <a:pt x="4020" y="206"/>
                  </a:lnTo>
                  <a:lnTo>
                    <a:pt x="4020" y="210"/>
                  </a:lnTo>
                  <a:lnTo>
                    <a:pt x="4020" y="212"/>
                  </a:lnTo>
                  <a:lnTo>
                    <a:pt x="4018" y="213"/>
                  </a:lnTo>
                  <a:lnTo>
                    <a:pt x="4015" y="214"/>
                  </a:lnTo>
                  <a:lnTo>
                    <a:pt x="4018" y="216"/>
                  </a:lnTo>
                  <a:lnTo>
                    <a:pt x="4020" y="216"/>
                  </a:lnTo>
                  <a:lnTo>
                    <a:pt x="4021" y="219"/>
                  </a:lnTo>
                  <a:lnTo>
                    <a:pt x="4024" y="222"/>
                  </a:lnTo>
                  <a:lnTo>
                    <a:pt x="4026" y="224"/>
                  </a:lnTo>
                  <a:lnTo>
                    <a:pt x="4026" y="228"/>
                  </a:lnTo>
                  <a:lnTo>
                    <a:pt x="4028" y="230"/>
                  </a:lnTo>
                  <a:lnTo>
                    <a:pt x="4026" y="231"/>
                  </a:lnTo>
                  <a:lnTo>
                    <a:pt x="4023" y="232"/>
                  </a:lnTo>
                  <a:lnTo>
                    <a:pt x="4023" y="235"/>
                  </a:lnTo>
                  <a:lnTo>
                    <a:pt x="4023" y="236"/>
                  </a:lnTo>
                  <a:lnTo>
                    <a:pt x="4019" y="233"/>
                  </a:lnTo>
                  <a:lnTo>
                    <a:pt x="4020" y="237"/>
                  </a:lnTo>
                  <a:lnTo>
                    <a:pt x="4021" y="237"/>
                  </a:lnTo>
                  <a:lnTo>
                    <a:pt x="4018" y="236"/>
                  </a:lnTo>
                  <a:lnTo>
                    <a:pt x="4016" y="236"/>
                  </a:lnTo>
                  <a:lnTo>
                    <a:pt x="4012" y="236"/>
                  </a:lnTo>
                  <a:lnTo>
                    <a:pt x="4012" y="236"/>
                  </a:lnTo>
                  <a:lnTo>
                    <a:pt x="4010" y="236"/>
                  </a:lnTo>
                  <a:lnTo>
                    <a:pt x="4007" y="236"/>
                  </a:lnTo>
                  <a:lnTo>
                    <a:pt x="4004" y="233"/>
                  </a:lnTo>
                  <a:lnTo>
                    <a:pt x="4004" y="230"/>
                  </a:lnTo>
                  <a:lnTo>
                    <a:pt x="4002" y="229"/>
                  </a:lnTo>
                  <a:lnTo>
                    <a:pt x="3999" y="228"/>
                  </a:lnTo>
                  <a:lnTo>
                    <a:pt x="3996" y="227"/>
                  </a:lnTo>
                  <a:lnTo>
                    <a:pt x="3993" y="226"/>
                  </a:lnTo>
                  <a:lnTo>
                    <a:pt x="3991" y="226"/>
                  </a:lnTo>
                  <a:lnTo>
                    <a:pt x="3989" y="223"/>
                  </a:lnTo>
                  <a:lnTo>
                    <a:pt x="3989" y="218"/>
                  </a:lnTo>
                  <a:lnTo>
                    <a:pt x="3985" y="216"/>
                  </a:lnTo>
                  <a:lnTo>
                    <a:pt x="3984" y="213"/>
                  </a:lnTo>
                  <a:lnTo>
                    <a:pt x="3981" y="212"/>
                  </a:lnTo>
                  <a:lnTo>
                    <a:pt x="3978" y="214"/>
                  </a:lnTo>
                  <a:lnTo>
                    <a:pt x="3975" y="216"/>
                  </a:lnTo>
                  <a:lnTo>
                    <a:pt x="3973" y="218"/>
                  </a:lnTo>
                  <a:lnTo>
                    <a:pt x="3969" y="219"/>
                  </a:lnTo>
                  <a:lnTo>
                    <a:pt x="3967" y="219"/>
                  </a:lnTo>
                  <a:lnTo>
                    <a:pt x="3959" y="219"/>
                  </a:lnTo>
                  <a:lnTo>
                    <a:pt x="3956" y="218"/>
                  </a:lnTo>
                  <a:lnTo>
                    <a:pt x="3953" y="216"/>
                  </a:lnTo>
                  <a:lnTo>
                    <a:pt x="3950" y="216"/>
                  </a:lnTo>
                  <a:lnTo>
                    <a:pt x="3949" y="216"/>
                  </a:lnTo>
                  <a:lnTo>
                    <a:pt x="3947" y="216"/>
                  </a:lnTo>
                  <a:lnTo>
                    <a:pt x="3943" y="216"/>
                  </a:lnTo>
                  <a:lnTo>
                    <a:pt x="3938" y="216"/>
                  </a:lnTo>
                  <a:lnTo>
                    <a:pt x="3935" y="215"/>
                  </a:lnTo>
                  <a:lnTo>
                    <a:pt x="3932" y="213"/>
                  </a:lnTo>
                  <a:lnTo>
                    <a:pt x="3930" y="213"/>
                  </a:lnTo>
                  <a:lnTo>
                    <a:pt x="3926" y="214"/>
                  </a:lnTo>
                  <a:lnTo>
                    <a:pt x="3924" y="214"/>
                  </a:lnTo>
                  <a:lnTo>
                    <a:pt x="3922" y="213"/>
                  </a:lnTo>
                  <a:lnTo>
                    <a:pt x="3918" y="214"/>
                  </a:lnTo>
                  <a:lnTo>
                    <a:pt x="3916" y="214"/>
                  </a:lnTo>
                  <a:lnTo>
                    <a:pt x="3913" y="215"/>
                  </a:lnTo>
                  <a:lnTo>
                    <a:pt x="3910" y="214"/>
                  </a:lnTo>
                  <a:lnTo>
                    <a:pt x="3909" y="214"/>
                  </a:lnTo>
                  <a:lnTo>
                    <a:pt x="3906" y="215"/>
                  </a:lnTo>
                  <a:lnTo>
                    <a:pt x="3905" y="215"/>
                  </a:lnTo>
                  <a:lnTo>
                    <a:pt x="3902" y="215"/>
                  </a:lnTo>
                  <a:lnTo>
                    <a:pt x="3900" y="215"/>
                  </a:lnTo>
                  <a:lnTo>
                    <a:pt x="3897" y="215"/>
                  </a:lnTo>
                  <a:lnTo>
                    <a:pt x="3895" y="216"/>
                  </a:lnTo>
                  <a:lnTo>
                    <a:pt x="3891" y="218"/>
                  </a:lnTo>
                  <a:lnTo>
                    <a:pt x="3887" y="215"/>
                  </a:lnTo>
                  <a:lnTo>
                    <a:pt x="3884" y="214"/>
                  </a:lnTo>
                  <a:lnTo>
                    <a:pt x="3881" y="214"/>
                  </a:lnTo>
                  <a:lnTo>
                    <a:pt x="3880" y="215"/>
                  </a:lnTo>
                  <a:lnTo>
                    <a:pt x="3878" y="213"/>
                  </a:lnTo>
                  <a:lnTo>
                    <a:pt x="3875" y="213"/>
                  </a:lnTo>
                  <a:lnTo>
                    <a:pt x="3873" y="212"/>
                  </a:lnTo>
                  <a:lnTo>
                    <a:pt x="3872" y="210"/>
                  </a:lnTo>
                  <a:lnTo>
                    <a:pt x="3873" y="209"/>
                  </a:lnTo>
                  <a:lnTo>
                    <a:pt x="3873" y="207"/>
                  </a:lnTo>
                  <a:lnTo>
                    <a:pt x="3874" y="206"/>
                  </a:lnTo>
                  <a:lnTo>
                    <a:pt x="3874" y="206"/>
                  </a:lnTo>
                  <a:lnTo>
                    <a:pt x="3874" y="206"/>
                  </a:lnTo>
                  <a:lnTo>
                    <a:pt x="3874" y="205"/>
                  </a:lnTo>
                  <a:lnTo>
                    <a:pt x="3873" y="204"/>
                  </a:lnTo>
                  <a:lnTo>
                    <a:pt x="3875" y="202"/>
                  </a:lnTo>
                  <a:lnTo>
                    <a:pt x="3878" y="199"/>
                  </a:lnTo>
                  <a:lnTo>
                    <a:pt x="3876" y="196"/>
                  </a:lnTo>
                  <a:lnTo>
                    <a:pt x="3874" y="194"/>
                  </a:lnTo>
                  <a:lnTo>
                    <a:pt x="3872" y="190"/>
                  </a:lnTo>
                  <a:lnTo>
                    <a:pt x="3867" y="187"/>
                  </a:lnTo>
                  <a:lnTo>
                    <a:pt x="3856" y="182"/>
                  </a:lnTo>
                  <a:lnTo>
                    <a:pt x="3847" y="180"/>
                  </a:lnTo>
                  <a:lnTo>
                    <a:pt x="3839" y="180"/>
                  </a:lnTo>
                  <a:lnTo>
                    <a:pt x="3820" y="179"/>
                  </a:lnTo>
                  <a:lnTo>
                    <a:pt x="3797" y="182"/>
                  </a:lnTo>
                  <a:lnTo>
                    <a:pt x="3789" y="186"/>
                  </a:lnTo>
                  <a:lnTo>
                    <a:pt x="3786" y="185"/>
                  </a:lnTo>
                  <a:lnTo>
                    <a:pt x="3776" y="186"/>
                  </a:lnTo>
                  <a:lnTo>
                    <a:pt x="3770" y="185"/>
                  </a:lnTo>
                  <a:lnTo>
                    <a:pt x="3761" y="182"/>
                  </a:lnTo>
                  <a:lnTo>
                    <a:pt x="3767" y="182"/>
                  </a:lnTo>
                  <a:lnTo>
                    <a:pt x="3768" y="180"/>
                  </a:lnTo>
                  <a:lnTo>
                    <a:pt x="3762" y="176"/>
                  </a:lnTo>
                  <a:lnTo>
                    <a:pt x="3759" y="173"/>
                  </a:lnTo>
                  <a:lnTo>
                    <a:pt x="3756" y="173"/>
                  </a:lnTo>
                  <a:lnTo>
                    <a:pt x="3753" y="172"/>
                  </a:lnTo>
                  <a:lnTo>
                    <a:pt x="3751" y="172"/>
                  </a:lnTo>
                  <a:lnTo>
                    <a:pt x="3748" y="175"/>
                  </a:lnTo>
                  <a:lnTo>
                    <a:pt x="3745" y="175"/>
                  </a:lnTo>
                  <a:lnTo>
                    <a:pt x="3743" y="175"/>
                  </a:lnTo>
                  <a:lnTo>
                    <a:pt x="3739" y="177"/>
                  </a:lnTo>
                  <a:lnTo>
                    <a:pt x="3742" y="175"/>
                  </a:lnTo>
                  <a:lnTo>
                    <a:pt x="3745" y="173"/>
                  </a:lnTo>
                  <a:lnTo>
                    <a:pt x="3747" y="171"/>
                  </a:lnTo>
                  <a:lnTo>
                    <a:pt x="3744" y="169"/>
                  </a:lnTo>
                  <a:lnTo>
                    <a:pt x="3742" y="169"/>
                  </a:lnTo>
                  <a:lnTo>
                    <a:pt x="3737" y="170"/>
                  </a:lnTo>
                  <a:lnTo>
                    <a:pt x="3738" y="168"/>
                  </a:lnTo>
                  <a:lnTo>
                    <a:pt x="3735" y="166"/>
                  </a:lnTo>
                  <a:lnTo>
                    <a:pt x="3727" y="164"/>
                  </a:lnTo>
                  <a:lnTo>
                    <a:pt x="3724" y="166"/>
                  </a:lnTo>
                  <a:lnTo>
                    <a:pt x="3724" y="162"/>
                  </a:lnTo>
                  <a:lnTo>
                    <a:pt x="3726" y="162"/>
                  </a:lnTo>
                  <a:lnTo>
                    <a:pt x="3729" y="161"/>
                  </a:lnTo>
                  <a:lnTo>
                    <a:pt x="3731" y="160"/>
                  </a:lnTo>
                  <a:lnTo>
                    <a:pt x="3735" y="162"/>
                  </a:lnTo>
                  <a:lnTo>
                    <a:pt x="3737" y="161"/>
                  </a:lnTo>
                  <a:lnTo>
                    <a:pt x="3739" y="159"/>
                  </a:lnTo>
                  <a:lnTo>
                    <a:pt x="3734" y="153"/>
                  </a:lnTo>
                  <a:lnTo>
                    <a:pt x="3726" y="151"/>
                  </a:lnTo>
                  <a:lnTo>
                    <a:pt x="3718" y="149"/>
                  </a:lnTo>
                  <a:lnTo>
                    <a:pt x="3712" y="149"/>
                  </a:lnTo>
                  <a:lnTo>
                    <a:pt x="3701" y="149"/>
                  </a:lnTo>
                  <a:lnTo>
                    <a:pt x="3693" y="155"/>
                  </a:lnTo>
                  <a:lnTo>
                    <a:pt x="3688" y="160"/>
                  </a:lnTo>
                  <a:lnTo>
                    <a:pt x="3686" y="161"/>
                  </a:lnTo>
                  <a:lnTo>
                    <a:pt x="3680" y="163"/>
                  </a:lnTo>
                  <a:lnTo>
                    <a:pt x="3677" y="163"/>
                  </a:lnTo>
                  <a:lnTo>
                    <a:pt x="3675" y="166"/>
                  </a:lnTo>
                  <a:lnTo>
                    <a:pt x="3673" y="164"/>
                  </a:lnTo>
                  <a:lnTo>
                    <a:pt x="3669" y="164"/>
                  </a:lnTo>
                  <a:lnTo>
                    <a:pt x="3673" y="162"/>
                  </a:lnTo>
                  <a:lnTo>
                    <a:pt x="3670" y="159"/>
                  </a:lnTo>
                  <a:lnTo>
                    <a:pt x="3673" y="159"/>
                  </a:lnTo>
                  <a:lnTo>
                    <a:pt x="3676" y="160"/>
                  </a:lnTo>
                  <a:lnTo>
                    <a:pt x="3682" y="159"/>
                  </a:lnTo>
                  <a:lnTo>
                    <a:pt x="3679" y="151"/>
                  </a:lnTo>
                  <a:lnTo>
                    <a:pt x="3682" y="151"/>
                  </a:lnTo>
                  <a:lnTo>
                    <a:pt x="3684" y="153"/>
                  </a:lnTo>
                  <a:lnTo>
                    <a:pt x="3686" y="153"/>
                  </a:lnTo>
                  <a:lnTo>
                    <a:pt x="3686" y="155"/>
                  </a:lnTo>
                  <a:lnTo>
                    <a:pt x="3684" y="158"/>
                  </a:lnTo>
                  <a:lnTo>
                    <a:pt x="3684" y="161"/>
                  </a:lnTo>
                  <a:lnTo>
                    <a:pt x="3688" y="156"/>
                  </a:lnTo>
                  <a:lnTo>
                    <a:pt x="3696" y="149"/>
                  </a:lnTo>
                  <a:lnTo>
                    <a:pt x="3688" y="149"/>
                  </a:lnTo>
                  <a:lnTo>
                    <a:pt x="3671" y="150"/>
                  </a:lnTo>
                  <a:lnTo>
                    <a:pt x="3666" y="151"/>
                  </a:lnTo>
                  <a:lnTo>
                    <a:pt x="3663" y="152"/>
                  </a:lnTo>
                  <a:lnTo>
                    <a:pt x="3660" y="152"/>
                  </a:lnTo>
                  <a:lnTo>
                    <a:pt x="3659" y="151"/>
                  </a:lnTo>
                  <a:lnTo>
                    <a:pt x="3659" y="150"/>
                  </a:lnTo>
                  <a:lnTo>
                    <a:pt x="3665" y="150"/>
                  </a:lnTo>
                  <a:lnTo>
                    <a:pt x="3667" y="146"/>
                  </a:lnTo>
                  <a:lnTo>
                    <a:pt x="3670" y="142"/>
                  </a:lnTo>
                  <a:lnTo>
                    <a:pt x="3665" y="141"/>
                  </a:lnTo>
                  <a:lnTo>
                    <a:pt x="3661" y="141"/>
                  </a:lnTo>
                  <a:lnTo>
                    <a:pt x="3653" y="139"/>
                  </a:lnTo>
                  <a:lnTo>
                    <a:pt x="3651" y="139"/>
                  </a:lnTo>
                  <a:lnTo>
                    <a:pt x="3634" y="138"/>
                  </a:lnTo>
                  <a:lnTo>
                    <a:pt x="3628" y="138"/>
                  </a:lnTo>
                  <a:lnTo>
                    <a:pt x="3623" y="136"/>
                  </a:lnTo>
                  <a:lnTo>
                    <a:pt x="3619" y="135"/>
                  </a:lnTo>
                  <a:lnTo>
                    <a:pt x="3611" y="134"/>
                  </a:lnTo>
                  <a:lnTo>
                    <a:pt x="3611" y="136"/>
                  </a:lnTo>
                  <a:lnTo>
                    <a:pt x="3615" y="138"/>
                  </a:lnTo>
                  <a:lnTo>
                    <a:pt x="3615" y="141"/>
                  </a:lnTo>
                  <a:lnTo>
                    <a:pt x="3612" y="143"/>
                  </a:lnTo>
                  <a:lnTo>
                    <a:pt x="3607" y="144"/>
                  </a:lnTo>
                  <a:lnTo>
                    <a:pt x="3602" y="144"/>
                  </a:lnTo>
                  <a:lnTo>
                    <a:pt x="3599" y="144"/>
                  </a:lnTo>
                  <a:lnTo>
                    <a:pt x="3597" y="144"/>
                  </a:lnTo>
                  <a:lnTo>
                    <a:pt x="3591" y="147"/>
                  </a:lnTo>
                  <a:lnTo>
                    <a:pt x="3590" y="151"/>
                  </a:lnTo>
                  <a:lnTo>
                    <a:pt x="3592" y="153"/>
                  </a:lnTo>
                  <a:lnTo>
                    <a:pt x="3594" y="153"/>
                  </a:lnTo>
                  <a:lnTo>
                    <a:pt x="3598" y="151"/>
                  </a:lnTo>
                  <a:lnTo>
                    <a:pt x="3602" y="151"/>
                  </a:lnTo>
                  <a:lnTo>
                    <a:pt x="3605" y="152"/>
                  </a:lnTo>
                  <a:lnTo>
                    <a:pt x="3599" y="153"/>
                  </a:lnTo>
                  <a:lnTo>
                    <a:pt x="3598" y="156"/>
                  </a:lnTo>
                  <a:lnTo>
                    <a:pt x="3594" y="158"/>
                  </a:lnTo>
                  <a:lnTo>
                    <a:pt x="3598" y="160"/>
                  </a:lnTo>
                  <a:lnTo>
                    <a:pt x="3598" y="162"/>
                  </a:lnTo>
                  <a:lnTo>
                    <a:pt x="3599" y="166"/>
                  </a:lnTo>
                  <a:lnTo>
                    <a:pt x="3601" y="168"/>
                  </a:lnTo>
                  <a:lnTo>
                    <a:pt x="3602" y="170"/>
                  </a:lnTo>
                  <a:lnTo>
                    <a:pt x="3601" y="170"/>
                  </a:lnTo>
                  <a:lnTo>
                    <a:pt x="3599" y="170"/>
                  </a:lnTo>
                  <a:lnTo>
                    <a:pt x="3596" y="170"/>
                  </a:lnTo>
                  <a:lnTo>
                    <a:pt x="3593" y="171"/>
                  </a:lnTo>
                  <a:lnTo>
                    <a:pt x="3590" y="170"/>
                  </a:lnTo>
                  <a:lnTo>
                    <a:pt x="3589" y="168"/>
                  </a:lnTo>
                  <a:lnTo>
                    <a:pt x="3586" y="167"/>
                  </a:lnTo>
                  <a:lnTo>
                    <a:pt x="3583" y="166"/>
                  </a:lnTo>
                  <a:lnTo>
                    <a:pt x="3577" y="167"/>
                  </a:lnTo>
                  <a:lnTo>
                    <a:pt x="3575" y="168"/>
                  </a:lnTo>
                  <a:lnTo>
                    <a:pt x="3574" y="173"/>
                  </a:lnTo>
                  <a:lnTo>
                    <a:pt x="3580" y="175"/>
                  </a:lnTo>
                  <a:lnTo>
                    <a:pt x="3576" y="176"/>
                  </a:lnTo>
                  <a:lnTo>
                    <a:pt x="3571" y="177"/>
                  </a:lnTo>
                  <a:lnTo>
                    <a:pt x="3574" y="178"/>
                  </a:lnTo>
                  <a:lnTo>
                    <a:pt x="3568" y="177"/>
                  </a:lnTo>
                  <a:lnTo>
                    <a:pt x="3571" y="176"/>
                  </a:lnTo>
                  <a:lnTo>
                    <a:pt x="3568" y="176"/>
                  </a:lnTo>
                  <a:lnTo>
                    <a:pt x="3565" y="173"/>
                  </a:lnTo>
                  <a:lnTo>
                    <a:pt x="3559" y="170"/>
                  </a:lnTo>
                  <a:lnTo>
                    <a:pt x="3557" y="169"/>
                  </a:lnTo>
                  <a:lnTo>
                    <a:pt x="3555" y="169"/>
                  </a:lnTo>
                  <a:lnTo>
                    <a:pt x="3552" y="168"/>
                  </a:lnTo>
                  <a:lnTo>
                    <a:pt x="3547" y="166"/>
                  </a:lnTo>
                  <a:lnTo>
                    <a:pt x="3543" y="166"/>
                  </a:lnTo>
                  <a:lnTo>
                    <a:pt x="3541" y="167"/>
                  </a:lnTo>
                  <a:lnTo>
                    <a:pt x="3539" y="169"/>
                  </a:lnTo>
                  <a:lnTo>
                    <a:pt x="3535" y="168"/>
                  </a:lnTo>
                  <a:lnTo>
                    <a:pt x="3533" y="169"/>
                  </a:lnTo>
                  <a:lnTo>
                    <a:pt x="3530" y="171"/>
                  </a:lnTo>
                  <a:lnTo>
                    <a:pt x="3530" y="172"/>
                  </a:lnTo>
                  <a:lnTo>
                    <a:pt x="3529" y="176"/>
                  </a:lnTo>
                  <a:lnTo>
                    <a:pt x="3530" y="172"/>
                  </a:lnTo>
                  <a:lnTo>
                    <a:pt x="3521" y="172"/>
                  </a:lnTo>
                  <a:lnTo>
                    <a:pt x="3516" y="171"/>
                  </a:lnTo>
                  <a:lnTo>
                    <a:pt x="3511" y="169"/>
                  </a:lnTo>
                  <a:lnTo>
                    <a:pt x="3507" y="167"/>
                  </a:lnTo>
                  <a:lnTo>
                    <a:pt x="3503" y="161"/>
                  </a:lnTo>
                  <a:lnTo>
                    <a:pt x="3503" y="158"/>
                  </a:lnTo>
                  <a:lnTo>
                    <a:pt x="3499" y="160"/>
                  </a:lnTo>
                  <a:lnTo>
                    <a:pt x="3496" y="166"/>
                  </a:lnTo>
                  <a:lnTo>
                    <a:pt x="3494" y="171"/>
                  </a:lnTo>
                  <a:lnTo>
                    <a:pt x="3492" y="173"/>
                  </a:lnTo>
                  <a:lnTo>
                    <a:pt x="3494" y="177"/>
                  </a:lnTo>
                  <a:lnTo>
                    <a:pt x="3490" y="178"/>
                  </a:lnTo>
                  <a:lnTo>
                    <a:pt x="3488" y="180"/>
                  </a:lnTo>
                  <a:lnTo>
                    <a:pt x="3488" y="182"/>
                  </a:lnTo>
                  <a:lnTo>
                    <a:pt x="3486" y="186"/>
                  </a:lnTo>
                  <a:lnTo>
                    <a:pt x="3482" y="187"/>
                  </a:lnTo>
                  <a:lnTo>
                    <a:pt x="3480" y="188"/>
                  </a:lnTo>
                  <a:lnTo>
                    <a:pt x="3478" y="186"/>
                  </a:lnTo>
                  <a:lnTo>
                    <a:pt x="3477" y="184"/>
                  </a:lnTo>
                  <a:lnTo>
                    <a:pt x="3473" y="185"/>
                  </a:lnTo>
                  <a:lnTo>
                    <a:pt x="3471" y="184"/>
                  </a:lnTo>
                  <a:lnTo>
                    <a:pt x="3465" y="180"/>
                  </a:lnTo>
                  <a:lnTo>
                    <a:pt x="3462" y="179"/>
                  </a:lnTo>
                  <a:lnTo>
                    <a:pt x="3461" y="177"/>
                  </a:lnTo>
                  <a:lnTo>
                    <a:pt x="3458" y="175"/>
                  </a:lnTo>
                  <a:lnTo>
                    <a:pt x="3456" y="172"/>
                  </a:lnTo>
                  <a:lnTo>
                    <a:pt x="3455" y="169"/>
                  </a:lnTo>
                  <a:lnTo>
                    <a:pt x="3452" y="167"/>
                  </a:lnTo>
                  <a:lnTo>
                    <a:pt x="3449" y="167"/>
                  </a:lnTo>
                  <a:lnTo>
                    <a:pt x="3451" y="164"/>
                  </a:lnTo>
                  <a:lnTo>
                    <a:pt x="3453" y="164"/>
                  </a:lnTo>
                  <a:lnTo>
                    <a:pt x="3455" y="163"/>
                  </a:lnTo>
                  <a:lnTo>
                    <a:pt x="3458" y="164"/>
                  </a:lnTo>
                  <a:lnTo>
                    <a:pt x="3455" y="162"/>
                  </a:lnTo>
                  <a:lnTo>
                    <a:pt x="3454" y="159"/>
                  </a:lnTo>
                  <a:lnTo>
                    <a:pt x="3452" y="156"/>
                  </a:lnTo>
                  <a:lnTo>
                    <a:pt x="3452" y="156"/>
                  </a:lnTo>
                  <a:lnTo>
                    <a:pt x="3453" y="160"/>
                  </a:lnTo>
                  <a:lnTo>
                    <a:pt x="3453" y="162"/>
                  </a:lnTo>
                  <a:lnTo>
                    <a:pt x="3451" y="163"/>
                  </a:lnTo>
                  <a:lnTo>
                    <a:pt x="3448" y="162"/>
                  </a:lnTo>
                  <a:lnTo>
                    <a:pt x="3446" y="160"/>
                  </a:lnTo>
                  <a:lnTo>
                    <a:pt x="3444" y="158"/>
                  </a:lnTo>
                  <a:lnTo>
                    <a:pt x="3440" y="152"/>
                  </a:lnTo>
                  <a:lnTo>
                    <a:pt x="3440" y="151"/>
                  </a:lnTo>
                  <a:lnTo>
                    <a:pt x="3445" y="152"/>
                  </a:lnTo>
                  <a:lnTo>
                    <a:pt x="3446" y="154"/>
                  </a:lnTo>
                  <a:lnTo>
                    <a:pt x="3452" y="155"/>
                  </a:lnTo>
                  <a:lnTo>
                    <a:pt x="3455" y="154"/>
                  </a:lnTo>
                  <a:lnTo>
                    <a:pt x="3457" y="153"/>
                  </a:lnTo>
                  <a:lnTo>
                    <a:pt x="3455" y="153"/>
                  </a:lnTo>
                  <a:lnTo>
                    <a:pt x="3458" y="151"/>
                  </a:lnTo>
                  <a:lnTo>
                    <a:pt x="3456" y="150"/>
                  </a:lnTo>
                  <a:lnTo>
                    <a:pt x="3457" y="147"/>
                  </a:lnTo>
                  <a:lnTo>
                    <a:pt x="3457" y="147"/>
                  </a:lnTo>
                  <a:lnTo>
                    <a:pt x="3455" y="146"/>
                  </a:lnTo>
                  <a:lnTo>
                    <a:pt x="3454" y="144"/>
                  </a:lnTo>
                  <a:lnTo>
                    <a:pt x="3448" y="145"/>
                  </a:lnTo>
                  <a:lnTo>
                    <a:pt x="3445" y="144"/>
                  </a:lnTo>
                  <a:lnTo>
                    <a:pt x="3443" y="143"/>
                  </a:lnTo>
                  <a:lnTo>
                    <a:pt x="3443" y="143"/>
                  </a:lnTo>
                  <a:lnTo>
                    <a:pt x="3448" y="143"/>
                  </a:lnTo>
                  <a:lnTo>
                    <a:pt x="3451" y="139"/>
                  </a:lnTo>
                  <a:lnTo>
                    <a:pt x="3454" y="139"/>
                  </a:lnTo>
                  <a:lnTo>
                    <a:pt x="3454" y="138"/>
                  </a:lnTo>
                  <a:lnTo>
                    <a:pt x="3448" y="137"/>
                  </a:lnTo>
                  <a:lnTo>
                    <a:pt x="3449" y="136"/>
                  </a:lnTo>
                  <a:lnTo>
                    <a:pt x="3452" y="136"/>
                  </a:lnTo>
                  <a:lnTo>
                    <a:pt x="3455" y="136"/>
                  </a:lnTo>
                  <a:lnTo>
                    <a:pt x="3452" y="135"/>
                  </a:lnTo>
                  <a:lnTo>
                    <a:pt x="3444" y="134"/>
                  </a:lnTo>
                  <a:lnTo>
                    <a:pt x="3444" y="133"/>
                  </a:lnTo>
                  <a:lnTo>
                    <a:pt x="3446" y="133"/>
                  </a:lnTo>
                  <a:lnTo>
                    <a:pt x="3449" y="132"/>
                  </a:lnTo>
                  <a:lnTo>
                    <a:pt x="3452" y="130"/>
                  </a:lnTo>
                  <a:lnTo>
                    <a:pt x="3451" y="128"/>
                  </a:lnTo>
                  <a:lnTo>
                    <a:pt x="3448" y="129"/>
                  </a:lnTo>
                  <a:lnTo>
                    <a:pt x="3449" y="128"/>
                  </a:lnTo>
                  <a:lnTo>
                    <a:pt x="3449" y="125"/>
                  </a:lnTo>
                  <a:lnTo>
                    <a:pt x="3446" y="124"/>
                  </a:lnTo>
                  <a:lnTo>
                    <a:pt x="3444" y="125"/>
                  </a:lnTo>
                  <a:lnTo>
                    <a:pt x="3440" y="124"/>
                  </a:lnTo>
                  <a:lnTo>
                    <a:pt x="3441" y="121"/>
                  </a:lnTo>
                  <a:lnTo>
                    <a:pt x="3439" y="121"/>
                  </a:lnTo>
                  <a:lnTo>
                    <a:pt x="3436" y="119"/>
                  </a:lnTo>
                  <a:lnTo>
                    <a:pt x="3436" y="118"/>
                  </a:lnTo>
                  <a:lnTo>
                    <a:pt x="3430" y="118"/>
                  </a:lnTo>
                  <a:lnTo>
                    <a:pt x="3426" y="117"/>
                  </a:lnTo>
                  <a:lnTo>
                    <a:pt x="3422" y="117"/>
                  </a:lnTo>
                  <a:lnTo>
                    <a:pt x="3420" y="119"/>
                  </a:lnTo>
                  <a:lnTo>
                    <a:pt x="3418" y="121"/>
                  </a:lnTo>
                  <a:lnTo>
                    <a:pt x="3415" y="121"/>
                  </a:lnTo>
                  <a:lnTo>
                    <a:pt x="3415" y="120"/>
                  </a:lnTo>
                  <a:lnTo>
                    <a:pt x="3412" y="119"/>
                  </a:lnTo>
                  <a:lnTo>
                    <a:pt x="3415" y="119"/>
                  </a:lnTo>
                  <a:lnTo>
                    <a:pt x="3414" y="117"/>
                  </a:lnTo>
                  <a:lnTo>
                    <a:pt x="3412" y="117"/>
                  </a:lnTo>
                  <a:lnTo>
                    <a:pt x="3409" y="119"/>
                  </a:lnTo>
                  <a:lnTo>
                    <a:pt x="3410" y="117"/>
                  </a:lnTo>
                  <a:lnTo>
                    <a:pt x="3407" y="118"/>
                  </a:lnTo>
                  <a:lnTo>
                    <a:pt x="3404" y="119"/>
                  </a:lnTo>
                  <a:lnTo>
                    <a:pt x="3405" y="117"/>
                  </a:lnTo>
                  <a:lnTo>
                    <a:pt x="3402" y="116"/>
                  </a:lnTo>
                  <a:lnTo>
                    <a:pt x="3400" y="117"/>
                  </a:lnTo>
                  <a:lnTo>
                    <a:pt x="3400" y="113"/>
                  </a:lnTo>
                  <a:lnTo>
                    <a:pt x="3388" y="110"/>
                  </a:lnTo>
                  <a:lnTo>
                    <a:pt x="3385" y="112"/>
                  </a:lnTo>
                  <a:lnTo>
                    <a:pt x="3383" y="110"/>
                  </a:lnTo>
                  <a:lnTo>
                    <a:pt x="3381" y="113"/>
                  </a:lnTo>
                  <a:lnTo>
                    <a:pt x="3379" y="115"/>
                  </a:lnTo>
                  <a:lnTo>
                    <a:pt x="3377" y="112"/>
                  </a:lnTo>
                  <a:lnTo>
                    <a:pt x="3375" y="113"/>
                  </a:lnTo>
                  <a:lnTo>
                    <a:pt x="3373" y="116"/>
                  </a:lnTo>
                  <a:lnTo>
                    <a:pt x="3375" y="118"/>
                  </a:lnTo>
                  <a:lnTo>
                    <a:pt x="3373" y="121"/>
                  </a:lnTo>
                  <a:lnTo>
                    <a:pt x="3376" y="124"/>
                  </a:lnTo>
                  <a:lnTo>
                    <a:pt x="3377" y="127"/>
                  </a:lnTo>
                  <a:lnTo>
                    <a:pt x="3375" y="127"/>
                  </a:lnTo>
                  <a:lnTo>
                    <a:pt x="3373" y="129"/>
                  </a:lnTo>
                  <a:lnTo>
                    <a:pt x="3372" y="133"/>
                  </a:lnTo>
                  <a:lnTo>
                    <a:pt x="3369" y="133"/>
                  </a:lnTo>
                  <a:lnTo>
                    <a:pt x="3367" y="130"/>
                  </a:lnTo>
                  <a:lnTo>
                    <a:pt x="3363" y="130"/>
                  </a:lnTo>
                  <a:lnTo>
                    <a:pt x="3361" y="132"/>
                  </a:lnTo>
                  <a:lnTo>
                    <a:pt x="3359" y="132"/>
                  </a:lnTo>
                  <a:lnTo>
                    <a:pt x="3346" y="132"/>
                  </a:lnTo>
                  <a:lnTo>
                    <a:pt x="3343" y="133"/>
                  </a:lnTo>
                  <a:lnTo>
                    <a:pt x="3341" y="133"/>
                  </a:lnTo>
                  <a:lnTo>
                    <a:pt x="3335" y="132"/>
                  </a:lnTo>
                  <a:lnTo>
                    <a:pt x="3329" y="130"/>
                  </a:lnTo>
                  <a:lnTo>
                    <a:pt x="3325" y="130"/>
                  </a:lnTo>
                  <a:lnTo>
                    <a:pt x="3324" y="130"/>
                  </a:lnTo>
                  <a:lnTo>
                    <a:pt x="3320" y="129"/>
                  </a:lnTo>
                  <a:lnTo>
                    <a:pt x="3316" y="128"/>
                  </a:lnTo>
                  <a:lnTo>
                    <a:pt x="3307" y="126"/>
                  </a:lnTo>
                  <a:lnTo>
                    <a:pt x="3306" y="122"/>
                  </a:lnTo>
                  <a:lnTo>
                    <a:pt x="3306" y="120"/>
                  </a:lnTo>
                  <a:lnTo>
                    <a:pt x="3308" y="118"/>
                  </a:lnTo>
                  <a:lnTo>
                    <a:pt x="3311" y="119"/>
                  </a:lnTo>
                  <a:lnTo>
                    <a:pt x="3313" y="119"/>
                  </a:lnTo>
                  <a:lnTo>
                    <a:pt x="3310" y="116"/>
                  </a:lnTo>
                  <a:lnTo>
                    <a:pt x="3308" y="116"/>
                  </a:lnTo>
                  <a:lnTo>
                    <a:pt x="3294" y="116"/>
                  </a:lnTo>
                  <a:lnTo>
                    <a:pt x="3279" y="113"/>
                  </a:lnTo>
                  <a:lnTo>
                    <a:pt x="3277" y="113"/>
                  </a:lnTo>
                  <a:lnTo>
                    <a:pt x="3272" y="112"/>
                  </a:lnTo>
                  <a:lnTo>
                    <a:pt x="3262" y="112"/>
                  </a:lnTo>
                  <a:lnTo>
                    <a:pt x="3257" y="115"/>
                  </a:lnTo>
                  <a:lnTo>
                    <a:pt x="3247" y="116"/>
                  </a:lnTo>
                  <a:lnTo>
                    <a:pt x="3241" y="117"/>
                  </a:lnTo>
                  <a:lnTo>
                    <a:pt x="3240" y="120"/>
                  </a:lnTo>
                  <a:lnTo>
                    <a:pt x="3243" y="121"/>
                  </a:lnTo>
                  <a:lnTo>
                    <a:pt x="3245" y="121"/>
                  </a:lnTo>
                  <a:lnTo>
                    <a:pt x="3240" y="125"/>
                  </a:lnTo>
                  <a:lnTo>
                    <a:pt x="3239" y="125"/>
                  </a:lnTo>
                  <a:lnTo>
                    <a:pt x="3238" y="121"/>
                  </a:lnTo>
                  <a:lnTo>
                    <a:pt x="3235" y="118"/>
                  </a:lnTo>
                  <a:lnTo>
                    <a:pt x="3238" y="113"/>
                  </a:lnTo>
                  <a:lnTo>
                    <a:pt x="3234" y="108"/>
                  </a:lnTo>
                  <a:lnTo>
                    <a:pt x="3231" y="105"/>
                  </a:lnTo>
                  <a:lnTo>
                    <a:pt x="3231" y="111"/>
                  </a:lnTo>
                  <a:lnTo>
                    <a:pt x="3228" y="112"/>
                  </a:lnTo>
                  <a:lnTo>
                    <a:pt x="3222" y="112"/>
                  </a:lnTo>
                  <a:lnTo>
                    <a:pt x="3219" y="112"/>
                  </a:lnTo>
                  <a:lnTo>
                    <a:pt x="3213" y="111"/>
                  </a:lnTo>
                  <a:lnTo>
                    <a:pt x="3209" y="109"/>
                  </a:lnTo>
                  <a:lnTo>
                    <a:pt x="3208" y="108"/>
                  </a:lnTo>
                  <a:lnTo>
                    <a:pt x="3202" y="111"/>
                  </a:lnTo>
                  <a:lnTo>
                    <a:pt x="3204" y="112"/>
                  </a:lnTo>
                  <a:lnTo>
                    <a:pt x="3198" y="113"/>
                  </a:lnTo>
                  <a:lnTo>
                    <a:pt x="3195" y="116"/>
                  </a:lnTo>
                  <a:lnTo>
                    <a:pt x="3192" y="116"/>
                  </a:lnTo>
                  <a:lnTo>
                    <a:pt x="3190" y="118"/>
                  </a:lnTo>
                  <a:lnTo>
                    <a:pt x="3188" y="119"/>
                  </a:lnTo>
                  <a:lnTo>
                    <a:pt x="3185" y="119"/>
                  </a:lnTo>
                  <a:lnTo>
                    <a:pt x="3182" y="118"/>
                  </a:lnTo>
                  <a:lnTo>
                    <a:pt x="3180" y="117"/>
                  </a:lnTo>
                  <a:lnTo>
                    <a:pt x="3182" y="119"/>
                  </a:lnTo>
                  <a:lnTo>
                    <a:pt x="3180" y="118"/>
                  </a:lnTo>
                  <a:lnTo>
                    <a:pt x="3178" y="121"/>
                  </a:lnTo>
                  <a:lnTo>
                    <a:pt x="3175" y="121"/>
                  </a:lnTo>
                  <a:lnTo>
                    <a:pt x="3167" y="122"/>
                  </a:lnTo>
                  <a:lnTo>
                    <a:pt x="3162" y="126"/>
                  </a:lnTo>
                  <a:lnTo>
                    <a:pt x="3158" y="126"/>
                  </a:lnTo>
                  <a:lnTo>
                    <a:pt x="3153" y="127"/>
                  </a:lnTo>
                  <a:lnTo>
                    <a:pt x="3150" y="126"/>
                  </a:lnTo>
                  <a:lnTo>
                    <a:pt x="3147" y="127"/>
                  </a:lnTo>
                  <a:lnTo>
                    <a:pt x="3142" y="126"/>
                  </a:lnTo>
                  <a:lnTo>
                    <a:pt x="3139" y="127"/>
                  </a:lnTo>
                  <a:lnTo>
                    <a:pt x="3137" y="133"/>
                  </a:lnTo>
                  <a:lnTo>
                    <a:pt x="3129" y="137"/>
                  </a:lnTo>
                  <a:lnTo>
                    <a:pt x="3122" y="137"/>
                  </a:lnTo>
                  <a:lnTo>
                    <a:pt x="3122" y="136"/>
                  </a:lnTo>
                  <a:lnTo>
                    <a:pt x="3124" y="136"/>
                  </a:lnTo>
                  <a:lnTo>
                    <a:pt x="3130" y="134"/>
                  </a:lnTo>
                  <a:lnTo>
                    <a:pt x="3132" y="130"/>
                  </a:lnTo>
                  <a:lnTo>
                    <a:pt x="3133" y="128"/>
                  </a:lnTo>
                  <a:lnTo>
                    <a:pt x="3138" y="122"/>
                  </a:lnTo>
                  <a:lnTo>
                    <a:pt x="3144" y="122"/>
                  </a:lnTo>
                  <a:lnTo>
                    <a:pt x="3146" y="121"/>
                  </a:lnTo>
                  <a:lnTo>
                    <a:pt x="3148" y="119"/>
                  </a:lnTo>
                  <a:lnTo>
                    <a:pt x="3154" y="115"/>
                  </a:lnTo>
                  <a:lnTo>
                    <a:pt x="3159" y="115"/>
                  </a:lnTo>
                  <a:lnTo>
                    <a:pt x="3162" y="113"/>
                  </a:lnTo>
                  <a:lnTo>
                    <a:pt x="3165" y="113"/>
                  </a:lnTo>
                  <a:lnTo>
                    <a:pt x="3170" y="110"/>
                  </a:lnTo>
                  <a:lnTo>
                    <a:pt x="3173" y="107"/>
                  </a:lnTo>
                  <a:lnTo>
                    <a:pt x="3179" y="103"/>
                  </a:lnTo>
                  <a:lnTo>
                    <a:pt x="3184" y="102"/>
                  </a:lnTo>
                  <a:lnTo>
                    <a:pt x="3190" y="99"/>
                  </a:lnTo>
                  <a:lnTo>
                    <a:pt x="3187" y="96"/>
                  </a:lnTo>
                  <a:lnTo>
                    <a:pt x="3190" y="94"/>
                  </a:lnTo>
                  <a:lnTo>
                    <a:pt x="3193" y="94"/>
                  </a:lnTo>
                  <a:lnTo>
                    <a:pt x="3196" y="92"/>
                  </a:lnTo>
                  <a:lnTo>
                    <a:pt x="3198" y="92"/>
                  </a:lnTo>
                  <a:lnTo>
                    <a:pt x="3201" y="91"/>
                  </a:lnTo>
                  <a:lnTo>
                    <a:pt x="3204" y="90"/>
                  </a:lnTo>
                  <a:lnTo>
                    <a:pt x="3209" y="86"/>
                  </a:lnTo>
                  <a:lnTo>
                    <a:pt x="3213" y="86"/>
                  </a:lnTo>
                  <a:lnTo>
                    <a:pt x="3215" y="86"/>
                  </a:lnTo>
                  <a:lnTo>
                    <a:pt x="3219" y="81"/>
                  </a:lnTo>
                  <a:lnTo>
                    <a:pt x="3228" y="78"/>
                  </a:lnTo>
                  <a:lnTo>
                    <a:pt x="3231" y="77"/>
                  </a:lnTo>
                  <a:lnTo>
                    <a:pt x="3239" y="70"/>
                  </a:lnTo>
                  <a:lnTo>
                    <a:pt x="3241" y="68"/>
                  </a:lnTo>
                  <a:lnTo>
                    <a:pt x="3242" y="65"/>
                  </a:lnTo>
                  <a:lnTo>
                    <a:pt x="3236" y="62"/>
                  </a:lnTo>
                  <a:lnTo>
                    <a:pt x="3236" y="59"/>
                  </a:lnTo>
                  <a:lnTo>
                    <a:pt x="3233" y="60"/>
                  </a:lnTo>
                  <a:lnTo>
                    <a:pt x="3231" y="62"/>
                  </a:lnTo>
                  <a:lnTo>
                    <a:pt x="3230" y="57"/>
                  </a:lnTo>
                  <a:lnTo>
                    <a:pt x="3226" y="57"/>
                  </a:lnTo>
                  <a:lnTo>
                    <a:pt x="3224" y="55"/>
                  </a:lnTo>
                  <a:lnTo>
                    <a:pt x="3226" y="55"/>
                  </a:lnTo>
                  <a:lnTo>
                    <a:pt x="3235" y="58"/>
                  </a:lnTo>
                  <a:lnTo>
                    <a:pt x="3238" y="59"/>
                  </a:lnTo>
                  <a:lnTo>
                    <a:pt x="3240" y="60"/>
                  </a:lnTo>
                  <a:lnTo>
                    <a:pt x="3242" y="58"/>
                  </a:lnTo>
                  <a:lnTo>
                    <a:pt x="3243" y="55"/>
                  </a:lnTo>
                  <a:lnTo>
                    <a:pt x="3243" y="52"/>
                  </a:lnTo>
                  <a:lnTo>
                    <a:pt x="3238" y="51"/>
                  </a:lnTo>
                  <a:lnTo>
                    <a:pt x="3239" y="49"/>
                  </a:lnTo>
                  <a:lnTo>
                    <a:pt x="3239" y="45"/>
                  </a:lnTo>
                  <a:lnTo>
                    <a:pt x="3235" y="43"/>
                  </a:lnTo>
                  <a:lnTo>
                    <a:pt x="3233" y="42"/>
                  </a:lnTo>
                  <a:lnTo>
                    <a:pt x="3235" y="44"/>
                  </a:lnTo>
                  <a:lnTo>
                    <a:pt x="3233" y="45"/>
                  </a:lnTo>
                  <a:lnTo>
                    <a:pt x="3231" y="48"/>
                  </a:lnTo>
                  <a:lnTo>
                    <a:pt x="3228" y="48"/>
                  </a:lnTo>
                  <a:lnTo>
                    <a:pt x="3230" y="45"/>
                  </a:lnTo>
                  <a:lnTo>
                    <a:pt x="3227" y="44"/>
                  </a:lnTo>
                  <a:lnTo>
                    <a:pt x="3228" y="42"/>
                  </a:lnTo>
                  <a:lnTo>
                    <a:pt x="3226" y="39"/>
                  </a:lnTo>
                  <a:lnTo>
                    <a:pt x="3223" y="38"/>
                  </a:lnTo>
                  <a:lnTo>
                    <a:pt x="3221" y="38"/>
                  </a:lnTo>
                  <a:lnTo>
                    <a:pt x="3217" y="39"/>
                  </a:lnTo>
                  <a:lnTo>
                    <a:pt x="3221" y="36"/>
                  </a:lnTo>
                  <a:lnTo>
                    <a:pt x="3215" y="32"/>
                  </a:lnTo>
                  <a:lnTo>
                    <a:pt x="3212" y="32"/>
                  </a:lnTo>
                  <a:lnTo>
                    <a:pt x="3209" y="30"/>
                  </a:lnTo>
                  <a:lnTo>
                    <a:pt x="3206" y="31"/>
                  </a:lnTo>
                  <a:lnTo>
                    <a:pt x="3204" y="28"/>
                  </a:lnTo>
                  <a:lnTo>
                    <a:pt x="3200" y="30"/>
                  </a:lnTo>
                  <a:lnTo>
                    <a:pt x="3198" y="28"/>
                  </a:lnTo>
                  <a:lnTo>
                    <a:pt x="3195" y="28"/>
                  </a:lnTo>
                  <a:lnTo>
                    <a:pt x="3192" y="30"/>
                  </a:lnTo>
                  <a:lnTo>
                    <a:pt x="3188" y="30"/>
                  </a:lnTo>
                  <a:lnTo>
                    <a:pt x="3185" y="28"/>
                  </a:lnTo>
                  <a:lnTo>
                    <a:pt x="3182" y="28"/>
                  </a:lnTo>
                  <a:lnTo>
                    <a:pt x="3174" y="30"/>
                  </a:lnTo>
                  <a:lnTo>
                    <a:pt x="3168" y="30"/>
                  </a:lnTo>
                  <a:lnTo>
                    <a:pt x="3163" y="28"/>
                  </a:lnTo>
                  <a:lnTo>
                    <a:pt x="3163" y="32"/>
                  </a:lnTo>
                  <a:lnTo>
                    <a:pt x="3161" y="34"/>
                  </a:lnTo>
                  <a:lnTo>
                    <a:pt x="3158" y="35"/>
                  </a:lnTo>
                  <a:lnTo>
                    <a:pt x="3153" y="35"/>
                  </a:lnTo>
                  <a:lnTo>
                    <a:pt x="3145" y="35"/>
                  </a:lnTo>
                  <a:lnTo>
                    <a:pt x="3141" y="35"/>
                  </a:lnTo>
                  <a:lnTo>
                    <a:pt x="3140" y="35"/>
                  </a:lnTo>
                  <a:lnTo>
                    <a:pt x="3144" y="34"/>
                  </a:lnTo>
                  <a:lnTo>
                    <a:pt x="3146" y="31"/>
                  </a:lnTo>
                  <a:lnTo>
                    <a:pt x="3148" y="30"/>
                  </a:lnTo>
                  <a:lnTo>
                    <a:pt x="3150" y="27"/>
                  </a:lnTo>
                  <a:lnTo>
                    <a:pt x="3154" y="25"/>
                  </a:lnTo>
                  <a:lnTo>
                    <a:pt x="3154" y="23"/>
                  </a:lnTo>
                  <a:lnTo>
                    <a:pt x="3150" y="21"/>
                  </a:lnTo>
                  <a:lnTo>
                    <a:pt x="3148" y="21"/>
                  </a:lnTo>
                  <a:lnTo>
                    <a:pt x="3145" y="21"/>
                  </a:lnTo>
                  <a:lnTo>
                    <a:pt x="3142" y="21"/>
                  </a:lnTo>
                  <a:lnTo>
                    <a:pt x="3140" y="19"/>
                  </a:lnTo>
                  <a:lnTo>
                    <a:pt x="3137" y="19"/>
                  </a:lnTo>
                  <a:lnTo>
                    <a:pt x="3134" y="22"/>
                  </a:lnTo>
                  <a:lnTo>
                    <a:pt x="3129" y="22"/>
                  </a:lnTo>
                  <a:lnTo>
                    <a:pt x="3131" y="21"/>
                  </a:lnTo>
                  <a:lnTo>
                    <a:pt x="3133" y="17"/>
                  </a:lnTo>
                  <a:lnTo>
                    <a:pt x="3125" y="18"/>
                  </a:lnTo>
                  <a:lnTo>
                    <a:pt x="3123" y="18"/>
                  </a:lnTo>
                  <a:lnTo>
                    <a:pt x="3120" y="18"/>
                  </a:lnTo>
                  <a:lnTo>
                    <a:pt x="3117" y="17"/>
                  </a:lnTo>
                  <a:lnTo>
                    <a:pt x="3111" y="19"/>
                  </a:lnTo>
                  <a:lnTo>
                    <a:pt x="3108" y="18"/>
                  </a:lnTo>
                  <a:lnTo>
                    <a:pt x="3111" y="17"/>
                  </a:lnTo>
                  <a:lnTo>
                    <a:pt x="3114" y="17"/>
                  </a:lnTo>
                  <a:lnTo>
                    <a:pt x="3116" y="16"/>
                  </a:lnTo>
                  <a:lnTo>
                    <a:pt x="3122" y="16"/>
                  </a:lnTo>
                  <a:lnTo>
                    <a:pt x="3125" y="15"/>
                  </a:lnTo>
                  <a:lnTo>
                    <a:pt x="3128" y="14"/>
                  </a:lnTo>
                  <a:lnTo>
                    <a:pt x="3131" y="12"/>
                  </a:lnTo>
                  <a:lnTo>
                    <a:pt x="3133" y="10"/>
                  </a:lnTo>
                  <a:lnTo>
                    <a:pt x="3137" y="12"/>
                  </a:lnTo>
                  <a:lnTo>
                    <a:pt x="3134" y="8"/>
                  </a:lnTo>
                  <a:lnTo>
                    <a:pt x="3132" y="6"/>
                  </a:lnTo>
                  <a:lnTo>
                    <a:pt x="3130" y="5"/>
                  </a:lnTo>
                  <a:lnTo>
                    <a:pt x="3127" y="6"/>
                  </a:lnTo>
                  <a:lnTo>
                    <a:pt x="3124" y="5"/>
                  </a:lnTo>
                  <a:lnTo>
                    <a:pt x="3119" y="4"/>
                  </a:lnTo>
                  <a:lnTo>
                    <a:pt x="3115" y="1"/>
                  </a:lnTo>
                  <a:lnTo>
                    <a:pt x="3113" y="1"/>
                  </a:lnTo>
                  <a:lnTo>
                    <a:pt x="3110" y="0"/>
                  </a:lnTo>
                  <a:lnTo>
                    <a:pt x="3107" y="0"/>
                  </a:lnTo>
                  <a:lnTo>
                    <a:pt x="3098" y="4"/>
                  </a:lnTo>
                  <a:lnTo>
                    <a:pt x="3096" y="2"/>
                  </a:lnTo>
                  <a:lnTo>
                    <a:pt x="3093" y="4"/>
                  </a:lnTo>
                  <a:lnTo>
                    <a:pt x="3090" y="6"/>
                  </a:lnTo>
                  <a:lnTo>
                    <a:pt x="3087" y="7"/>
                  </a:lnTo>
                  <a:lnTo>
                    <a:pt x="3085" y="8"/>
                  </a:lnTo>
                  <a:lnTo>
                    <a:pt x="3081" y="10"/>
                  </a:lnTo>
                  <a:lnTo>
                    <a:pt x="3079" y="10"/>
                  </a:lnTo>
                  <a:lnTo>
                    <a:pt x="3079" y="13"/>
                  </a:lnTo>
                  <a:lnTo>
                    <a:pt x="3077" y="14"/>
                  </a:lnTo>
                  <a:lnTo>
                    <a:pt x="3072" y="17"/>
                  </a:lnTo>
                  <a:lnTo>
                    <a:pt x="3071" y="21"/>
                  </a:lnTo>
                  <a:lnTo>
                    <a:pt x="3068" y="22"/>
                  </a:lnTo>
                  <a:lnTo>
                    <a:pt x="3065" y="24"/>
                  </a:lnTo>
                  <a:lnTo>
                    <a:pt x="3068" y="27"/>
                  </a:lnTo>
                  <a:lnTo>
                    <a:pt x="3070" y="27"/>
                  </a:lnTo>
                  <a:lnTo>
                    <a:pt x="3069" y="31"/>
                  </a:lnTo>
                  <a:lnTo>
                    <a:pt x="3069" y="33"/>
                  </a:lnTo>
                  <a:lnTo>
                    <a:pt x="3072" y="35"/>
                  </a:lnTo>
                  <a:lnTo>
                    <a:pt x="3084" y="38"/>
                  </a:lnTo>
                  <a:lnTo>
                    <a:pt x="3081" y="39"/>
                  </a:lnTo>
                  <a:lnTo>
                    <a:pt x="3078" y="36"/>
                  </a:lnTo>
                  <a:lnTo>
                    <a:pt x="3074" y="36"/>
                  </a:lnTo>
                  <a:lnTo>
                    <a:pt x="3072" y="36"/>
                  </a:lnTo>
                  <a:lnTo>
                    <a:pt x="3069" y="36"/>
                  </a:lnTo>
                  <a:lnTo>
                    <a:pt x="3067" y="35"/>
                  </a:lnTo>
                  <a:lnTo>
                    <a:pt x="3057" y="36"/>
                  </a:lnTo>
                  <a:lnTo>
                    <a:pt x="3054" y="35"/>
                  </a:lnTo>
                  <a:lnTo>
                    <a:pt x="3046" y="36"/>
                  </a:lnTo>
                  <a:lnTo>
                    <a:pt x="3043" y="35"/>
                  </a:lnTo>
                  <a:lnTo>
                    <a:pt x="3040" y="35"/>
                  </a:lnTo>
                  <a:lnTo>
                    <a:pt x="3040" y="38"/>
                  </a:lnTo>
                  <a:lnTo>
                    <a:pt x="3046" y="42"/>
                  </a:lnTo>
                  <a:lnTo>
                    <a:pt x="3048" y="42"/>
                  </a:lnTo>
                  <a:lnTo>
                    <a:pt x="3052" y="48"/>
                  </a:lnTo>
                  <a:lnTo>
                    <a:pt x="3052" y="48"/>
                  </a:lnTo>
                  <a:lnTo>
                    <a:pt x="3048" y="48"/>
                  </a:lnTo>
                  <a:lnTo>
                    <a:pt x="3048" y="45"/>
                  </a:lnTo>
                  <a:lnTo>
                    <a:pt x="3043" y="47"/>
                  </a:lnTo>
                  <a:lnTo>
                    <a:pt x="3040" y="43"/>
                  </a:lnTo>
                  <a:lnTo>
                    <a:pt x="3038" y="44"/>
                  </a:lnTo>
                  <a:lnTo>
                    <a:pt x="3036" y="43"/>
                  </a:lnTo>
                  <a:lnTo>
                    <a:pt x="3033" y="44"/>
                  </a:lnTo>
                  <a:lnTo>
                    <a:pt x="3027" y="45"/>
                  </a:lnTo>
                  <a:lnTo>
                    <a:pt x="3029" y="47"/>
                  </a:lnTo>
                  <a:lnTo>
                    <a:pt x="3027" y="48"/>
                  </a:lnTo>
                  <a:lnTo>
                    <a:pt x="3025" y="48"/>
                  </a:lnTo>
                  <a:lnTo>
                    <a:pt x="3021" y="48"/>
                  </a:lnTo>
                  <a:lnTo>
                    <a:pt x="3025" y="49"/>
                  </a:lnTo>
                  <a:lnTo>
                    <a:pt x="3019" y="50"/>
                  </a:lnTo>
                  <a:lnTo>
                    <a:pt x="3016" y="51"/>
                  </a:lnTo>
                  <a:lnTo>
                    <a:pt x="3018" y="49"/>
                  </a:lnTo>
                  <a:lnTo>
                    <a:pt x="3014" y="50"/>
                  </a:lnTo>
                  <a:lnTo>
                    <a:pt x="3012" y="51"/>
                  </a:lnTo>
                  <a:lnTo>
                    <a:pt x="3006" y="53"/>
                  </a:lnTo>
                  <a:lnTo>
                    <a:pt x="3009" y="50"/>
                  </a:lnTo>
                  <a:lnTo>
                    <a:pt x="3005" y="49"/>
                  </a:lnTo>
                  <a:lnTo>
                    <a:pt x="3003" y="51"/>
                  </a:lnTo>
                  <a:lnTo>
                    <a:pt x="3000" y="51"/>
                  </a:lnTo>
                  <a:lnTo>
                    <a:pt x="2994" y="53"/>
                  </a:lnTo>
                  <a:lnTo>
                    <a:pt x="3000" y="48"/>
                  </a:lnTo>
                  <a:lnTo>
                    <a:pt x="2997" y="45"/>
                  </a:lnTo>
                  <a:lnTo>
                    <a:pt x="2992" y="45"/>
                  </a:lnTo>
                  <a:lnTo>
                    <a:pt x="2989" y="47"/>
                  </a:lnTo>
                  <a:lnTo>
                    <a:pt x="2986" y="47"/>
                  </a:lnTo>
                  <a:lnTo>
                    <a:pt x="2980" y="45"/>
                  </a:lnTo>
                  <a:lnTo>
                    <a:pt x="2980" y="48"/>
                  </a:lnTo>
                  <a:lnTo>
                    <a:pt x="2977" y="47"/>
                  </a:lnTo>
                  <a:lnTo>
                    <a:pt x="2968" y="47"/>
                  </a:lnTo>
                  <a:lnTo>
                    <a:pt x="2971" y="48"/>
                  </a:lnTo>
                  <a:lnTo>
                    <a:pt x="2969" y="49"/>
                  </a:lnTo>
                  <a:lnTo>
                    <a:pt x="2963" y="48"/>
                  </a:lnTo>
                  <a:lnTo>
                    <a:pt x="2960" y="47"/>
                  </a:lnTo>
                  <a:lnTo>
                    <a:pt x="2958" y="48"/>
                  </a:lnTo>
                  <a:lnTo>
                    <a:pt x="2956" y="51"/>
                  </a:lnTo>
                  <a:lnTo>
                    <a:pt x="2959" y="52"/>
                  </a:lnTo>
                  <a:lnTo>
                    <a:pt x="2962" y="50"/>
                  </a:lnTo>
                  <a:lnTo>
                    <a:pt x="2963" y="53"/>
                  </a:lnTo>
                  <a:lnTo>
                    <a:pt x="2965" y="51"/>
                  </a:lnTo>
                  <a:lnTo>
                    <a:pt x="2968" y="52"/>
                  </a:lnTo>
                  <a:lnTo>
                    <a:pt x="2974" y="51"/>
                  </a:lnTo>
                  <a:lnTo>
                    <a:pt x="2971" y="52"/>
                  </a:lnTo>
                  <a:lnTo>
                    <a:pt x="2962" y="55"/>
                  </a:lnTo>
                  <a:lnTo>
                    <a:pt x="2946" y="57"/>
                  </a:lnTo>
                  <a:lnTo>
                    <a:pt x="2941" y="57"/>
                  </a:lnTo>
                  <a:lnTo>
                    <a:pt x="2939" y="60"/>
                  </a:lnTo>
                  <a:lnTo>
                    <a:pt x="2936" y="59"/>
                  </a:lnTo>
                  <a:lnTo>
                    <a:pt x="2931" y="60"/>
                  </a:lnTo>
                  <a:lnTo>
                    <a:pt x="2928" y="59"/>
                  </a:lnTo>
                  <a:lnTo>
                    <a:pt x="2925" y="60"/>
                  </a:lnTo>
                  <a:lnTo>
                    <a:pt x="2917" y="61"/>
                  </a:lnTo>
                  <a:lnTo>
                    <a:pt x="2917" y="64"/>
                  </a:lnTo>
                  <a:lnTo>
                    <a:pt x="2915" y="64"/>
                  </a:lnTo>
                  <a:lnTo>
                    <a:pt x="2911" y="65"/>
                  </a:lnTo>
                  <a:lnTo>
                    <a:pt x="2906" y="65"/>
                  </a:lnTo>
                  <a:lnTo>
                    <a:pt x="2903" y="65"/>
                  </a:lnTo>
                  <a:lnTo>
                    <a:pt x="2898" y="69"/>
                  </a:lnTo>
                  <a:lnTo>
                    <a:pt x="2894" y="70"/>
                  </a:lnTo>
                  <a:lnTo>
                    <a:pt x="2892" y="74"/>
                  </a:lnTo>
                  <a:lnTo>
                    <a:pt x="2889" y="75"/>
                  </a:lnTo>
                  <a:lnTo>
                    <a:pt x="2883" y="74"/>
                  </a:lnTo>
                  <a:lnTo>
                    <a:pt x="2877" y="73"/>
                  </a:lnTo>
                  <a:lnTo>
                    <a:pt x="2875" y="74"/>
                  </a:lnTo>
                  <a:lnTo>
                    <a:pt x="2876" y="75"/>
                  </a:lnTo>
                  <a:lnTo>
                    <a:pt x="2882" y="76"/>
                  </a:lnTo>
                  <a:lnTo>
                    <a:pt x="2885" y="76"/>
                  </a:lnTo>
                  <a:lnTo>
                    <a:pt x="2884" y="79"/>
                  </a:lnTo>
                  <a:lnTo>
                    <a:pt x="2881" y="77"/>
                  </a:lnTo>
                  <a:lnTo>
                    <a:pt x="2878" y="77"/>
                  </a:lnTo>
                  <a:lnTo>
                    <a:pt x="2881" y="78"/>
                  </a:lnTo>
                  <a:lnTo>
                    <a:pt x="2878" y="81"/>
                  </a:lnTo>
                  <a:lnTo>
                    <a:pt x="2877" y="83"/>
                  </a:lnTo>
                  <a:lnTo>
                    <a:pt x="2874" y="84"/>
                  </a:lnTo>
                  <a:lnTo>
                    <a:pt x="2875" y="87"/>
                  </a:lnTo>
                  <a:lnTo>
                    <a:pt x="2872" y="87"/>
                  </a:lnTo>
                  <a:lnTo>
                    <a:pt x="2869" y="85"/>
                  </a:lnTo>
                  <a:lnTo>
                    <a:pt x="2867" y="85"/>
                  </a:lnTo>
                  <a:lnTo>
                    <a:pt x="2865" y="83"/>
                  </a:lnTo>
                  <a:lnTo>
                    <a:pt x="2863" y="85"/>
                  </a:lnTo>
                  <a:lnTo>
                    <a:pt x="2860" y="86"/>
                  </a:lnTo>
                  <a:lnTo>
                    <a:pt x="2863" y="87"/>
                  </a:lnTo>
                  <a:lnTo>
                    <a:pt x="2872" y="90"/>
                  </a:lnTo>
                  <a:lnTo>
                    <a:pt x="2872" y="92"/>
                  </a:lnTo>
                  <a:lnTo>
                    <a:pt x="2875" y="93"/>
                  </a:lnTo>
                  <a:lnTo>
                    <a:pt x="2877" y="94"/>
                  </a:lnTo>
                  <a:lnTo>
                    <a:pt x="2876" y="96"/>
                  </a:lnTo>
                  <a:lnTo>
                    <a:pt x="2874" y="96"/>
                  </a:lnTo>
                  <a:lnTo>
                    <a:pt x="2872" y="94"/>
                  </a:lnTo>
                  <a:lnTo>
                    <a:pt x="2868" y="92"/>
                  </a:lnTo>
                  <a:lnTo>
                    <a:pt x="2866" y="93"/>
                  </a:lnTo>
                  <a:lnTo>
                    <a:pt x="2863" y="93"/>
                  </a:lnTo>
                  <a:lnTo>
                    <a:pt x="2866" y="94"/>
                  </a:lnTo>
                  <a:lnTo>
                    <a:pt x="2863" y="95"/>
                  </a:lnTo>
                  <a:lnTo>
                    <a:pt x="2865" y="98"/>
                  </a:lnTo>
                  <a:lnTo>
                    <a:pt x="2871" y="98"/>
                  </a:lnTo>
                  <a:lnTo>
                    <a:pt x="2873" y="100"/>
                  </a:lnTo>
                  <a:lnTo>
                    <a:pt x="2874" y="102"/>
                  </a:lnTo>
                  <a:lnTo>
                    <a:pt x="2880" y="103"/>
                  </a:lnTo>
                  <a:lnTo>
                    <a:pt x="2876" y="103"/>
                  </a:lnTo>
                  <a:lnTo>
                    <a:pt x="2878" y="108"/>
                  </a:lnTo>
                  <a:lnTo>
                    <a:pt x="2877" y="108"/>
                  </a:lnTo>
                  <a:lnTo>
                    <a:pt x="2876" y="108"/>
                  </a:lnTo>
                  <a:lnTo>
                    <a:pt x="2874" y="108"/>
                  </a:lnTo>
                  <a:lnTo>
                    <a:pt x="2863" y="108"/>
                  </a:lnTo>
                  <a:lnTo>
                    <a:pt x="2859" y="109"/>
                  </a:lnTo>
                  <a:lnTo>
                    <a:pt x="2857" y="109"/>
                  </a:lnTo>
                  <a:lnTo>
                    <a:pt x="2855" y="112"/>
                  </a:lnTo>
                  <a:lnTo>
                    <a:pt x="2851" y="112"/>
                  </a:lnTo>
                  <a:lnTo>
                    <a:pt x="2849" y="112"/>
                  </a:lnTo>
                  <a:lnTo>
                    <a:pt x="2847" y="111"/>
                  </a:lnTo>
                  <a:lnTo>
                    <a:pt x="2843" y="111"/>
                  </a:lnTo>
                  <a:lnTo>
                    <a:pt x="2838" y="112"/>
                  </a:lnTo>
                  <a:lnTo>
                    <a:pt x="2832" y="112"/>
                  </a:lnTo>
                  <a:lnTo>
                    <a:pt x="2826" y="113"/>
                  </a:lnTo>
                  <a:lnTo>
                    <a:pt x="2815" y="113"/>
                  </a:lnTo>
                  <a:lnTo>
                    <a:pt x="2806" y="113"/>
                  </a:lnTo>
                  <a:lnTo>
                    <a:pt x="2800" y="113"/>
                  </a:lnTo>
                  <a:lnTo>
                    <a:pt x="2798" y="115"/>
                  </a:lnTo>
                  <a:lnTo>
                    <a:pt x="2795" y="115"/>
                  </a:lnTo>
                  <a:lnTo>
                    <a:pt x="2792" y="116"/>
                  </a:lnTo>
                  <a:lnTo>
                    <a:pt x="2789" y="118"/>
                  </a:lnTo>
                  <a:lnTo>
                    <a:pt x="2787" y="120"/>
                  </a:lnTo>
                  <a:lnTo>
                    <a:pt x="2784" y="124"/>
                  </a:lnTo>
                  <a:lnTo>
                    <a:pt x="2788" y="125"/>
                  </a:lnTo>
                  <a:lnTo>
                    <a:pt x="2784" y="126"/>
                  </a:lnTo>
                  <a:lnTo>
                    <a:pt x="2788" y="129"/>
                  </a:lnTo>
                  <a:lnTo>
                    <a:pt x="2790" y="130"/>
                  </a:lnTo>
                  <a:lnTo>
                    <a:pt x="2791" y="133"/>
                  </a:lnTo>
                  <a:lnTo>
                    <a:pt x="2790" y="136"/>
                  </a:lnTo>
                  <a:lnTo>
                    <a:pt x="2789" y="138"/>
                  </a:lnTo>
                  <a:lnTo>
                    <a:pt x="2791" y="141"/>
                  </a:lnTo>
                  <a:lnTo>
                    <a:pt x="2791" y="144"/>
                  </a:lnTo>
                  <a:lnTo>
                    <a:pt x="2797" y="147"/>
                  </a:lnTo>
                  <a:lnTo>
                    <a:pt x="2805" y="149"/>
                  </a:lnTo>
                  <a:lnTo>
                    <a:pt x="2807" y="150"/>
                  </a:lnTo>
                  <a:lnTo>
                    <a:pt x="2811" y="150"/>
                  </a:lnTo>
                  <a:lnTo>
                    <a:pt x="2812" y="153"/>
                  </a:lnTo>
                  <a:lnTo>
                    <a:pt x="2812" y="155"/>
                  </a:lnTo>
                  <a:lnTo>
                    <a:pt x="2815" y="156"/>
                  </a:lnTo>
                  <a:lnTo>
                    <a:pt x="2817" y="161"/>
                  </a:lnTo>
                  <a:lnTo>
                    <a:pt x="2817" y="162"/>
                  </a:lnTo>
                  <a:lnTo>
                    <a:pt x="2809" y="164"/>
                  </a:lnTo>
                  <a:lnTo>
                    <a:pt x="2804" y="164"/>
                  </a:lnTo>
                  <a:lnTo>
                    <a:pt x="2798" y="162"/>
                  </a:lnTo>
                  <a:lnTo>
                    <a:pt x="2796" y="160"/>
                  </a:lnTo>
                  <a:lnTo>
                    <a:pt x="2791" y="156"/>
                  </a:lnTo>
                  <a:lnTo>
                    <a:pt x="2789" y="154"/>
                  </a:lnTo>
                  <a:lnTo>
                    <a:pt x="2787" y="153"/>
                  </a:lnTo>
                  <a:lnTo>
                    <a:pt x="2781" y="152"/>
                  </a:lnTo>
                  <a:lnTo>
                    <a:pt x="2778" y="150"/>
                  </a:lnTo>
                  <a:lnTo>
                    <a:pt x="2775" y="149"/>
                  </a:lnTo>
                  <a:lnTo>
                    <a:pt x="2772" y="147"/>
                  </a:lnTo>
                  <a:lnTo>
                    <a:pt x="2766" y="147"/>
                  </a:lnTo>
                  <a:lnTo>
                    <a:pt x="2760" y="146"/>
                  </a:lnTo>
                  <a:lnTo>
                    <a:pt x="2760" y="147"/>
                  </a:lnTo>
                  <a:lnTo>
                    <a:pt x="2754" y="147"/>
                  </a:lnTo>
                  <a:lnTo>
                    <a:pt x="2752" y="149"/>
                  </a:lnTo>
                  <a:lnTo>
                    <a:pt x="2749" y="152"/>
                  </a:lnTo>
                  <a:lnTo>
                    <a:pt x="2746" y="151"/>
                  </a:lnTo>
                  <a:lnTo>
                    <a:pt x="2745" y="154"/>
                  </a:lnTo>
                  <a:lnTo>
                    <a:pt x="2747" y="154"/>
                  </a:lnTo>
                  <a:lnTo>
                    <a:pt x="2750" y="154"/>
                  </a:lnTo>
                  <a:lnTo>
                    <a:pt x="2753" y="154"/>
                  </a:lnTo>
                  <a:lnTo>
                    <a:pt x="2755" y="156"/>
                  </a:lnTo>
                  <a:lnTo>
                    <a:pt x="2755" y="159"/>
                  </a:lnTo>
                  <a:lnTo>
                    <a:pt x="2749" y="161"/>
                  </a:lnTo>
                  <a:lnTo>
                    <a:pt x="2747" y="161"/>
                  </a:lnTo>
                  <a:lnTo>
                    <a:pt x="2741" y="158"/>
                  </a:lnTo>
                  <a:lnTo>
                    <a:pt x="2737" y="155"/>
                  </a:lnTo>
                  <a:lnTo>
                    <a:pt x="2735" y="155"/>
                  </a:lnTo>
                  <a:lnTo>
                    <a:pt x="2729" y="158"/>
                  </a:lnTo>
                  <a:lnTo>
                    <a:pt x="2727" y="159"/>
                  </a:lnTo>
                  <a:lnTo>
                    <a:pt x="2727" y="161"/>
                  </a:lnTo>
                  <a:lnTo>
                    <a:pt x="2729" y="167"/>
                  </a:lnTo>
                  <a:lnTo>
                    <a:pt x="2735" y="170"/>
                  </a:lnTo>
                  <a:lnTo>
                    <a:pt x="2737" y="171"/>
                  </a:lnTo>
                  <a:lnTo>
                    <a:pt x="2740" y="171"/>
                  </a:lnTo>
                  <a:lnTo>
                    <a:pt x="2746" y="175"/>
                  </a:lnTo>
                  <a:lnTo>
                    <a:pt x="2748" y="175"/>
                  </a:lnTo>
                  <a:lnTo>
                    <a:pt x="2752" y="173"/>
                  </a:lnTo>
                  <a:lnTo>
                    <a:pt x="2754" y="175"/>
                  </a:lnTo>
                  <a:lnTo>
                    <a:pt x="2757" y="176"/>
                  </a:lnTo>
                  <a:lnTo>
                    <a:pt x="2756" y="178"/>
                  </a:lnTo>
                  <a:lnTo>
                    <a:pt x="2760" y="181"/>
                  </a:lnTo>
                  <a:lnTo>
                    <a:pt x="2758" y="184"/>
                  </a:lnTo>
                  <a:lnTo>
                    <a:pt x="2762" y="182"/>
                  </a:lnTo>
                  <a:lnTo>
                    <a:pt x="2764" y="182"/>
                  </a:lnTo>
                  <a:lnTo>
                    <a:pt x="2767" y="181"/>
                  </a:lnTo>
                  <a:lnTo>
                    <a:pt x="2764" y="184"/>
                  </a:lnTo>
                  <a:lnTo>
                    <a:pt x="2758" y="185"/>
                  </a:lnTo>
                  <a:lnTo>
                    <a:pt x="2756" y="184"/>
                  </a:lnTo>
                  <a:lnTo>
                    <a:pt x="2753" y="182"/>
                  </a:lnTo>
                  <a:lnTo>
                    <a:pt x="2752" y="180"/>
                  </a:lnTo>
                  <a:lnTo>
                    <a:pt x="2748" y="178"/>
                  </a:lnTo>
                  <a:lnTo>
                    <a:pt x="2739" y="177"/>
                  </a:lnTo>
                  <a:lnTo>
                    <a:pt x="2738" y="180"/>
                  </a:lnTo>
                  <a:lnTo>
                    <a:pt x="2738" y="178"/>
                  </a:lnTo>
                  <a:lnTo>
                    <a:pt x="2735" y="177"/>
                  </a:lnTo>
                  <a:lnTo>
                    <a:pt x="2727" y="177"/>
                  </a:lnTo>
                  <a:lnTo>
                    <a:pt x="2723" y="176"/>
                  </a:lnTo>
                  <a:lnTo>
                    <a:pt x="2719" y="175"/>
                  </a:lnTo>
                  <a:lnTo>
                    <a:pt x="2715" y="173"/>
                  </a:lnTo>
                  <a:lnTo>
                    <a:pt x="2715" y="170"/>
                  </a:lnTo>
                  <a:lnTo>
                    <a:pt x="2719" y="169"/>
                  </a:lnTo>
                  <a:lnTo>
                    <a:pt x="2718" y="166"/>
                  </a:lnTo>
                  <a:lnTo>
                    <a:pt x="2715" y="163"/>
                  </a:lnTo>
                  <a:lnTo>
                    <a:pt x="2715" y="161"/>
                  </a:lnTo>
                  <a:lnTo>
                    <a:pt x="2715" y="158"/>
                  </a:lnTo>
                  <a:lnTo>
                    <a:pt x="2718" y="156"/>
                  </a:lnTo>
                  <a:lnTo>
                    <a:pt x="2721" y="149"/>
                  </a:lnTo>
                  <a:lnTo>
                    <a:pt x="2719" y="141"/>
                  </a:lnTo>
                  <a:lnTo>
                    <a:pt x="2719" y="137"/>
                  </a:lnTo>
                  <a:lnTo>
                    <a:pt x="2715" y="135"/>
                  </a:lnTo>
                  <a:lnTo>
                    <a:pt x="2713" y="135"/>
                  </a:lnTo>
                  <a:lnTo>
                    <a:pt x="2711" y="135"/>
                  </a:lnTo>
                  <a:lnTo>
                    <a:pt x="2710" y="137"/>
                  </a:lnTo>
                  <a:lnTo>
                    <a:pt x="2712" y="139"/>
                  </a:lnTo>
                  <a:lnTo>
                    <a:pt x="2713" y="149"/>
                  </a:lnTo>
                  <a:lnTo>
                    <a:pt x="2713" y="151"/>
                  </a:lnTo>
                  <a:lnTo>
                    <a:pt x="2711" y="153"/>
                  </a:lnTo>
                  <a:lnTo>
                    <a:pt x="2709" y="155"/>
                  </a:lnTo>
                  <a:lnTo>
                    <a:pt x="2705" y="156"/>
                  </a:lnTo>
                  <a:lnTo>
                    <a:pt x="2694" y="160"/>
                  </a:lnTo>
                  <a:lnTo>
                    <a:pt x="2692" y="161"/>
                  </a:lnTo>
                  <a:lnTo>
                    <a:pt x="2692" y="164"/>
                  </a:lnTo>
                  <a:lnTo>
                    <a:pt x="2689" y="167"/>
                  </a:lnTo>
                  <a:lnTo>
                    <a:pt x="2687" y="169"/>
                  </a:lnTo>
                  <a:lnTo>
                    <a:pt x="2685" y="172"/>
                  </a:lnTo>
                  <a:lnTo>
                    <a:pt x="2690" y="175"/>
                  </a:lnTo>
                  <a:lnTo>
                    <a:pt x="2693" y="178"/>
                  </a:lnTo>
                  <a:lnTo>
                    <a:pt x="2694" y="180"/>
                  </a:lnTo>
                  <a:lnTo>
                    <a:pt x="2697" y="182"/>
                  </a:lnTo>
                  <a:lnTo>
                    <a:pt x="2697" y="186"/>
                  </a:lnTo>
                  <a:lnTo>
                    <a:pt x="2702" y="190"/>
                  </a:lnTo>
                  <a:lnTo>
                    <a:pt x="2703" y="193"/>
                  </a:lnTo>
                  <a:lnTo>
                    <a:pt x="2698" y="198"/>
                  </a:lnTo>
                  <a:lnTo>
                    <a:pt x="2696" y="201"/>
                  </a:lnTo>
                  <a:lnTo>
                    <a:pt x="2694" y="206"/>
                  </a:lnTo>
                  <a:lnTo>
                    <a:pt x="2694" y="207"/>
                  </a:lnTo>
                  <a:lnTo>
                    <a:pt x="2693" y="210"/>
                  </a:lnTo>
                  <a:lnTo>
                    <a:pt x="2692" y="213"/>
                  </a:lnTo>
                  <a:lnTo>
                    <a:pt x="2693" y="215"/>
                  </a:lnTo>
                  <a:lnTo>
                    <a:pt x="2695" y="218"/>
                  </a:lnTo>
                  <a:lnTo>
                    <a:pt x="2696" y="221"/>
                  </a:lnTo>
                  <a:lnTo>
                    <a:pt x="2696" y="223"/>
                  </a:lnTo>
                  <a:lnTo>
                    <a:pt x="2695" y="227"/>
                  </a:lnTo>
                  <a:lnTo>
                    <a:pt x="2697" y="229"/>
                  </a:lnTo>
                  <a:lnTo>
                    <a:pt x="2702" y="228"/>
                  </a:lnTo>
                  <a:lnTo>
                    <a:pt x="2705" y="228"/>
                  </a:lnTo>
                  <a:lnTo>
                    <a:pt x="2707" y="229"/>
                  </a:lnTo>
                  <a:lnTo>
                    <a:pt x="2711" y="229"/>
                  </a:lnTo>
                  <a:lnTo>
                    <a:pt x="2717" y="226"/>
                  </a:lnTo>
                  <a:lnTo>
                    <a:pt x="2720" y="224"/>
                  </a:lnTo>
                  <a:lnTo>
                    <a:pt x="2722" y="226"/>
                  </a:lnTo>
                  <a:lnTo>
                    <a:pt x="2724" y="226"/>
                  </a:lnTo>
                  <a:lnTo>
                    <a:pt x="2730" y="227"/>
                  </a:lnTo>
                  <a:lnTo>
                    <a:pt x="2736" y="228"/>
                  </a:lnTo>
                  <a:lnTo>
                    <a:pt x="2738" y="230"/>
                  </a:lnTo>
                  <a:lnTo>
                    <a:pt x="2746" y="232"/>
                  </a:lnTo>
                  <a:lnTo>
                    <a:pt x="2748" y="236"/>
                  </a:lnTo>
                  <a:lnTo>
                    <a:pt x="2749" y="238"/>
                  </a:lnTo>
                  <a:lnTo>
                    <a:pt x="2749" y="240"/>
                  </a:lnTo>
                  <a:lnTo>
                    <a:pt x="2752" y="244"/>
                  </a:lnTo>
                  <a:lnTo>
                    <a:pt x="2754" y="246"/>
                  </a:lnTo>
                  <a:lnTo>
                    <a:pt x="2754" y="248"/>
                  </a:lnTo>
                  <a:lnTo>
                    <a:pt x="2748" y="249"/>
                  </a:lnTo>
                  <a:lnTo>
                    <a:pt x="2746" y="253"/>
                  </a:lnTo>
                  <a:lnTo>
                    <a:pt x="2746" y="258"/>
                  </a:lnTo>
                  <a:lnTo>
                    <a:pt x="2746" y="261"/>
                  </a:lnTo>
                  <a:lnTo>
                    <a:pt x="2752" y="261"/>
                  </a:lnTo>
                  <a:lnTo>
                    <a:pt x="2753" y="262"/>
                  </a:lnTo>
                  <a:lnTo>
                    <a:pt x="2761" y="264"/>
                  </a:lnTo>
                  <a:lnTo>
                    <a:pt x="2763" y="263"/>
                  </a:lnTo>
                  <a:lnTo>
                    <a:pt x="2766" y="265"/>
                  </a:lnTo>
                  <a:lnTo>
                    <a:pt x="2763" y="264"/>
                  </a:lnTo>
                  <a:lnTo>
                    <a:pt x="2761" y="265"/>
                  </a:lnTo>
                  <a:lnTo>
                    <a:pt x="2760" y="265"/>
                  </a:lnTo>
                  <a:lnTo>
                    <a:pt x="2757" y="265"/>
                  </a:lnTo>
                  <a:lnTo>
                    <a:pt x="2754" y="265"/>
                  </a:lnTo>
                  <a:lnTo>
                    <a:pt x="2750" y="265"/>
                  </a:lnTo>
                  <a:lnTo>
                    <a:pt x="2741" y="261"/>
                  </a:lnTo>
                  <a:lnTo>
                    <a:pt x="2743" y="258"/>
                  </a:lnTo>
                  <a:lnTo>
                    <a:pt x="2741" y="255"/>
                  </a:lnTo>
                  <a:lnTo>
                    <a:pt x="2741" y="253"/>
                  </a:lnTo>
                  <a:lnTo>
                    <a:pt x="2744" y="249"/>
                  </a:lnTo>
                  <a:lnTo>
                    <a:pt x="2741" y="247"/>
                  </a:lnTo>
                  <a:lnTo>
                    <a:pt x="2743" y="245"/>
                  </a:lnTo>
                  <a:lnTo>
                    <a:pt x="2743" y="241"/>
                  </a:lnTo>
                  <a:lnTo>
                    <a:pt x="2740" y="241"/>
                  </a:lnTo>
                  <a:lnTo>
                    <a:pt x="2737" y="238"/>
                  </a:lnTo>
                  <a:lnTo>
                    <a:pt x="2735" y="237"/>
                  </a:lnTo>
                  <a:lnTo>
                    <a:pt x="2735" y="235"/>
                  </a:lnTo>
                  <a:lnTo>
                    <a:pt x="2732" y="231"/>
                  </a:lnTo>
                  <a:lnTo>
                    <a:pt x="2728" y="231"/>
                  </a:lnTo>
                  <a:lnTo>
                    <a:pt x="2715" y="233"/>
                  </a:lnTo>
                  <a:lnTo>
                    <a:pt x="2705" y="237"/>
                  </a:lnTo>
                  <a:lnTo>
                    <a:pt x="2704" y="240"/>
                  </a:lnTo>
                  <a:lnTo>
                    <a:pt x="2704" y="243"/>
                  </a:lnTo>
                  <a:lnTo>
                    <a:pt x="2703" y="246"/>
                  </a:lnTo>
                  <a:lnTo>
                    <a:pt x="2707" y="250"/>
                  </a:lnTo>
                  <a:lnTo>
                    <a:pt x="2710" y="256"/>
                  </a:lnTo>
                  <a:lnTo>
                    <a:pt x="2709" y="260"/>
                  </a:lnTo>
                  <a:lnTo>
                    <a:pt x="2707" y="262"/>
                  </a:lnTo>
                  <a:lnTo>
                    <a:pt x="2703" y="266"/>
                  </a:lnTo>
                  <a:lnTo>
                    <a:pt x="2700" y="267"/>
                  </a:lnTo>
                  <a:lnTo>
                    <a:pt x="2697" y="271"/>
                  </a:lnTo>
                  <a:lnTo>
                    <a:pt x="2697" y="275"/>
                  </a:lnTo>
                  <a:lnTo>
                    <a:pt x="2695" y="279"/>
                  </a:lnTo>
                  <a:lnTo>
                    <a:pt x="2693" y="280"/>
                  </a:lnTo>
                  <a:lnTo>
                    <a:pt x="2690" y="282"/>
                  </a:lnTo>
                  <a:lnTo>
                    <a:pt x="2685" y="284"/>
                  </a:lnTo>
                  <a:lnTo>
                    <a:pt x="2681" y="287"/>
                  </a:lnTo>
                  <a:lnTo>
                    <a:pt x="2679" y="287"/>
                  </a:lnTo>
                  <a:lnTo>
                    <a:pt x="2676" y="288"/>
                  </a:lnTo>
                  <a:lnTo>
                    <a:pt x="2676" y="293"/>
                  </a:lnTo>
                  <a:lnTo>
                    <a:pt x="2671" y="296"/>
                  </a:lnTo>
                  <a:lnTo>
                    <a:pt x="2668" y="296"/>
                  </a:lnTo>
                  <a:lnTo>
                    <a:pt x="2666" y="293"/>
                  </a:lnTo>
                  <a:lnTo>
                    <a:pt x="2662" y="292"/>
                  </a:lnTo>
                  <a:lnTo>
                    <a:pt x="2656" y="292"/>
                  </a:lnTo>
                  <a:lnTo>
                    <a:pt x="2649" y="293"/>
                  </a:lnTo>
                  <a:lnTo>
                    <a:pt x="2641" y="290"/>
                  </a:lnTo>
                  <a:lnTo>
                    <a:pt x="2635" y="289"/>
                  </a:lnTo>
                  <a:lnTo>
                    <a:pt x="2633" y="288"/>
                  </a:lnTo>
                  <a:lnTo>
                    <a:pt x="2632" y="284"/>
                  </a:lnTo>
                  <a:lnTo>
                    <a:pt x="2629" y="282"/>
                  </a:lnTo>
                  <a:lnTo>
                    <a:pt x="2635" y="282"/>
                  </a:lnTo>
                  <a:lnTo>
                    <a:pt x="2637" y="283"/>
                  </a:lnTo>
                  <a:lnTo>
                    <a:pt x="2643" y="282"/>
                  </a:lnTo>
                  <a:lnTo>
                    <a:pt x="2643" y="283"/>
                  </a:lnTo>
                  <a:lnTo>
                    <a:pt x="2646" y="284"/>
                  </a:lnTo>
                  <a:lnTo>
                    <a:pt x="2649" y="286"/>
                  </a:lnTo>
                  <a:lnTo>
                    <a:pt x="2654" y="283"/>
                  </a:lnTo>
                  <a:lnTo>
                    <a:pt x="2654" y="283"/>
                  </a:lnTo>
                  <a:lnTo>
                    <a:pt x="2656" y="282"/>
                  </a:lnTo>
                  <a:lnTo>
                    <a:pt x="2660" y="281"/>
                  </a:lnTo>
                  <a:lnTo>
                    <a:pt x="2668" y="279"/>
                  </a:lnTo>
                  <a:lnTo>
                    <a:pt x="2671" y="276"/>
                  </a:lnTo>
                  <a:lnTo>
                    <a:pt x="2672" y="274"/>
                  </a:lnTo>
                  <a:lnTo>
                    <a:pt x="2671" y="271"/>
                  </a:lnTo>
                  <a:lnTo>
                    <a:pt x="2673" y="271"/>
                  </a:lnTo>
                  <a:lnTo>
                    <a:pt x="2677" y="270"/>
                  </a:lnTo>
                  <a:lnTo>
                    <a:pt x="2677" y="266"/>
                  </a:lnTo>
                  <a:lnTo>
                    <a:pt x="2680" y="263"/>
                  </a:lnTo>
                  <a:lnTo>
                    <a:pt x="2686" y="261"/>
                  </a:lnTo>
                  <a:lnTo>
                    <a:pt x="2686" y="258"/>
                  </a:lnTo>
                  <a:lnTo>
                    <a:pt x="2687" y="256"/>
                  </a:lnTo>
                  <a:lnTo>
                    <a:pt x="2686" y="253"/>
                  </a:lnTo>
                  <a:lnTo>
                    <a:pt x="2686" y="250"/>
                  </a:lnTo>
                  <a:lnTo>
                    <a:pt x="2690" y="245"/>
                  </a:lnTo>
                  <a:lnTo>
                    <a:pt x="2693" y="244"/>
                  </a:lnTo>
                  <a:lnTo>
                    <a:pt x="2693" y="241"/>
                  </a:lnTo>
                  <a:lnTo>
                    <a:pt x="2687" y="238"/>
                  </a:lnTo>
                  <a:lnTo>
                    <a:pt x="2681" y="235"/>
                  </a:lnTo>
                  <a:lnTo>
                    <a:pt x="2679" y="232"/>
                  </a:lnTo>
                  <a:lnTo>
                    <a:pt x="2677" y="227"/>
                  </a:lnTo>
                  <a:lnTo>
                    <a:pt x="2679" y="224"/>
                  </a:lnTo>
                  <a:lnTo>
                    <a:pt x="2678" y="222"/>
                  </a:lnTo>
                  <a:lnTo>
                    <a:pt x="2679" y="219"/>
                  </a:lnTo>
                  <a:lnTo>
                    <a:pt x="2678" y="216"/>
                  </a:lnTo>
                  <a:lnTo>
                    <a:pt x="2679" y="213"/>
                  </a:lnTo>
                  <a:lnTo>
                    <a:pt x="2680" y="211"/>
                  </a:lnTo>
                  <a:lnTo>
                    <a:pt x="2678" y="206"/>
                  </a:lnTo>
                  <a:lnTo>
                    <a:pt x="2678" y="204"/>
                  </a:lnTo>
                  <a:lnTo>
                    <a:pt x="2678" y="202"/>
                  </a:lnTo>
                  <a:lnTo>
                    <a:pt x="2678" y="198"/>
                  </a:lnTo>
                  <a:lnTo>
                    <a:pt x="2680" y="196"/>
                  </a:lnTo>
                  <a:lnTo>
                    <a:pt x="2681" y="194"/>
                  </a:lnTo>
                  <a:lnTo>
                    <a:pt x="2680" y="192"/>
                  </a:lnTo>
                  <a:lnTo>
                    <a:pt x="2683" y="186"/>
                  </a:lnTo>
                  <a:lnTo>
                    <a:pt x="2680" y="182"/>
                  </a:lnTo>
                  <a:lnTo>
                    <a:pt x="2679" y="180"/>
                  </a:lnTo>
                  <a:lnTo>
                    <a:pt x="2677" y="178"/>
                  </a:lnTo>
                  <a:lnTo>
                    <a:pt x="2671" y="175"/>
                  </a:lnTo>
                  <a:lnTo>
                    <a:pt x="2669" y="171"/>
                  </a:lnTo>
                  <a:lnTo>
                    <a:pt x="2668" y="169"/>
                  </a:lnTo>
                  <a:lnTo>
                    <a:pt x="2673" y="166"/>
                  </a:lnTo>
                  <a:lnTo>
                    <a:pt x="2676" y="163"/>
                  </a:lnTo>
                  <a:lnTo>
                    <a:pt x="2676" y="161"/>
                  </a:lnTo>
                  <a:lnTo>
                    <a:pt x="2678" y="159"/>
                  </a:lnTo>
                  <a:lnTo>
                    <a:pt x="2678" y="156"/>
                  </a:lnTo>
                  <a:lnTo>
                    <a:pt x="2680" y="154"/>
                  </a:lnTo>
                  <a:lnTo>
                    <a:pt x="2683" y="149"/>
                  </a:lnTo>
                  <a:lnTo>
                    <a:pt x="2681" y="145"/>
                  </a:lnTo>
                  <a:lnTo>
                    <a:pt x="2681" y="141"/>
                  </a:lnTo>
                  <a:lnTo>
                    <a:pt x="2680" y="137"/>
                  </a:lnTo>
                  <a:lnTo>
                    <a:pt x="2671" y="135"/>
                  </a:lnTo>
                  <a:lnTo>
                    <a:pt x="2669" y="136"/>
                  </a:lnTo>
                  <a:lnTo>
                    <a:pt x="2666" y="134"/>
                  </a:lnTo>
                  <a:lnTo>
                    <a:pt x="2663" y="133"/>
                  </a:lnTo>
                  <a:lnTo>
                    <a:pt x="2660" y="134"/>
                  </a:lnTo>
                  <a:lnTo>
                    <a:pt x="2646" y="134"/>
                  </a:lnTo>
                  <a:lnTo>
                    <a:pt x="2637" y="134"/>
                  </a:lnTo>
                  <a:lnTo>
                    <a:pt x="2641" y="133"/>
                  </a:lnTo>
                  <a:lnTo>
                    <a:pt x="2637" y="132"/>
                  </a:lnTo>
                  <a:lnTo>
                    <a:pt x="2635" y="132"/>
                  </a:lnTo>
                  <a:lnTo>
                    <a:pt x="2634" y="135"/>
                  </a:lnTo>
                  <a:lnTo>
                    <a:pt x="2630" y="137"/>
                  </a:lnTo>
                  <a:lnTo>
                    <a:pt x="2629" y="141"/>
                  </a:lnTo>
                  <a:lnTo>
                    <a:pt x="2628" y="143"/>
                  </a:lnTo>
                  <a:lnTo>
                    <a:pt x="2627" y="149"/>
                  </a:lnTo>
                  <a:lnTo>
                    <a:pt x="2624" y="159"/>
                  </a:lnTo>
                  <a:lnTo>
                    <a:pt x="2620" y="164"/>
                  </a:lnTo>
                  <a:lnTo>
                    <a:pt x="2611" y="170"/>
                  </a:lnTo>
                  <a:lnTo>
                    <a:pt x="2603" y="175"/>
                  </a:lnTo>
                  <a:lnTo>
                    <a:pt x="2600" y="176"/>
                  </a:lnTo>
                  <a:lnTo>
                    <a:pt x="2598" y="181"/>
                  </a:lnTo>
                  <a:lnTo>
                    <a:pt x="2600" y="179"/>
                  </a:lnTo>
                  <a:lnTo>
                    <a:pt x="2600" y="182"/>
                  </a:lnTo>
                  <a:lnTo>
                    <a:pt x="2596" y="185"/>
                  </a:lnTo>
                  <a:lnTo>
                    <a:pt x="2599" y="187"/>
                  </a:lnTo>
                  <a:lnTo>
                    <a:pt x="2604" y="186"/>
                  </a:lnTo>
                  <a:lnTo>
                    <a:pt x="2607" y="187"/>
                  </a:lnTo>
                  <a:lnTo>
                    <a:pt x="2605" y="193"/>
                  </a:lnTo>
                  <a:lnTo>
                    <a:pt x="2605" y="196"/>
                  </a:lnTo>
                  <a:lnTo>
                    <a:pt x="2603" y="201"/>
                  </a:lnTo>
                  <a:lnTo>
                    <a:pt x="2607" y="204"/>
                  </a:lnTo>
                  <a:lnTo>
                    <a:pt x="2605" y="206"/>
                  </a:lnTo>
                  <a:lnTo>
                    <a:pt x="2602" y="206"/>
                  </a:lnTo>
                  <a:lnTo>
                    <a:pt x="2600" y="207"/>
                  </a:lnTo>
                  <a:lnTo>
                    <a:pt x="2599" y="213"/>
                  </a:lnTo>
                  <a:lnTo>
                    <a:pt x="2599" y="215"/>
                  </a:lnTo>
                  <a:lnTo>
                    <a:pt x="2602" y="218"/>
                  </a:lnTo>
                  <a:lnTo>
                    <a:pt x="2601" y="215"/>
                  </a:lnTo>
                  <a:lnTo>
                    <a:pt x="2603" y="214"/>
                  </a:lnTo>
                  <a:lnTo>
                    <a:pt x="2605" y="215"/>
                  </a:lnTo>
                  <a:lnTo>
                    <a:pt x="2609" y="215"/>
                  </a:lnTo>
                  <a:lnTo>
                    <a:pt x="2611" y="218"/>
                  </a:lnTo>
                  <a:lnTo>
                    <a:pt x="2615" y="219"/>
                  </a:lnTo>
                  <a:lnTo>
                    <a:pt x="2617" y="219"/>
                  </a:lnTo>
                  <a:lnTo>
                    <a:pt x="2617" y="221"/>
                  </a:lnTo>
                  <a:lnTo>
                    <a:pt x="2617" y="223"/>
                  </a:lnTo>
                  <a:lnTo>
                    <a:pt x="2618" y="227"/>
                  </a:lnTo>
                  <a:lnTo>
                    <a:pt x="2624" y="232"/>
                  </a:lnTo>
                  <a:lnTo>
                    <a:pt x="2626" y="233"/>
                  </a:lnTo>
                  <a:lnTo>
                    <a:pt x="2629" y="232"/>
                  </a:lnTo>
                  <a:lnTo>
                    <a:pt x="2632" y="232"/>
                  </a:lnTo>
                  <a:lnTo>
                    <a:pt x="2629" y="233"/>
                  </a:lnTo>
                  <a:lnTo>
                    <a:pt x="2629" y="237"/>
                  </a:lnTo>
                  <a:lnTo>
                    <a:pt x="2627" y="241"/>
                  </a:lnTo>
                  <a:lnTo>
                    <a:pt x="2625" y="245"/>
                  </a:lnTo>
                  <a:lnTo>
                    <a:pt x="2625" y="247"/>
                  </a:lnTo>
                  <a:lnTo>
                    <a:pt x="2624" y="247"/>
                  </a:lnTo>
                  <a:lnTo>
                    <a:pt x="2621" y="249"/>
                  </a:lnTo>
                  <a:lnTo>
                    <a:pt x="2619" y="248"/>
                  </a:lnTo>
                  <a:lnTo>
                    <a:pt x="2618" y="245"/>
                  </a:lnTo>
                  <a:lnTo>
                    <a:pt x="2612" y="243"/>
                  </a:lnTo>
                  <a:lnTo>
                    <a:pt x="2604" y="237"/>
                  </a:lnTo>
                  <a:lnTo>
                    <a:pt x="2603" y="235"/>
                  </a:lnTo>
                  <a:lnTo>
                    <a:pt x="2598" y="233"/>
                  </a:lnTo>
                  <a:lnTo>
                    <a:pt x="2592" y="231"/>
                  </a:lnTo>
                  <a:lnTo>
                    <a:pt x="2586" y="229"/>
                  </a:lnTo>
                  <a:lnTo>
                    <a:pt x="2584" y="228"/>
                  </a:lnTo>
                  <a:lnTo>
                    <a:pt x="2586" y="228"/>
                  </a:lnTo>
                  <a:lnTo>
                    <a:pt x="2581" y="227"/>
                  </a:lnTo>
                  <a:lnTo>
                    <a:pt x="2575" y="224"/>
                  </a:lnTo>
                  <a:lnTo>
                    <a:pt x="2574" y="227"/>
                  </a:lnTo>
                  <a:lnTo>
                    <a:pt x="2573" y="227"/>
                  </a:lnTo>
                  <a:lnTo>
                    <a:pt x="2572" y="226"/>
                  </a:lnTo>
                  <a:lnTo>
                    <a:pt x="2573" y="222"/>
                  </a:lnTo>
                  <a:lnTo>
                    <a:pt x="2565" y="219"/>
                  </a:lnTo>
                  <a:lnTo>
                    <a:pt x="2550" y="214"/>
                  </a:lnTo>
                  <a:lnTo>
                    <a:pt x="2539" y="213"/>
                  </a:lnTo>
                  <a:lnTo>
                    <a:pt x="2533" y="213"/>
                  </a:lnTo>
                  <a:lnTo>
                    <a:pt x="2527" y="212"/>
                  </a:lnTo>
                  <a:lnTo>
                    <a:pt x="2519" y="210"/>
                  </a:lnTo>
                  <a:lnTo>
                    <a:pt x="2516" y="211"/>
                  </a:lnTo>
                  <a:lnTo>
                    <a:pt x="2516" y="213"/>
                  </a:lnTo>
                  <a:lnTo>
                    <a:pt x="2513" y="214"/>
                  </a:lnTo>
                  <a:lnTo>
                    <a:pt x="2510" y="214"/>
                  </a:lnTo>
                  <a:lnTo>
                    <a:pt x="2509" y="218"/>
                  </a:lnTo>
                  <a:lnTo>
                    <a:pt x="2510" y="220"/>
                  </a:lnTo>
                  <a:lnTo>
                    <a:pt x="2514" y="223"/>
                  </a:lnTo>
                  <a:lnTo>
                    <a:pt x="2516" y="229"/>
                  </a:lnTo>
                  <a:lnTo>
                    <a:pt x="2519" y="228"/>
                  </a:lnTo>
                  <a:lnTo>
                    <a:pt x="2519" y="231"/>
                  </a:lnTo>
                  <a:lnTo>
                    <a:pt x="2517" y="233"/>
                  </a:lnTo>
                  <a:lnTo>
                    <a:pt x="2515" y="237"/>
                  </a:lnTo>
                  <a:lnTo>
                    <a:pt x="2511" y="238"/>
                  </a:lnTo>
                  <a:lnTo>
                    <a:pt x="2509" y="238"/>
                  </a:lnTo>
                  <a:lnTo>
                    <a:pt x="2506" y="238"/>
                  </a:lnTo>
                  <a:lnTo>
                    <a:pt x="2502" y="239"/>
                  </a:lnTo>
                  <a:lnTo>
                    <a:pt x="2506" y="243"/>
                  </a:lnTo>
                  <a:lnTo>
                    <a:pt x="2505" y="245"/>
                  </a:lnTo>
                  <a:lnTo>
                    <a:pt x="2502" y="247"/>
                  </a:lnTo>
                  <a:lnTo>
                    <a:pt x="2499" y="246"/>
                  </a:lnTo>
                  <a:lnTo>
                    <a:pt x="2497" y="246"/>
                  </a:lnTo>
                  <a:lnTo>
                    <a:pt x="2493" y="244"/>
                  </a:lnTo>
                  <a:lnTo>
                    <a:pt x="2493" y="240"/>
                  </a:lnTo>
                  <a:lnTo>
                    <a:pt x="2496" y="238"/>
                  </a:lnTo>
                  <a:lnTo>
                    <a:pt x="2498" y="238"/>
                  </a:lnTo>
                  <a:lnTo>
                    <a:pt x="2497" y="235"/>
                  </a:lnTo>
                  <a:lnTo>
                    <a:pt x="2493" y="233"/>
                  </a:lnTo>
                  <a:lnTo>
                    <a:pt x="2491" y="232"/>
                  </a:lnTo>
                  <a:lnTo>
                    <a:pt x="2493" y="231"/>
                  </a:lnTo>
                  <a:lnTo>
                    <a:pt x="2491" y="231"/>
                  </a:lnTo>
                  <a:lnTo>
                    <a:pt x="2489" y="231"/>
                  </a:lnTo>
                  <a:lnTo>
                    <a:pt x="2485" y="232"/>
                  </a:lnTo>
                  <a:lnTo>
                    <a:pt x="2483" y="233"/>
                  </a:lnTo>
                  <a:lnTo>
                    <a:pt x="2483" y="237"/>
                  </a:lnTo>
                  <a:lnTo>
                    <a:pt x="2481" y="233"/>
                  </a:lnTo>
                  <a:lnTo>
                    <a:pt x="2479" y="237"/>
                  </a:lnTo>
                  <a:lnTo>
                    <a:pt x="2473" y="238"/>
                  </a:lnTo>
                  <a:lnTo>
                    <a:pt x="2471" y="240"/>
                  </a:lnTo>
                  <a:lnTo>
                    <a:pt x="2468" y="241"/>
                  </a:lnTo>
                  <a:lnTo>
                    <a:pt x="2465" y="241"/>
                  </a:lnTo>
                  <a:lnTo>
                    <a:pt x="2459" y="239"/>
                  </a:lnTo>
                  <a:lnTo>
                    <a:pt x="2455" y="240"/>
                  </a:lnTo>
                  <a:lnTo>
                    <a:pt x="2451" y="239"/>
                  </a:lnTo>
                  <a:lnTo>
                    <a:pt x="2449" y="240"/>
                  </a:lnTo>
                  <a:lnTo>
                    <a:pt x="2444" y="241"/>
                  </a:lnTo>
                  <a:lnTo>
                    <a:pt x="2438" y="245"/>
                  </a:lnTo>
                  <a:lnTo>
                    <a:pt x="2437" y="245"/>
                  </a:lnTo>
                  <a:lnTo>
                    <a:pt x="2437" y="248"/>
                  </a:lnTo>
                  <a:lnTo>
                    <a:pt x="2436" y="250"/>
                  </a:lnTo>
                  <a:lnTo>
                    <a:pt x="2430" y="248"/>
                  </a:lnTo>
                  <a:lnTo>
                    <a:pt x="2428" y="249"/>
                  </a:lnTo>
                  <a:lnTo>
                    <a:pt x="2425" y="248"/>
                  </a:lnTo>
                  <a:lnTo>
                    <a:pt x="2423" y="249"/>
                  </a:lnTo>
                  <a:lnTo>
                    <a:pt x="2422" y="249"/>
                  </a:lnTo>
                  <a:lnTo>
                    <a:pt x="2420" y="248"/>
                  </a:lnTo>
                  <a:lnTo>
                    <a:pt x="2414" y="248"/>
                  </a:lnTo>
                  <a:lnTo>
                    <a:pt x="2415" y="246"/>
                  </a:lnTo>
                  <a:lnTo>
                    <a:pt x="2421" y="246"/>
                  </a:lnTo>
                  <a:lnTo>
                    <a:pt x="2423" y="245"/>
                  </a:lnTo>
                  <a:lnTo>
                    <a:pt x="2422" y="243"/>
                  </a:lnTo>
                  <a:lnTo>
                    <a:pt x="2420" y="239"/>
                  </a:lnTo>
                  <a:lnTo>
                    <a:pt x="2423" y="233"/>
                  </a:lnTo>
                  <a:lnTo>
                    <a:pt x="2421" y="232"/>
                  </a:lnTo>
                  <a:lnTo>
                    <a:pt x="2427" y="232"/>
                  </a:lnTo>
                  <a:lnTo>
                    <a:pt x="2429" y="231"/>
                  </a:lnTo>
                  <a:lnTo>
                    <a:pt x="2427" y="231"/>
                  </a:lnTo>
                  <a:lnTo>
                    <a:pt x="2421" y="231"/>
                  </a:lnTo>
                  <a:lnTo>
                    <a:pt x="2415" y="233"/>
                  </a:lnTo>
                  <a:lnTo>
                    <a:pt x="2405" y="238"/>
                  </a:lnTo>
                  <a:lnTo>
                    <a:pt x="2403" y="240"/>
                  </a:lnTo>
                  <a:lnTo>
                    <a:pt x="2406" y="239"/>
                  </a:lnTo>
                  <a:lnTo>
                    <a:pt x="2405" y="245"/>
                  </a:lnTo>
                  <a:lnTo>
                    <a:pt x="2402" y="247"/>
                  </a:lnTo>
                  <a:lnTo>
                    <a:pt x="2399" y="247"/>
                  </a:lnTo>
                  <a:lnTo>
                    <a:pt x="2400" y="244"/>
                  </a:lnTo>
                  <a:lnTo>
                    <a:pt x="2399" y="241"/>
                  </a:lnTo>
                  <a:lnTo>
                    <a:pt x="2394" y="243"/>
                  </a:lnTo>
                  <a:lnTo>
                    <a:pt x="2391" y="244"/>
                  </a:lnTo>
                  <a:lnTo>
                    <a:pt x="2386" y="246"/>
                  </a:lnTo>
                  <a:lnTo>
                    <a:pt x="2383" y="246"/>
                  </a:lnTo>
                  <a:lnTo>
                    <a:pt x="2380" y="246"/>
                  </a:lnTo>
                  <a:lnTo>
                    <a:pt x="2378" y="248"/>
                  </a:lnTo>
                  <a:lnTo>
                    <a:pt x="2372" y="250"/>
                  </a:lnTo>
                  <a:lnTo>
                    <a:pt x="2370" y="254"/>
                  </a:lnTo>
                  <a:lnTo>
                    <a:pt x="2369" y="253"/>
                  </a:lnTo>
                  <a:lnTo>
                    <a:pt x="2364" y="255"/>
                  </a:lnTo>
                  <a:lnTo>
                    <a:pt x="2359" y="257"/>
                  </a:lnTo>
                  <a:lnTo>
                    <a:pt x="2353" y="258"/>
                  </a:lnTo>
                  <a:lnTo>
                    <a:pt x="2354" y="261"/>
                  </a:lnTo>
                  <a:lnTo>
                    <a:pt x="2356" y="263"/>
                  </a:lnTo>
                  <a:lnTo>
                    <a:pt x="2354" y="262"/>
                  </a:lnTo>
                  <a:lnTo>
                    <a:pt x="2351" y="262"/>
                  </a:lnTo>
                  <a:lnTo>
                    <a:pt x="2348" y="263"/>
                  </a:lnTo>
                  <a:lnTo>
                    <a:pt x="2345" y="262"/>
                  </a:lnTo>
                  <a:lnTo>
                    <a:pt x="2343" y="263"/>
                  </a:lnTo>
                  <a:lnTo>
                    <a:pt x="2340" y="264"/>
                  </a:lnTo>
                  <a:lnTo>
                    <a:pt x="2340" y="266"/>
                  </a:lnTo>
                  <a:lnTo>
                    <a:pt x="2339" y="270"/>
                  </a:lnTo>
                  <a:lnTo>
                    <a:pt x="2339" y="272"/>
                  </a:lnTo>
                  <a:lnTo>
                    <a:pt x="2338" y="278"/>
                  </a:lnTo>
                  <a:lnTo>
                    <a:pt x="2336" y="281"/>
                  </a:lnTo>
                  <a:lnTo>
                    <a:pt x="2334" y="280"/>
                  </a:lnTo>
                  <a:lnTo>
                    <a:pt x="2322" y="282"/>
                  </a:lnTo>
                  <a:lnTo>
                    <a:pt x="2320" y="283"/>
                  </a:lnTo>
                  <a:lnTo>
                    <a:pt x="2321" y="281"/>
                  </a:lnTo>
                  <a:lnTo>
                    <a:pt x="2316" y="282"/>
                  </a:lnTo>
                  <a:lnTo>
                    <a:pt x="2312" y="280"/>
                  </a:lnTo>
                  <a:lnTo>
                    <a:pt x="2310" y="276"/>
                  </a:lnTo>
                  <a:lnTo>
                    <a:pt x="2310" y="274"/>
                  </a:lnTo>
                  <a:lnTo>
                    <a:pt x="2301" y="271"/>
                  </a:lnTo>
                  <a:lnTo>
                    <a:pt x="2300" y="269"/>
                  </a:lnTo>
                  <a:lnTo>
                    <a:pt x="2301" y="266"/>
                  </a:lnTo>
                  <a:lnTo>
                    <a:pt x="2302" y="265"/>
                  </a:lnTo>
                  <a:lnTo>
                    <a:pt x="2305" y="264"/>
                  </a:lnTo>
                  <a:lnTo>
                    <a:pt x="2305" y="262"/>
                  </a:lnTo>
                  <a:lnTo>
                    <a:pt x="2308" y="261"/>
                  </a:lnTo>
                  <a:lnTo>
                    <a:pt x="2319" y="258"/>
                  </a:lnTo>
                  <a:lnTo>
                    <a:pt x="2325" y="258"/>
                  </a:lnTo>
                  <a:lnTo>
                    <a:pt x="2322" y="253"/>
                  </a:lnTo>
                  <a:lnTo>
                    <a:pt x="2320" y="250"/>
                  </a:lnTo>
                  <a:lnTo>
                    <a:pt x="2318" y="249"/>
                  </a:lnTo>
                  <a:lnTo>
                    <a:pt x="2314" y="247"/>
                  </a:lnTo>
                  <a:lnTo>
                    <a:pt x="2314" y="244"/>
                  </a:lnTo>
                  <a:lnTo>
                    <a:pt x="2306" y="241"/>
                  </a:lnTo>
                  <a:lnTo>
                    <a:pt x="2301" y="241"/>
                  </a:lnTo>
                  <a:lnTo>
                    <a:pt x="2289" y="243"/>
                  </a:lnTo>
                  <a:lnTo>
                    <a:pt x="2286" y="241"/>
                  </a:lnTo>
                  <a:lnTo>
                    <a:pt x="2284" y="240"/>
                  </a:lnTo>
                  <a:lnTo>
                    <a:pt x="2282" y="239"/>
                  </a:lnTo>
                  <a:lnTo>
                    <a:pt x="2278" y="240"/>
                  </a:lnTo>
                  <a:lnTo>
                    <a:pt x="2284" y="244"/>
                  </a:lnTo>
                  <a:lnTo>
                    <a:pt x="2286" y="245"/>
                  </a:lnTo>
                  <a:lnTo>
                    <a:pt x="2289" y="247"/>
                  </a:lnTo>
                  <a:lnTo>
                    <a:pt x="2291" y="248"/>
                  </a:lnTo>
                  <a:lnTo>
                    <a:pt x="2289" y="252"/>
                  </a:lnTo>
                  <a:lnTo>
                    <a:pt x="2291" y="254"/>
                  </a:lnTo>
                  <a:lnTo>
                    <a:pt x="2291" y="256"/>
                  </a:lnTo>
                  <a:lnTo>
                    <a:pt x="2289" y="260"/>
                  </a:lnTo>
                  <a:lnTo>
                    <a:pt x="2288" y="262"/>
                  </a:lnTo>
                  <a:lnTo>
                    <a:pt x="2285" y="267"/>
                  </a:lnTo>
                  <a:lnTo>
                    <a:pt x="2284" y="270"/>
                  </a:lnTo>
                  <a:lnTo>
                    <a:pt x="2284" y="273"/>
                  </a:lnTo>
                  <a:lnTo>
                    <a:pt x="2289" y="274"/>
                  </a:lnTo>
                  <a:lnTo>
                    <a:pt x="2292" y="275"/>
                  </a:lnTo>
                  <a:lnTo>
                    <a:pt x="2293" y="279"/>
                  </a:lnTo>
                  <a:lnTo>
                    <a:pt x="2294" y="281"/>
                  </a:lnTo>
                  <a:lnTo>
                    <a:pt x="2293" y="284"/>
                  </a:lnTo>
                  <a:lnTo>
                    <a:pt x="2292" y="290"/>
                  </a:lnTo>
                  <a:lnTo>
                    <a:pt x="2289" y="293"/>
                  </a:lnTo>
                  <a:lnTo>
                    <a:pt x="2288" y="296"/>
                  </a:lnTo>
                  <a:lnTo>
                    <a:pt x="2289" y="298"/>
                  </a:lnTo>
                  <a:lnTo>
                    <a:pt x="2289" y="301"/>
                  </a:lnTo>
                  <a:lnTo>
                    <a:pt x="2289" y="304"/>
                  </a:lnTo>
                  <a:lnTo>
                    <a:pt x="2288" y="301"/>
                  </a:lnTo>
                  <a:lnTo>
                    <a:pt x="2287" y="298"/>
                  </a:lnTo>
                  <a:lnTo>
                    <a:pt x="2284" y="297"/>
                  </a:lnTo>
                  <a:lnTo>
                    <a:pt x="2282" y="297"/>
                  </a:lnTo>
                  <a:lnTo>
                    <a:pt x="2278" y="300"/>
                  </a:lnTo>
                  <a:lnTo>
                    <a:pt x="2279" y="297"/>
                  </a:lnTo>
                  <a:lnTo>
                    <a:pt x="2283" y="296"/>
                  </a:lnTo>
                  <a:lnTo>
                    <a:pt x="2280" y="293"/>
                  </a:lnTo>
                  <a:lnTo>
                    <a:pt x="2276" y="291"/>
                  </a:lnTo>
                  <a:lnTo>
                    <a:pt x="2270" y="291"/>
                  </a:lnTo>
                  <a:lnTo>
                    <a:pt x="2267" y="290"/>
                  </a:lnTo>
                  <a:lnTo>
                    <a:pt x="2265" y="289"/>
                  </a:lnTo>
                  <a:lnTo>
                    <a:pt x="2261" y="289"/>
                  </a:lnTo>
                  <a:lnTo>
                    <a:pt x="2257" y="295"/>
                  </a:lnTo>
                  <a:lnTo>
                    <a:pt x="2251" y="299"/>
                  </a:lnTo>
                  <a:lnTo>
                    <a:pt x="2249" y="300"/>
                  </a:lnTo>
                  <a:lnTo>
                    <a:pt x="2246" y="300"/>
                  </a:lnTo>
                  <a:lnTo>
                    <a:pt x="2243" y="301"/>
                  </a:lnTo>
                  <a:lnTo>
                    <a:pt x="2237" y="306"/>
                  </a:lnTo>
                  <a:lnTo>
                    <a:pt x="2232" y="309"/>
                  </a:lnTo>
                  <a:lnTo>
                    <a:pt x="2229" y="312"/>
                  </a:lnTo>
                  <a:lnTo>
                    <a:pt x="2228" y="314"/>
                  </a:lnTo>
                  <a:lnTo>
                    <a:pt x="2234" y="322"/>
                  </a:lnTo>
                  <a:lnTo>
                    <a:pt x="2236" y="323"/>
                  </a:lnTo>
                  <a:lnTo>
                    <a:pt x="2237" y="325"/>
                  </a:lnTo>
                  <a:lnTo>
                    <a:pt x="2238" y="327"/>
                  </a:lnTo>
                  <a:lnTo>
                    <a:pt x="2238" y="330"/>
                  </a:lnTo>
                  <a:lnTo>
                    <a:pt x="2240" y="333"/>
                  </a:lnTo>
                  <a:lnTo>
                    <a:pt x="2240" y="333"/>
                  </a:lnTo>
                  <a:lnTo>
                    <a:pt x="2235" y="333"/>
                  </a:lnTo>
                  <a:lnTo>
                    <a:pt x="2233" y="331"/>
                  </a:lnTo>
                  <a:lnTo>
                    <a:pt x="2228" y="333"/>
                  </a:lnTo>
                  <a:lnTo>
                    <a:pt x="2225" y="332"/>
                  </a:lnTo>
                  <a:lnTo>
                    <a:pt x="2223" y="331"/>
                  </a:lnTo>
                  <a:lnTo>
                    <a:pt x="2217" y="329"/>
                  </a:lnTo>
                  <a:lnTo>
                    <a:pt x="2215" y="329"/>
                  </a:lnTo>
                  <a:lnTo>
                    <a:pt x="2211" y="329"/>
                  </a:lnTo>
                  <a:lnTo>
                    <a:pt x="2209" y="330"/>
                  </a:lnTo>
                  <a:lnTo>
                    <a:pt x="2206" y="331"/>
                  </a:lnTo>
                  <a:lnTo>
                    <a:pt x="2207" y="329"/>
                  </a:lnTo>
                  <a:lnTo>
                    <a:pt x="2210" y="326"/>
                  </a:lnTo>
                  <a:lnTo>
                    <a:pt x="2207" y="326"/>
                  </a:lnTo>
                  <a:lnTo>
                    <a:pt x="2205" y="326"/>
                  </a:lnTo>
                  <a:lnTo>
                    <a:pt x="2200" y="322"/>
                  </a:lnTo>
                  <a:lnTo>
                    <a:pt x="2192" y="318"/>
                  </a:lnTo>
                  <a:lnTo>
                    <a:pt x="2190" y="321"/>
                  </a:lnTo>
                  <a:lnTo>
                    <a:pt x="2189" y="323"/>
                  </a:lnTo>
                  <a:lnTo>
                    <a:pt x="2184" y="326"/>
                  </a:lnTo>
                  <a:lnTo>
                    <a:pt x="2186" y="329"/>
                  </a:lnTo>
                  <a:lnTo>
                    <a:pt x="2194" y="337"/>
                  </a:lnTo>
                  <a:lnTo>
                    <a:pt x="2197" y="338"/>
                  </a:lnTo>
                  <a:lnTo>
                    <a:pt x="2202" y="337"/>
                  </a:lnTo>
                  <a:lnTo>
                    <a:pt x="2206" y="339"/>
                  </a:lnTo>
                  <a:lnTo>
                    <a:pt x="2205" y="341"/>
                  </a:lnTo>
                  <a:lnTo>
                    <a:pt x="2206" y="344"/>
                  </a:lnTo>
                  <a:lnTo>
                    <a:pt x="2205" y="347"/>
                  </a:lnTo>
                  <a:lnTo>
                    <a:pt x="2201" y="347"/>
                  </a:lnTo>
                  <a:lnTo>
                    <a:pt x="2199" y="349"/>
                  </a:lnTo>
                  <a:lnTo>
                    <a:pt x="2197" y="349"/>
                  </a:lnTo>
                  <a:lnTo>
                    <a:pt x="2193" y="348"/>
                  </a:lnTo>
                  <a:lnTo>
                    <a:pt x="2190" y="347"/>
                  </a:lnTo>
                  <a:lnTo>
                    <a:pt x="2188" y="347"/>
                  </a:lnTo>
                  <a:lnTo>
                    <a:pt x="2184" y="346"/>
                  </a:lnTo>
                  <a:lnTo>
                    <a:pt x="2181" y="343"/>
                  </a:lnTo>
                  <a:lnTo>
                    <a:pt x="2180" y="341"/>
                  </a:lnTo>
                  <a:lnTo>
                    <a:pt x="2177" y="340"/>
                  </a:lnTo>
                  <a:lnTo>
                    <a:pt x="2175" y="338"/>
                  </a:lnTo>
                  <a:lnTo>
                    <a:pt x="2169" y="339"/>
                  </a:lnTo>
                  <a:lnTo>
                    <a:pt x="2164" y="335"/>
                  </a:lnTo>
                  <a:lnTo>
                    <a:pt x="2161" y="333"/>
                  </a:lnTo>
                  <a:lnTo>
                    <a:pt x="2163" y="331"/>
                  </a:lnTo>
                  <a:lnTo>
                    <a:pt x="2164" y="329"/>
                  </a:lnTo>
                  <a:lnTo>
                    <a:pt x="2161" y="329"/>
                  </a:lnTo>
                  <a:lnTo>
                    <a:pt x="2163" y="326"/>
                  </a:lnTo>
                  <a:lnTo>
                    <a:pt x="2160" y="324"/>
                  </a:lnTo>
                  <a:lnTo>
                    <a:pt x="2160" y="323"/>
                  </a:lnTo>
                  <a:lnTo>
                    <a:pt x="2158" y="317"/>
                  </a:lnTo>
                  <a:lnTo>
                    <a:pt x="2156" y="315"/>
                  </a:lnTo>
                  <a:lnTo>
                    <a:pt x="2158" y="314"/>
                  </a:lnTo>
                  <a:lnTo>
                    <a:pt x="2160" y="310"/>
                  </a:lnTo>
                  <a:lnTo>
                    <a:pt x="2159" y="305"/>
                  </a:lnTo>
                  <a:lnTo>
                    <a:pt x="2163" y="307"/>
                  </a:lnTo>
                  <a:lnTo>
                    <a:pt x="2163" y="305"/>
                  </a:lnTo>
                  <a:lnTo>
                    <a:pt x="2159" y="303"/>
                  </a:lnTo>
                  <a:lnTo>
                    <a:pt x="2159" y="300"/>
                  </a:lnTo>
                  <a:lnTo>
                    <a:pt x="2157" y="298"/>
                  </a:lnTo>
                  <a:lnTo>
                    <a:pt x="2154" y="297"/>
                  </a:lnTo>
                  <a:lnTo>
                    <a:pt x="2151" y="296"/>
                  </a:lnTo>
                  <a:lnTo>
                    <a:pt x="2149" y="296"/>
                  </a:lnTo>
                  <a:lnTo>
                    <a:pt x="2146" y="293"/>
                  </a:lnTo>
                  <a:lnTo>
                    <a:pt x="2141" y="293"/>
                  </a:lnTo>
                  <a:lnTo>
                    <a:pt x="2143" y="292"/>
                  </a:lnTo>
                  <a:lnTo>
                    <a:pt x="2146" y="292"/>
                  </a:lnTo>
                  <a:lnTo>
                    <a:pt x="2140" y="289"/>
                  </a:lnTo>
                  <a:lnTo>
                    <a:pt x="2137" y="289"/>
                  </a:lnTo>
                  <a:lnTo>
                    <a:pt x="2139" y="288"/>
                  </a:lnTo>
                  <a:lnTo>
                    <a:pt x="2142" y="289"/>
                  </a:lnTo>
                  <a:lnTo>
                    <a:pt x="2139" y="288"/>
                  </a:lnTo>
                  <a:lnTo>
                    <a:pt x="2138" y="288"/>
                  </a:lnTo>
                  <a:lnTo>
                    <a:pt x="2134" y="288"/>
                  </a:lnTo>
                  <a:lnTo>
                    <a:pt x="2140" y="287"/>
                  </a:lnTo>
                  <a:lnTo>
                    <a:pt x="2138" y="286"/>
                  </a:lnTo>
                  <a:lnTo>
                    <a:pt x="2134" y="284"/>
                  </a:lnTo>
                  <a:lnTo>
                    <a:pt x="2132" y="282"/>
                  </a:lnTo>
                  <a:lnTo>
                    <a:pt x="2130" y="281"/>
                  </a:lnTo>
                  <a:lnTo>
                    <a:pt x="2131" y="278"/>
                  </a:lnTo>
                  <a:lnTo>
                    <a:pt x="2127" y="276"/>
                  </a:lnTo>
                  <a:lnTo>
                    <a:pt x="2125" y="275"/>
                  </a:lnTo>
                  <a:lnTo>
                    <a:pt x="2122" y="275"/>
                  </a:lnTo>
                  <a:lnTo>
                    <a:pt x="2125" y="274"/>
                  </a:lnTo>
                  <a:lnTo>
                    <a:pt x="2132" y="275"/>
                  </a:lnTo>
                  <a:lnTo>
                    <a:pt x="2134" y="275"/>
                  </a:lnTo>
                  <a:lnTo>
                    <a:pt x="2134" y="279"/>
                  </a:lnTo>
                  <a:lnTo>
                    <a:pt x="2140" y="283"/>
                  </a:lnTo>
                  <a:lnTo>
                    <a:pt x="2142" y="284"/>
                  </a:lnTo>
                  <a:lnTo>
                    <a:pt x="2146" y="282"/>
                  </a:lnTo>
                  <a:lnTo>
                    <a:pt x="2148" y="284"/>
                  </a:lnTo>
                  <a:lnTo>
                    <a:pt x="2154" y="286"/>
                  </a:lnTo>
                  <a:lnTo>
                    <a:pt x="2157" y="287"/>
                  </a:lnTo>
                  <a:lnTo>
                    <a:pt x="2159" y="288"/>
                  </a:lnTo>
                  <a:lnTo>
                    <a:pt x="2163" y="287"/>
                  </a:lnTo>
                  <a:lnTo>
                    <a:pt x="2169" y="291"/>
                  </a:lnTo>
                  <a:lnTo>
                    <a:pt x="2183" y="293"/>
                  </a:lnTo>
                  <a:lnTo>
                    <a:pt x="2193" y="295"/>
                  </a:lnTo>
                  <a:lnTo>
                    <a:pt x="2195" y="296"/>
                  </a:lnTo>
                  <a:lnTo>
                    <a:pt x="2198" y="297"/>
                  </a:lnTo>
                  <a:lnTo>
                    <a:pt x="2205" y="299"/>
                  </a:lnTo>
                  <a:lnTo>
                    <a:pt x="2212" y="300"/>
                  </a:lnTo>
                  <a:lnTo>
                    <a:pt x="2218" y="298"/>
                  </a:lnTo>
                  <a:lnTo>
                    <a:pt x="2220" y="298"/>
                  </a:lnTo>
                  <a:lnTo>
                    <a:pt x="2224" y="298"/>
                  </a:lnTo>
                  <a:lnTo>
                    <a:pt x="2226" y="296"/>
                  </a:lnTo>
                  <a:lnTo>
                    <a:pt x="2233" y="295"/>
                  </a:lnTo>
                  <a:lnTo>
                    <a:pt x="2235" y="292"/>
                  </a:lnTo>
                  <a:lnTo>
                    <a:pt x="2237" y="291"/>
                  </a:lnTo>
                  <a:lnTo>
                    <a:pt x="2249" y="282"/>
                  </a:lnTo>
                  <a:lnTo>
                    <a:pt x="2250" y="279"/>
                  </a:lnTo>
                  <a:lnTo>
                    <a:pt x="2250" y="278"/>
                  </a:lnTo>
                  <a:lnTo>
                    <a:pt x="2251" y="275"/>
                  </a:lnTo>
                  <a:lnTo>
                    <a:pt x="2250" y="273"/>
                  </a:lnTo>
                  <a:lnTo>
                    <a:pt x="2248" y="270"/>
                  </a:lnTo>
                  <a:lnTo>
                    <a:pt x="2246" y="267"/>
                  </a:lnTo>
                  <a:lnTo>
                    <a:pt x="2246" y="262"/>
                  </a:lnTo>
                  <a:lnTo>
                    <a:pt x="2243" y="261"/>
                  </a:lnTo>
                  <a:lnTo>
                    <a:pt x="2241" y="260"/>
                  </a:lnTo>
                  <a:lnTo>
                    <a:pt x="2237" y="260"/>
                  </a:lnTo>
                  <a:lnTo>
                    <a:pt x="2236" y="257"/>
                  </a:lnTo>
                  <a:lnTo>
                    <a:pt x="2233" y="254"/>
                  </a:lnTo>
                  <a:lnTo>
                    <a:pt x="2231" y="252"/>
                  </a:lnTo>
                  <a:lnTo>
                    <a:pt x="2227" y="253"/>
                  </a:lnTo>
                  <a:lnTo>
                    <a:pt x="2225" y="253"/>
                  </a:lnTo>
                  <a:lnTo>
                    <a:pt x="2214" y="246"/>
                  </a:lnTo>
                  <a:lnTo>
                    <a:pt x="2211" y="246"/>
                  </a:lnTo>
                  <a:lnTo>
                    <a:pt x="2202" y="239"/>
                  </a:lnTo>
                  <a:lnTo>
                    <a:pt x="2200" y="238"/>
                  </a:lnTo>
                  <a:lnTo>
                    <a:pt x="2194" y="236"/>
                  </a:lnTo>
                  <a:lnTo>
                    <a:pt x="2186" y="230"/>
                  </a:lnTo>
                  <a:lnTo>
                    <a:pt x="2184" y="230"/>
                  </a:lnTo>
                  <a:lnTo>
                    <a:pt x="2181" y="228"/>
                  </a:lnTo>
                  <a:lnTo>
                    <a:pt x="2178" y="228"/>
                  </a:lnTo>
                  <a:lnTo>
                    <a:pt x="2175" y="227"/>
                  </a:lnTo>
                  <a:lnTo>
                    <a:pt x="2169" y="224"/>
                  </a:lnTo>
                  <a:lnTo>
                    <a:pt x="2167" y="224"/>
                  </a:lnTo>
                  <a:lnTo>
                    <a:pt x="2164" y="226"/>
                  </a:lnTo>
                  <a:lnTo>
                    <a:pt x="2161" y="226"/>
                  </a:lnTo>
                  <a:lnTo>
                    <a:pt x="2156" y="223"/>
                  </a:lnTo>
                  <a:lnTo>
                    <a:pt x="2150" y="223"/>
                  </a:lnTo>
                  <a:lnTo>
                    <a:pt x="2144" y="223"/>
                  </a:lnTo>
                  <a:lnTo>
                    <a:pt x="2144" y="227"/>
                  </a:lnTo>
                  <a:lnTo>
                    <a:pt x="2141" y="229"/>
                  </a:lnTo>
                  <a:lnTo>
                    <a:pt x="2139" y="229"/>
                  </a:lnTo>
                  <a:lnTo>
                    <a:pt x="2137" y="232"/>
                  </a:lnTo>
                  <a:lnTo>
                    <a:pt x="2137" y="229"/>
                  </a:lnTo>
                  <a:lnTo>
                    <a:pt x="2140" y="229"/>
                  </a:lnTo>
                  <a:lnTo>
                    <a:pt x="2142" y="227"/>
                  </a:lnTo>
                  <a:lnTo>
                    <a:pt x="2143" y="224"/>
                  </a:lnTo>
                  <a:lnTo>
                    <a:pt x="2140" y="224"/>
                  </a:lnTo>
                  <a:lnTo>
                    <a:pt x="2143" y="222"/>
                  </a:lnTo>
                  <a:lnTo>
                    <a:pt x="2140" y="221"/>
                  </a:lnTo>
                  <a:lnTo>
                    <a:pt x="2138" y="221"/>
                  </a:lnTo>
                  <a:lnTo>
                    <a:pt x="2135" y="223"/>
                  </a:lnTo>
                  <a:lnTo>
                    <a:pt x="2137" y="221"/>
                  </a:lnTo>
                  <a:lnTo>
                    <a:pt x="2133" y="221"/>
                  </a:lnTo>
                  <a:lnTo>
                    <a:pt x="2131" y="219"/>
                  </a:lnTo>
                  <a:lnTo>
                    <a:pt x="2127" y="220"/>
                  </a:lnTo>
                  <a:lnTo>
                    <a:pt x="2129" y="218"/>
                  </a:lnTo>
                  <a:lnTo>
                    <a:pt x="2123" y="215"/>
                  </a:lnTo>
                  <a:lnTo>
                    <a:pt x="2124" y="213"/>
                  </a:lnTo>
                  <a:lnTo>
                    <a:pt x="2127" y="215"/>
                  </a:lnTo>
                  <a:lnTo>
                    <a:pt x="2135" y="216"/>
                  </a:lnTo>
                  <a:lnTo>
                    <a:pt x="2138" y="214"/>
                  </a:lnTo>
                  <a:lnTo>
                    <a:pt x="2135" y="212"/>
                  </a:lnTo>
                  <a:lnTo>
                    <a:pt x="2130" y="212"/>
                  </a:lnTo>
                  <a:lnTo>
                    <a:pt x="2127" y="210"/>
                  </a:lnTo>
                  <a:lnTo>
                    <a:pt x="2124" y="209"/>
                  </a:lnTo>
                  <a:lnTo>
                    <a:pt x="2122" y="209"/>
                  </a:lnTo>
                  <a:lnTo>
                    <a:pt x="2124" y="211"/>
                  </a:lnTo>
                  <a:lnTo>
                    <a:pt x="2121" y="211"/>
                  </a:lnTo>
                  <a:lnTo>
                    <a:pt x="2118" y="213"/>
                  </a:lnTo>
                  <a:lnTo>
                    <a:pt x="2116" y="214"/>
                  </a:lnTo>
                  <a:lnTo>
                    <a:pt x="2113" y="216"/>
                  </a:lnTo>
                  <a:lnTo>
                    <a:pt x="2115" y="213"/>
                  </a:lnTo>
                  <a:lnTo>
                    <a:pt x="2107" y="212"/>
                  </a:lnTo>
                  <a:lnTo>
                    <a:pt x="2105" y="211"/>
                  </a:lnTo>
                  <a:lnTo>
                    <a:pt x="2103" y="214"/>
                  </a:lnTo>
                  <a:lnTo>
                    <a:pt x="2101" y="211"/>
                  </a:lnTo>
                  <a:lnTo>
                    <a:pt x="2099" y="210"/>
                  </a:lnTo>
                  <a:lnTo>
                    <a:pt x="2099" y="212"/>
                  </a:lnTo>
                  <a:lnTo>
                    <a:pt x="2098" y="214"/>
                  </a:lnTo>
                  <a:lnTo>
                    <a:pt x="2096" y="214"/>
                  </a:lnTo>
                  <a:lnTo>
                    <a:pt x="2096" y="213"/>
                  </a:lnTo>
                  <a:lnTo>
                    <a:pt x="2092" y="213"/>
                  </a:lnTo>
                  <a:lnTo>
                    <a:pt x="2089" y="213"/>
                  </a:lnTo>
                  <a:lnTo>
                    <a:pt x="2092" y="212"/>
                  </a:lnTo>
                  <a:lnTo>
                    <a:pt x="2091" y="209"/>
                  </a:lnTo>
                  <a:lnTo>
                    <a:pt x="2088" y="210"/>
                  </a:lnTo>
                  <a:lnTo>
                    <a:pt x="2089" y="206"/>
                  </a:lnTo>
                  <a:lnTo>
                    <a:pt x="2087" y="206"/>
                  </a:lnTo>
                  <a:lnTo>
                    <a:pt x="2083" y="205"/>
                  </a:lnTo>
                  <a:lnTo>
                    <a:pt x="2078" y="204"/>
                  </a:lnTo>
                  <a:lnTo>
                    <a:pt x="2081" y="203"/>
                  </a:lnTo>
                  <a:lnTo>
                    <a:pt x="2092" y="205"/>
                  </a:lnTo>
                  <a:lnTo>
                    <a:pt x="2098" y="205"/>
                  </a:lnTo>
                  <a:lnTo>
                    <a:pt x="2101" y="203"/>
                  </a:lnTo>
                  <a:lnTo>
                    <a:pt x="2104" y="201"/>
                  </a:lnTo>
                  <a:lnTo>
                    <a:pt x="2109" y="199"/>
                  </a:lnTo>
                  <a:lnTo>
                    <a:pt x="2110" y="197"/>
                  </a:lnTo>
                  <a:lnTo>
                    <a:pt x="2101" y="193"/>
                  </a:lnTo>
                  <a:lnTo>
                    <a:pt x="2099" y="194"/>
                  </a:lnTo>
                  <a:lnTo>
                    <a:pt x="2097" y="194"/>
                  </a:lnTo>
                  <a:lnTo>
                    <a:pt x="2099" y="193"/>
                  </a:lnTo>
                  <a:lnTo>
                    <a:pt x="2099" y="190"/>
                  </a:lnTo>
                  <a:lnTo>
                    <a:pt x="2096" y="189"/>
                  </a:lnTo>
                  <a:lnTo>
                    <a:pt x="2092" y="192"/>
                  </a:lnTo>
                  <a:lnTo>
                    <a:pt x="2092" y="188"/>
                  </a:lnTo>
                  <a:lnTo>
                    <a:pt x="2089" y="189"/>
                  </a:lnTo>
                  <a:lnTo>
                    <a:pt x="2087" y="190"/>
                  </a:lnTo>
                  <a:lnTo>
                    <a:pt x="2088" y="187"/>
                  </a:lnTo>
                  <a:lnTo>
                    <a:pt x="2084" y="186"/>
                  </a:lnTo>
                  <a:lnTo>
                    <a:pt x="2082" y="185"/>
                  </a:lnTo>
                  <a:lnTo>
                    <a:pt x="2079" y="186"/>
                  </a:lnTo>
                  <a:lnTo>
                    <a:pt x="2077" y="188"/>
                  </a:lnTo>
                  <a:lnTo>
                    <a:pt x="2075" y="190"/>
                  </a:lnTo>
                  <a:lnTo>
                    <a:pt x="2075" y="194"/>
                  </a:lnTo>
                  <a:lnTo>
                    <a:pt x="2072" y="196"/>
                  </a:lnTo>
                  <a:lnTo>
                    <a:pt x="2071" y="199"/>
                  </a:lnTo>
                  <a:lnTo>
                    <a:pt x="2071" y="196"/>
                  </a:lnTo>
                  <a:lnTo>
                    <a:pt x="2073" y="194"/>
                  </a:lnTo>
                  <a:lnTo>
                    <a:pt x="2069" y="195"/>
                  </a:lnTo>
                  <a:lnTo>
                    <a:pt x="2071" y="192"/>
                  </a:lnTo>
                  <a:lnTo>
                    <a:pt x="2073" y="189"/>
                  </a:lnTo>
                  <a:lnTo>
                    <a:pt x="2066" y="192"/>
                  </a:lnTo>
                  <a:lnTo>
                    <a:pt x="2064" y="192"/>
                  </a:lnTo>
                  <a:lnTo>
                    <a:pt x="2066" y="190"/>
                  </a:lnTo>
                  <a:lnTo>
                    <a:pt x="2070" y="189"/>
                  </a:lnTo>
                  <a:lnTo>
                    <a:pt x="2066" y="188"/>
                  </a:lnTo>
                  <a:lnTo>
                    <a:pt x="2069" y="186"/>
                  </a:lnTo>
                  <a:lnTo>
                    <a:pt x="2071" y="187"/>
                  </a:lnTo>
                  <a:lnTo>
                    <a:pt x="2075" y="185"/>
                  </a:lnTo>
                  <a:lnTo>
                    <a:pt x="2074" y="181"/>
                  </a:lnTo>
                  <a:lnTo>
                    <a:pt x="2071" y="182"/>
                  </a:lnTo>
                  <a:lnTo>
                    <a:pt x="2072" y="180"/>
                  </a:lnTo>
                  <a:lnTo>
                    <a:pt x="2069" y="180"/>
                  </a:lnTo>
                  <a:lnTo>
                    <a:pt x="2066" y="180"/>
                  </a:lnTo>
                  <a:lnTo>
                    <a:pt x="2064" y="179"/>
                  </a:lnTo>
                  <a:lnTo>
                    <a:pt x="2061" y="181"/>
                  </a:lnTo>
                  <a:lnTo>
                    <a:pt x="2058" y="181"/>
                  </a:lnTo>
                  <a:lnTo>
                    <a:pt x="2058" y="185"/>
                  </a:lnTo>
                  <a:lnTo>
                    <a:pt x="2062" y="187"/>
                  </a:lnTo>
                  <a:lnTo>
                    <a:pt x="2058" y="188"/>
                  </a:lnTo>
                  <a:lnTo>
                    <a:pt x="2056" y="189"/>
                  </a:lnTo>
                  <a:lnTo>
                    <a:pt x="2057" y="192"/>
                  </a:lnTo>
                  <a:lnTo>
                    <a:pt x="2055" y="192"/>
                  </a:lnTo>
                  <a:lnTo>
                    <a:pt x="2056" y="195"/>
                  </a:lnTo>
                  <a:lnTo>
                    <a:pt x="2054" y="195"/>
                  </a:lnTo>
                  <a:lnTo>
                    <a:pt x="2048" y="197"/>
                  </a:lnTo>
                  <a:lnTo>
                    <a:pt x="2049" y="195"/>
                  </a:lnTo>
                  <a:lnTo>
                    <a:pt x="2049" y="193"/>
                  </a:lnTo>
                  <a:lnTo>
                    <a:pt x="2048" y="189"/>
                  </a:lnTo>
                  <a:lnTo>
                    <a:pt x="2050" y="188"/>
                  </a:lnTo>
                  <a:lnTo>
                    <a:pt x="2049" y="182"/>
                  </a:lnTo>
                  <a:lnTo>
                    <a:pt x="2047" y="185"/>
                  </a:lnTo>
                  <a:lnTo>
                    <a:pt x="2041" y="189"/>
                  </a:lnTo>
                  <a:lnTo>
                    <a:pt x="2040" y="192"/>
                  </a:lnTo>
                  <a:lnTo>
                    <a:pt x="2038" y="194"/>
                  </a:lnTo>
                  <a:lnTo>
                    <a:pt x="2036" y="196"/>
                  </a:lnTo>
                  <a:lnTo>
                    <a:pt x="2035" y="199"/>
                  </a:lnTo>
                  <a:lnTo>
                    <a:pt x="2032" y="202"/>
                  </a:lnTo>
                  <a:lnTo>
                    <a:pt x="2029" y="203"/>
                  </a:lnTo>
                  <a:lnTo>
                    <a:pt x="2027" y="203"/>
                  </a:lnTo>
                  <a:lnTo>
                    <a:pt x="2028" y="201"/>
                  </a:lnTo>
                  <a:lnTo>
                    <a:pt x="2029" y="197"/>
                  </a:lnTo>
                  <a:lnTo>
                    <a:pt x="2031" y="195"/>
                  </a:lnTo>
                  <a:lnTo>
                    <a:pt x="2029" y="195"/>
                  </a:lnTo>
                  <a:lnTo>
                    <a:pt x="2030" y="193"/>
                  </a:lnTo>
                  <a:lnTo>
                    <a:pt x="2038" y="187"/>
                  </a:lnTo>
                  <a:lnTo>
                    <a:pt x="2038" y="185"/>
                  </a:lnTo>
                  <a:lnTo>
                    <a:pt x="2036" y="185"/>
                  </a:lnTo>
                  <a:lnTo>
                    <a:pt x="2032" y="184"/>
                  </a:lnTo>
                  <a:lnTo>
                    <a:pt x="2031" y="187"/>
                  </a:lnTo>
                  <a:lnTo>
                    <a:pt x="2029" y="184"/>
                  </a:lnTo>
                  <a:lnTo>
                    <a:pt x="2027" y="184"/>
                  </a:lnTo>
                  <a:lnTo>
                    <a:pt x="2024" y="182"/>
                  </a:lnTo>
                  <a:lnTo>
                    <a:pt x="2021" y="182"/>
                  </a:lnTo>
                  <a:lnTo>
                    <a:pt x="2023" y="185"/>
                  </a:lnTo>
                  <a:lnTo>
                    <a:pt x="2020" y="186"/>
                  </a:lnTo>
                  <a:lnTo>
                    <a:pt x="2018" y="187"/>
                  </a:lnTo>
                  <a:lnTo>
                    <a:pt x="2020" y="188"/>
                  </a:lnTo>
                  <a:lnTo>
                    <a:pt x="2023" y="190"/>
                  </a:lnTo>
                  <a:lnTo>
                    <a:pt x="2018" y="190"/>
                  </a:lnTo>
                  <a:lnTo>
                    <a:pt x="2015" y="193"/>
                  </a:lnTo>
                  <a:lnTo>
                    <a:pt x="2019" y="195"/>
                  </a:lnTo>
                  <a:lnTo>
                    <a:pt x="2014" y="194"/>
                  </a:lnTo>
                  <a:lnTo>
                    <a:pt x="2011" y="195"/>
                  </a:lnTo>
                  <a:lnTo>
                    <a:pt x="2009" y="196"/>
                  </a:lnTo>
                  <a:lnTo>
                    <a:pt x="2007" y="199"/>
                  </a:lnTo>
                  <a:lnTo>
                    <a:pt x="2005" y="199"/>
                  </a:lnTo>
                  <a:lnTo>
                    <a:pt x="2004" y="203"/>
                  </a:lnTo>
                  <a:lnTo>
                    <a:pt x="2003" y="205"/>
                  </a:lnTo>
                  <a:lnTo>
                    <a:pt x="2006" y="206"/>
                  </a:lnTo>
                  <a:lnTo>
                    <a:pt x="2006" y="206"/>
                  </a:lnTo>
                  <a:lnTo>
                    <a:pt x="2003" y="207"/>
                  </a:lnTo>
                  <a:lnTo>
                    <a:pt x="2002" y="206"/>
                  </a:lnTo>
                  <a:lnTo>
                    <a:pt x="2001" y="206"/>
                  </a:lnTo>
                  <a:lnTo>
                    <a:pt x="1999" y="203"/>
                  </a:lnTo>
                  <a:lnTo>
                    <a:pt x="1997" y="204"/>
                  </a:lnTo>
                  <a:lnTo>
                    <a:pt x="1992" y="205"/>
                  </a:lnTo>
                  <a:lnTo>
                    <a:pt x="1996" y="204"/>
                  </a:lnTo>
                  <a:lnTo>
                    <a:pt x="1999" y="202"/>
                  </a:lnTo>
                  <a:lnTo>
                    <a:pt x="1993" y="201"/>
                  </a:lnTo>
                  <a:lnTo>
                    <a:pt x="1990" y="201"/>
                  </a:lnTo>
                  <a:lnTo>
                    <a:pt x="1993" y="203"/>
                  </a:lnTo>
                  <a:lnTo>
                    <a:pt x="1989" y="202"/>
                  </a:lnTo>
                  <a:lnTo>
                    <a:pt x="1988" y="199"/>
                  </a:lnTo>
                  <a:lnTo>
                    <a:pt x="1985" y="198"/>
                  </a:lnTo>
                  <a:lnTo>
                    <a:pt x="1984" y="202"/>
                  </a:lnTo>
                  <a:lnTo>
                    <a:pt x="1980" y="198"/>
                  </a:lnTo>
                  <a:lnTo>
                    <a:pt x="1976" y="201"/>
                  </a:lnTo>
                  <a:lnTo>
                    <a:pt x="1978" y="203"/>
                  </a:lnTo>
                  <a:lnTo>
                    <a:pt x="1981" y="205"/>
                  </a:lnTo>
                  <a:lnTo>
                    <a:pt x="1984" y="205"/>
                  </a:lnTo>
                  <a:lnTo>
                    <a:pt x="1987" y="204"/>
                  </a:lnTo>
                  <a:lnTo>
                    <a:pt x="1984" y="205"/>
                  </a:lnTo>
                  <a:lnTo>
                    <a:pt x="1987" y="206"/>
                  </a:lnTo>
                  <a:lnTo>
                    <a:pt x="1987" y="206"/>
                  </a:lnTo>
                  <a:lnTo>
                    <a:pt x="1985" y="207"/>
                  </a:lnTo>
                  <a:lnTo>
                    <a:pt x="1985" y="211"/>
                  </a:lnTo>
                  <a:lnTo>
                    <a:pt x="1986" y="213"/>
                  </a:lnTo>
                  <a:lnTo>
                    <a:pt x="1985" y="211"/>
                  </a:lnTo>
                  <a:lnTo>
                    <a:pt x="1982" y="209"/>
                  </a:lnTo>
                  <a:lnTo>
                    <a:pt x="1979" y="206"/>
                  </a:lnTo>
                  <a:lnTo>
                    <a:pt x="1976" y="206"/>
                  </a:lnTo>
                  <a:lnTo>
                    <a:pt x="1976" y="211"/>
                  </a:lnTo>
                  <a:lnTo>
                    <a:pt x="1973" y="212"/>
                  </a:lnTo>
                  <a:lnTo>
                    <a:pt x="1971" y="210"/>
                  </a:lnTo>
                  <a:lnTo>
                    <a:pt x="1973" y="207"/>
                  </a:lnTo>
                  <a:lnTo>
                    <a:pt x="1971" y="209"/>
                  </a:lnTo>
                  <a:lnTo>
                    <a:pt x="1969" y="212"/>
                  </a:lnTo>
                  <a:lnTo>
                    <a:pt x="1967" y="213"/>
                  </a:lnTo>
                  <a:lnTo>
                    <a:pt x="1967" y="216"/>
                  </a:lnTo>
                  <a:lnTo>
                    <a:pt x="1970" y="219"/>
                  </a:lnTo>
                  <a:lnTo>
                    <a:pt x="1967" y="218"/>
                  </a:lnTo>
                  <a:lnTo>
                    <a:pt x="1964" y="219"/>
                  </a:lnTo>
                  <a:lnTo>
                    <a:pt x="1962" y="222"/>
                  </a:lnTo>
                  <a:lnTo>
                    <a:pt x="1959" y="224"/>
                  </a:lnTo>
                  <a:lnTo>
                    <a:pt x="1959" y="223"/>
                  </a:lnTo>
                  <a:lnTo>
                    <a:pt x="1961" y="221"/>
                  </a:lnTo>
                  <a:lnTo>
                    <a:pt x="1964" y="215"/>
                  </a:lnTo>
                  <a:lnTo>
                    <a:pt x="1963" y="213"/>
                  </a:lnTo>
                  <a:lnTo>
                    <a:pt x="1964" y="210"/>
                  </a:lnTo>
                  <a:lnTo>
                    <a:pt x="1963" y="207"/>
                  </a:lnTo>
                  <a:lnTo>
                    <a:pt x="1962" y="210"/>
                  </a:lnTo>
                  <a:lnTo>
                    <a:pt x="1959" y="212"/>
                  </a:lnTo>
                  <a:lnTo>
                    <a:pt x="1959" y="211"/>
                  </a:lnTo>
                  <a:lnTo>
                    <a:pt x="1956" y="213"/>
                  </a:lnTo>
                  <a:lnTo>
                    <a:pt x="1958" y="216"/>
                  </a:lnTo>
                  <a:lnTo>
                    <a:pt x="1959" y="216"/>
                  </a:lnTo>
                  <a:lnTo>
                    <a:pt x="1955" y="216"/>
                  </a:lnTo>
                  <a:lnTo>
                    <a:pt x="1955" y="219"/>
                  </a:lnTo>
                  <a:lnTo>
                    <a:pt x="1953" y="221"/>
                  </a:lnTo>
                  <a:lnTo>
                    <a:pt x="1955" y="215"/>
                  </a:lnTo>
                  <a:lnTo>
                    <a:pt x="1955" y="213"/>
                  </a:lnTo>
                  <a:lnTo>
                    <a:pt x="1953" y="212"/>
                  </a:lnTo>
                  <a:lnTo>
                    <a:pt x="1950" y="212"/>
                  </a:lnTo>
                  <a:lnTo>
                    <a:pt x="1947" y="213"/>
                  </a:lnTo>
                  <a:lnTo>
                    <a:pt x="1945" y="215"/>
                  </a:lnTo>
                  <a:lnTo>
                    <a:pt x="1945" y="218"/>
                  </a:lnTo>
                  <a:lnTo>
                    <a:pt x="1949" y="218"/>
                  </a:lnTo>
                  <a:lnTo>
                    <a:pt x="1945" y="219"/>
                  </a:lnTo>
                  <a:lnTo>
                    <a:pt x="1946" y="222"/>
                  </a:lnTo>
                  <a:lnTo>
                    <a:pt x="1950" y="222"/>
                  </a:lnTo>
                  <a:lnTo>
                    <a:pt x="1951" y="224"/>
                  </a:lnTo>
                  <a:lnTo>
                    <a:pt x="1949" y="222"/>
                  </a:lnTo>
                  <a:lnTo>
                    <a:pt x="1945" y="222"/>
                  </a:lnTo>
                  <a:lnTo>
                    <a:pt x="1944" y="219"/>
                  </a:lnTo>
                  <a:lnTo>
                    <a:pt x="1941" y="218"/>
                  </a:lnTo>
                  <a:lnTo>
                    <a:pt x="1938" y="219"/>
                  </a:lnTo>
                  <a:lnTo>
                    <a:pt x="1939" y="221"/>
                  </a:lnTo>
                  <a:lnTo>
                    <a:pt x="1945" y="224"/>
                  </a:lnTo>
                  <a:lnTo>
                    <a:pt x="1943" y="223"/>
                  </a:lnTo>
                  <a:lnTo>
                    <a:pt x="1939" y="223"/>
                  </a:lnTo>
                  <a:lnTo>
                    <a:pt x="1938" y="226"/>
                  </a:lnTo>
                  <a:lnTo>
                    <a:pt x="1938" y="224"/>
                  </a:lnTo>
                  <a:lnTo>
                    <a:pt x="1937" y="221"/>
                  </a:lnTo>
                  <a:lnTo>
                    <a:pt x="1935" y="220"/>
                  </a:lnTo>
                  <a:lnTo>
                    <a:pt x="1932" y="226"/>
                  </a:lnTo>
                  <a:lnTo>
                    <a:pt x="1933" y="228"/>
                  </a:lnTo>
                  <a:lnTo>
                    <a:pt x="1928" y="228"/>
                  </a:lnTo>
                  <a:lnTo>
                    <a:pt x="1925" y="230"/>
                  </a:lnTo>
                  <a:lnTo>
                    <a:pt x="1925" y="233"/>
                  </a:lnTo>
                  <a:lnTo>
                    <a:pt x="1927" y="233"/>
                  </a:lnTo>
                  <a:lnTo>
                    <a:pt x="1927" y="236"/>
                  </a:lnTo>
                  <a:lnTo>
                    <a:pt x="1924" y="236"/>
                  </a:lnTo>
                  <a:lnTo>
                    <a:pt x="1922" y="236"/>
                  </a:lnTo>
                  <a:lnTo>
                    <a:pt x="1927" y="239"/>
                  </a:lnTo>
                  <a:lnTo>
                    <a:pt x="1921" y="237"/>
                  </a:lnTo>
                  <a:lnTo>
                    <a:pt x="1918" y="238"/>
                  </a:lnTo>
                  <a:lnTo>
                    <a:pt x="1912" y="239"/>
                  </a:lnTo>
                  <a:lnTo>
                    <a:pt x="1912" y="241"/>
                  </a:lnTo>
                  <a:lnTo>
                    <a:pt x="1913" y="244"/>
                  </a:lnTo>
                  <a:lnTo>
                    <a:pt x="1919" y="244"/>
                  </a:lnTo>
                  <a:lnTo>
                    <a:pt x="1922" y="244"/>
                  </a:lnTo>
                  <a:lnTo>
                    <a:pt x="1928" y="244"/>
                  </a:lnTo>
                  <a:lnTo>
                    <a:pt x="1924" y="245"/>
                  </a:lnTo>
                  <a:lnTo>
                    <a:pt x="1921" y="246"/>
                  </a:lnTo>
                  <a:lnTo>
                    <a:pt x="1921" y="247"/>
                  </a:lnTo>
                  <a:lnTo>
                    <a:pt x="1924" y="249"/>
                  </a:lnTo>
                  <a:lnTo>
                    <a:pt x="1921" y="247"/>
                  </a:lnTo>
                  <a:lnTo>
                    <a:pt x="1921" y="246"/>
                  </a:lnTo>
                  <a:lnTo>
                    <a:pt x="1919" y="246"/>
                  </a:lnTo>
                  <a:lnTo>
                    <a:pt x="1916" y="247"/>
                  </a:lnTo>
                  <a:lnTo>
                    <a:pt x="1913" y="245"/>
                  </a:lnTo>
                  <a:lnTo>
                    <a:pt x="1910" y="245"/>
                  </a:lnTo>
                  <a:lnTo>
                    <a:pt x="1911" y="248"/>
                  </a:lnTo>
                  <a:lnTo>
                    <a:pt x="1915" y="250"/>
                  </a:lnTo>
                  <a:lnTo>
                    <a:pt x="1911" y="248"/>
                  </a:lnTo>
                  <a:lnTo>
                    <a:pt x="1908" y="247"/>
                  </a:lnTo>
                  <a:lnTo>
                    <a:pt x="1911" y="248"/>
                  </a:lnTo>
                  <a:lnTo>
                    <a:pt x="1910" y="250"/>
                  </a:lnTo>
                  <a:lnTo>
                    <a:pt x="1913" y="253"/>
                  </a:lnTo>
                  <a:lnTo>
                    <a:pt x="1910" y="253"/>
                  </a:lnTo>
                  <a:lnTo>
                    <a:pt x="1911" y="255"/>
                  </a:lnTo>
                  <a:lnTo>
                    <a:pt x="1909" y="254"/>
                  </a:lnTo>
                  <a:lnTo>
                    <a:pt x="1910" y="257"/>
                  </a:lnTo>
                  <a:lnTo>
                    <a:pt x="1908" y="254"/>
                  </a:lnTo>
                  <a:lnTo>
                    <a:pt x="1908" y="257"/>
                  </a:lnTo>
                  <a:lnTo>
                    <a:pt x="1910" y="258"/>
                  </a:lnTo>
                  <a:lnTo>
                    <a:pt x="1908" y="257"/>
                  </a:lnTo>
                  <a:lnTo>
                    <a:pt x="1908" y="257"/>
                  </a:lnTo>
                  <a:lnTo>
                    <a:pt x="1907" y="255"/>
                  </a:lnTo>
                  <a:lnTo>
                    <a:pt x="1905" y="249"/>
                  </a:lnTo>
                  <a:lnTo>
                    <a:pt x="1902" y="249"/>
                  </a:lnTo>
                  <a:lnTo>
                    <a:pt x="1901" y="253"/>
                  </a:lnTo>
                  <a:lnTo>
                    <a:pt x="1899" y="252"/>
                  </a:lnTo>
                  <a:lnTo>
                    <a:pt x="1896" y="252"/>
                  </a:lnTo>
                  <a:lnTo>
                    <a:pt x="1895" y="254"/>
                  </a:lnTo>
                  <a:lnTo>
                    <a:pt x="1899" y="253"/>
                  </a:lnTo>
                  <a:lnTo>
                    <a:pt x="1901" y="254"/>
                  </a:lnTo>
                  <a:lnTo>
                    <a:pt x="1901" y="254"/>
                  </a:lnTo>
                  <a:lnTo>
                    <a:pt x="1901" y="254"/>
                  </a:lnTo>
                  <a:lnTo>
                    <a:pt x="1903" y="255"/>
                  </a:lnTo>
                  <a:lnTo>
                    <a:pt x="1901" y="255"/>
                  </a:lnTo>
                  <a:lnTo>
                    <a:pt x="1893" y="257"/>
                  </a:lnTo>
                  <a:lnTo>
                    <a:pt x="1890" y="257"/>
                  </a:lnTo>
                  <a:lnTo>
                    <a:pt x="1890" y="261"/>
                  </a:lnTo>
                  <a:lnTo>
                    <a:pt x="1887" y="262"/>
                  </a:lnTo>
                  <a:lnTo>
                    <a:pt x="1890" y="263"/>
                  </a:lnTo>
                  <a:lnTo>
                    <a:pt x="1896" y="258"/>
                  </a:lnTo>
                  <a:lnTo>
                    <a:pt x="1899" y="260"/>
                  </a:lnTo>
                  <a:lnTo>
                    <a:pt x="1901" y="262"/>
                  </a:lnTo>
                  <a:lnTo>
                    <a:pt x="1899" y="261"/>
                  </a:lnTo>
                  <a:lnTo>
                    <a:pt x="1896" y="261"/>
                  </a:lnTo>
                  <a:lnTo>
                    <a:pt x="1899" y="262"/>
                  </a:lnTo>
                  <a:lnTo>
                    <a:pt x="1896" y="262"/>
                  </a:lnTo>
                  <a:lnTo>
                    <a:pt x="1893" y="263"/>
                  </a:lnTo>
                  <a:lnTo>
                    <a:pt x="1896" y="265"/>
                  </a:lnTo>
                  <a:lnTo>
                    <a:pt x="1901" y="265"/>
                  </a:lnTo>
                  <a:lnTo>
                    <a:pt x="1899" y="266"/>
                  </a:lnTo>
                  <a:lnTo>
                    <a:pt x="1900" y="269"/>
                  </a:lnTo>
                  <a:lnTo>
                    <a:pt x="1898" y="269"/>
                  </a:lnTo>
                  <a:lnTo>
                    <a:pt x="1895" y="266"/>
                  </a:lnTo>
                  <a:lnTo>
                    <a:pt x="1893" y="265"/>
                  </a:lnTo>
                  <a:lnTo>
                    <a:pt x="1890" y="266"/>
                  </a:lnTo>
                  <a:lnTo>
                    <a:pt x="1893" y="265"/>
                  </a:lnTo>
                  <a:lnTo>
                    <a:pt x="1890" y="264"/>
                  </a:lnTo>
                  <a:lnTo>
                    <a:pt x="1887" y="266"/>
                  </a:lnTo>
                  <a:lnTo>
                    <a:pt x="1890" y="267"/>
                  </a:lnTo>
                  <a:lnTo>
                    <a:pt x="1890" y="267"/>
                  </a:lnTo>
                  <a:lnTo>
                    <a:pt x="1887" y="267"/>
                  </a:lnTo>
                  <a:lnTo>
                    <a:pt x="1882" y="272"/>
                  </a:lnTo>
                  <a:lnTo>
                    <a:pt x="1887" y="271"/>
                  </a:lnTo>
                  <a:lnTo>
                    <a:pt x="1887" y="272"/>
                  </a:lnTo>
                  <a:lnTo>
                    <a:pt x="1893" y="270"/>
                  </a:lnTo>
                  <a:lnTo>
                    <a:pt x="1895" y="272"/>
                  </a:lnTo>
                  <a:lnTo>
                    <a:pt x="1900" y="272"/>
                  </a:lnTo>
                  <a:lnTo>
                    <a:pt x="1898" y="272"/>
                  </a:lnTo>
                  <a:lnTo>
                    <a:pt x="1896" y="275"/>
                  </a:lnTo>
                  <a:lnTo>
                    <a:pt x="1894" y="273"/>
                  </a:lnTo>
                  <a:lnTo>
                    <a:pt x="1891" y="273"/>
                  </a:lnTo>
                  <a:lnTo>
                    <a:pt x="1890" y="273"/>
                  </a:lnTo>
                  <a:lnTo>
                    <a:pt x="1890" y="272"/>
                  </a:lnTo>
                  <a:lnTo>
                    <a:pt x="1884" y="274"/>
                  </a:lnTo>
                  <a:lnTo>
                    <a:pt x="1882" y="275"/>
                  </a:lnTo>
                  <a:lnTo>
                    <a:pt x="1884" y="276"/>
                  </a:lnTo>
                  <a:lnTo>
                    <a:pt x="1882" y="276"/>
                  </a:lnTo>
                  <a:lnTo>
                    <a:pt x="1879" y="278"/>
                  </a:lnTo>
                  <a:lnTo>
                    <a:pt x="1876" y="278"/>
                  </a:lnTo>
                  <a:lnTo>
                    <a:pt x="1874" y="279"/>
                  </a:lnTo>
                  <a:lnTo>
                    <a:pt x="1870" y="280"/>
                  </a:lnTo>
                  <a:lnTo>
                    <a:pt x="1876" y="282"/>
                  </a:lnTo>
                  <a:lnTo>
                    <a:pt x="1874" y="282"/>
                  </a:lnTo>
                  <a:lnTo>
                    <a:pt x="1870" y="283"/>
                  </a:lnTo>
                  <a:lnTo>
                    <a:pt x="1874" y="283"/>
                  </a:lnTo>
                  <a:lnTo>
                    <a:pt x="1870" y="283"/>
                  </a:lnTo>
                  <a:lnTo>
                    <a:pt x="1871" y="284"/>
                  </a:lnTo>
                  <a:lnTo>
                    <a:pt x="1874" y="284"/>
                  </a:lnTo>
                  <a:lnTo>
                    <a:pt x="1871" y="284"/>
                  </a:lnTo>
                  <a:lnTo>
                    <a:pt x="1868" y="284"/>
                  </a:lnTo>
                  <a:lnTo>
                    <a:pt x="1869" y="286"/>
                  </a:lnTo>
                  <a:lnTo>
                    <a:pt x="1866" y="286"/>
                  </a:lnTo>
                  <a:lnTo>
                    <a:pt x="1867" y="288"/>
                  </a:lnTo>
                  <a:lnTo>
                    <a:pt x="1869" y="288"/>
                  </a:lnTo>
                  <a:lnTo>
                    <a:pt x="1873" y="289"/>
                  </a:lnTo>
                  <a:lnTo>
                    <a:pt x="1869" y="288"/>
                  </a:lnTo>
                  <a:lnTo>
                    <a:pt x="1867" y="290"/>
                  </a:lnTo>
                  <a:lnTo>
                    <a:pt x="1864" y="288"/>
                  </a:lnTo>
                  <a:lnTo>
                    <a:pt x="1865" y="291"/>
                  </a:lnTo>
                  <a:lnTo>
                    <a:pt x="1865" y="293"/>
                  </a:lnTo>
                  <a:lnTo>
                    <a:pt x="1870" y="293"/>
                  </a:lnTo>
                  <a:lnTo>
                    <a:pt x="1868" y="293"/>
                  </a:lnTo>
                  <a:lnTo>
                    <a:pt x="1865" y="296"/>
                  </a:lnTo>
                  <a:lnTo>
                    <a:pt x="1868" y="295"/>
                  </a:lnTo>
                  <a:lnTo>
                    <a:pt x="1870" y="295"/>
                  </a:lnTo>
                  <a:lnTo>
                    <a:pt x="1874" y="295"/>
                  </a:lnTo>
                  <a:lnTo>
                    <a:pt x="1879" y="293"/>
                  </a:lnTo>
                  <a:lnTo>
                    <a:pt x="1875" y="296"/>
                  </a:lnTo>
                  <a:lnTo>
                    <a:pt x="1871" y="297"/>
                  </a:lnTo>
                  <a:lnTo>
                    <a:pt x="1873" y="297"/>
                  </a:lnTo>
                  <a:lnTo>
                    <a:pt x="1874" y="297"/>
                  </a:lnTo>
                  <a:lnTo>
                    <a:pt x="1875" y="297"/>
                  </a:lnTo>
                  <a:lnTo>
                    <a:pt x="1873" y="297"/>
                  </a:lnTo>
                  <a:lnTo>
                    <a:pt x="1870" y="298"/>
                  </a:lnTo>
                  <a:lnTo>
                    <a:pt x="1869" y="296"/>
                  </a:lnTo>
                  <a:lnTo>
                    <a:pt x="1864" y="297"/>
                  </a:lnTo>
                  <a:lnTo>
                    <a:pt x="1861" y="298"/>
                  </a:lnTo>
                  <a:lnTo>
                    <a:pt x="1859" y="300"/>
                  </a:lnTo>
                  <a:lnTo>
                    <a:pt x="1864" y="299"/>
                  </a:lnTo>
                  <a:lnTo>
                    <a:pt x="1862" y="301"/>
                  </a:lnTo>
                  <a:lnTo>
                    <a:pt x="1864" y="303"/>
                  </a:lnTo>
                  <a:lnTo>
                    <a:pt x="1861" y="301"/>
                  </a:lnTo>
                  <a:lnTo>
                    <a:pt x="1859" y="303"/>
                  </a:lnTo>
                  <a:lnTo>
                    <a:pt x="1858" y="308"/>
                  </a:lnTo>
                  <a:lnTo>
                    <a:pt x="1856" y="308"/>
                  </a:lnTo>
                  <a:lnTo>
                    <a:pt x="1854" y="310"/>
                  </a:lnTo>
                  <a:lnTo>
                    <a:pt x="1858" y="310"/>
                  </a:lnTo>
                  <a:lnTo>
                    <a:pt x="1858" y="314"/>
                  </a:lnTo>
                  <a:lnTo>
                    <a:pt x="1856" y="313"/>
                  </a:lnTo>
                  <a:lnTo>
                    <a:pt x="1853" y="310"/>
                  </a:lnTo>
                  <a:lnTo>
                    <a:pt x="1854" y="313"/>
                  </a:lnTo>
                  <a:lnTo>
                    <a:pt x="1851" y="315"/>
                  </a:lnTo>
                  <a:lnTo>
                    <a:pt x="1852" y="318"/>
                  </a:lnTo>
                  <a:lnTo>
                    <a:pt x="1854" y="316"/>
                  </a:lnTo>
                  <a:lnTo>
                    <a:pt x="1854" y="320"/>
                  </a:lnTo>
                  <a:lnTo>
                    <a:pt x="1857" y="320"/>
                  </a:lnTo>
                  <a:lnTo>
                    <a:pt x="1862" y="316"/>
                  </a:lnTo>
                  <a:lnTo>
                    <a:pt x="1859" y="318"/>
                  </a:lnTo>
                  <a:lnTo>
                    <a:pt x="1853" y="322"/>
                  </a:lnTo>
                  <a:lnTo>
                    <a:pt x="1851" y="322"/>
                  </a:lnTo>
                  <a:lnTo>
                    <a:pt x="1854" y="321"/>
                  </a:lnTo>
                  <a:lnTo>
                    <a:pt x="1849" y="320"/>
                  </a:lnTo>
                  <a:lnTo>
                    <a:pt x="1847" y="323"/>
                  </a:lnTo>
                  <a:lnTo>
                    <a:pt x="1849" y="322"/>
                  </a:lnTo>
                  <a:lnTo>
                    <a:pt x="1847" y="323"/>
                  </a:lnTo>
                  <a:lnTo>
                    <a:pt x="1844" y="323"/>
                  </a:lnTo>
                  <a:lnTo>
                    <a:pt x="1842" y="325"/>
                  </a:lnTo>
                  <a:lnTo>
                    <a:pt x="1844" y="325"/>
                  </a:lnTo>
                  <a:lnTo>
                    <a:pt x="1840" y="326"/>
                  </a:lnTo>
                  <a:lnTo>
                    <a:pt x="1842" y="327"/>
                  </a:lnTo>
                  <a:lnTo>
                    <a:pt x="1844" y="326"/>
                  </a:lnTo>
                  <a:lnTo>
                    <a:pt x="1850" y="324"/>
                  </a:lnTo>
                  <a:lnTo>
                    <a:pt x="1852" y="324"/>
                  </a:lnTo>
                  <a:lnTo>
                    <a:pt x="1849" y="324"/>
                  </a:lnTo>
                  <a:lnTo>
                    <a:pt x="1847" y="325"/>
                  </a:lnTo>
                  <a:lnTo>
                    <a:pt x="1844" y="327"/>
                  </a:lnTo>
                  <a:lnTo>
                    <a:pt x="1847" y="327"/>
                  </a:lnTo>
                  <a:lnTo>
                    <a:pt x="1841" y="330"/>
                  </a:lnTo>
                  <a:lnTo>
                    <a:pt x="1842" y="332"/>
                  </a:lnTo>
                  <a:lnTo>
                    <a:pt x="1845" y="332"/>
                  </a:lnTo>
                  <a:lnTo>
                    <a:pt x="1843" y="335"/>
                  </a:lnTo>
                  <a:lnTo>
                    <a:pt x="1844" y="335"/>
                  </a:lnTo>
                  <a:lnTo>
                    <a:pt x="1843" y="335"/>
                  </a:lnTo>
                  <a:lnTo>
                    <a:pt x="1840" y="338"/>
                  </a:lnTo>
                  <a:lnTo>
                    <a:pt x="1838" y="334"/>
                  </a:lnTo>
                  <a:lnTo>
                    <a:pt x="1832" y="334"/>
                  </a:lnTo>
                  <a:lnTo>
                    <a:pt x="1833" y="337"/>
                  </a:lnTo>
                  <a:lnTo>
                    <a:pt x="1831" y="337"/>
                  </a:lnTo>
                  <a:lnTo>
                    <a:pt x="1827" y="339"/>
                  </a:lnTo>
                  <a:lnTo>
                    <a:pt x="1827" y="341"/>
                  </a:lnTo>
                  <a:lnTo>
                    <a:pt x="1824" y="341"/>
                  </a:lnTo>
                  <a:lnTo>
                    <a:pt x="1823" y="344"/>
                  </a:lnTo>
                  <a:lnTo>
                    <a:pt x="1822" y="347"/>
                  </a:lnTo>
                  <a:lnTo>
                    <a:pt x="1824" y="346"/>
                  </a:lnTo>
                  <a:lnTo>
                    <a:pt x="1822" y="347"/>
                  </a:lnTo>
                  <a:lnTo>
                    <a:pt x="1822" y="348"/>
                  </a:lnTo>
                  <a:lnTo>
                    <a:pt x="1824" y="347"/>
                  </a:lnTo>
                  <a:lnTo>
                    <a:pt x="1816" y="350"/>
                  </a:lnTo>
                  <a:lnTo>
                    <a:pt x="1819" y="350"/>
                  </a:lnTo>
                  <a:lnTo>
                    <a:pt x="1816" y="352"/>
                  </a:lnTo>
                  <a:lnTo>
                    <a:pt x="1822" y="351"/>
                  </a:lnTo>
                  <a:lnTo>
                    <a:pt x="1822" y="351"/>
                  </a:lnTo>
                  <a:lnTo>
                    <a:pt x="1819" y="353"/>
                  </a:lnTo>
                  <a:lnTo>
                    <a:pt x="1822" y="357"/>
                  </a:lnTo>
                  <a:lnTo>
                    <a:pt x="1828" y="355"/>
                  </a:lnTo>
                  <a:lnTo>
                    <a:pt x="1831" y="352"/>
                  </a:lnTo>
                  <a:lnTo>
                    <a:pt x="1834" y="351"/>
                  </a:lnTo>
                  <a:lnTo>
                    <a:pt x="1836" y="349"/>
                  </a:lnTo>
                  <a:lnTo>
                    <a:pt x="1834" y="348"/>
                  </a:lnTo>
                  <a:lnTo>
                    <a:pt x="1832" y="349"/>
                  </a:lnTo>
                  <a:lnTo>
                    <a:pt x="1840" y="344"/>
                  </a:lnTo>
                  <a:lnTo>
                    <a:pt x="1843" y="344"/>
                  </a:lnTo>
                  <a:lnTo>
                    <a:pt x="1842" y="346"/>
                  </a:lnTo>
                  <a:lnTo>
                    <a:pt x="1840" y="346"/>
                  </a:lnTo>
                  <a:lnTo>
                    <a:pt x="1838" y="349"/>
                  </a:lnTo>
                  <a:lnTo>
                    <a:pt x="1840" y="350"/>
                  </a:lnTo>
                  <a:lnTo>
                    <a:pt x="1838" y="351"/>
                  </a:lnTo>
                  <a:lnTo>
                    <a:pt x="1834" y="352"/>
                  </a:lnTo>
                  <a:lnTo>
                    <a:pt x="1832" y="355"/>
                  </a:lnTo>
                  <a:lnTo>
                    <a:pt x="1835" y="355"/>
                  </a:lnTo>
                  <a:lnTo>
                    <a:pt x="1834" y="357"/>
                  </a:lnTo>
                  <a:lnTo>
                    <a:pt x="1824" y="357"/>
                  </a:lnTo>
                  <a:lnTo>
                    <a:pt x="1824" y="360"/>
                  </a:lnTo>
                  <a:lnTo>
                    <a:pt x="1822" y="359"/>
                  </a:lnTo>
                  <a:lnTo>
                    <a:pt x="1819" y="360"/>
                  </a:lnTo>
                  <a:lnTo>
                    <a:pt x="1822" y="358"/>
                  </a:lnTo>
                  <a:lnTo>
                    <a:pt x="1822" y="357"/>
                  </a:lnTo>
                  <a:lnTo>
                    <a:pt x="1817" y="353"/>
                  </a:lnTo>
                  <a:lnTo>
                    <a:pt x="1815" y="356"/>
                  </a:lnTo>
                  <a:lnTo>
                    <a:pt x="1811" y="357"/>
                  </a:lnTo>
                  <a:lnTo>
                    <a:pt x="1815" y="357"/>
                  </a:lnTo>
                  <a:lnTo>
                    <a:pt x="1811" y="359"/>
                  </a:lnTo>
                  <a:lnTo>
                    <a:pt x="1815" y="359"/>
                  </a:lnTo>
                  <a:lnTo>
                    <a:pt x="1811" y="359"/>
                  </a:lnTo>
                  <a:lnTo>
                    <a:pt x="1809" y="361"/>
                  </a:lnTo>
                  <a:lnTo>
                    <a:pt x="1810" y="358"/>
                  </a:lnTo>
                  <a:lnTo>
                    <a:pt x="1805" y="358"/>
                  </a:lnTo>
                  <a:lnTo>
                    <a:pt x="1804" y="360"/>
                  </a:lnTo>
                  <a:lnTo>
                    <a:pt x="1804" y="363"/>
                  </a:lnTo>
                  <a:lnTo>
                    <a:pt x="1806" y="363"/>
                  </a:lnTo>
                  <a:lnTo>
                    <a:pt x="1801" y="364"/>
                  </a:lnTo>
                  <a:lnTo>
                    <a:pt x="1797" y="365"/>
                  </a:lnTo>
                  <a:lnTo>
                    <a:pt x="1800" y="366"/>
                  </a:lnTo>
                  <a:lnTo>
                    <a:pt x="1802" y="366"/>
                  </a:lnTo>
                  <a:lnTo>
                    <a:pt x="1801" y="369"/>
                  </a:lnTo>
                  <a:lnTo>
                    <a:pt x="1805" y="370"/>
                  </a:lnTo>
                  <a:lnTo>
                    <a:pt x="1801" y="369"/>
                  </a:lnTo>
                  <a:lnTo>
                    <a:pt x="1799" y="367"/>
                  </a:lnTo>
                  <a:lnTo>
                    <a:pt x="1797" y="365"/>
                  </a:lnTo>
                  <a:lnTo>
                    <a:pt x="1794" y="365"/>
                  </a:lnTo>
                  <a:lnTo>
                    <a:pt x="1798" y="370"/>
                  </a:lnTo>
                  <a:lnTo>
                    <a:pt x="1800" y="372"/>
                  </a:lnTo>
                  <a:lnTo>
                    <a:pt x="1801" y="373"/>
                  </a:lnTo>
                  <a:lnTo>
                    <a:pt x="1802" y="373"/>
                  </a:lnTo>
                  <a:lnTo>
                    <a:pt x="1802" y="374"/>
                  </a:lnTo>
                  <a:lnTo>
                    <a:pt x="1801" y="373"/>
                  </a:lnTo>
                  <a:lnTo>
                    <a:pt x="1797" y="370"/>
                  </a:lnTo>
                  <a:lnTo>
                    <a:pt x="1794" y="367"/>
                  </a:lnTo>
                  <a:lnTo>
                    <a:pt x="1792" y="368"/>
                  </a:lnTo>
                  <a:lnTo>
                    <a:pt x="1788" y="367"/>
                  </a:lnTo>
                  <a:lnTo>
                    <a:pt x="1787" y="367"/>
                  </a:lnTo>
                  <a:lnTo>
                    <a:pt x="1784" y="367"/>
                  </a:lnTo>
                  <a:lnTo>
                    <a:pt x="1781" y="368"/>
                  </a:lnTo>
                  <a:lnTo>
                    <a:pt x="1784" y="370"/>
                  </a:lnTo>
                  <a:lnTo>
                    <a:pt x="1781" y="370"/>
                  </a:lnTo>
                  <a:lnTo>
                    <a:pt x="1784" y="373"/>
                  </a:lnTo>
                  <a:lnTo>
                    <a:pt x="1789" y="372"/>
                  </a:lnTo>
                  <a:lnTo>
                    <a:pt x="1787" y="373"/>
                  </a:lnTo>
                  <a:lnTo>
                    <a:pt x="1790" y="373"/>
                  </a:lnTo>
                  <a:lnTo>
                    <a:pt x="1794" y="372"/>
                  </a:lnTo>
                  <a:lnTo>
                    <a:pt x="1789" y="374"/>
                  </a:lnTo>
                  <a:lnTo>
                    <a:pt x="1791" y="376"/>
                  </a:lnTo>
                  <a:lnTo>
                    <a:pt x="1791" y="376"/>
                  </a:lnTo>
                  <a:lnTo>
                    <a:pt x="1788" y="376"/>
                  </a:lnTo>
                  <a:lnTo>
                    <a:pt x="1785" y="375"/>
                  </a:lnTo>
                  <a:lnTo>
                    <a:pt x="1782" y="375"/>
                  </a:lnTo>
                  <a:lnTo>
                    <a:pt x="1780" y="375"/>
                  </a:lnTo>
                  <a:lnTo>
                    <a:pt x="1776" y="375"/>
                  </a:lnTo>
                  <a:lnTo>
                    <a:pt x="1771" y="375"/>
                  </a:lnTo>
                  <a:lnTo>
                    <a:pt x="1774" y="376"/>
                  </a:lnTo>
                  <a:lnTo>
                    <a:pt x="1771" y="378"/>
                  </a:lnTo>
                  <a:lnTo>
                    <a:pt x="1775" y="378"/>
                  </a:lnTo>
                  <a:lnTo>
                    <a:pt x="1777" y="378"/>
                  </a:lnTo>
                  <a:lnTo>
                    <a:pt x="1780" y="380"/>
                  </a:lnTo>
                  <a:lnTo>
                    <a:pt x="1782" y="382"/>
                  </a:lnTo>
                  <a:lnTo>
                    <a:pt x="1785" y="382"/>
                  </a:lnTo>
                  <a:lnTo>
                    <a:pt x="1782" y="382"/>
                  </a:lnTo>
                  <a:lnTo>
                    <a:pt x="1781" y="385"/>
                  </a:lnTo>
                  <a:lnTo>
                    <a:pt x="1784" y="385"/>
                  </a:lnTo>
                  <a:lnTo>
                    <a:pt x="1781" y="386"/>
                  </a:lnTo>
                  <a:lnTo>
                    <a:pt x="1781" y="385"/>
                  </a:lnTo>
                  <a:lnTo>
                    <a:pt x="1781" y="383"/>
                  </a:lnTo>
                  <a:lnTo>
                    <a:pt x="1780" y="381"/>
                  </a:lnTo>
                  <a:lnTo>
                    <a:pt x="1777" y="378"/>
                  </a:lnTo>
                  <a:lnTo>
                    <a:pt x="1774" y="380"/>
                  </a:lnTo>
                  <a:lnTo>
                    <a:pt x="1774" y="382"/>
                  </a:lnTo>
                  <a:lnTo>
                    <a:pt x="1775" y="384"/>
                  </a:lnTo>
                  <a:lnTo>
                    <a:pt x="1773" y="381"/>
                  </a:lnTo>
                  <a:lnTo>
                    <a:pt x="1770" y="381"/>
                  </a:lnTo>
                  <a:lnTo>
                    <a:pt x="1767" y="383"/>
                  </a:lnTo>
                  <a:lnTo>
                    <a:pt x="1768" y="385"/>
                  </a:lnTo>
                  <a:lnTo>
                    <a:pt x="1772" y="386"/>
                  </a:lnTo>
                  <a:lnTo>
                    <a:pt x="1766" y="386"/>
                  </a:lnTo>
                  <a:lnTo>
                    <a:pt x="1765" y="384"/>
                  </a:lnTo>
                  <a:lnTo>
                    <a:pt x="1759" y="385"/>
                  </a:lnTo>
                  <a:lnTo>
                    <a:pt x="1760" y="387"/>
                  </a:lnTo>
                  <a:lnTo>
                    <a:pt x="1758" y="385"/>
                  </a:lnTo>
                  <a:lnTo>
                    <a:pt x="1756" y="386"/>
                  </a:lnTo>
                  <a:lnTo>
                    <a:pt x="1758" y="387"/>
                  </a:lnTo>
                  <a:lnTo>
                    <a:pt x="1756" y="390"/>
                  </a:lnTo>
                  <a:lnTo>
                    <a:pt x="1758" y="390"/>
                  </a:lnTo>
                  <a:lnTo>
                    <a:pt x="1764" y="390"/>
                  </a:lnTo>
                  <a:lnTo>
                    <a:pt x="1770" y="391"/>
                  </a:lnTo>
                  <a:lnTo>
                    <a:pt x="1775" y="391"/>
                  </a:lnTo>
                  <a:lnTo>
                    <a:pt x="1777" y="391"/>
                  </a:lnTo>
                  <a:lnTo>
                    <a:pt x="1775" y="392"/>
                  </a:lnTo>
                  <a:lnTo>
                    <a:pt x="1772" y="392"/>
                  </a:lnTo>
                  <a:lnTo>
                    <a:pt x="1766" y="393"/>
                  </a:lnTo>
                  <a:lnTo>
                    <a:pt x="1764" y="392"/>
                  </a:lnTo>
                  <a:lnTo>
                    <a:pt x="1760" y="390"/>
                  </a:lnTo>
                  <a:lnTo>
                    <a:pt x="1758" y="391"/>
                  </a:lnTo>
                  <a:lnTo>
                    <a:pt x="1756" y="392"/>
                  </a:lnTo>
                  <a:lnTo>
                    <a:pt x="1754" y="395"/>
                  </a:lnTo>
                  <a:lnTo>
                    <a:pt x="1756" y="397"/>
                  </a:lnTo>
                  <a:lnTo>
                    <a:pt x="1759" y="395"/>
                  </a:lnTo>
                  <a:lnTo>
                    <a:pt x="1754" y="397"/>
                  </a:lnTo>
                  <a:lnTo>
                    <a:pt x="1756" y="397"/>
                  </a:lnTo>
                  <a:lnTo>
                    <a:pt x="1759" y="397"/>
                  </a:lnTo>
                  <a:lnTo>
                    <a:pt x="1756" y="397"/>
                  </a:lnTo>
                  <a:lnTo>
                    <a:pt x="1759" y="398"/>
                  </a:lnTo>
                  <a:lnTo>
                    <a:pt x="1757" y="399"/>
                  </a:lnTo>
                  <a:lnTo>
                    <a:pt x="1762" y="400"/>
                  </a:lnTo>
                  <a:lnTo>
                    <a:pt x="1765" y="400"/>
                  </a:lnTo>
                  <a:lnTo>
                    <a:pt x="1762" y="400"/>
                  </a:lnTo>
                  <a:lnTo>
                    <a:pt x="1759" y="399"/>
                  </a:lnTo>
                  <a:lnTo>
                    <a:pt x="1754" y="401"/>
                  </a:lnTo>
                  <a:lnTo>
                    <a:pt x="1756" y="401"/>
                  </a:lnTo>
                  <a:lnTo>
                    <a:pt x="1762" y="401"/>
                  </a:lnTo>
                  <a:lnTo>
                    <a:pt x="1757" y="402"/>
                  </a:lnTo>
                  <a:lnTo>
                    <a:pt x="1754" y="403"/>
                  </a:lnTo>
                  <a:lnTo>
                    <a:pt x="1756" y="404"/>
                  </a:lnTo>
                  <a:lnTo>
                    <a:pt x="1759" y="408"/>
                  </a:lnTo>
                  <a:lnTo>
                    <a:pt x="1765" y="404"/>
                  </a:lnTo>
                  <a:lnTo>
                    <a:pt x="1771" y="404"/>
                  </a:lnTo>
                  <a:lnTo>
                    <a:pt x="1773" y="407"/>
                  </a:lnTo>
                  <a:lnTo>
                    <a:pt x="1776" y="402"/>
                  </a:lnTo>
                  <a:lnTo>
                    <a:pt x="1775" y="404"/>
                  </a:lnTo>
                  <a:lnTo>
                    <a:pt x="1776" y="404"/>
                  </a:lnTo>
                  <a:lnTo>
                    <a:pt x="1782" y="404"/>
                  </a:lnTo>
                  <a:lnTo>
                    <a:pt x="1780" y="406"/>
                  </a:lnTo>
                  <a:lnTo>
                    <a:pt x="1783" y="406"/>
                  </a:lnTo>
                  <a:lnTo>
                    <a:pt x="1785" y="406"/>
                  </a:lnTo>
                  <a:lnTo>
                    <a:pt x="1784" y="403"/>
                  </a:lnTo>
                  <a:lnTo>
                    <a:pt x="1787" y="401"/>
                  </a:lnTo>
                  <a:lnTo>
                    <a:pt x="1785" y="403"/>
                  </a:lnTo>
                  <a:lnTo>
                    <a:pt x="1787" y="404"/>
                  </a:lnTo>
                  <a:lnTo>
                    <a:pt x="1788" y="404"/>
                  </a:lnTo>
                  <a:lnTo>
                    <a:pt x="1790" y="404"/>
                  </a:lnTo>
                  <a:lnTo>
                    <a:pt x="1788" y="407"/>
                  </a:lnTo>
                  <a:lnTo>
                    <a:pt x="1784" y="406"/>
                  </a:lnTo>
                  <a:lnTo>
                    <a:pt x="1781" y="408"/>
                  </a:lnTo>
                  <a:lnTo>
                    <a:pt x="1782" y="410"/>
                  </a:lnTo>
                  <a:lnTo>
                    <a:pt x="1780" y="410"/>
                  </a:lnTo>
                  <a:lnTo>
                    <a:pt x="1780" y="408"/>
                  </a:lnTo>
                  <a:lnTo>
                    <a:pt x="1777" y="406"/>
                  </a:lnTo>
                  <a:lnTo>
                    <a:pt x="1774" y="407"/>
                  </a:lnTo>
                  <a:lnTo>
                    <a:pt x="1764" y="407"/>
                  </a:lnTo>
                  <a:lnTo>
                    <a:pt x="1756" y="409"/>
                  </a:lnTo>
                  <a:lnTo>
                    <a:pt x="1755" y="412"/>
                  </a:lnTo>
                  <a:lnTo>
                    <a:pt x="1757" y="412"/>
                  </a:lnTo>
                  <a:lnTo>
                    <a:pt x="1760" y="412"/>
                  </a:lnTo>
                  <a:lnTo>
                    <a:pt x="1758" y="414"/>
                  </a:lnTo>
                  <a:lnTo>
                    <a:pt x="1759" y="416"/>
                  </a:lnTo>
                  <a:lnTo>
                    <a:pt x="1757" y="415"/>
                  </a:lnTo>
                  <a:lnTo>
                    <a:pt x="1754" y="414"/>
                  </a:lnTo>
                  <a:lnTo>
                    <a:pt x="1756" y="416"/>
                  </a:lnTo>
                  <a:lnTo>
                    <a:pt x="1757" y="418"/>
                  </a:lnTo>
                  <a:lnTo>
                    <a:pt x="1762" y="416"/>
                  </a:lnTo>
                  <a:lnTo>
                    <a:pt x="1764" y="416"/>
                  </a:lnTo>
                  <a:lnTo>
                    <a:pt x="1764" y="418"/>
                  </a:lnTo>
                  <a:lnTo>
                    <a:pt x="1763" y="419"/>
                  </a:lnTo>
                  <a:lnTo>
                    <a:pt x="1763" y="419"/>
                  </a:lnTo>
                  <a:lnTo>
                    <a:pt x="1762" y="420"/>
                  </a:lnTo>
                  <a:lnTo>
                    <a:pt x="1762" y="420"/>
                  </a:lnTo>
                  <a:lnTo>
                    <a:pt x="1762" y="420"/>
                  </a:lnTo>
                  <a:lnTo>
                    <a:pt x="1758" y="419"/>
                  </a:lnTo>
                  <a:lnTo>
                    <a:pt x="1756" y="421"/>
                  </a:lnTo>
                  <a:lnTo>
                    <a:pt x="1757" y="425"/>
                  </a:lnTo>
                  <a:lnTo>
                    <a:pt x="1759" y="426"/>
                  </a:lnTo>
                  <a:lnTo>
                    <a:pt x="1762" y="424"/>
                  </a:lnTo>
                  <a:lnTo>
                    <a:pt x="1762" y="426"/>
                  </a:lnTo>
                  <a:lnTo>
                    <a:pt x="1764" y="426"/>
                  </a:lnTo>
                  <a:lnTo>
                    <a:pt x="1764" y="429"/>
                  </a:lnTo>
                  <a:lnTo>
                    <a:pt x="1765" y="429"/>
                  </a:lnTo>
                  <a:lnTo>
                    <a:pt x="1767" y="425"/>
                  </a:lnTo>
                  <a:lnTo>
                    <a:pt x="1770" y="424"/>
                  </a:lnTo>
                  <a:lnTo>
                    <a:pt x="1772" y="421"/>
                  </a:lnTo>
                  <a:lnTo>
                    <a:pt x="1774" y="420"/>
                  </a:lnTo>
                  <a:lnTo>
                    <a:pt x="1780" y="420"/>
                  </a:lnTo>
                  <a:lnTo>
                    <a:pt x="1777" y="421"/>
                  </a:lnTo>
                  <a:lnTo>
                    <a:pt x="1775" y="426"/>
                  </a:lnTo>
                  <a:lnTo>
                    <a:pt x="1775" y="424"/>
                  </a:lnTo>
                  <a:lnTo>
                    <a:pt x="1775" y="421"/>
                  </a:lnTo>
                  <a:lnTo>
                    <a:pt x="1773" y="423"/>
                  </a:lnTo>
                  <a:lnTo>
                    <a:pt x="1770" y="425"/>
                  </a:lnTo>
                  <a:lnTo>
                    <a:pt x="1770" y="427"/>
                  </a:lnTo>
                  <a:lnTo>
                    <a:pt x="1766" y="429"/>
                  </a:lnTo>
                  <a:lnTo>
                    <a:pt x="1767" y="430"/>
                  </a:lnTo>
                  <a:lnTo>
                    <a:pt x="1764" y="432"/>
                  </a:lnTo>
                  <a:lnTo>
                    <a:pt x="1763" y="433"/>
                  </a:lnTo>
                  <a:lnTo>
                    <a:pt x="1766" y="434"/>
                  </a:lnTo>
                  <a:lnTo>
                    <a:pt x="1768" y="435"/>
                  </a:lnTo>
                  <a:lnTo>
                    <a:pt x="1771" y="433"/>
                  </a:lnTo>
                  <a:lnTo>
                    <a:pt x="1768" y="435"/>
                  </a:lnTo>
                  <a:lnTo>
                    <a:pt x="1766" y="435"/>
                  </a:lnTo>
                  <a:lnTo>
                    <a:pt x="1765" y="437"/>
                  </a:lnTo>
                  <a:lnTo>
                    <a:pt x="1762" y="436"/>
                  </a:lnTo>
                  <a:lnTo>
                    <a:pt x="1762" y="438"/>
                  </a:lnTo>
                  <a:lnTo>
                    <a:pt x="1758" y="440"/>
                  </a:lnTo>
                  <a:lnTo>
                    <a:pt x="1760" y="437"/>
                  </a:lnTo>
                  <a:lnTo>
                    <a:pt x="1758" y="437"/>
                  </a:lnTo>
                  <a:lnTo>
                    <a:pt x="1757" y="440"/>
                  </a:lnTo>
                  <a:lnTo>
                    <a:pt x="1758" y="443"/>
                  </a:lnTo>
                  <a:lnTo>
                    <a:pt x="1759" y="444"/>
                  </a:lnTo>
                  <a:lnTo>
                    <a:pt x="1762" y="442"/>
                  </a:lnTo>
                  <a:lnTo>
                    <a:pt x="1763" y="444"/>
                  </a:lnTo>
                  <a:lnTo>
                    <a:pt x="1765" y="443"/>
                  </a:lnTo>
                  <a:lnTo>
                    <a:pt x="1764" y="441"/>
                  </a:lnTo>
                  <a:lnTo>
                    <a:pt x="1770" y="441"/>
                  </a:lnTo>
                  <a:lnTo>
                    <a:pt x="1766" y="441"/>
                  </a:lnTo>
                  <a:lnTo>
                    <a:pt x="1770" y="442"/>
                  </a:lnTo>
                  <a:lnTo>
                    <a:pt x="1771" y="440"/>
                  </a:lnTo>
                  <a:lnTo>
                    <a:pt x="1771" y="437"/>
                  </a:lnTo>
                  <a:lnTo>
                    <a:pt x="1774" y="438"/>
                  </a:lnTo>
                  <a:lnTo>
                    <a:pt x="1771" y="440"/>
                  </a:lnTo>
                  <a:lnTo>
                    <a:pt x="1770" y="442"/>
                  </a:lnTo>
                  <a:lnTo>
                    <a:pt x="1768" y="442"/>
                  </a:lnTo>
                  <a:lnTo>
                    <a:pt x="1771" y="443"/>
                  </a:lnTo>
                  <a:lnTo>
                    <a:pt x="1770" y="444"/>
                  </a:lnTo>
                  <a:lnTo>
                    <a:pt x="1772" y="444"/>
                  </a:lnTo>
                  <a:lnTo>
                    <a:pt x="1770" y="445"/>
                  </a:lnTo>
                  <a:lnTo>
                    <a:pt x="1766" y="447"/>
                  </a:lnTo>
                  <a:lnTo>
                    <a:pt x="1767" y="450"/>
                  </a:lnTo>
                  <a:lnTo>
                    <a:pt x="1768" y="452"/>
                  </a:lnTo>
                  <a:lnTo>
                    <a:pt x="1771" y="450"/>
                  </a:lnTo>
                  <a:lnTo>
                    <a:pt x="1774" y="449"/>
                  </a:lnTo>
                  <a:lnTo>
                    <a:pt x="1771" y="450"/>
                  </a:lnTo>
                  <a:lnTo>
                    <a:pt x="1770" y="453"/>
                  </a:lnTo>
                  <a:lnTo>
                    <a:pt x="1767" y="452"/>
                  </a:lnTo>
                  <a:lnTo>
                    <a:pt x="1765" y="452"/>
                  </a:lnTo>
                  <a:lnTo>
                    <a:pt x="1763" y="450"/>
                  </a:lnTo>
                  <a:lnTo>
                    <a:pt x="1762" y="452"/>
                  </a:lnTo>
                  <a:lnTo>
                    <a:pt x="1760" y="455"/>
                  </a:lnTo>
                  <a:lnTo>
                    <a:pt x="1760" y="457"/>
                  </a:lnTo>
                  <a:lnTo>
                    <a:pt x="1763" y="460"/>
                  </a:lnTo>
                  <a:lnTo>
                    <a:pt x="1766" y="461"/>
                  </a:lnTo>
                  <a:lnTo>
                    <a:pt x="1768" y="463"/>
                  </a:lnTo>
                  <a:lnTo>
                    <a:pt x="1772" y="463"/>
                  </a:lnTo>
                  <a:lnTo>
                    <a:pt x="1772" y="464"/>
                  </a:lnTo>
                  <a:lnTo>
                    <a:pt x="1779" y="466"/>
                  </a:lnTo>
                  <a:lnTo>
                    <a:pt x="1780" y="464"/>
                  </a:lnTo>
                  <a:lnTo>
                    <a:pt x="1777" y="466"/>
                  </a:lnTo>
                  <a:lnTo>
                    <a:pt x="1775" y="469"/>
                  </a:lnTo>
                  <a:lnTo>
                    <a:pt x="1781" y="468"/>
                  </a:lnTo>
                  <a:lnTo>
                    <a:pt x="1784" y="469"/>
                  </a:lnTo>
                  <a:lnTo>
                    <a:pt x="1788" y="470"/>
                  </a:lnTo>
                  <a:lnTo>
                    <a:pt x="1789" y="470"/>
                  </a:lnTo>
                  <a:lnTo>
                    <a:pt x="1794" y="468"/>
                  </a:lnTo>
                  <a:lnTo>
                    <a:pt x="1796" y="467"/>
                  </a:lnTo>
                  <a:lnTo>
                    <a:pt x="1797" y="467"/>
                  </a:lnTo>
                  <a:lnTo>
                    <a:pt x="1802" y="464"/>
                  </a:lnTo>
                  <a:lnTo>
                    <a:pt x="1805" y="461"/>
                  </a:lnTo>
                  <a:lnTo>
                    <a:pt x="1814" y="454"/>
                  </a:lnTo>
                  <a:lnTo>
                    <a:pt x="1815" y="452"/>
                  </a:lnTo>
                  <a:lnTo>
                    <a:pt x="1817" y="451"/>
                  </a:lnTo>
                  <a:lnTo>
                    <a:pt x="1817" y="449"/>
                  </a:lnTo>
                  <a:lnTo>
                    <a:pt x="1817" y="447"/>
                  </a:lnTo>
                  <a:lnTo>
                    <a:pt x="1817" y="449"/>
                  </a:lnTo>
                  <a:lnTo>
                    <a:pt x="1819" y="450"/>
                  </a:lnTo>
                  <a:lnTo>
                    <a:pt x="1822" y="451"/>
                  </a:lnTo>
                  <a:lnTo>
                    <a:pt x="1823" y="449"/>
                  </a:lnTo>
                  <a:lnTo>
                    <a:pt x="1825" y="447"/>
                  </a:lnTo>
                  <a:lnTo>
                    <a:pt x="1827" y="445"/>
                  </a:lnTo>
                  <a:lnTo>
                    <a:pt x="1828" y="442"/>
                  </a:lnTo>
                  <a:lnTo>
                    <a:pt x="1826" y="440"/>
                  </a:lnTo>
                  <a:lnTo>
                    <a:pt x="1827" y="437"/>
                  </a:lnTo>
                  <a:lnTo>
                    <a:pt x="1831" y="438"/>
                  </a:lnTo>
                  <a:lnTo>
                    <a:pt x="1830" y="436"/>
                  </a:lnTo>
                  <a:lnTo>
                    <a:pt x="1828" y="434"/>
                  </a:lnTo>
                  <a:lnTo>
                    <a:pt x="1831" y="432"/>
                  </a:lnTo>
                  <a:lnTo>
                    <a:pt x="1833" y="433"/>
                  </a:lnTo>
                  <a:lnTo>
                    <a:pt x="1831" y="436"/>
                  </a:lnTo>
                  <a:lnTo>
                    <a:pt x="1832" y="440"/>
                  </a:lnTo>
                  <a:lnTo>
                    <a:pt x="1832" y="443"/>
                  </a:lnTo>
                  <a:lnTo>
                    <a:pt x="1832" y="445"/>
                  </a:lnTo>
                  <a:lnTo>
                    <a:pt x="1834" y="445"/>
                  </a:lnTo>
                  <a:lnTo>
                    <a:pt x="1838" y="446"/>
                  </a:lnTo>
                  <a:lnTo>
                    <a:pt x="1839" y="449"/>
                  </a:lnTo>
                  <a:lnTo>
                    <a:pt x="1838" y="451"/>
                  </a:lnTo>
                  <a:lnTo>
                    <a:pt x="1839" y="453"/>
                  </a:lnTo>
                  <a:lnTo>
                    <a:pt x="1839" y="457"/>
                  </a:lnTo>
                  <a:lnTo>
                    <a:pt x="1840" y="461"/>
                  </a:lnTo>
                  <a:lnTo>
                    <a:pt x="1842" y="464"/>
                  </a:lnTo>
                  <a:lnTo>
                    <a:pt x="1843" y="461"/>
                  </a:lnTo>
                  <a:lnTo>
                    <a:pt x="1843" y="464"/>
                  </a:lnTo>
                  <a:lnTo>
                    <a:pt x="1845" y="463"/>
                  </a:lnTo>
                  <a:lnTo>
                    <a:pt x="1847" y="466"/>
                  </a:lnTo>
                  <a:lnTo>
                    <a:pt x="1847" y="466"/>
                  </a:lnTo>
                  <a:lnTo>
                    <a:pt x="1847" y="466"/>
                  </a:lnTo>
                  <a:lnTo>
                    <a:pt x="1848" y="467"/>
                  </a:lnTo>
                  <a:lnTo>
                    <a:pt x="1847" y="469"/>
                  </a:lnTo>
                  <a:lnTo>
                    <a:pt x="1845" y="474"/>
                  </a:lnTo>
                  <a:lnTo>
                    <a:pt x="1848" y="474"/>
                  </a:lnTo>
                  <a:lnTo>
                    <a:pt x="1848" y="477"/>
                  </a:lnTo>
                  <a:lnTo>
                    <a:pt x="1849" y="478"/>
                  </a:lnTo>
                  <a:lnTo>
                    <a:pt x="1848" y="481"/>
                  </a:lnTo>
                  <a:lnTo>
                    <a:pt x="1851" y="481"/>
                  </a:lnTo>
                  <a:lnTo>
                    <a:pt x="1852" y="487"/>
                  </a:lnTo>
                  <a:lnTo>
                    <a:pt x="1853" y="489"/>
                  </a:lnTo>
                  <a:lnTo>
                    <a:pt x="1856" y="492"/>
                  </a:lnTo>
                  <a:lnTo>
                    <a:pt x="1856" y="492"/>
                  </a:lnTo>
                  <a:lnTo>
                    <a:pt x="1857" y="493"/>
                  </a:lnTo>
                  <a:lnTo>
                    <a:pt x="1859" y="496"/>
                  </a:lnTo>
                  <a:lnTo>
                    <a:pt x="1861" y="496"/>
                  </a:lnTo>
                  <a:lnTo>
                    <a:pt x="1862" y="498"/>
                  </a:lnTo>
                  <a:lnTo>
                    <a:pt x="1861" y="501"/>
                  </a:lnTo>
                  <a:lnTo>
                    <a:pt x="1859" y="500"/>
                  </a:lnTo>
                  <a:lnTo>
                    <a:pt x="1860" y="505"/>
                  </a:lnTo>
                  <a:lnTo>
                    <a:pt x="1858" y="504"/>
                  </a:lnTo>
                  <a:lnTo>
                    <a:pt x="1858" y="506"/>
                  </a:lnTo>
                  <a:lnTo>
                    <a:pt x="1859" y="509"/>
                  </a:lnTo>
                  <a:lnTo>
                    <a:pt x="1861" y="514"/>
                  </a:lnTo>
                  <a:lnTo>
                    <a:pt x="1862" y="517"/>
                  </a:lnTo>
                  <a:lnTo>
                    <a:pt x="1862" y="519"/>
                  </a:lnTo>
                  <a:lnTo>
                    <a:pt x="1865" y="521"/>
                  </a:lnTo>
                  <a:lnTo>
                    <a:pt x="1868" y="522"/>
                  </a:lnTo>
                  <a:lnTo>
                    <a:pt x="1874" y="520"/>
                  </a:lnTo>
                  <a:lnTo>
                    <a:pt x="1879" y="521"/>
                  </a:lnTo>
                  <a:lnTo>
                    <a:pt x="1882" y="518"/>
                  </a:lnTo>
                  <a:lnTo>
                    <a:pt x="1879" y="515"/>
                  </a:lnTo>
                  <a:lnTo>
                    <a:pt x="1879" y="512"/>
                  </a:lnTo>
                  <a:lnTo>
                    <a:pt x="1882" y="511"/>
                  </a:lnTo>
                  <a:lnTo>
                    <a:pt x="1884" y="509"/>
                  </a:lnTo>
                  <a:lnTo>
                    <a:pt x="1886" y="510"/>
                  </a:lnTo>
                  <a:lnTo>
                    <a:pt x="1886" y="506"/>
                  </a:lnTo>
                  <a:lnTo>
                    <a:pt x="1890" y="506"/>
                  </a:lnTo>
                  <a:lnTo>
                    <a:pt x="1895" y="506"/>
                  </a:lnTo>
                  <a:lnTo>
                    <a:pt x="1899" y="505"/>
                  </a:lnTo>
                  <a:lnTo>
                    <a:pt x="1900" y="505"/>
                  </a:lnTo>
                  <a:lnTo>
                    <a:pt x="1902" y="508"/>
                  </a:lnTo>
                  <a:lnTo>
                    <a:pt x="1904" y="505"/>
                  </a:lnTo>
                  <a:lnTo>
                    <a:pt x="1905" y="501"/>
                  </a:lnTo>
                  <a:lnTo>
                    <a:pt x="1909" y="496"/>
                  </a:lnTo>
                  <a:lnTo>
                    <a:pt x="1910" y="491"/>
                  </a:lnTo>
                  <a:lnTo>
                    <a:pt x="1910" y="491"/>
                  </a:lnTo>
                  <a:lnTo>
                    <a:pt x="1911" y="487"/>
                  </a:lnTo>
                  <a:lnTo>
                    <a:pt x="1911" y="487"/>
                  </a:lnTo>
                  <a:lnTo>
                    <a:pt x="1910" y="485"/>
                  </a:lnTo>
                  <a:lnTo>
                    <a:pt x="1912" y="483"/>
                  </a:lnTo>
                  <a:lnTo>
                    <a:pt x="1913" y="475"/>
                  </a:lnTo>
                  <a:lnTo>
                    <a:pt x="1911" y="472"/>
                  </a:lnTo>
                  <a:lnTo>
                    <a:pt x="1915" y="472"/>
                  </a:lnTo>
                  <a:lnTo>
                    <a:pt x="1913" y="470"/>
                  </a:lnTo>
                  <a:lnTo>
                    <a:pt x="1915" y="462"/>
                  </a:lnTo>
                  <a:lnTo>
                    <a:pt x="1910" y="461"/>
                  </a:lnTo>
                  <a:lnTo>
                    <a:pt x="1912" y="461"/>
                  </a:lnTo>
                  <a:lnTo>
                    <a:pt x="1916" y="461"/>
                  </a:lnTo>
                  <a:lnTo>
                    <a:pt x="1915" y="459"/>
                  </a:lnTo>
                  <a:lnTo>
                    <a:pt x="1912" y="458"/>
                  </a:lnTo>
                  <a:lnTo>
                    <a:pt x="1912" y="458"/>
                  </a:lnTo>
                  <a:lnTo>
                    <a:pt x="1918" y="458"/>
                  </a:lnTo>
                  <a:lnTo>
                    <a:pt x="1919" y="455"/>
                  </a:lnTo>
                  <a:lnTo>
                    <a:pt x="1921" y="455"/>
                  </a:lnTo>
                  <a:lnTo>
                    <a:pt x="1925" y="454"/>
                  </a:lnTo>
                  <a:lnTo>
                    <a:pt x="1927" y="452"/>
                  </a:lnTo>
                  <a:lnTo>
                    <a:pt x="1926" y="451"/>
                  </a:lnTo>
                  <a:lnTo>
                    <a:pt x="1927" y="449"/>
                  </a:lnTo>
                  <a:lnTo>
                    <a:pt x="1929" y="454"/>
                  </a:lnTo>
                  <a:lnTo>
                    <a:pt x="1930" y="451"/>
                  </a:lnTo>
                  <a:lnTo>
                    <a:pt x="1935" y="447"/>
                  </a:lnTo>
                  <a:lnTo>
                    <a:pt x="1937" y="447"/>
                  </a:lnTo>
                  <a:lnTo>
                    <a:pt x="1936" y="444"/>
                  </a:lnTo>
                  <a:lnTo>
                    <a:pt x="1938" y="446"/>
                  </a:lnTo>
                  <a:lnTo>
                    <a:pt x="1939" y="445"/>
                  </a:lnTo>
                  <a:lnTo>
                    <a:pt x="1938" y="443"/>
                  </a:lnTo>
                  <a:lnTo>
                    <a:pt x="1936" y="443"/>
                  </a:lnTo>
                  <a:lnTo>
                    <a:pt x="1934" y="444"/>
                  </a:lnTo>
                  <a:lnTo>
                    <a:pt x="1933" y="441"/>
                  </a:lnTo>
                  <a:lnTo>
                    <a:pt x="1936" y="443"/>
                  </a:lnTo>
                  <a:lnTo>
                    <a:pt x="1938" y="440"/>
                  </a:lnTo>
                  <a:lnTo>
                    <a:pt x="1941" y="438"/>
                  </a:lnTo>
                  <a:lnTo>
                    <a:pt x="1942" y="436"/>
                  </a:lnTo>
                  <a:lnTo>
                    <a:pt x="1944" y="435"/>
                  </a:lnTo>
                  <a:lnTo>
                    <a:pt x="1945" y="433"/>
                  </a:lnTo>
                  <a:lnTo>
                    <a:pt x="1943" y="429"/>
                  </a:lnTo>
                  <a:lnTo>
                    <a:pt x="1941" y="427"/>
                  </a:lnTo>
                  <a:lnTo>
                    <a:pt x="1939" y="427"/>
                  </a:lnTo>
                  <a:lnTo>
                    <a:pt x="1938" y="426"/>
                  </a:lnTo>
                  <a:lnTo>
                    <a:pt x="1937" y="423"/>
                  </a:lnTo>
                  <a:lnTo>
                    <a:pt x="1935" y="423"/>
                  </a:lnTo>
                  <a:lnTo>
                    <a:pt x="1929" y="418"/>
                  </a:lnTo>
                  <a:lnTo>
                    <a:pt x="1927" y="418"/>
                  </a:lnTo>
                  <a:lnTo>
                    <a:pt x="1924" y="417"/>
                  </a:lnTo>
                  <a:lnTo>
                    <a:pt x="1920" y="416"/>
                  </a:lnTo>
                  <a:lnTo>
                    <a:pt x="1921" y="414"/>
                  </a:lnTo>
                  <a:lnTo>
                    <a:pt x="1919" y="410"/>
                  </a:lnTo>
                  <a:lnTo>
                    <a:pt x="1920" y="408"/>
                  </a:lnTo>
                  <a:lnTo>
                    <a:pt x="1920" y="403"/>
                  </a:lnTo>
                  <a:lnTo>
                    <a:pt x="1919" y="401"/>
                  </a:lnTo>
                  <a:lnTo>
                    <a:pt x="1920" y="398"/>
                  </a:lnTo>
                  <a:lnTo>
                    <a:pt x="1921" y="397"/>
                  </a:lnTo>
                  <a:lnTo>
                    <a:pt x="1920" y="394"/>
                  </a:lnTo>
                  <a:lnTo>
                    <a:pt x="1922" y="393"/>
                  </a:lnTo>
                  <a:lnTo>
                    <a:pt x="1922" y="391"/>
                  </a:lnTo>
                  <a:lnTo>
                    <a:pt x="1926" y="383"/>
                  </a:lnTo>
                  <a:lnTo>
                    <a:pt x="1924" y="382"/>
                  </a:lnTo>
                  <a:lnTo>
                    <a:pt x="1924" y="377"/>
                  </a:lnTo>
                  <a:lnTo>
                    <a:pt x="1925" y="378"/>
                  </a:lnTo>
                  <a:lnTo>
                    <a:pt x="1927" y="377"/>
                  </a:lnTo>
                  <a:lnTo>
                    <a:pt x="1930" y="376"/>
                  </a:lnTo>
                  <a:lnTo>
                    <a:pt x="1932" y="373"/>
                  </a:lnTo>
                  <a:lnTo>
                    <a:pt x="1929" y="369"/>
                  </a:lnTo>
                  <a:lnTo>
                    <a:pt x="1928" y="368"/>
                  </a:lnTo>
                  <a:lnTo>
                    <a:pt x="1928" y="365"/>
                  </a:lnTo>
                  <a:lnTo>
                    <a:pt x="1930" y="369"/>
                  </a:lnTo>
                  <a:lnTo>
                    <a:pt x="1933" y="370"/>
                  </a:lnTo>
                  <a:lnTo>
                    <a:pt x="1937" y="368"/>
                  </a:lnTo>
                  <a:lnTo>
                    <a:pt x="1937" y="366"/>
                  </a:lnTo>
                  <a:lnTo>
                    <a:pt x="1939" y="365"/>
                  </a:lnTo>
                  <a:lnTo>
                    <a:pt x="1941" y="361"/>
                  </a:lnTo>
                  <a:lnTo>
                    <a:pt x="1944" y="361"/>
                  </a:lnTo>
                  <a:lnTo>
                    <a:pt x="1943" y="360"/>
                  </a:lnTo>
                  <a:lnTo>
                    <a:pt x="1946" y="361"/>
                  </a:lnTo>
                  <a:lnTo>
                    <a:pt x="1949" y="359"/>
                  </a:lnTo>
                  <a:lnTo>
                    <a:pt x="1950" y="357"/>
                  </a:lnTo>
                  <a:lnTo>
                    <a:pt x="1951" y="357"/>
                  </a:lnTo>
                  <a:lnTo>
                    <a:pt x="1953" y="356"/>
                  </a:lnTo>
                  <a:lnTo>
                    <a:pt x="1955" y="356"/>
                  </a:lnTo>
                  <a:lnTo>
                    <a:pt x="1961" y="352"/>
                  </a:lnTo>
                  <a:lnTo>
                    <a:pt x="1963" y="350"/>
                  </a:lnTo>
                  <a:lnTo>
                    <a:pt x="1967" y="350"/>
                  </a:lnTo>
                  <a:lnTo>
                    <a:pt x="1969" y="349"/>
                  </a:lnTo>
                  <a:lnTo>
                    <a:pt x="1972" y="343"/>
                  </a:lnTo>
                  <a:lnTo>
                    <a:pt x="1975" y="341"/>
                  </a:lnTo>
                  <a:lnTo>
                    <a:pt x="1979" y="337"/>
                  </a:lnTo>
                  <a:lnTo>
                    <a:pt x="1980" y="333"/>
                  </a:lnTo>
                  <a:lnTo>
                    <a:pt x="1978" y="332"/>
                  </a:lnTo>
                  <a:lnTo>
                    <a:pt x="1975" y="330"/>
                  </a:lnTo>
                  <a:lnTo>
                    <a:pt x="1977" y="331"/>
                  </a:lnTo>
                  <a:lnTo>
                    <a:pt x="1976" y="327"/>
                  </a:lnTo>
                  <a:lnTo>
                    <a:pt x="1973" y="326"/>
                  </a:lnTo>
                  <a:lnTo>
                    <a:pt x="1976" y="326"/>
                  </a:lnTo>
                  <a:lnTo>
                    <a:pt x="1978" y="323"/>
                  </a:lnTo>
                  <a:lnTo>
                    <a:pt x="1980" y="322"/>
                  </a:lnTo>
                  <a:lnTo>
                    <a:pt x="1980" y="318"/>
                  </a:lnTo>
                  <a:lnTo>
                    <a:pt x="1982" y="316"/>
                  </a:lnTo>
                  <a:lnTo>
                    <a:pt x="1979" y="316"/>
                  </a:lnTo>
                  <a:lnTo>
                    <a:pt x="1980" y="314"/>
                  </a:lnTo>
                  <a:lnTo>
                    <a:pt x="1984" y="314"/>
                  </a:lnTo>
                  <a:lnTo>
                    <a:pt x="1986" y="314"/>
                  </a:lnTo>
                  <a:lnTo>
                    <a:pt x="1985" y="312"/>
                  </a:lnTo>
                  <a:lnTo>
                    <a:pt x="1987" y="310"/>
                  </a:lnTo>
                  <a:lnTo>
                    <a:pt x="1989" y="310"/>
                  </a:lnTo>
                  <a:lnTo>
                    <a:pt x="1992" y="309"/>
                  </a:lnTo>
                  <a:lnTo>
                    <a:pt x="1990" y="305"/>
                  </a:lnTo>
                  <a:lnTo>
                    <a:pt x="1996" y="306"/>
                  </a:lnTo>
                  <a:lnTo>
                    <a:pt x="1996" y="304"/>
                  </a:lnTo>
                  <a:lnTo>
                    <a:pt x="1998" y="306"/>
                  </a:lnTo>
                  <a:lnTo>
                    <a:pt x="2002" y="307"/>
                  </a:lnTo>
                  <a:lnTo>
                    <a:pt x="2004" y="307"/>
                  </a:lnTo>
                  <a:lnTo>
                    <a:pt x="2002" y="305"/>
                  </a:lnTo>
                  <a:lnTo>
                    <a:pt x="2005" y="306"/>
                  </a:lnTo>
                  <a:lnTo>
                    <a:pt x="2011" y="305"/>
                  </a:lnTo>
                  <a:lnTo>
                    <a:pt x="2015" y="305"/>
                  </a:lnTo>
                  <a:lnTo>
                    <a:pt x="2016" y="306"/>
                  </a:lnTo>
                  <a:lnTo>
                    <a:pt x="2021" y="306"/>
                  </a:lnTo>
                  <a:lnTo>
                    <a:pt x="2021" y="306"/>
                  </a:lnTo>
                  <a:lnTo>
                    <a:pt x="2022" y="307"/>
                  </a:lnTo>
                  <a:lnTo>
                    <a:pt x="2024" y="309"/>
                  </a:lnTo>
                  <a:lnTo>
                    <a:pt x="2027" y="309"/>
                  </a:lnTo>
                  <a:lnTo>
                    <a:pt x="2031" y="314"/>
                  </a:lnTo>
                  <a:lnTo>
                    <a:pt x="2031" y="316"/>
                  </a:lnTo>
                  <a:lnTo>
                    <a:pt x="2031" y="318"/>
                  </a:lnTo>
                  <a:lnTo>
                    <a:pt x="2030" y="321"/>
                  </a:lnTo>
                  <a:lnTo>
                    <a:pt x="2033" y="323"/>
                  </a:lnTo>
                  <a:lnTo>
                    <a:pt x="2033" y="323"/>
                  </a:lnTo>
                  <a:lnTo>
                    <a:pt x="2032" y="324"/>
                  </a:lnTo>
                  <a:lnTo>
                    <a:pt x="2030" y="324"/>
                  </a:lnTo>
                  <a:lnTo>
                    <a:pt x="2032" y="326"/>
                  </a:lnTo>
                  <a:lnTo>
                    <a:pt x="2030" y="325"/>
                  </a:lnTo>
                  <a:lnTo>
                    <a:pt x="2027" y="325"/>
                  </a:lnTo>
                  <a:lnTo>
                    <a:pt x="2023" y="326"/>
                  </a:lnTo>
                  <a:lnTo>
                    <a:pt x="2021" y="329"/>
                  </a:lnTo>
                  <a:lnTo>
                    <a:pt x="2016" y="335"/>
                  </a:lnTo>
                  <a:lnTo>
                    <a:pt x="2014" y="337"/>
                  </a:lnTo>
                  <a:lnTo>
                    <a:pt x="2013" y="340"/>
                  </a:lnTo>
                  <a:lnTo>
                    <a:pt x="2010" y="341"/>
                  </a:lnTo>
                  <a:lnTo>
                    <a:pt x="2007" y="344"/>
                  </a:lnTo>
                  <a:lnTo>
                    <a:pt x="2005" y="344"/>
                  </a:lnTo>
                  <a:lnTo>
                    <a:pt x="2005" y="347"/>
                  </a:lnTo>
                  <a:lnTo>
                    <a:pt x="2002" y="348"/>
                  </a:lnTo>
                  <a:lnTo>
                    <a:pt x="2002" y="348"/>
                  </a:lnTo>
                  <a:lnTo>
                    <a:pt x="1998" y="353"/>
                  </a:lnTo>
                  <a:lnTo>
                    <a:pt x="1995" y="351"/>
                  </a:lnTo>
                  <a:lnTo>
                    <a:pt x="1993" y="355"/>
                  </a:lnTo>
                  <a:lnTo>
                    <a:pt x="1992" y="357"/>
                  </a:lnTo>
                  <a:lnTo>
                    <a:pt x="1992" y="360"/>
                  </a:lnTo>
                  <a:lnTo>
                    <a:pt x="1992" y="361"/>
                  </a:lnTo>
                  <a:lnTo>
                    <a:pt x="1986" y="363"/>
                  </a:lnTo>
                  <a:lnTo>
                    <a:pt x="1986" y="361"/>
                  </a:lnTo>
                  <a:lnTo>
                    <a:pt x="1984" y="363"/>
                  </a:lnTo>
                  <a:lnTo>
                    <a:pt x="1980" y="360"/>
                  </a:lnTo>
                  <a:lnTo>
                    <a:pt x="1980" y="363"/>
                  </a:lnTo>
                  <a:lnTo>
                    <a:pt x="1980" y="365"/>
                  </a:lnTo>
                  <a:lnTo>
                    <a:pt x="1979" y="368"/>
                  </a:lnTo>
                  <a:lnTo>
                    <a:pt x="1976" y="370"/>
                  </a:lnTo>
                  <a:lnTo>
                    <a:pt x="1976" y="373"/>
                  </a:lnTo>
                  <a:lnTo>
                    <a:pt x="1976" y="375"/>
                  </a:lnTo>
                  <a:lnTo>
                    <a:pt x="1975" y="378"/>
                  </a:lnTo>
                  <a:lnTo>
                    <a:pt x="1976" y="381"/>
                  </a:lnTo>
                  <a:lnTo>
                    <a:pt x="1977" y="380"/>
                  </a:lnTo>
                  <a:lnTo>
                    <a:pt x="1978" y="383"/>
                  </a:lnTo>
                  <a:lnTo>
                    <a:pt x="1978" y="385"/>
                  </a:lnTo>
                  <a:lnTo>
                    <a:pt x="1977" y="387"/>
                  </a:lnTo>
                  <a:lnTo>
                    <a:pt x="1977" y="389"/>
                  </a:lnTo>
                  <a:lnTo>
                    <a:pt x="1979" y="392"/>
                  </a:lnTo>
                  <a:lnTo>
                    <a:pt x="1982" y="398"/>
                  </a:lnTo>
                  <a:lnTo>
                    <a:pt x="1980" y="397"/>
                  </a:lnTo>
                  <a:lnTo>
                    <a:pt x="1980" y="402"/>
                  </a:lnTo>
                  <a:lnTo>
                    <a:pt x="1980" y="406"/>
                  </a:lnTo>
                  <a:lnTo>
                    <a:pt x="1978" y="408"/>
                  </a:lnTo>
                  <a:lnTo>
                    <a:pt x="1979" y="410"/>
                  </a:lnTo>
                  <a:lnTo>
                    <a:pt x="1978" y="416"/>
                  </a:lnTo>
                  <a:lnTo>
                    <a:pt x="1980" y="418"/>
                  </a:lnTo>
                  <a:lnTo>
                    <a:pt x="1980" y="418"/>
                  </a:lnTo>
                  <a:lnTo>
                    <a:pt x="1982" y="417"/>
                  </a:lnTo>
                  <a:lnTo>
                    <a:pt x="1984" y="419"/>
                  </a:lnTo>
                  <a:lnTo>
                    <a:pt x="1986" y="419"/>
                  </a:lnTo>
                  <a:lnTo>
                    <a:pt x="1987" y="420"/>
                  </a:lnTo>
                  <a:lnTo>
                    <a:pt x="1989" y="421"/>
                  </a:lnTo>
                  <a:lnTo>
                    <a:pt x="1995" y="421"/>
                  </a:lnTo>
                  <a:lnTo>
                    <a:pt x="1993" y="425"/>
                  </a:lnTo>
                  <a:lnTo>
                    <a:pt x="1997" y="425"/>
                  </a:lnTo>
                  <a:lnTo>
                    <a:pt x="1999" y="423"/>
                  </a:lnTo>
                  <a:lnTo>
                    <a:pt x="1999" y="425"/>
                  </a:lnTo>
                  <a:lnTo>
                    <a:pt x="1998" y="426"/>
                  </a:lnTo>
                  <a:lnTo>
                    <a:pt x="1999" y="428"/>
                  </a:lnTo>
                  <a:lnTo>
                    <a:pt x="2003" y="428"/>
                  </a:lnTo>
                  <a:lnTo>
                    <a:pt x="2003" y="429"/>
                  </a:lnTo>
                  <a:lnTo>
                    <a:pt x="2002" y="429"/>
                  </a:lnTo>
                  <a:lnTo>
                    <a:pt x="2002" y="430"/>
                  </a:lnTo>
                  <a:lnTo>
                    <a:pt x="2004" y="429"/>
                  </a:lnTo>
                  <a:lnTo>
                    <a:pt x="2003" y="432"/>
                  </a:lnTo>
                  <a:lnTo>
                    <a:pt x="2006" y="430"/>
                  </a:lnTo>
                  <a:lnTo>
                    <a:pt x="2006" y="429"/>
                  </a:lnTo>
                  <a:lnTo>
                    <a:pt x="2010" y="430"/>
                  </a:lnTo>
                  <a:lnTo>
                    <a:pt x="2012" y="429"/>
                  </a:lnTo>
                  <a:lnTo>
                    <a:pt x="2018" y="428"/>
                  </a:lnTo>
                  <a:lnTo>
                    <a:pt x="2018" y="429"/>
                  </a:lnTo>
                  <a:lnTo>
                    <a:pt x="2020" y="429"/>
                  </a:lnTo>
                  <a:lnTo>
                    <a:pt x="2022" y="427"/>
                  </a:lnTo>
                  <a:lnTo>
                    <a:pt x="2024" y="427"/>
                  </a:lnTo>
                  <a:lnTo>
                    <a:pt x="2027" y="426"/>
                  </a:lnTo>
                  <a:lnTo>
                    <a:pt x="2030" y="426"/>
                  </a:lnTo>
                  <a:lnTo>
                    <a:pt x="2032" y="425"/>
                  </a:lnTo>
                  <a:lnTo>
                    <a:pt x="2037" y="423"/>
                  </a:lnTo>
                  <a:lnTo>
                    <a:pt x="2038" y="425"/>
                  </a:lnTo>
                  <a:lnTo>
                    <a:pt x="2039" y="423"/>
                  </a:lnTo>
                  <a:lnTo>
                    <a:pt x="2043" y="424"/>
                  </a:lnTo>
                  <a:lnTo>
                    <a:pt x="2041" y="420"/>
                  </a:lnTo>
                  <a:lnTo>
                    <a:pt x="2044" y="421"/>
                  </a:lnTo>
                  <a:lnTo>
                    <a:pt x="2046" y="421"/>
                  </a:lnTo>
                  <a:lnTo>
                    <a:pt x="2047" y="420"/>
                  </a:lnTo>
                  <a:lnTo>
                    <a:pt x="2049" y="420"/>
                  </a:lnTo>
                  <a:lnTo>
                    <a:pt x="2054" y="420"/>
                  </a:lnTo>
                  <a:lnTo>
                    <a:pt x="2057" y="418"/>
                  </a:lnTo>
                  <a:lnTo>
                    <a:pt x="2060" y="419"/>
                  </a:lnTo>
                  <a:lnTo>
                    <a:pt x="2065" y="419"/>
                  </a:lnTo>
                  <a:lnTo>
                    <a:pt x="2065" y="418"/>
                  </a:lnTo>
                  <a:lnTo>
                    <a:pt x="2069" y="419"/>
                  </a:lnTo>
                  <a:lnTo>
                    <a:pt x="2072" y="418"/>
                  </a:lnTo>
                  <a:lnTo>
                    <a:pt x="2078" y="415"/>
                  </a:lnTo>
                  <a:lnTo>
                    <a:pt x="2078" y="416"/>
                  </a:lnTo>
                  <a:lnTo>
                    <a:pt x="2078" y="418"/>
                  </a:lnTo>
                  <a:lnTo>
                    <a:pt x="2078" y="420"/>
                  </a:lnTo>
                  <a:lnTo>
                    <a:pt x="2075" y="419"/>
                  </a:lnTo>
                  <a:lnTo>
                    <a:pt x="2077" y="423"/>
                  </a:lnTo>
                  <a:lnTo>
                    <a:pt x="2082" y="426"/>
                  </a:lnTo>
                  <a:lnTo>
                    <a:pt x="2088" y="426"/>
                  </a:lnTo>
                  <a:lnTo>
                    <a:pt x="2091" y="426"/>
                  </a:lnTo>
                  <a:lnTo>
                    <a:pt x="2093" y="427"/>
                  </a:lnTo>
                  <a:lnTo>
                    <a:pt x="2096" y="429"/>
                  </a:lnTo>
                  <a:lnTo>
                    <a:pt x="2098" y="429"/>
                  </a:lnTo>
                  <a:lnTo>
                    <a:pt x="2098" y="432"/>
                  </a:lnTo>
                  <a:lnTo>
                    <a:pt x="2098" y="433"/>
                  </a:lnTo>
                  <a:lnTo>
                    <a:pt x="2084" y="429"/>
                  </a:lnTo>
                  <a:lnTo>
                    <a:pt x="2082" y="433"/>
                  </a:lnTo>
                  <a:lnTo>
                    <a:pt x="2080" y="434"/>
                  </a:lnTo>
                  <a:lnTo>
                    <a:pt x="2077" y="434"/>
                  </a:lnTo>
                  <a:lnTo>
                    <a:pt x="2074" y="434"/>
                  </a:lnTo>
                  <a:lnTo>
                    <a:pt x="2073" y="436"/>
                  </a:lnTo>
                  <a:lnTo>
                    <a:pt x="2071" y="435"/>
                  </a:lnTo>
                  <a:lnTo>
                    <a:pt x="2069" y="435"/>
                  </a:lnTo>
                  <a:lnTo>
                    <a:pt x="2069" y="437"/>
                  </a:lnTo>
                  <a:lnTo>
                    <a:pt x="2069" y="441"/>
                  </a:lnTo>
                  <a:lnTo>
                    <a:pt x="2066" y="442"/>
                  </a:lnTo>
                  <a:lnTo>
                    <a:pt x="2053" y="441"/>
                  </a:lnTo>
                  <a:lnTo>
                    <a:pt x="2050" y="440"/>
                  </a:lnTo>
                  <a:lnTo>
                    <a:pt x="2047" y="440"/>
                  </a:lnTo>
                  <a:lnTo>
                    <a:pt x="2045" y="438"/>
                  </a:lnTo>
                  <a:lnTo>
                    <a:pt x="2039" y="437"/>
                  </a:lnTo>
                  <a:lnTo>
                    <a:pt x="2037" y="438"/>
                  </a:lnTo>
                  <a:lnTo>
                    <a:pt x="2033" y="437"/>
                  </a:lnTo>
                  <a:lnTo>
                    <a:pt x="2032" y="441"/>
                  </a:lnTo>
                  <a:lnTo>
                    <a:pt x="2030" y="440"/>
                  </a:lnTo>
                  <a:lnTo>
                    <a:pt x="2024" y="440"/>
                  </a:lnTo>
                  <a:lnTo>
                    <a:pt x="2022" y="441"/>
                  </a:lnTo>
                  <a:lnTo>
                    <a:pt x="2019" y="441"/>
                  </a:lnTo>
                  <a:lnTo>
                    <a:pt x="2016" y="443"/>
                  </a:lnTo>
                  <a:lnTo>
                    <a:pt x="2014" y="442"/>
                  </a:lnTo>
                  <a:lnTo>
                    <a:pt x="2014" y="444"/>
                  </a:lnTo>
                  <a:lnTo>
                    <a:pt x="2010" y="445"/>
                  </a:lnTo>
                  <a:lnTo>
                    <a:pt x="2006" y="447"/>
                  </a:lnTo>
                  <a:lnTo>
                    <a:pt x="2005" y="450"/>
                  </a:lnTo>
                  <a:lnTo>
                    <a:pt x="2009" y="451"/>
                  </a:lnTo>
                  <a:lnTo>
                    <a:pt x="2005" y="452"/>
                  </a:lnTo>
                  <a:lnTo>
                    <a:pt x="2007" y="454"/>
                  </a:lnTo>
                  <a:lnTo>
                    <a:pt x="2010" y="455"/>
                  </a:lnTo>
                  <a:lnTo>
                    <a:pt x="2007" y="455"/>
                  </a:lnTo>
                  <a:lnTo>
                    <a:pt x="2006" y="459"/>
                  </a:lnTo>
                  <a:lnTo>
                    <a:pt x="2009" y="461"/>
                  </a:lnTo>
                  <a:lnTo>
                    <a:pt x="2010" y="463"/>
                  </a:lnTo>
                  <a:lnTo>
                    <a:pt x="2013" y="463"/>
                  </a:lnTo>
                  <a:lnTo>
                    <a:pt x="2015" y="464"/>
                  </a:lnTo>
                  <a:lnTo>
                    <a:pt x="2018" y="462"/>
                  </a:lnTo>
                  <a:lnTo>
                    <a:pt x="2021" y="464"/>
                  </a:lnTo>
                  <a:lnTo>
                    <a:pt x="2018" y="474"/>
                  </a:lnTo>
                  <a:lnTo>
                    <a:pt x="2018" y="476"/>
                  </a:lnTo>
                  <a:lnTo>
                    <a:pt x="2019" y="484"/>
                  </a:lnTo>
                  <a:lnTo>
                    <a:pt x="2016" y="487"/>
                  </a:lnTo>
                  <a:lnTo>
                    <a:pt x="2014" y="488"/>
                  </a:lnTo>
                  <a:lnTo>
                    <a:pt x="2011" y="491"/>
                  </a:lnTo>
                  <a:lnTo>
                    <a:pt x="2009" y="491"/>
                  </a:lnTo>
                  <a:lnTo>
                    <a:pt x="2003" y="487"/>
                  </a:lnTo>
                  <a:lnTo>
                    <a:pt x="2002" y="485"/>
                  </a:lnTo>
                  <a:lnTo>
                    <a:pt x="1997" y="479"/>
                  </a:lnTo>
                  <a:lnTo>
                    <a:pt x="1995" y="478"/>
                  </a:lnTo>
                  <a:lnTo>
                    <a:pt x="1993" y="475"/>
                  </a:lnTo>
                  <a:lnTo>
                    <a:pt x="1986" y="478"/>
                  </a:lnTo>
                  <a:lnTo>
                    <a:pt x="1984" y="478"/>
                  </a:lnTo>
                  <a:lnTo>
                    <a:pt x="1980" y="480"/>
                  </a:lnTo>
                  <a:lnTo>
                    <a:pt x="1979" y="484"/>
                  </a:lnTo>
                  <a:lnTo>
                    <a:pt x="1978" y="486"/>
                  </a:lnTo>
                  <a:lnTo>
                    <a:pt x="1978" y="488"/>
                  </a:lnTo>
                  <a:lnTo>
                    <a:pt x="1976" y="492"/>
                  </a:lnTo>
                  <a:lnTo>
                    <a:pt x="1973" y="494"/>
                  </a:lnTo>
                  <a:lnTo>
                    <a:pt x="1972" y="500"/>
                  </a:lnTo>
                  <a:lnTo>
                    <a:pt x="1972" y="505"/>
                  </a:lnTo>
                  <a:lnTo>
                    <a:pt x="1973" y="508"/>
                  </a:lnTo>
                  <a:lnTo>
                    <a:pt x="1973" y="512"/>
                  </a:lnTo>
                  <a:lnTo>
                    <a:pt x="1973" y="514"/>
                  </a:lnTo>
                  <a:lnTo>
                    <a:pt x="1975" y="515"/>
                  </a:lnTo>
                  <a:lnTo>
                    <a:pt x="1975" y="517"/>
                  </a:lnTo>
                  <a:lnTo>
                    <a:pt x="1975" y="517"/>
                  </a:lnTo>
                  <a:lnTo>
                    <a:pt x="1976" y="519"/>
                  </a:lnTo>
                  <a:lnTo>
                    <a:pt x="1976" y="522"/>
                  </a:lnTo>
                  <a:lnTo>
                    <a:pt x="1976" y="523"/>
                  </a:lnTo>
                  <a:lnTo>
                    <a:pt x="1975" y="526"/>
                  </a:lnTo>
                  <a:lnTo>
                    <a:pt x="1976" y="528"/>
                  </a:lnTo>
                  <a:lnTo>
                    <a:pt x="1972" y="530"/>
                  </a:lnTo>
                  <a:lnTo>
                    <a:pt x="1967" y="530"/>
                  </a:lnTo>
                  <a:lnTo>
                    <a:pt x="1967" y="530"/>
                  </a:lnTo>
                  <a:lnTo>
                    <a:pt x="1962" y="529"/>
                  </a:lnTo>
                  <a:lnTo>
                    <a:pt x="1962" y="529"/>
                  </a:lnTo>
                  <a:lnTo>
                    <a:pt x="1961" y="529"/>
                  </a:lnTo>
                  <a:lnTo>
                    <a:pt x="1959" y="529"/>
                  </a:lnTo>
                  <a:lnTo>
                    <a:pt x="1958" y="530"/>
                  </a:lnTo>
                  <a:lnTo>
                    <a:pt x="1959" y="532"/>
                  </a:lnTo>
                  <a:lnTo>
                    <a:pt x="1956" y="536"/>
                  </a:lnTo>
                  <a:lnTo>
                    <a:pt x="1953" y="538"/>
                  </a:lnTo>
                  <a:lnTo>
                    <a:pt x="1951" y="540"/>
                  </a:lnTo>
                  <a:lnTo>
                    <a:pt x="1945" y="540"/>
                  </a:lnTo>
                  <a:lnTo>
                    <a:pt x="1942" y="540"/>
                  </a:lnTo>
                  <a:lnTo>
                    <a:pt x="1941" y="539"/>
                  </a:lnTo>
                  <a:lnTo>
                    <a:pt x="1937" y="532"/>
                  </a:lnTo>
                  <a:lnTo>
                    <a:pt x="1937" y="532"/>
                  </a:lnTo>
                  <a:lnTo>
                    <a:pt x="1935" y="531"/>
                  </a:lnTo>
                  <a:lnTo>
                    <a:pt x="1929" y="531"/>
                  </a:lnTo>
                  <a:lnTo>
                    <a:pt x="1921" y="534"/>
                  </a:lnTo>
                  <a:lnTo>
                    <a:pt x="1916" y="536"/>
                  </a:lnTo>
                  <a:lnTo>
                    <a:pt x="1911" y="537"/>
                  </a:lnTo>
                  <a:lnTo>
                    <a:pt x="1910" y="538"/>
                  </a:lnTo>
                  <a:lnTo>
                    <a:pt x="1907" y="543"/>
                  </a:lnTo>
                  <a:lnTo>
                    <a:pt x="1895" y="544"/>
                  </a:lnTo>
                  <a:lnTo>
                    <a:pt x="1881" y="548"/>
                  </a:lnTo>
                  <a:lnTo>
                    <a:pt x="1879" y="548"/>
                  </a:lnTo>
                  <a:lnTo>
                    <a:pt x="1876" y="546"/>
                  </a:lnTo>
                  <a:lnTo>
                    <a:pt x="1875" y="549"/>
                  </a:lnTo>
                  <a:lnTo>
                    <a:pt x="1874" y="551"/>
                  </a:lnTo>
                  <a:lnTo>
                    <a:pt x="1877" y="549"/>
                  </a:lnTo>
                  <a:lnTo>
                    <a:pt x="1879" y="549"/>
                  </a:lnTo>
                  <a:lnTo>
                    <a:pt x="1881" y="551"/>
                  </a:lnTo>
                  <a:lnTo>
                    <a:pt x="1882" y="549"/>
                  </a:lnTo>
                  <a:lnTo>
                    <a:pt x="1882" y="549"/>
                  </a:lnTo>
                  <a:lnTo>
                    <a:pt x="1885" y="551"/>
                  </a:lnTo>
                  <a:lnTo>
                    <a:pt x="1884" y="553"/>
                  </a:lnTo>
                  <a:lnTo>
                    <a:pt x="1884" y="555"/>
                  </a:lnTo>
                  <a:lnTo>
                    <a:pt x="1882" y="553"/>
                  </a:lnTo>
                  <a:lnTo>
                    <a:pt x="1881" y="553"/>
                  </a:lnTo>
                  <a:lnTo>
                    <a:pt x="1875" y="551"/>
                  </a:lnTo>
                  <a:lnTo>
                    <a:pt x="1874" y="551"/>
                  </a:lnTo>
                  <a:lnTo>
                    <a:pt x="1874" y="549"/>
                  </a:lnTo>
                  <a:lnTo>
                    <a:pt x="1873" y="544"/>
                  </a:lnTo>
                  <a:lnTo>
                    <a:pt x="1870" y="545"/>
                  </a:lnTo>
                  <a:lnTo>
                    <a:pt x="1869" y="546"/>
                  </a:lnTo>
                  <a:lnTo>
                    <a:pt x="1865" y="541"/>
                  </a:lnTo>
                  <a:lnTo>
                    <a:pt x="1865" y="541"/>
                  </a:lnTo>
                  <a:lnTo>
                    <a:pt x="1861" y="540"/>
                  </a:lnTo>
                  <a:lnTo>
                    <a:pt x="1859" y="540"/>
                  </a:lnTo>
                  <a:lnTo>
                    <a:pt x="1856" y="541"/>
                  </a:lnTo>
                  <a:lnTo>
                    <a:pt x="1856" y="540"/>
                  </a:lnTo>
                  <a:lnTo>
                    <a:pt x="1858" y="539"/>
                  </a:lnTo>
                  <a:lnTo>
                    <a:pt x="1861" y="539"/>
                  </a:lnTo>
                  <a:lnTo>
                    <a:pt x="1856" y="538"/>
                  </a:lnTo>
                  <a:lnTo>
                    <a:pt x="1854" y="541"/>
                  </a:lnTo>
                  <a:lnTo>
                    <a:pt x="1851" y="543"/>
                  </a:lnTo>
                  <a:lnTo>
                    <a:pt x="1850" y="545"/>
                  </a:lnTo>
                  <a:lnTo>
                    <a:pt x="1850" y="544"/>
                  </a:lnTo>
                  <a:lnTo>
                    <a:pt x="1848" y="544"/>
                  </a:lnTo>
                  <a:lnTo>
                    <a:pt x="1844" y="544"/>
                  </a:lnTo>
                  <a:lnTo>
                    <a:pt x="1842" y="547"/>
                  </a:lnTo>
                  <a:lnTo>
                    <a:pt x="1841" y="549"/>
                  </a:lnTo>
                  <a:lnTo>
                    <a:pt x="1839" y="548"/>
                  </a:lnTo>
                  <a:lnTo>
                    <a:pt x="1836" y="547"/>
                  </a:lnTo>
                  <a:lnTo>
                    <a:pt x="1834" y="548"/>
                  </a:lnTo>
                  <a:lnTo>
                    <a:pt x="1834" y="545"/>
                  </a:lnTo>
                  <a:lnTo>
                    <a:pt x="1836" y="543"/>
                  </a:lnTo>
                  <a:lnTo>
                    <a:pt x="1836" y="540"/>
                  </a:lnTo>
                  <a:lnTo>
                    <a:pt x="1834" y="540"/>
                  </a:lnTo>
                  <a:lnTo>
                    <a:pt x="1832" y="541"/>
                  </a:lnTo>
                  <a:lnTo>
                    <a:pt x="1826" y="539"/>
                  </a:lnTo>
                  <a:lnTo>
                    <a:pt x="1824" y="540"/>
                  </a:lnTo>
                  <a:lnTo>
                    <a:pt x="1822" y="538"/>
                  </a:lnTo>
                  <a:lnTo>
                    <a:pt x="1822" y="535"/>
                  </a:lnTo>
                  <a:lnTo>
                    <a:pt x="1821" y="535"/>
                  </a:lnTo>
                  <a:lnTo>
                    <a:pt x="1822" y="534"/>
                  </a:lnTo>
                  <a:lnTo>
                    <a:pt x="1817" y="531"/>
                  </a:lnTo>
                  <a:lnTo>
                    <a:pt x="1814" y="531"/>
                  </a:lnTo>
                  <a:lnTo>
                    <a:pt x="1816" y="530"/>
                  </a:lnTo>
                  <a:lnTo>
                    <a:pt x="1818" y="530"/>
                  </a:lnTo>
                  <a:lnTo>
                    <a:pt x="1815" y="526"/>
                  </a:lnTo>
                  <a:lnTo>
                    <a:pt x="1817" y="523"/>
                  </a:lnTo>
                  <a:lnTo>
                    <a:pt x="1815" y="519"/>
                  </a:lnTo>
                  <a:lnTo>
                    <a:pt x="1817" y="518"/>
                  </a:lnTo>
                  <a:lnTo>
                    <a:pt x="1819" y="517"/>
                  </a:lnTo>
                  <a:lnTo>
                    <a:pt x="1816" y="514"/>
                  </a:lnTo>
                  <a:lnTo>
                    <a:pt x="1819" y="515"/>
                  </a:lnTo>
                  <a:lnTo>
                    <a:pt x="1822" y="515"/>
                  </a:lnTo>
                  <a:lnTo>
                    <a:pt x="1822" y="512"/>
                  </a:lnTo>
                  <a:lnTo>
                    <a:pt x="1825" y="511"/>
                  </a:lnTo>
                  <a:lnTo>
                    <a:pt x="1825" y="505"/>
                  </a:lnTo>
                  <a:lnTo>
                    <a:pt x="1828" y="505"/>
                  </a:lnTo>
                  <a:lnTo>
                    <a:pt x="1828" y="508"/>
                  </a:lnTo>
                  <a:lnTo>
                    <a:pt x="1831" y="505"/>
                  </a:lnTo>
                  <a:lnTo>
                    <a:pt x="1833" y="504"/>
                  </a:lnTo>
                  <a:lnTo>
                    <a:pt x="1834" y="502"/>
                  </a:lnTo>
                  <a:lnTo>
                    <a:pt x="1832" y="498"/>
                  </a:lnTo>
                  <a:lnTo>
                    <a:pt x="1830" y="500"/>
                  </a:lnTo>
                  <a:lnTo>
                    <a:pt x="1827" y="498"/>
                  </a:lnTo>
                  <a:lnTo>
                    <a:pt x="1824" y="501"/>
                  </a:lnTo>
                  <a:lnTo>
                    <a:pt x="1826" y="497"/>
                  </a:lnTo>
                  <a:lnTo>
                    <a:pt x="1823" y="495"/>
                  </a:lnTo>
                  <a:lnTo>
                    <a:pt x="1822" y="496"/>
                  </a:lnTo>
                  <a:lnTo>
                    <a:pt x="1819" y="496"/>
                  </a:lnTo>
                  <a:lnTo>
                    <a:pt x="1823" y="495"/>
                  </a:lnTo>
                  <a:lnTo>
                    <a:pt x="1826" y="495"/>
                  </a:lnTo>
                  <a:lnTo>
                    <a:pt x="1825" y="493"/>
                  </a:lnTo>
                  <a:lnTo>
                    <a:pt x="1824" y="491"/>
                  </a:lnTo>
                  <a:lnTo>
                    <a:pt x="1822" y="488"/>
                  </a:lnTo>
                  <a:lnTo>
                    <a:pt x="1821" y="488"/>
                  </a:lnTo>
                  <a:lnTo>
                    <a:pt x="1811" y="489"/>
                  </a:lnTo>
                  <a:lnTo>
                    <a:pt x="1810" y="493"/>
                  </a:lnTo>
                  <a:lnTo>
                    <a:pt x="1813" y="496"/>
                  </a:lnTo>
                  <a:lnTo>
                    <a:pt x="1811" y="498"/>
                  </a:lnTo>
                  <a:lnTo>
                    <a:pt x="1809" y="496"/>
                  </a:lnTo>
                  <a:lnTo>
                    <a:pt x="1808" y="494"/>
                  </a:lnTo>
                  <a:lnTo>
                    <a:pt x="1806" y="496"/>
                  </a:lnTo>
                  <a:lnTo>
                    <a:pt x="1805" y="498"/>
                  </a:lnTo>
                  <a:lnTo>
                    <a:pt x="1798" y="498"/>
                  </a:lnTo>
                  <a:lnTo>
                    <a:pt x="1797" y="496"/>
                  </a:lnTo>
                  <a:lnTo>
                    <a:pt x="1796" y="498"/>
                  </a:lnTo>
                  <a:lnTo>
                    <a:pt x="1796" y="510"/>
                  </a:lnTo>
                  <a:lnTo>
                    <a:pt x="1798" y="509"/>
                  </a:lnTo>
                  <a:lnTo>
                    <a:pt x="1800" y="511"/>
                  </a:lnTo>
                  <a:lnTo>
                    <a:pt x="1799" y="512"/>
                  </a:lnTo>
                  <a:lnTo>
                    <a:pt x="1797" y="510"/>
                  </a:lnTo>
                  <a:lnTo>
                    <a:pt x="1797" y="515"/>
                  </a:lnTo>
                  <a:lnTo>
                    <a:pt x="1796" y="518"/>
                  </a:lnTo>
                  <a:lnTo>
                    <a:pt x="1799" y="518"/>
                  </a:lnTo>
                  <a:lnTo>
                    <a:pt x="1800" y="520"/>
                  </a:lnTo>
                  <a:lnTo>
                    <a:pt x="1804" y="522"/>
                  </a:lnTo>
                  <a:lnTo>
                    <a:pt x="1804" y="524"/>
                  </a:lnTo>
                  <a:lnTo>
                    <a:pt x="1802" y="526"/>
                  </a:lnTo>
                  <a:lnTo>
                    <a:pt x="1804" y="530"/>
                  </a:lnTo>
                  <a:lnTo>
                    <a:pt x="1802" y="530"/>
                  </a:lnTo>
                  <a:lnTo>
                    <a:pt x="1800" y="528"/>
                  </a:lnTo>
                  <a:lnTo>
                    <a:pt x="1799" y="528"/>
                  </a:lnTo>
                  <a:lnTo>
                    <a:pt x="1800" y="531"/>
                  </a:lnTo>
                  <a:lnTo>
                    <a:pt x="1804" y="531"/>
                  </a:lnTo>
                  <a:lnTo>
                    <a:pt x="1804" y="531"/>
                  </a:lnTo>
                  <a:lnTo>
                    <a:pt x="1808" y="537"/>
                  </a:lnTo>
                  <a:lnTo>
                    <a:pt x="1807" y="538"/>
                  </a:lnTo>
                  <a:lnTo>
                    <a:pt x="1805" y="539"/>
                  </a:lnTo>
                  <a:lnTo>
                    <a:pt x="1804" y="543"/>
                  </a:lnTo>
                  <a:lnTo>
                    <a:pt x="1806" y="541"/>
                  </a:lnTo>
                  <a:lnTo>
                    <a:pt x="1807" y="545"/>
                  </a:lnTo>
                  <a:lnTo>
                    <a:pt x="1806" y="547"/>
                  </a:lnTo>
                  <a:lnTo>
                    <a:pt x="1809" y="549"/>
                  </a:lnTo>
                  <a:lnTo>
                    <a:pt x="1813" y="549"/>
                  </a:lnTo>
                  <a:lnTo>
                    <a:pt x="1817" y="555"/>
                  </a:lnTo>
                  <a:lnTo>
                    <a:pt x="1819" y="556"/>
                  </a:lnTo>
                  <a:lnTo>
                    <a:pt x="1819" y="556"/>
                  </a:lnTo>
                  <a:lnTo>
                    <a:pt x="1816" y="555"/>
                  </a:lnTo>
                  <a:lnTo>
                    <a:pt x="1814" y="553"/>
                  </a:lnTo>
                  <a:lnTo>
                    <a:pt x="1810" y="549"/>
                  </a:lnTo>
                  <a:lnTo>
                    <a:pt x="1808" y="551"/>
                  </a:lnTo>
                  <a:lnTo>
                    <a:pt x="1806" y="551"/>
                  </a:lnTo>
                  <a:lnTo>
                    <a:pt x="1805" y="549"/>
                  </a:lnTo>
                  <a:lnTo>
                    <a:pt x="1801" y="551"/>
                  </a:lnTo>
                  <a:lnTo>
                    <a:pt x="1801" y="553"/>
                  </a:lnTo>
                  <a:lnTo>
                    <a:pt x="1801" y="556"/>
                  </a:lnTo>
                  <a:lnTo>
                    <a:pt x="1801" y="560"/>
                  </a:lnTo>
                  <a:lnTo>
                    <a:pt x="1800" y="555"/>
                  </a:lnTo>
                  <a:lnTo>
                    <a:pt x="1798" y="555"/>
                  </a:lnTo>
                  <a:lnTo>
                    <a:pt x="1798" y="557"/>
                  </a:lnTo>
                  <a:lnTo>
                    <a:pt x="1796" y="557"/>
                  </a:lnTo>
                  <a:lnTo>
                    <a:pt x="1796" y="555"/>
                  </a:lnTo>
                  <a:lnTo>
                    <a:pt x="1793" y="553"/>
                  </a:lnTo>
                  <a:lnTo>
                    <a:pt x="1789" y="553"/>
                  </a:lnTo>
                  <a:lnTo>
                    <a:pt x="1788" y="553"/>
                  </a:lnTo>
                  <a:lnTo>
                    <a:pt x="1785" y="553"/>
                  </a:lnTo>
                  <a:lnTo>
                    <a:pt x="1783" y="554"/>
                  </a:lnTo>
                  <a:lnTo>
                    <a:pt x="1781" y="556"/>
                  </a:lnTo>
                  <a:lnTo>
                    <a:pt x="1781" y="560"/>
                  </a:lnTo>
                  <a:lnTo>
                    <a:pt x="1784" y="560"/>
                  </a:lnTo>
                  <a:lnTo>
                    <a:pt x="1785" y="561"/>
                  </a:lnTo>
                  <a:lnTo>
                    <a:pt x="1783" y="562"/>
                  </a:lnTo>
                  <a:lnTo>
                    <a:pt x="1780" y="560"/>
                  </a:lnTo>
                  <a:lnTo>
                    <a:pt x="1777" y="557"/>
                  </a:lnTo>
                  <a:lnTo>
                    <a:pt x="1772" y="558"/>
                  </a:lnTo>
                  <a:lnTo>
                    <a:pt x="1766" y="558"/>
                  </a:lnTo>
                  <a:lnTo>
                    <a:pt x="1762" y="561"/>
                  </a:lnTo>
                  <a:lnTo>
                    <a:pt x="1758" y="563"/>
                  </a:lnTo>
                  <a:lnTo>
                    <a:pt x="1758" y="564"/>
                  </a:lnTo>
                  <a:lnTo>
                    <a:pt x="1756" y="566"/>
                  </a:lnTo>
                  <a:lnTo>
                    <a:pt x="1753" y="568"/>
                  </a:lnTo>
                  <a:lnTo>
                    <a:pt x="1749" y="568"/>
                  </a:lnTo>
                  <a:lnTo>
                    <a:pt x="1748" y="570"/>
                  </a:lnTo>
                  <a:lnTo>
                    <a:pt x="1748" y="575"/>
                  </a:lnTo>
                  <a:lnTo>
                    <a:pt x="1746" y="579"/>
                  </a:lnTo>
                  <a:lnTo>
                    <a:pt x="1741" y="585"/>
                  </a:lnTo>
                  <a:lnTo>
                    <a:pt x="1740" y="585"/>
                  </a:lnTo>
                  <a:lnTo>
                    <a:pt x="1740" y="588"/>
                  </a:lnTo>
                  <a:lnTo>
                    <a:pt x="1745" y="589"/>
                  </a:lnTo>
                  <a:lnTo>
                    <a:pt x="1748" y="589"/>
                  </a:lnTo>
                  <a:lnTo>
                    <a:pt x="1750" y="588"/>
                  </a:lnTo>
                  <a:lnTo>
                    <a:pt x="1750" y="590"/>
                  </a:lnTo>
                  <a:lnTo>
                    <a:pt x="1748" y="589"/>
                  </a:lnTo>
                  <a:lnTo>
                    <a:pt x="1748" y="589"/>
                  </a:lnTo>
                  <a:lnTo>
                    <a:pt x="1745" y="590"/>
                  </a:lnTo>
                  <a:lnTo>
                    <a:pt x="1742" y="591"/>
                  </a:lnTo>
                  <a:lnTo>
                    <a:pt x="1741" y="591"/>
                  </a:lnTo>
                  <a:lnTo>
                    <a:pt x="1742" y="592"/>
                  </a:lnTo>
                  <a:lnTo>
                    <a:pt x="1740" y="592"/>
                  </a:lnTo>
                  <a:lnTo>
                    <a:pt x="1742" y="594"/>
                  </a:lnTo>
                  <a:lnTo>
                    <a:pt x="1743" y="595"/>
                  </a:lnTo>
                  <a:lnTo>
                    <a:pt x="1740" y="594"/>
                  </a:lnTo>
                  <a:lnTo>
                    <a:pt x="1738" y="591"/>
                  </a:lnTo>
                  <a:lnTo>
                    <a:pt x="1733" y="592"/>
                  </a:lnTo>
                  <a:lnTo>
                    <a:pt x="1734" y="595"/>
                  </a:lnTo>
                  <a:lnTo>
                    <a:pt x="1737" y="596"/>
                  </a:lnTo>
                  <a:lnTo>
                    <a:pt x="1740" y="595"/>
                  </a:lnTo>
                  <a:lnTo>
                    <a:pt x="1742" y="596"/>
                  </a:lnTo>
                  <a:lnTo>
                    <a:pt x="1743" y="598"/>
                  </a:lnTo>
                  <a:lnTo>
                    <a:pt x="1742" y="596"/>
                  </a:lnTo>
                  <a:lnTo>
                    <a:pt x="1739" y="596"/>
                  </a:lnTo>
                  <a:lnTo>
                    <a:pt x="1736" y="597"/>
                  </a:lnTo>
                  <a:lnTo>
                    <a:pt x="1733" y="596"/>
                  </a:lnTo>
                  <a:lnTo>
                    <a:pt x="1728" y="597"/>
                  </a:lnTo>
                  <a:lnTo>
                    <a:pt x="1719" y="601"/>
                  </a:lnTo>
                  <a:lnTo>
                    <a:pt x="1710" y="604"/>
                  </a:lnTo>
                  <a:lnTo>
                    <a:pt x="1706" y="606"/>
                  </a:lnTo>
                  <a:lnTo>
                    <a:pt x="1706" y="608"/>
                  </a:lnTo>
                  <a:lnTo>
                    <a:pt x="1706" y="614"/>
                  </a:lnTo>
                  <a:lnTo>
                    <a:pt x="1706" y="614"/>
                  </a:lnTo>
                  <a:lnTo>
                    <a:pt x="1707" y="617"/>
                  </a:lnTo>
                  <a:lnTo>
                    <a:pt x="1706" y="616"/>
                  </a:lnTo>
                  <a:lnTo>
                    <a:pt x="1704" y="620"/>
                  </a:lnTo>
                  <a:lnTo>
                    <a:pt x="1700" y="622"/>
                  </a:lnTo>
                  <a:lnTo>
                    <a:pt x="1695" y="623"/>
                  </a:lnTo>
                  <a:lnTo>
                    <a:pt x="1689" y="625"/>
                  </a:lnTo>
                  <a:lnTo>
                    <a:pt x="1687" y="628"/>
                  </a:lnTo>
                  <a:lnTo>
                    <a:pt x="1688" y="630"/>
                  </a:lnTo>
                  <a:lnTo>
                    <a:pt x="1691" y="630"/>
                  </a:lnTo>
                  <a:lnTo>
                    <a:pt x="1691" y="630"/>
                  </a:lnTo>
                  <a:lnTo>
                    <a:pt x="1688" y="631"/>
                  </a:lnTo>
                  <a:lnTo>
                    <a:pt x="1682" y="633"/>
                  </a:lnTo>
                  <a:lnTo>
                    <a:pt x="1678" y="632"/>
                  </a:lnTo>
                  <a:lnTo>
                    <a:pt x="1674" y="632"/>
                  </a:lnTo>
                  <a:lnTo>
                    <a:pt x="1672" y="631"/>
                  </a:lnTo>
                  <a:lnTo>
                    <a:pt x="1669" y="632"/>
                  </a:lnTo>
                  <a:lnTo>
                    <a:pt x="1666" y="629"/>
                  </a:lnTo>
                  <a:lnTo>
                    <a:pt x="1666" y="626"/>
                  </a:lnTo>
                  <a:lnTo>
                    <a:pt x="1662" y="626"/>
                  </a:lnTo>
                  <a:lnTo>
                    <a:pt x="1657" y="626"/>
                  </a:lnTo>
                  <a:lnTo>
                    <a:pt x="1660" y="631"/>
                  </a:lnTo>
                  <a:lnTo>
                    <a:pt x="1662" y="634"/>
                  </a:lnTo>
                  <a:lnTo>
                    <a:pt x="1663" y="640"/>
                  </a:lnTo>
                  <a:lnTo>
                    <a:pt x="1663" y="642"/>
                  </a:lnTo>
                  <a:lnTo>
                    <a:pt x="1665" y="645"/>
                  </a:lnTo>
                  <a:lnTo>
                    <a:pt x="1657" y="646"/>
                  </a:lnTo>
                  <a:lnTo>
                    <a:pt x="1657" y="647"/>
                  </a:lnTo>
                  <a:lnTo>
                    <a:pt x="1657" y="647"/>
                  </a:lnTo>
                  <a:lnTo>
                    <a:pt x="1657" y="646"/>
                  </a:lnTo>
                  <a:lnTo>
                    <a:pt x="1653" y="643"/>
                  </a:lnTo>
                  <a:lnTo>
                    <a:pt x="1649" y="646"/>
                  </a:lnTo>
                  <a:lnTo>
                    <a:pt x="1647" y="646"/>
                  </a:lnTo>
                  <a:lnTo>
                    <a:pt x="1643" y="640"/>
                  </a:lnTo>
                  <a:lnTo>
                    <a:pt x="1639" y="641"/>
                  </a:lnTo>
                  <a:lnTo>
                    <a:pt x="1637" y="641"/>
                  </a:lnTo>
                  <a:lnTo>
                    <a:pt x="1635" y="645"/>
                  </a:lnTo>
                  <a:lnTo>
                    <a:pt x="1630" y="643"/>
                  </a:lnTo>
                  <a:lnTo>
                    <a:pt x="1625" y="645"/>
                  </a:lnTo>
                  <a:lnTo>
                    <a:pt x="1622" y="646"/>
                  </a:lnTo>
                  <a:lnTo>
                    <a:pt x="1619" y="648"/>
                  </a:lnTo>
                  <a:lnTo>
                    <a:pt x="1620" y="650"/>
                  </a:lnTo>
                  <a:lnTo>
                    <a:pt x="1625" y="649"/>
                  </a:lnTo>
                  <a:lnTo>
                    <a:pt x="1626" y="651"/>
                  </a:lnTo>
                  <a:lnTo>
                    <a:pt x="1622" y="650"/>
                  </a:lnTo>
                  <a:lnTo>
                    <a:pt x="1622" y="652"/>
                  </a:lnTo>
                  <a:lnTo>
                    <a:pt x="1626" y="654"/>
                  </a:lnTo>
                  <a:lnTo>
                    <a:pt x="1620" y="655"/>
                  </a:lnTo>
                  <a:lnTo>
                    <a:pt x="1621" y="656"/>
                  </a:lnTo>
                  <a:lnTo>
                    <a:pt x="1625" y="657"/>
                  </a:lnTo>
                  <a:lnTo>
                    <a:pt x="1627" y="659"/>
                  </a:lnTo>
                  <a:lnTo>
                    <a:pt x="1629" y="658"/>
                  </a:lnTo>
                  <a:lnTo>
                    <a:pt x="1638" y="660"/>
                  </a:lnTo>
                  <a:lnTo>
                    <a:pt x="1640" y="663"/>
                  </a:lnTo>
                  <a:lnTo>
                    <a:pt x="1643" y="665"/>
                  </a:lnTo>
                  <a:lnTo>
                    <a:pt x="1644" y="663"/>
                  </a:lnTo>
                  <a:lnTo>
                    <a:pt x="1647" y="665"/>
                  </a:lnTo>
                  <a:lnTo>
                    <a:pt x="1653" y="665"/>
                  </a:lnTo>
                  <a:lnTo>
                    <a:pt x="1651" y="666"/>
                  </a:lnTo>
                  <a:lnTo>
                    <a:pt x="1652" y="668"/>
                  </a:lnTo>
                  <a:lnTo>
                    <a:pt x="1655" y="668"/>
                  </a:lnTo>
                  <a:lnTo>
                    <a:pt x="1659" y="668"/>
                  </a:lnTo>
                  <a:lnTo>
                    <a:pt x="1661" y="669"/>
                  </a:lnTo>
                  <a:lnTo>
                    <a:pt x="1657" y="668"/>
                  </a:lnTo>
                  <a:lnTo>
                    <a:pt x="1655" y="668"/>
                  </a:lnTo>
                  <a:lnTo>
                    <a:pt x="1655" y="671"/>
                  </a:lnTo>
                  <a:lnTo>
                    <a:pt x="1657" y="673"/>
                  </a:lnTo>
                  <a:lnTo>
                    <a:pt x="1655" y="676"/>
                  </a:lnTo>
                  <a:lnTo>
                    <a:pt x="1659" y="678"/>
                  </a:lnTo>
                  <a:lnTo>
                    <a:pt x="1661" y="682"/>
                  </a:lnTo>
                  <a:lnTo>
                    <a:pt x="1662" y="683"/>
                  </a:lnTo>
                  <a:lnTo>
                    <a:pt x="1664" y="683"/>
                  </a:lnTo>
                  <a:lnTo>
                    <a:pt x="1666" y="685"/>
                  </a:lnTo>
                  <a:lnTo>
                    <a:pt x="1670" y="685"/>
                  </a:lnTo>
                  <a:lnTo>
                    <a:pt x="1669" y="686"/>
                  </a:lnTo>
                  <a:lnTo>
                    <a:pt x="1670" y="692"/>
                  </a:lnTo>
                  <a:lnTo>
                    <a:pt x="1670" y="694"/>
                  </a:lnTo>
                  <a:lnTo>
                    <a:pt x="1668" y="695"/>
                  </a:lnTo>
                  <a:lnTo>
                    <a:pt x="1669" y="695"/>
                  </a:lnTo>
                  <a:lnTo>
                    <a:pt x="1671" y="697"/>
                  </a:lnTo>
                  <a:lnTo>
                    <a:pt x="1673" y="699"/>
                  </a:lnTo>
                  <a:lnTo>
                    <a:pt x="1676" y="702"/>
                  </a:lnTo>
                  <a:lnTo>
                    <a:pt x="1676" y="705"/>
                  </a:lnTo>
                  <a:lnTo>
                    <a:pt x="1677" y="708"/>
                  </a:lnTo>
                  <a:lnTo>
                    <a:pt x="1678" y="709"/>
                  </a:lnTo>
                  <a:lnTo>
                    <a:pt x="1677" y="708"/>
                  </a:lnTo>
                  <a:lnTo>
                    <a:pt x="1674" y="706"/>
                  </a:lnTo>
                  <a:lnTo>
                    <a:pt x="1674" y="702"/>
                  </a:lnTo>
                  <a:lnTo>
                    <a:pt x="1672" y="700"/>
                  </a:lnTo>
                  <a:lnTo>
                    <a:pt x="1669" y="699"/>
                  </a:lnTo>
                  <a:lnTo>
                    <a:pt x="1668" y="711"/>
                  </a:lnTo>
                  <a:lnTo>
                    <a:pt x="1668" y="714"/>
                  </a:lnTo>
                  <a:lnTo>
                    <a:pt x="1668" y="718"/>
                  </a:lnTo>
                  <a:lnTo>
                    <a:pt x="1665" y="727"/>
                  </a:lnTo>
                  <a:lnTo>
                    <a:pt x="1663" y="734"/>
                  </a:lnTo>
                  <a:lnTo>
                    <a:pt x="1661" y="735"/>
                  </a:lnTo>
                  <a:lnTo>
                    <a:pt x="1657" y="736"/>
                  </a:lnTo>
                  <a:lnTo>
                    <a:pt x="1654" y="736"/>
                  </a:lnTo>
                  <a:lnTo>
                    <a:pt x="1652" y="736"/>
                  </a:lnTo>
                  <a:lnTo>
                    <a:pt x="1647" y="733"/>
                  </a:lnTo>
                  <a:lnTo>
                    <a:pt x="1645" y="734"/>
                  </a:lnTo>
                  <a:lnTo>
                    <a:pt x="1644" y="735"/>
                  </a:lnTo>
                  <a:lnTo>
                    <a:pt x="1642" y="735"/>
                  </a:lnTo>
                  <a:lnTo>
                    <a:pt x="1637" y="733"/>
                  </a:lnTo>
                  <a:lnTo>
                    <a:pt x="1635" y="733"/>
                  </a:lnTo>
                  <a:lnTo>
                    <a:pt x="1632" y="733"/>
                  </a:lnTo>
                  <a:lnTo>
                    <a:pt x="1629" y="734"/>
                  </a:lnTo>
                  <a:lnTo>
                    <a:pt x="1629" y="734"/>
                  </a:lnTo>
                  <a:lnTo>
                    <a:pt x="1627" y="734"/>
                  </a:lnTo>
                  <a:lnTo>
                    <a:pt x="1621" y="734"/>
                  </a:lnTo>
                  <a:lnTo>
                    <a:pt x="1615" y="733"/>
                  </a:lnTo>
                  <a:lnTo>
                    <a:pt x="1612" y="732"/>
                  </a:lnTo>
                  <a:lnTo>
                    <a:pt x="1606" y="732"/>
                  </a:lnTo>
                  <a:lnTo>
                    <a:pt x="1604" y="731"/>
                  </a:lnTo>
                  <a:lnTo>
                    <a:pt x="1602" y="732"/>
                  </a:lnTo>
                  <a:lnTo>
                    <a:pt x="1593" y="732"/>
                  </a:lnTo>
                  <a:lnTo>
                    <a:pt x="1591" y="732"/>
                  </a:lnTo>
                  <a:lnTo>
                    <a:pt x="1588" y="733"/>
                  </a:lnTo>
                  <a:lnTo>
                    <a:pt x="1587" y="732"/>
                  </a:lnTo>
                  <a:lnTo>
                    <a:pt x="1585" y="731"/>
                  </a:lnTo>
                  <a:lnTo>
                    <a:pt x="1582" y="729"/>
                  </a:lnTo>
                  <a:lnTo>
                    <a:pt x="1576" y="728"/>
                  </a:lnTo>
                  <a:lnTo>
                    <a:pt x="1574" y="731"/>
                  </a:lnTo>
                  <a:lnTo>
                    <a:pt x="1572" y="733"/>
                  </a:lnTo>
                  <a:lnTo>
                    <a:pt x="1572" y="733"/>
                  </a:lnTo>
                  <a:lnTo>
                    <a:pt x="1572" y="734"/>
                  </a:lnTo>
                  <a:lnTo>
                    <a:pt x="1569" y="735"/>
                  </a:lnTo>
                  <a:lnTo>
                    <a:pt x="1567" y="736"/>
                  </a:lnTo>
                  <a:lnTo>
                    <a:pt x="1563" y="736"/>
                  </a:lnTo>
                  <a:lnTo>
                    <a:pt x="1558" y="740"/>
                  </a:lnTo>
                  <a:lnTo>
                    <a:pt x="1560" y="743"/>
                  </a:lnTo>
                  <a:lnTo>
                    <a:pt x="1560" y="743"/>
                  </a:lnTo>
                  <a:lnTo>
                    <a:pt x="1561" y="744"/>
                  </a:lnTo>
                  <a:lnTo>
                    <a:pt x="1563" y="744"/>
                  </a:lnTo>
                  <a:lnTo>
                    <a:pt x="1562" y="744"/>
                  </a:lnTo>
                  <a:lnTo>
                    <a:pt x="1562" y="748"/>
                  </a:lnTo>
                  <a:lnTo>
                    <a:pt x="1566" y="746"/>
                  </a:lnTo>
                  <a:lnTo>
                    <a:pt x="1563" y="749"/>
                  </a:lnTo>
                  <a:lnTo>
                    <a:pt x="1563" y="751"/>
                  </a:lnTo>
                  <a:lnTo>
                    <a:pt x="1567" y="751"/>
                  </a:lnTo>
                  <a:lnTo>
                    <a:pt x="1563" y="753"/>
                  </a:lnTo>
                  <a:lnTo>
                    <a:pt x="1566" y="753"/>
                  </a:lnTo>
                  <a:lnTo>
                    <a:pt x="1567" y="752"/>
                  </a:lnTo>
                  <a:lnTo>
                    <a:pt x="1567" y="753"/>
                  </a:lnTo>
                  <a:lnTo>
                    <a:pt x="1563" y="756"/>
                  </a:lnTo>
                  <a:lnTo>
                    <a:pt x="1565" y="758"/>
                  </a:lnTo>
                  <a:lnTo>
                    <a:pt x="1563" y="760"/>
                  </a:lnTo>
                  <a:lnTo>
                    <a:pt x="1563" y="762"/>
                  </a:lnTo>
                  <a:lnTo>
                    <a:pt x="1566" y="770"/>
                  </a:lnTo>
                  <a:lnTo>
                    <a:pt x="1567" y="771"/>
                  </a:lnTo>
                  <a:lnTo>
                    <a:pt x="1566" y="779"/>
                  </a:lnTo>
                  <a:lnTo>
                    <a:pt x="1567" y="776"/>
                  </a:lnTo>
                  <a:lnTo>
                    <a:pt x="1567" y="779"/>
                  </a:lnTo>
                  <a:lnTo>
                    <a:pt x="1565" y="782"/>
                  </a:lnTo>
                  <a:lnTo>
                    <a:pt x="1563" y="788"/>
                  </a:lnTo>
                  <a:lnTo>
                    <a:pt x="1560" y="796"/>
                  </a:lnTo>
                  <a:lnTo>
                    <a:pt x="1557" y="801"/>
                  </a:lnTo>
                  <a:lnTo>
                    <a:pt x="1557" y="803"/>
                  </a:lnTo>
                  <a:lnTo>
                    <a:pt x="1555" y="805"/>
                  </a:lnTo>
                  <a:lnTo>
                    <a:pt x="1555" y="809"/>
                  </a:lnTo>
                  <a:lnTo>
                    <a:pt x="1557" y="811"/>
                  </a:lnTo>
                  <a:lnTo>
                    <a:pt x="1559" y="811"/>
                  </a:lnTo>
                  <a:lnTo>
                    <a:pt x="1560" y="810"/>
                  </a:lnTo>
                  <a:lnTo>
                    <a:pt x="1562" y="806"/>
                  </a:lnTo>
                  <a:lnTo>
                    <a:pt x="1562" y="810"/>
                  </a:lnTo>
                  <a:lnTo>
                    <a:pt x="1560" y="812"/>
                  </a:lnTo>
                  <a:lnTo>
                    <a:pt x="1559" y="811"/>
                  </a:lnTo>
                  <a:lnTo>
                    <a:pt x="1559" y="814"/>
                  </a:lnTo>
                  <a:lnTo>
                    <a:pt x="1565" y="814"/>
                  </a:lnTo>
                  <a:lnTo>
                    <a:pt x="1566" y="813"/>
                  </a:lnTo>
                  <a:lnTo>
                    <a:pt x="1565" y="816"/>
                  </a:lnTo>
                  <a:lnTo>
                    <a:pt x="1565" y="819"/>
                  </a:lnTo>
                  <a:lnTo>
                    <a:pt x="1563" y="822"/>
                  </a:lnTo>
                  <a:lnTo>
                    <a:pt x="1565" y="827"/>
                  </a:lnTo>
                  <a:lnTo>
                    <a:pt x="1565" y="828"/>
                  </a:lnTo>
                  <a:lnTo>
                    <a:pt x="1565" y="831"/>
                  </a:lnTo>
                  <a:lnTo>
                    <a:pt x="1562" y="835"/>
                  </a:lnTo>
                  <a:lnTo>
                    <a:pt x="1562" y="838"/>
                  </a:lnTo>
                  <a:lnTo>
                    <a:pt x="1568" y="836"/>
                  </a:lnTo>
                  <a:lnTo>
                    <a:pt x="1570" y="836"/>
                  </a:lnTo>
                  <a:lnTo>
                    <a:pt x="1572" y="836"/>
                  </a:lnTo>
                  <a:lnTo>
                    <a:pt x="1575" y="837"/>
                  </a:lnTo>
                  <a:lnTo>
                    <a:pt x="1578" y="837"/>
                  </a:lnTo>
                  <a:lnTo>
                    <a:pt x="1583" y="835"/>
                  </a:lnTo>
                  <a:lnTo>
                    <a:pt x="1583" y="834"/>
                  </a:lnTo>
                  <a:lnTo>
                    <a:pt x="1584" y="835"/>
                  </a:lnTo>
                  <a:lnTo>
                    <a:pt x="1584" y="835"/>
                  </a:lnTo>
                  <a:lnTo>
                    <a:pt x="1589" y="834"/>
                  </a:lnTo>
                  <a:lnTo>
                    <a:pt x="1591" y="834"/>
                  </a:lnTo>
                  <a:lnTo>
                    <a:pt x="1589" y="835"/>
                  </a:lnTo>
                  <a:lnTo>
                    <a:pt x="1595" y="838"/>
                  </a:lnTo>
                  <a:lnTo>
                    <a:pt x="1600" y="839"/>
                  </a:lnTo>
                  <a:lnTo>
                    <a:pt x="1596" y="843"/>
                  </a:lnTo>
                  <a:lnTo>
                    <a:pt x="1600" y="845"/>
                  </a:lnTo>
                  <a:lnTo>
                    <a:pt x="1600" y="845"/>
                  </a:lnTo>
                  <a:lnTo>
                    <a:pt x="1600" y="847"/>
                  </a:lnTo>
                  <a:lnTo>
                    <a:pt x="1602" y="851"/>
                  </a:lnTo>
                  <a:lnTo>
                    <a:pt x="1608" y="854"/>
                  </a:lnTo>
                  <a:lnTo>
                    <a:pt x="1612" y="852"/>
                  </a:lnTo>
                  <a:lnTo>
                    <a:pt x="1613" y="847"/>
                  </a:lnTo>
                  <a:lnTo>
                    <a:pt x="1617" y="846"/>
                  </a:lnTo>
                  <a:lnTo>
                    <a:pt x="1619" y="846"/>
                  </a:lnTo>
                  <a:lnTo>
                    <a:pt x="1621" y="846"/>
                  </a:lnTo>
                  <a:lnTo>
                    <a:pt x="1623" y="843"/>
                  </a:lnTo>
                  <a:lnTo>
                    <a:pt x="1625" y="843"/>
                  </a:lnTo>
                  <a:lnTo>
                    <a:pt x="1636" y="843"/>
                  </a:lnTo>
                  <a:lnTo>
                    <a:pt x="1642" y="842"/>
                  </a:lnTo>
                  <a:lnTo>
                    <a:pt x="1646" y="843"/>
                  </a:lnTo>
                  <a:lnTo>
                    <a:pt x="1648" y="843"/>
                  </a:lnTo>
                  <a:lnTo>
                    <a:pt x="1651" y="840"/>
                  </a:lnTo>
                  <a:lnTo>
                    <a:pt x="1653" y="840"/>
                  </a:lnTo>
                  <a:lnTo>
                    <a:pt x="1656" y="842"/>
                  </a:lnTo>
                  <a:lnTo>
                    <a:pt x="1657" y="839"/>
                  </a:lnTo>
                  <a:lnTo>
                    <a:pt x="1660" y="836"/>
                  </a:lnTo>
                  <a:lnTo>
                    <a:pt x="1660" y="834"/>
                  </a:lnTo>
                  <a:lnTo>
                    <a:pt x="1665" y="830"/>
                  </a:lnTo>
                  <a:lnTo>
                    <a:pt x="1668" y="829"/>
                  </a:lnTo>
                  <a:lnTo>
                    <a:pt x="1671" y="829"/>
                  </a:lnTo>
                  <a:lnTo>
                    <a:pt x="1673" y="827"/>
                  </a:lnTo>
                  <a:lnTo>
                    <a:pt x="1676" y="823"/>
                  </a:lnTo>
                  <a:lnTo>
                    <a:pt x="1676" y="820"/>
                  </a:lnTo>
                  <a:lnTo>
                    <a:pt x="1679" y="816"/>
                  </a:lnTo>
                  <a:lnTo>
                    <a:pt x="1685" y="812"/>
                  </a:lnTo>
                  <a:lnTo>
                    <a:pt x="1688" y="811"/>
                  </a:lnTo>
                  <a:lnTo>
                    <a:pt x="1682" y="806"/>
                  </a:lnTo>
                  <a:lnTo>
                    <a:pt x="1681" y="804"/>
                  </a:lnTo>
                  <a:lnTo>
                    <a:pt x="1680" y="800"/>
                  </a:lnTo>
                  <a:lnTo>
                    <a:pt x="1682" y="794"/>
                  </a:lnTo>
                  <a:lnTo>
                    <a:pt x="1685" y="792"/>
                  </a:lnTo>
                  <a:lnTo>
                    <a:pt x="1686" y="789"/>
                  </a:lnTo>
                  <a:lnTo>
                    <a:pt x="1690" y="784"/>
                  </a:lnTo>
                  <a:lnTo>
                    <a:pt x="1691" y="782"/>
                  </a:lnTo>
                  <a:lnTo>
                    <a:pt x="1694" y="780"/>
                  </a:lnTo>
                  <a:lnTo>
                    <a:pt x="1697" y="779"/>
                  </a:lnTo>
                  <a:lnTo>
                    <a:pt x="1697" y="778"/>
                  </a:lnTo>
                  <a:lnTo>
                    <a:pt x="1695" y="777"/>
                  </a:lnTo>
                  <a:lnTo>
                    <a:pt x="1697" y="775"/>
                  </a:lnTo>
                  <a:lnTo>
                    <a:pt x="1702" y="772"/>
                  </a:lnTo>
                  <a:lnTo>
                    <a:pt x="1714" y="769"/>
                  </a:lnTo>
                  <a:lnTo>
                    <a:pt x="1715" y="768"/>
                  </a:lnTo>
                  <a:lnTo>
                    <a:pt x="1717" y="766"/>
                  </a:lnTo>
                  <a:lnTo>
                    <a:pt x="1725" y="762"/>
                  </a:lnTo>
                  <a:lnTo>
                    <a:pt x="1728" y="760"/>
                  </a:lnTo>
                  <a:lnTo>
                    <a:pt x="1729" y="757"/>
                  </a:lnTo>
                  <a:lnTo>
                    <a:pt x="1728" y="754"/>
                  </a:lnTo>
                  <a:lnTo>
                    <a:pt x="1730" y="753"/>
                  </a:lnTo>
                  <a:lnTo>
                    <a:pt x="1726" y="746"/>
                  </a:lnTo>
                  <a:lnTo>
                    <a:pt x="1726" y="744"/>
                  </a:lnTo>
                  <a:lnTo>
                    <a:pt x="1725" y="743"/>
                  </a:lnTo>
                  <a:lnTo>
                    <a:pt x="1726" y="743"/>
                  </a:lnTo>
                  <a:lnTo>
                    <a:pt x="1726" y="740"/>
                  </a:lnTo>
                  <a:lnTo>
                    <a:pt x="1730" y="737"/>
                  </a:lnTo>
                  <a:lnTo>
                    <a:pt x="1732" y="736"/>
                  </a:lnTo>
                  <a:lnTo>
                    <a:pt x="1738" y="733"/>
                  </a:lnTo>
                  <a:lnTo>
                    <a:pt x="1740" y="732"/>
                  </a:lnTo>
                  <a:lnTo>
                    <a:pt x="1742" y="733"/>
                  </a:lnTo>
                  <a:lnTo>
                    <a:pt x="1745" y="733"/>
                  </a:lnTo>
                  <a:lnTo>
                    <a:pt x="1747" y="735"/>
                  </a:lnTo>
                  <a:lnTo>
                    <a:pt x="1750" y="734"/>
                  </a:lnTo>
                  <a:lnTo>
                    <a:pt x="1749" y="732"/>
                  </a:lnTo>
                  <a:lnTo>
                    <a:pt x="1750" y="734"/>
                  </a:lnTo>
                  <a:lnTo>
                    <a:pt x="1754" y="734"/>
                  </a:lnTo>
                  <a:lnTo>
                    <a:pt x="1754" y="734"/>
                  </a:lnTo>
                  <a:lnTo>
                    <a:pt x="1755" y="735"/>
                  </a:lnTo>
                  <a:lnTo>
                    <a:pt x="1757" y="735"/>
                  </a:lnTo>
                  <a:lnTo>
                    <a:pt x="1759" y="737"/>
                  </a:lnTo>
                  <a:lnTo>
                    <a:pt x="1763" y="737"/>
                  </a:lnTo>
                  <a:lnTo>
                    <a:pt x="1763" y="739"/>
                  </a:lnTo>
                  <a:lnTo>
                    <a:pt x="1766" y="739"/>
                  </a:lnTo>
                  <a:lnTo>
                    <a:pt x="1768" y="740"/>
                  </a:lnTo>
                  <a:lnTo>
                    <a:pt x="1774" y="739"/>
                  </a:lnTo>
                  <a:lnTo>
                    <a:pt x="1776" y="736"/>
                  </a:lnTo>
                  <a:lnTo>
                    <a:pt x="1777" y="734"/>
                  </a:lnTo>
                  <a:lnTo>
                    <a:pt x="1783" y="729"/>
                  </a:lnTo>
                  <a:lnTo>
                    <a:pt x="1787" y="728"/>
                  </a:lnTo>
                  <a:lnTo>
                    <a:pt x="1790" y="728"/>
                  </a:lnTo>
                  <a:lnTo>
                    <a:pt x="1793" y="727"/>
                  </a:lnTo>
                  <a:lnTo>
                    <a:pt x="1796" y="725"/>
                  </a:lnTo>
                  <a:lnTo>
                    <a:pt x="1801" y="719"/>
                  </a:lnTo>
                  <a:lnTo>
                    <a:pt x="1805" y="717"/>
                  </a:lnTo>
                  <a:lnTo>
                    <a:pt x="1807" y="717"/>
                  </a:lnTo>
                  <a:lnTo>
                    <a:pt x="1813" y="719"/>
                  </a:lnTo>
                  <a:lnTo>
                    <a:pt x="1817" y="723"/>
                  </a:lnTo>
                  <a:lnTo>
                    <a:pt x="1819" y="723"/>
                  </a:lnTo>
                  <a:lnTo>
                    <a:pt x="1821" y="723"/>
                  </a:lnTo>
                  <a:lnTo>
                    <a:pt x="1822" y="724"/>
                  </a:lnTo>
                  <a:lnTo>
                    <a:pt x="1824" y="725"/>
                  </a:lnTo>
                  <a:lnTo>
                    <a:pt x="1825" y="727"/>
                  </a:lnTo>
                  <a:lnTo>
                    <a:pt x="1825" y="732"/>
                  </a:lnTo>
                  <a:lnTo>
                    <a:pt x="1828" y="736"/>
                  </a:lnTo>
                  <a:lnTo>
                    <a:pt x="1828" y="742"/>
                  </a:lnTo>
                  <a:lnTo>
                    <a:pt x="1832" y="742"/>
                  </a:lnTo>
                  <a:lnTo>
                    <a:pt x="1833" y="744"/>
                  </a:lnTo>
                  <a:lnTo>
                    <a:pt x="1836" y="748"/>
                  </a:lnTo>
                  <a:lnTo>
                    <a:pt x="1839" y="751"/>
                  </a:lnTo>
                  <a:lnTo>
                    <a:pt x="1843" y="752"/>
                  </a:lnTo>
                  <a:lnTo>
                    <a:pt x="1845" y="754"/>
                  </a:lnTo>
                  <a:lnTo>
                    <a:pt x="1845" y="757"/>
                  </a:lnTo>
                  <a:lnTo>
                    <a:pt x="1849" y="758"/>
                  </a:lnTo>
                  <a:lnTo>
                    <a:pt x="1851" y="759"/>
                  </a:lnTo>
                  <a:lnTo>
                    <a:pt x="1852" y="762"/>
                  </a:lnTo>
                  <a:lnTo>
                    <a:pt x="1856" y="763"/>
                  </a:lnTo>
                  <a:lnTo>
                    <a:pt x="1857" y="766"/>
                  </a:lnTo>
                  <a:lnTo>
                    <a:pt x="1862" y="769"/>
                  </a:lnTo>
                  <a:lnTo>
                    <a:pt x="1865" y="769"/>
                  </a:lnTo>
                  <a:lnTo>
                    <a:pt x="1868" y="769"/>
                  </a:lnTo>
                  <a:lnTo>
                    <a:pt x="1870" y="770"/>
                  </a:lnTo>
                  <a:lnTo>
                    <a:pt x="1873" y="770"/>
                  </a:lnTo>
                  <a:lnTo>
                    <a:pt x="1875" y="774"/>
                  </a:lnTo>
                  <a:lnTo>
                    <a:pt x="1878" y="777"/>
                  </a:lnTo>
                  <a:lnTo>
                    <a:pt x="1882" y="777"/>
                  </a:lnTo>
                  <a:lnTo>
                    <a:pt x="1883" y="780"/>
                  </a:lnTo>
                  <a:lnTo>
                    <a:pt x="1884" y="780"/>
                  </a:lnTo>
                  <a:lnTo>
                    <a:pt x="1886" y="779"/>
                  </a:lnTo>
                  <a:lnTo>
                    <a:pt x="1888" y="782"/>
                  </a:lnTo>
                  <a:lnTo>
                    <a:pt x="1890" y="784"/>
                  </a:lnTo>
                  <a:lnTo>
                    <a:pt x="1890" y="787"/>
                  </a:lnTo>
                  <a:lnTo>
                    <a:pt x="1892" y="788"/>
                  </a:lnTo>
                  <a:lnTo>
                    <a:pt x="1895" y="791"/>
                  </a:lnTo>
                  <a:lnTo>
                    <a:pt x="1899" y="789"/>
                  </a:lnTo>
                  <a:lnTo>
                    <a:pt x="1901" y="792"/>
                  </a:lnTo>
                  <a:lnTo>
                    <a:pt x="1901" y="795"/>
                  </a:lnTo>
                  <a:lnTo>
                    <a:pt x="1902" y="797"/>
                  </a:lnTo>
                  <a:lnTo>
                    <a:pt x="1904" y="800"/>
                  </a:lnTo>
                  <a:lnTo>
                    <a:pt x="1905" y="805"/>
                  </a:lnTo>
                  <a:lnTo>
                    <a:pt x="1907" y="808"/>
                  </a:lnTo>
                  <a:lnTo>
                    <a:pt x="1905" y="811"/>
                  </a:lnTo>
                  <a:lnTo>
                    <a:pt x="1902" y="811"/>
                  </a:lnTo>
                  <a:lnTo>
                    <a:pt x="1902" y="816"/>
                  </a:lnTo>
                  <a:lnTo>
                    <a:pt x="1899" y="820"/>
                  </a:lnTo>
                  <a:lnTo>
                    <a:pt x="1900" y="823"/>
                  </a:lnTo>
                  <a:lnTo>
                    <a:pt x="1903" y="823"/>
                  </a:lnTo>
                  <a:lnTo>
                    <a:pt x="1905" y="822"/>
                  </a:lnTo>
                  <a:lnTo>
                    <a:pt x="1907" y="820"/>
                  </a:lnTo>
                  <a:lnTo>
                    <a:pt x="1911" y="814"/>
                  </a:lnTo>
                  <a:lnTo>
                    <a:pt x="1911" y="810"/>
                  </a:lnTo>
                  <a:lnTo>
                    <a:pt x="1919" y="805"/>
                  </a:lnTo>
                  <a:lnTo>
                    <a:pt x="1919" y="803"/>
                  </a:lnTo>
                  <a:lnTo>
                    <a:pt x="1918" y="799"/>
                  </a:lnTo>
                  <a:lnTo>
                    <a:pt x="1913" y="796"/>
                  </a:lnTo>
                  <a:lnTo>
                    <a:pt x="1911" y="795"/>
                  </a:lnTo>
                  <a:lnTo>
                    <a:pt x="1911" y="793"/>
                  </a:lnTo>
                  <a:lnTo>
                    <a:pt x="1912" y="791"/>
                  </a:lnTo>
                  <a:lnTo>
                    <a:pt x="1912" y="788"/>
                  </a:lnTo>
                  <a:lnTo>
                    <a:pt x="1915" y="787"/>
                  </a:lnTo>
                  <a:lnTo>
                    <a:pt x="1916" y="784"/>
                  </a:lnTo>
                  <a:lnTo>
                    <a:pt x="1918" y="782"/>
                  </a:lnTo>
                  <a:lnTo>
                    <a:pt x="1921" y="782"/>
                  </a:lnTo>
                  <a:lnTo>
                    <a:pt x="1921" y="783"/>
                  </a:lnTo>
                  <a:lnTo>
                    <a:pt x="1920" y="783"/>
                  </a:lnTo>
                  <a:lnTo>
                    <a:pt x="1922" y="785"/>
                  </a:lnTo>
                  <a:lnTo>
                    <a:pt x="1928" y="785"/>
                  </a:lnTo>
                  <a:lnTo>
                    <a:pt x="1930" y="787"/>
                  </a:lnTo>
                  <a:lnTo>
                    <a:pt x="1932" y="791"/>
                  </a:lnTo>
                  <a:lnTo>
                    <a:pt x="1934" y="793"/>
                  </a:lnTo>
                  <a:lnTo>
                    <a:pt x="1936" y="793"/>
                  </a:lnTo>
                  <a:lnTo>
                    <a:pt x="1938" y="788"/>
                  </a:lnTo>
                  <a:lnTo>
                    <a:pt x="1937" y="786"/>
                  </a:lnTo>
                  <a:lnTo>
                    <a:pt x="1935" y="784"/>
                  </a:lnTo>
                  <a:lnTo>
                    <a:pt x="1932" y="782"/>
                  </a:lnTo>
                  <a:lnTo>
                    <a:pt x="1930" y="779"/>
                  </a:lnTo>
                  <a:lnTo>
                    <a:pt x="1922" y="776"/>
                  </a:lnTo>
                  <a:lnTo>
                    <a:pt x="1920" y="774"/>
                  </a:lnTo>
                  <a:lnTo>
                    <a:pt x="1912" y="770"/>
                  </a:lnTo>
                  <a:lnTo>
                    <a:pt x="1903" y="766"/>
                  </a:lnTo>
                  <a:lnTo>
                    <a:pt x="1903" y="763"/>
                  </a:lnTo>
                  <a:lnTo>
                    <a:pt x="1905" y="761"/>
                  </a:lnTo>
                  <a:lnTo>
                    <a:pt x="1905" y="759"/>
                  </a:lnTo>
                  <a:lnTo>
                    <a:pt x="1892" y="759"/>
                  </a:lnTo>
                  <a:lnTo>
                    <a:pt x="1890" y="758"/>
                  </a:lnTo>
                  <a:lnTo>
                    <a:pt x="1886" y="757"/>
                  </a:lnTo>
                  <a:lnTo>
                    <a:pt x="1876" y="746"/>
                  </a:lnTo>
                  <a:lnTo>
                    <a:pt x="1873" y="736"/>
                  </a:lnTo>
                  <a:lnTo>
                    <a:pt x="1870" y="732"/>
                  </a:lnTo>
                  <a:lnTo>
                    <a:pt x="1868" y="731"/>
                  </a:lnTo>
                  <a:lnTo>
                    <a:pt x="1862" y="726"/>
                  </a:lnTo>
                  <a:lnTo>
                    <a:pt x="1859" y="725"/>
                  </a:lnTo>
                  <a:lnTo>
                    <a:pt x="1854" y="720"/>
                  </a:lnTo>
                  <a:lnTo>
                    <a:pt x="1853" y="717"/>
                  </a:lnTo>
                  <a:lnTo>
                    <a:pt x="1853" y="714"/>
                  </a:lnTo>
                  <a:lnTo>
                    <a:pt x="1852" y="714"/>
                  </a:lnTo>
                  <a:lnTo>
                    <a:pt x="1856" y="710"/>
                  </a:lnTo>
                  <a:lnTo>
                    <a:pt x="1857" y="708"/>
                  </a:lnTo>
                  <a:lnTo>
                    <a:pt x="1856" y="708"/>
                  </a:lnTo>
                  <a:lnTo>
                    <a:pt x="1853" y="705"/>
                  </a:lnTo>
                  <a:lnTo>
                    <a:pt x="1852" y="703"/>
                  </a:lnTo>
                  <a:lnTo>
                    <a:pt x="1852" y="703"/>
                  </a:lnTo>
                  <a:lnTo>
                    <a:pt x="1851" y="702"/>
                  </a:lnTo>
                  <a:lnTo>
                    <a:pt x="1851" y="702"/>
                  </a:lnTo>
                  <a:lnTo>
                    <a:pt x="1852" y="702"/>
                  </a:lnTo>
                  <a:lnTo>
                    <a:pt x="1853" y="700"/>
                  </a:lnTo>
                  <a:lnTo>
                    <a:pt x="1856" y="700"/>
                  </a:lnTo>
                  <a:lnTo>
                    <a:pt x="1859" y="699"/>
                  </a:lnTo>
                  <a:lnTo>
                    <a:pt x="1861" y="697"/>
                  </a:lnTo>
                  <a:lnTo>
                    <a:pt x="1864" y="697"/>
                  </a:lnTo>
                  <a:lnTo>
                    <a:pt x="1864" y="695"/>
                  </a:lnTo>
                  <a:lnTo>
                    <a:pt x="1867" y="694"/>
                  </a:lnTo>
                  <a:lnTo>
                    <a:pt x="1868" y="695"/>
                  </a:lnTo>
                  <a:lnTo>
                    <a:pt x="1868" y="695"/>
                  </a:lnTo>
                  <a:lnTo>
                    <a:pt x="1868" y="695"/>
                  </a:lnTo>
                  <a:lnTo>
                    <a:pt x="1870" y="694"/>
                  </a:lnTo>
                  <a:lnTo>
                    <a:pt x="1871" y="694"/>
                  </a:lnTo>
                  <a:lnTo>
                    <a:pt x="1873" y="698"/>
                  </a:lnTo>
                  <a:lnTo>
                    <a:pt x="1873" y="698"/>
                  </a:lnTo>
                  <a:lnTo>
                    <a:pt x="1871" y="698"/>
                  </a:lnTo>
                  <a:lnTo>
                    <a:pt x="1870" y="699"/>
                  </a:lnTo>
                  <a:lnTo>
                    <a:pt x="1869" y="700"/>
                  </a:lnTo>
                  <a:lnTo>
                    <a:pt x="1870" y="702"/>
                  </a:lnTo>
                  <a:lnTo>
                    <a:pt x="1870" y="702"/>
                  </a:lnTo>
                  <a:lnTo>
                    <a:pt x="1873" y="706"/>
                  </a:lnTo>
                  <a:lnTo>
                    <a:pt x="1873" y="708"/>
                  </a:lnTo>
                  <a:lnTo>
                    <a:pt x="1875" y="711"/>
                  </a:lnTo>
                  <a:lnTo>
                    <a:pt x="1876" y="710"/>
                  </a:lnTo>
                  <a:lnTo>
                    <a:pt x="1877" y="707"/>
                  </a:lnTo>
                  <a:lnTo>
                    <a:pt x="1877" y="708"/>
                  </a:lnTo>
                  <a:lnTo>
                    <a:pt x="1878" y="708"/>
                  </a:lnTo>
                  <a:lnTo>
                    <a:pt x="1881" y="701"/>
                  </a:lnTo>
                  <a:lnTo>
                    <a:pt x="1885" y="703"/>
                  </a:lnTo>
                  <a:lnTo>
                    <a:pt x="1888" y="708"/>
                  </a:lnTo>
                  <a:lnTo>
                    <a:pt x="1888" y="712"/>
                  </a:lnTo>
                  <a:lnTo>
                    <a:pt x="1890" y="715"/>
                  </a:lnTo>
                  <a:lnTo>
                    <a:pt x="1892" y="716"/>
                  </a:lnTo>
                  <a:lnTo>
                    <a:pt x="1894" y="718"/>
                  </a:lnTo>
                  <a:lnTo>
                    <a:pt x="1898" y="720"/>
                  </a:lnTo>
                  <a:lnTo>
                    <a:pt x="1898" y="720"/>
                  </a:lnTo>
                  <a:lnTo>
                    <a:pt x="1899" y="720"/>
                  </a:lnTo>
                  <a:lnTo>
                    <a:pt x="1899" y="722"/>
                  </a:lnTo>
                  <a:lnTo>
                    <a:pt x="1898" y="720"/>
                  </a:lnTo>
                  <a:lnTo>
                    <a:pt x="1894" y="719"/>
                  </a:lnTo>
                  <a:lnTo>
                    <a:pt x="1893" y="722"/>
                  </a:lnTo>
                  <a:lnTo>
                    <a:pt x="1899" y="727"/>
                  </a:lnTo>
                  <a:lnTo>
                    <a:pt x="1903" y="729"/>
                  </a:lnTo>
                  <a:lnTo>
                    <a:pt x="1904" y="733"/>
                  </a:lnTo>
                  <a:lnTo>
                    <a:pt x="1909" y="732"/>
                  </a:lnTo>
                  <a:lnTo>
                    <a:pt x="1913" y="734"/>
                  </a:lnTo>
                  <a:lnTo>
                    <a:pt x="1916" y="734"/>
                  </a:lnTo>
                  <a:lnTo>
                    <a:pt x="1919" y="737"/>
                  </a:lnTo>
                  <a:lnTo>
                    <a:pt x="1924" y="741"/>
                  </a:lnTo>
                  <a:lnTo>
                    <a:pt x="1927" y="743"/>
                  </a:lnTo>
                  <a:lnTo>
                    <a:pt x="1924" y="742"/>
                  </a:lnTo>
                  <a:lnTo>
                    <a:pt x="1921" y="741"/>
                  </a:lnTo>
                  <a:lnTo>
                    <a:pt x="1918" y="741"/>
                  </a:lnTo>
                  <a:lnTo>
                    <a:pt x="1924" y="743"/>
                  </a:lnTo>
                  <a:lnTo>
                    <a:pt x="1929" y="744"/>
                  </a:lnTo>
                  <a:lnTo>
                    <a:pt x="1937" y="750"/>
                  </a:lnTo>
                  <a:lnTo>
                    <a:pt x="1942" y="750"/>
                  </a:lnTo>
                  <a:lnTo>
                    <a:pt x="1942" y="751"/>
                  </a:lnTo>
                  <a:lnTo>
                    <a:pt x="1941" y="750"/>
                  </a:lnTo>
                  <a:lnTo>
                    <a:pt x="1938" y="751"/>
                  </a:lnTo>
                  <a:lnTo>
                    <a:pt x="1942" y="753"/>
                  </a:lnTo>
                  <a:lnTo>
                    <a:pt x="1944" y="754"/>
                  </a:lnTo>
                  <a:lnTo>
                    <a:pt x="1946" y="758"/>
                  </a:lnTo>
                  <a:lnTo>
                    <a:pt x="1950" y="760"/>
                  </a:lnTo>
                  <a:lnTo>
                    <a:pt x="1952" y="760"/>
                  </a:lnTo>
                  <a:lnTo>
                    <a:pt x="1953" y="761"/>
                  </a:lnTo>
                  <a:lnTo>
                    <a:pt x="1953" y="765"/>
                  </a:lnTo>
                  <a:lnTo>
                    <a:pt x="1951" y="768"/>
                  </a:lnTo>
                  <a:lnTo>
                    <a:pt x="1951" y="770"/>
                  </a:lnTo>
                  <a:lnTo>
                    <a:pt x="1951" y="774"/>
                  </a:lnTo>
                  <a:lnTo>
                    <a:pt x="1951" y="776"/>
                  </a:lnTo>
                  <a:lnTo>
                    <a:pt x="1950" y="779"/>
                  </a:lnTo>
                  <a:lnTo>
                    <a:pt x="1951" y="782"/>
                  </a:lnTo>
                  <a:lnTo>
                    <a:pt x="1951" y="782"/>
                  </a:lnTo>
                  <a:lnTo>
                    <a:pt x="1951" y="785"/>
                  </a:lnTo>
                  <a:lnTo>
                    <a:pt x="1951" y="785"/>
                  </a:lnTo>
                  <a:lnTo>
                    <a:pt x="1950" y="784"/>
                  </a:lnTo>
                  <a:lnTo>
                    <a:pt x="1951" y="786"/>
                  </a:lnTo>
                  <a:lnTo>
                    <a:pt x="1956" y="789"/>
                  </a:lnTo>
                  <a:lnTo>
                    <a:pt x="1959" y="793"/>
                  </a:lnTo>
                  <a:lnTo>
                    <a:pt x="1959" y="795"/>
                  </a:lnTo>
                  <a:lnTo>
                    <a:pt x="1961" y="796"/>
                  </a:lnTo>
                  <a:lnTo>
                    <a:pt x="1963" y="801"/>
                  </a:lnTo>
                  <a:lnTo>
                    <a:pt x="1966" y="802"/>
                  </a:lnTo>
                  <a:lnTo>
                    <a:pt x="1969" y="806"/>
                  </a:lnTo>
                  <a:lnTo>
                    <a:pt x="1970" y="804"/>
                  </a:lnTo>
                  <a:lnTo>
                    <a:pt x="1971" y="805"/>
                  </a:lnTo>
                  <a:lnTo>
                    <a:pt x="1973" y="805"/>
                  </a:lnTo>
                  <a:lnTo>
                    <a:pt x="1972" y="808"/>
                  </a:lnTo>
                  <a:lnTo>
                    <a:pt x="1971" y="808"/>
                  </a:lnTo>
                  <a:lnTo>
                    <a:pt x="1969" y="806"/>
                  </a:lnTo>
                  <a:lnTo>
                    <a:pt x="1969" y="810"/>
                  </a:lnTo>
                  <a:lnTo>
                    <a:pt x="1972" y="812"/>
                  </a:lnTo>
                  <a:lnTo>
                    <a:pt x="1975" y="818"/>
                  </a:lnTo>
                  <a:lnTo>
                    <a:pt x="1977" y="816"/>
                  </a:lnTo>
                  <a:lnTo>
                    <a:pt x="1977" y="814"/>
                  </a:lnTo>
                  <a:lnTo>
                    <a:pt x="1979" y="818"/>
                  </a:lnTo>
                  <a:lnTo>
                    <a:pt x="1986" y="816"/>
                  </a:lnTo>
                  <a:lnTo>
                    <a:pt x="1988" y="817"/>
                  </a:lnTo>
                  <a:lnTo>
                    <a:pt x="1992" y="816"/>
                  </a:lnTo>
                  <a:lnTo>
                    <a:pt x="1994" y="818"/>
                  </a:lnTo>
                  <a:lnTo>
                    <a:pt x="1995" y="817"/>
                  </a:lnTo>
                  <a:lnTo>
                    <a:pt x="1997" y="819"/>
                  </a:lnTo>
                  <a:lnTo>
                    <a:pt x="1999" y="819"/>
                  </a:lnTo>
                  <a:lnTo>
                    <a:pt x="2003" y="820"/>
                  </a:lnTo>
                  <a:lnTo>
                    <a:pt x="2002" y="821"/>
                  </a:lnTo>
                  <a:lnTo>
                    <a:pt x="1999" y="822"/>
                  </a:lnTo>
                  <a:lnTo>
                    <a:pt x="1997" y="822"/>
                  </a:lnTo>
                  <a:lnTo>
                    <a:pt x="1994" y="820"/>
                  </a:lnTo>
                  <a:lnTo>
                    <a:pt x="1992" y="820"/>
                  </a:lnTo>
                  <a:lnTo>
                    <a:pt x="1988" y="819"/>
                  </a:lnTo>
                  <a:lnTo>
                    <a:pt x="1985" y="817"/>
                  </a:lnTo>
                  <a:lnTo>
                    <a:pt x="1982" y="818"/>
                  </a:lnTo>
                  <a:lnTo>
                    <a:pt x="1980" y="820"/>
                  </a:lnTo>
                  <a:lnTo>
                    <a:pt x="1977" y="820"/>
                  </a:lnTo>
                  <a:lnTo>
                    <a:pt x="1976" y="822"/>
                  </a:lnTo>
                  <a:lnTo>
                    <a:pt x="1976" y="826"/>
                  </a:lnTo>
                  <a:lnTo>
                    <a:pt x="1978" y="828"/>
                  </a:lnTo>
                  <a:lnTo>
                    <a:pt x="1980" y="829"/>
                  </a:lnTo>
                  <a:lnTo>
                    <a:pt x="1981" y="831"/>
                  </a:lnTo>
                  <a:lnTo>
                    <a:pt x="1980" y="837"/>
                  </a:lnTo>
                  <a:lnTo>
                    <a:pt x="1982" y="840"/>
                  </a:lnTo>
                  <a:lnTo>
                    <a:pt x="1985" y="840"/>
                  </a:lnTo>
                  <a:lnTo>
                    <a:pt x="1987" y="837"/>
                  </a:lnTo>
                  <a:lnTo>
                    <a:pt x="1988" y="839"/>
                  </a:lnTo>
                  <a:lnTo>
                    <a:pt x="1990" y="842"/>
                  </a:lnTo>
                  <a:lnTo>
                    <a:pt x="1993" y="846"/>
                  </a:lnTo>
                  <a:lnTo>
                    <a:pt x="1993" y="846"/>
                  </a:lnTo>
                  <a:lnTo>
                    <a:pt x="1993" y="844"/>
                  </a:lnTo>
                  <a:lnTo>
                    <a:pt x="1995" y="840"/>
                  </a:lnTo>
                  <a:lnTo>
                    <a:pt x="1997" y="843"/>
                  </a:lnTo>
                  <a:lnTo>
                    <a:pt x="1998" y="845"/>
                  </a:lnTo>
                  <a:lnTo>
                    <a:pt x="2002" y="847"/>
                  </a:lnTo>
                  <a:lnTo>
                    <a:pt x="2002" y="845"/>
                  </a:lnTo>
                  <a:lnTo>
                    <a:pt x="2001" y="843"/>
                  </a:lnTo>
                  <a:lnTo>
                    <a:pt x="2001" y="840"/>
                  </a:lnTo>
                  <a:lnTo>
                    <a:pt x="1999" y="837"/>
                  </a:lnTo>
                  <a:lnTo>
                    <a:pt x="1997" y="833"/>
                  </a:lnTo>
                  <a:lnTo>
                    <a:pt x="1996" y="829"/>
                  </a:lnTo>
                  <a:lnTo>
                    <a:pt x="1996" y="829"/>
                  </a:lnTo>
                  <a:lnTo>
                    <a:pt x="1998" y="830"/>
                  </a:lnTo>
                  <a:lnTo>
                    <a:pt x="2001" y="833"/>
                  </a:lnTo>
                  <a:lnTo>
                    <a:pt x="2006" y="831"/>
                  </a:lnTo>
                  <a:lnTo>
                    <a:pt x="2006" y="831"/>
                  </a:lnTo>
                  <a:lnTo>
                    <a:pt x="2005" y="828"/>
                  </a:lnTo>
                  <a:lnTo>
                    <a:pt x="2003" y="829"/>
                  </a:lnTo>
                  <a:lnTo>
                    <a:pt x="2002" y="827"/>
                  </a:lnTo>
                  <a:lnTo>
                    <a:pt x="1999" y="825"/>
                  </a:lnTo>
                  <a:lnTo>
                    <a:pt x="1999" y="823"/>
                  </a:lnTo>
                  <a:lnTo>
                    <a:pt x="2006" y="822"/>
                  </a:lnTo>
                  <a:lnTo>
                    <a:pt x="2009" y="823"/>
                  </a:lnTo>
                  <a:lnTo>
                    <a:pt x="2011" y="825"/>
                  </a:lnTo>
                  <a:lnTo>
                    <a:pt x="2014" y="828"/>
                  </a:lnTo>
                  <a:lnTo>
                    <a:pt x="2014" y="827"/>
                  </a:lnTo>
                  <a:lnTo>
                    <a:pt x="2014" y="825"/>
                  </a:lnTo>
                  <a:lnTo>
                    <a:pt x="2013" y="822"/>
                  </a:lnTo>
                  <a:lnTo>
                    <a:pt x="2013" y="820"/>
                  </a:lnTo>
                  <a:lnTo>
                    <a:pt x="2012" y="818"/>
                  </a:lnTo>
                  <a:lnTo>
                    <a:pt x="2010" y="817"/>
                  </a:lnTo>
                  <a:lnTo>
                    <a:pt x="2007" y="814"/>
                  </a:lnTo>
                  <a:lnTo>
                    <a:pt x="2004" y="814"/>
                  </a:lnTo>
                  <a:lnTo>
                    <a:pt x="2004" y="812"/>
                  </a:lnTo>
                  <a:lnTo>
                    <a:pt x="2002" y="812"/>
                  </a:lnTo>
                  <a:lnTo>
                    <a:pt x="1998" y="810"/>
                  </a:lnTo>
                  <a:lnTo>
                    <a:pt x="1996" y="810"/>
                  </a:lnTo>
                  <a:lnTo>
                    <a:pt x="1994" y="808"/>
                  </a:lnTo>
                  <a:lnTo>
                    <a:pt x="1997" y="808"/>
                  </a:lnTo>
                  <a:lnTo>
                    <a:pt x="1999" y="806"/>
                  </a:lnTo>
                  <a:lnTo>
                    <a:pt x="1997" y="802"/>
                  </a:lnTo>
                  <a:lnTo>
                    <a:pt x="2001" y="801"/>
                  </a:lnTo>
                  <a:lnTo>
                    <a:pt x="2002" y="802"/>
                  </a:lnTo>
                  <a:lnTo>
                    <a:pt x="2001" y="805"/>
                  </a:lnTo>
                  <a:lnTo>
                    <a:pt x="2003" y="804"/>
                  </a:lnTo>
                  <a:lnTo>
                    <a:pt x="2004" y="802"/>
                  </a:lnTo>
                  <a:lnTo>
                    <a:pt x="1998" y="796"/>
                  </a:lnTo>
                  <a:lnTo>
                    <a:pt x="1995" y="791"/>
                  </a:lnTo>
                  <a:lnTo>
                    <a:pt x="1994" y="791"/>
                  </a:lnTo>
                  <a:lnTo>
                    <a:pt x="1994" y="788"/>
                  </a:lnTo>
                  <a:lnTo>
                    <a:pt x="1995" y="785"/>
                  </a:lnTo>
                  <a:lnTo>
                    <a:pt x="1995" y="783"/>
                  </a:lnTo>
                  <a:lnTo>
                    <a:pt x="1995" y="782"/>
                  </a:lnTo>
                  <a:lnTo>
                    <a:pt x="1996" y="782"/>
                  </a:lnTo>
                  <a:lnTo>
                    <a:pt x="1998" y="779"/>
                  </a:lnTo>
                  <a:lnTo>
                    <a:pt x="1997" y="783"/>
                  </a:lnTo>
                  <a:lnTo>
                    <a:pt x="2001" y="785"/>
                  </a:lnTo>
                  <a:lnTo>
                    <a:pt x="2004" y="787"/>
                  </a:lnTo>
                  <a:lnTo>
                    <a:pt x="2005" y="791"/>
                  </a:lnTo>
                  <a:lnTo>
                    <a:pt x="2007" y="791"/>
                  </a:lnTo>
                  <a:lnTo>
                    <a:pt x="2006" y="789"/>
                  </a:lnTo>
                  <a:lnTo>
                    <a:pt x="2004" y="786"/>
                  </a:lnTo>
                  <a:lnTo>
                    <a:pt x="2006" y="786"/>
                  </a:lnTo>
                  <a:lnTo>
                    <a:pt x="2010" y="787"/>
                  </a:lnTo>
                  <a:lnTo>
                    <a:pt x="2012" y="791"/>
                  </a:lnTo>
                  <a:lnTo>
                    <a:pt x="2013" y="791"/>
                  </a:lnTo>
                  <a:lnTo>
                    <a:pt x="2013" y="789"/>
                  </a:lnTo>
                  <a:lnTo>
                    <a:pt x="2012" y="787"/>
                  </a:lnTo>
                  <a:lnTo>
                    <a:pt x="2011" y="787"/>
                  </a:lnTo>
                  <a:lnTo>
                    <a:pt x="2010" y="784"/>
                  </a:lnTo>
                  <a:lnTo>
                    <a:pt x="2013" y="784"/>
                  </a:lnTo>
                  <a:lnTo>
                    <a:pt x="2015" y="785"/>
                  </a:lnTo>
                  <a:lnTo>
                    <a:pt x="2018" y="788"/>
                  </a:lnTo>
                  <a:lnTo>
                    <a:pt x="2019" y="787"/>
                  </a:lnTo>
                  <a:lnTo>
                    <a:pt x="2016" y="785"/>
                  </a:lnTo>
                  <a:lnTo>
                    <a:pt x="2014" y="783"/>
                  </a:lnTo>
                  <a:lnTo>
                    <a:pt x="2011" y="783"/>
                  </a:lnTo>
                  <a:lnTo>
                    <a:pt x="2010" y="778"/>
                  </a:lnTo>
                  <a:lnTo>
                    <a:pt x="2012" y="777"/>
                  </a:lnTo>
                  <a:lnTo>
                    <a:pt x="2013" y="778"/>
                  </a:lnTo>
                  <a:lnTo>
                    <a:pt x="2016" y="777"/>
                  </a:lnTo>
                  <a:lnTo>
                    <a:pt x="2019" y="775"/>
                  </a:lnTo>
                  <a:lnTo>
                    <a:pt x="2024" y="776"/>
                  </a:lnTo>
                  <a:lnTo>
                    <a:pt x="2027" y="775"/>
                  </a:lnTo>
                  <a:lnTo>
                    <a:pt x="2029" y="774"/>
                  </a:lnTo>
                  <a:lnTo>
                    <a:pt x="2030" y="775"/>
                  </a:lnTo>
                  <a:lnTo>
                    <a:pt x="2039" y="776"/>
                  </a:lnTo>
                  <a:lnTo>
                    <a:pt x="2041" y="778"/>
                  </a:lnTo>
                  <a:lnTo>
                    <a:pt x="2043" y="780"/>
                  </a:lnTo>
                  <a:lnTo>
                    <a:pt x="2046" y="780"/>
                  </a:lnTo>
                  <a:lnTo>
                    <a:pt x="2050" y="779"/>
                  </a:lnTo>
                  <a:lnTo>
                    <a:pt x="2052" y="780"/>
                  </a:lnTo>
                  <a:lnTo>
                    <a:pt x="2044" y="785"/>
                  </a:lnTo>
                  <a:lnTo>
                    <a:pt x="2045" y="786"/>
                  </a:lnTo>
                  <a:lnTo>
                    <a:pt x="2044" y="789"/>
                  </a:lnTo>
                  <a:lnTo>
                    <a:pt x="2046" y="786"/>
                  </a:lnTo>
                  <a:lnTo>
                    <a:pt x="2049" y="785"/>
                  </a:lnTo>
                  <a:lnTo>
                    <a:pt x="2052" y="782"/>
                  </a:lnTo>
                  <a:lnTo>
                    <a:pt x="2054" y="782"/>
                  </a:lnTo>
                  <a:lnTo>
                    <a:pt x="2055" y="780"/>
                  </a:lnTo>
                  <a:lnTo>
                    <a:pt x="2057" y="779"/>
                  </a:lnTo>
                  <a:lnTo>
                    <a:pt x="2063" y="774"/>
                  </a:lnTo>
                  <a:lnTo>
                    <a:pt x="2065" y="774"/>
                  </a:lnTo>
                  <a:lnTo>
                    <a:pt x="2071" y="772"/>
                  </a:lnTo>
                  <a:lnTo>
                    <a:pt x="2075" y="774"/>
                  </a:lnTo>
                  <a:lnTo>
                    <a:pt x="2077" y="774"/>
                  </a:lnTo>
                  <a:lnTo>
                    <a:pt x="2077" y="775"/>
                  </a:lnTo>
                  <a:lnTo>
                    <a:pt x="2080" y="775"/>
                  </a:lnTo>
                  <a:lnTo>
                    <a:pt x="2082" y="772"/>
                  </a:lnTo>
                  <a:lnTo>
                    <a:pt x="2081" y="770"/>
                  </a:lnTo>
                  <a:lnTo>
                    <a:pt x="2073" y="767"/>
                  </a:lnTo>
                  <a:lnTo>
                    <a:pt x="2070" y="765"/>
                  </a:lnTo>
                  <a:lnTo>
                    <a:pt x="2067" y="760"/>
                  </a:lnTo>
                  <a:lnTo>
                    <a:pt x="2069" y="758"/>
                  </a:lnTo>
                  <a:lnTo>
                    <a:pt x="2067" y="756"/>
                  </a:lnTo>
                  <a:lnTo>
                    <a:pt x="2065" y="753"/>
                  </a:lnTo>
                  <a:lnTo>
                    <a:pt x="2063" y="751"/>
                  </a:lnTo>
                  <a:lnTo>
                    <a:pt x="2061" y="750"/>
                  </a:lnTo>
                  <a:lnTo>
                    <a:pt x="2063" y="749"/>
                  </a:lnTo>
                  <a:lnTo>
                    <a:pt x="2064" y="746"/>
                  </a:lnTo>
                  <a:lnTo>
                    <a:pt x="2066" y="744"/>
                  </a:lnTo>
                  <a:lnTo>
                    <a:pt x="2067" y="737"/>
                  </a:lnTo>
                  <a:lnTo>
                    <a:pt x="2069" y="737"/>
                  </a:lnTo>
                  <a:lnTo>
                    <a:pt x="2070" y="734"/>
                  </a:lnTo>
                  <a:lnTo>
                    <a:pt x="2075" y="734"/>
                  </a:lnTo>
                  <a:lnTo>
                    <a:pt x="2077" y="726"/>
                  </a:lnTo>
                  <a:lnTo>
                    <a:pt x="2077" y="720"/>
                  </a:lnTo>
                  <a:lnTo>
                    <a:pt x="2078" y="718"/>
                  </a:lnTo>
                  <a:lnTo>
                    <a:pt x="2082" y="712"/>
                  </a:lnTo>
                  <a:lnTo>
                    <a:pt x="2079" y="714"/>
                  </a:lnTo>
                  <a:lnTo>
                    <a:pt x="2079" y="714"/>
                  </a:lnTo>
                  <a:lnTo>
                    <a:pt x="2081" y="710"/>
                  </a:lnTo>
                  <a:lnTo>
                    <a:pt x="2081" y="708"/>
                  </a:lnTo>
                  <a:lnTo>
                    <a:pt x="2082" y="708"/>
                  </a:lnTo>
                  <a:lnTo>
                    <a:pt x="2082" y="710"/>
                  </a:lnTo>
                  <a:lnTo>
                    <a:pt x="2086" y="711"/>
                  </a:lnTo>
                  <a:lnTo>
                    <a:pt x="2088" y="710"/>
                  </a:lnTo>
                  <a:lnTo>
                    <a:pt x="2090" y="709"/>
                  </a:lnTo>
                  <a:lnTo>
                    <a:pt x="2091" y="708"/>
                  </a:lnTo>
                  <a:lnTo>
                    <a:pt x="2091" y="703"/>
                  </a:lnTo>
                  <a:lnTo>
                    <a:pt x="2091" y="703"/>
                  </a:lnTo>
                  <a:lnTo>
                    <a:pt x="2092" y="701"/>
                  </a:lnTo>
                  <a:lnTo>
                    <a:pt x="2092" y="700"/>
                  </a:lnTo>
                  <a:lnTo>
                    <a:pt x="2090" y="698"/>
                  </a:lnTo>
                  <a:lnTo>
                    <a:pt x="2090" y="695"/>
                  </a:lnTo>
                  <a:lnTo>
                    <a:pt x="2092" y="695"/>
                  </a:lnTo>
                  <a:lnTo>
                    <a:pt x="2096" y="693"/>
                  </a:lnTo>
                  <a:lnTo>
                    <a:pt x="2096" y="694"/>
                  </a:lnTo>
                  <a:lnTo>
                    <a:pt x="2098" y="693"/>
                  </a:lnTo>
                  <a:lnTo>
                    <a:pt x="2101" y="689"/>
                  </a:lnTo>
                  <a:lnTo>
                    <a:pt x="2098" y="684"/>
                  </a:lnTo>
                  <a:lnTo>
                    <a:pt x="2099" y="684"/>
                  </a:lnTo>
                  <a:lnTo>
                    <a:pt x="2101" y="688"/>
                  </a:lnTo>
                  <a:lnTo>
                    <a:pt x="2101" y="689"/>
                  </a:lnTo>
                  <a:lnTo>
                    <a:pt x="2106" y="684"/>
                  </a:lnTo>
                  <a:lnTo>
                    <a:pt x="2106" y="681"/>
                  </a:lnTo>
                  <a:lnTo>
                    <a:pt x="2112" y="680"/>
                  </a:lnTo>
                  <a:lnTo>
                    <a:pt x="2114" y="680"/>
                  </a:lnTo>
                  <a:lnTo>
                    <a:pt x="2115" y="677"/>
                  </a:lnTo>
                  <a:lnTo>
                    <a:pt x="2116" y="680"/>
                  </a:lnTo>
                  <a:lnTo>
                    <a:pt x="2120" y="680"/>
                  </a:lnTo>
                  <a:lnTo>
                    <a:pt x="2121" y="677"/>
                  </a:lnTo>
                  <a:lnTo>
                    <a:pt x="2122" y="674"/>
                  </a:lnTo>
                  <a:lnTo>
                    <a:pt x="2122" y="674"/>
                  </a:lnTo>
                  <a:lnTo>
                    <a:pt x="2120" y="669"/>
                  </a:lnTo>
                  <a:lnTo>
                    <a:pt x="2123" y="674"/>
                  </a:lnTo>
                  <a:lnTo>
                    <a:pt x="2123" y="678"/>
                  </a:lnTo>
                  <a:lnTo>
                    <a:pt x="2124" y="681"/>
                  </a:lnTo>
                  <a:lnTo>
                    <a:pt x="2127" y="681"/>
                  </a:lnTo>
                  <a:lnTo>
                    <a:pt x="2132" y="680"/>
                  </a:lnTo>
                  <a:lnTo>
                    <a:pt x="2129" y="681"/>
                  </a:lnTo>
                  <a:lnTo>
                    <a:pt x="2129" y="682"/>
                  </a:lnTo>
                  <a:lnTo>
                    <a:pt x="2123" y="682"/>
                  </a:lnTo>
                  <a:lnTo>
                    <a:pt x="2118" y="681"/>
                  </a:lnTo>
                  <a:lnTo>
                    <a:pt x="2121" y="682"/>
                  </a:lnTo>
                  <a:lnTo>
                    <a:pt x="2123" y="684"/>
                  </a:lnTo>
                  <a:lnTo>
                    <a:pt x="2120" y="685"/>
                  </a:lnTo>
                  <a:lnTo>
                    <a:pt x="2123" y="686"/>
                  </a:lnTo>
                  <a:lnTo>
                    <a:pt x="2127" y="689"/>
                  </a:lnTo>
                  <a:lnTo>
                    <a:pt x="2130" y="689"/>
                  </a:lnTo>
                  <a:lnTo>
                    <a:pt x="2138" y="689"/>
                  </a:lnTo>
                  <a:lnTo>
                    <a:pt x="2143" y="690"/>
                  </a:lnTo>
                  <a:lnTo>
                    <a:pt x="2146" y="689"/>
                  </a:lnTo>
                  <a:lnTo>
                    <a:pt x="2146" y="688"/>
                  </a:lnTo>
                  <a:lnTo>
                    <a:pt x="2146" y="688"/>
                  </a:lnTo>
                  <a:lnTo>
                    <a:pt x="2146" y="686"/>
                  </a:lnTo>
                  <a:lnTo>
                    <a:pt x="2146" y="686"/>
                  </a:lnTo>
                  <a:lnTo>
                    <a:pt x="2148" y="686"/>
                  </a:lnTo>
                  <a:lnTo>
                    <a:pt x="2151" y="688"/>
                  </a:lnTo>
                  <a:lnTo>
                    <a:pt x="2154" y="686"/>
                  </a:lnTo>
                  <a:lnTo>
                    <a:pt x="2156" y="689"/>
                  </a:lnTo>
                  <a:lnTo>
                    <a:pt x="2157" y="691"/>
                  </a:lnTo>
                  <a:lnTo>
                    <a:pt x="2160" y="690"/>
                  </a:lnTo>
                  <a:lnTo>
                    <a:pt x="2163" y="695"/>
                  </a:lnTo>
                  <a:lnTo>
                    <a:pt x="2164" y="695"/>
                  </a:lnTo>
                  <a:lnTo>
                    <a:pt x="2164" y="694"/>
                  </a:lnTo>
                  <a:lnTo>
                    <a:pt x="2163" y="692"/>
                  </a:lnTo>
                  <a:lnTo>
                    <a:pt x="2161" y="690"/>
                  </a:lnTo>
                  <a:lnTo>
                    <a:pt x="2161" y="688"/>
                  </a:lnTo>
                  <a:lnTo>
                    <a:pt x="2166" y="685"/>
                  </a:lnTo>
                  <a:lnTo>
                    <a:pt x="2167" y="683"/>
                  </a:lnTo>
                  <a:lnTo>
                    <a:pt x="2168" y="685"/>
                  </a:lnTo>
                  <a:lnTo>
                    <a:pt x="2164" y="689"/>
                  </a:lnTo>
                  <a:lnTo>
                    <a:pt x="2164" y="689"/>
                  </a:lnTo>
                  <a:lnTo>
                    <a:pt x="2167" y="688"/>
                  </a:lnTo>
                  <a:lnTo>
                    <a:pt x="2171" y="683"/>
                  </a:lnTo>
                  <a:lnTo>
                    <a:pt x="2173" y="682"/>
                  </a:lnTo>
                  <a:lnTo>
                    <a:pt x="2175" y="680"/>
                  </a:lnTo>
                  <a:lnTo>
                    <a:pt x="2178" y="678"/>
                  </a:lnTo>
                  <a:lnTo>
                    <a:pt x="2181" y="680"/>
                  </a:lnTo>
                  <a:lnTo>
                    <a:pt x="2184" y="678"/>
                  </a:lnTo>
                  <a:lnTo>
                    <a:pt x="2186" y="677"/>
                  </a:lnTo>
                  <a:lnTo>
                    <a:pt x="2189" y="678"/>
                  </a:lnTo>
                  <a:lnTo>
                    <a:pt x="2192" y="675"/>
                  </a:lnTo>
                  <a:lnTo>
                    <a:pt x="2198" y="674"/>
                  </a:lnTo>
                  <a:lnTo>
                    <a:pt x="2199" y="673"/>
                  </a:lnTo>
                  <a:lnTo>
                    <a:pt x="2203" y="672"/>
                  </a:lnTo>
                  <a:lnTo>
                    <a:pt x="2207" y="672"/>
                  </a:lnTo>
                  <a:lnTo>
                    <a:pt x="2208" y="672"/>
                  </a:lnTo>
                  <a:lnTo>
                    <a:pt x="2209" y="671"/>
                  </a:lnTo>
                  <a:lnTo>
                    <a:pt x="2212" y="669"/>
                  </a:lnTo>
                  <a:lnTo>
                    <a:pt x="2215" y="669"/>
                  </a:lnTo>
                  <a:lnTo>
                    <a:pt x="2212" y="671"/>
                  </a:lnTo>
                  <a:lnTo>
                    <a:pt x="2215" y="671"/>
                  </a:lnTo>
                  <a:lnTo>
                    <a:pt x="2217" y="671"/>
                  </a:lnTo>
                  <a:lnTo>
                    <a:pt x="2219" y="668"/>
                  </a:lnTo>
                  <a:lnTo>
                    <a:pt x="2223" y="669"/>
                  </a:lnTo>
                  <a:lnTo>
                    <a:pt x="2223" y="671"/>
                  </a:lnTo>
                  <a:lnTo>
                    <a:pt x="2224" y="672"/>
                  </a:lnTo>
                  <a:lnTo>
                    <a:pt x="2223" y="673"/>
                  </a:lnTo>
                  <a:lnTo>
                    <a:pt x="2219" y="673"/>
                  </a:lnTo>
                  <a:lnTo>
                    <a:pt x="2215" y="675"/>
                  </a:lnTo>
                  <a:lnTo>
                    <a:pt x="2211" y="675"/>
                  </a:lnTo>
                  <a:lnTo>
                    <a:pt x="2210" y="678"/>
                  </a:lnTo>
                  <a:lnTo>
                    <a:pt x="2212" y="680"/>
                  </a:lnTo>
                  <a:lnTo>
                    <a:pt x="2208" y="678"/>
                  </a:lnTo>
                  <a:lnTo>
                    <a:pt x="2202" y="681"/>
                  </a:lnTo>
                  <a:lnTo>
                    <a:pt x="2205" y="683"/>
                  </a:lnTo>
                  <a:lnTo>
                    <a:pt x="2208" y="684"/>
                  </a:lnTo>
                  <a:lnTo>
                    <a:pt x="2212" y="690"/>
                  </a:lnTo>
                  <a:lnTo>
                    <a:pt x="2210" y="689"/>
                  </a:lnTo>
                  <a:lnTo>
                    <a:pt x="2207" y="690"/>
                  </a:lnTo>
                  <a:lnTo>
                    <a:pt x="2206" y="692"/>
                  </a:lnTo>
                  <a:lnTo>
                    <a:pt x="2206" y="690"/>
                  </a:lnTo>
                  <a:lnTo>
                    <a:pt x="2202" y="695"/>
                  </a:lnTo>
                  <a:lnTo>
                    <a:pt x="2200" y="697"/>
                  </a:lnTo>
                  <a:lnTo>
                    <a:pt x="2201" y="699"/>
                  </a:lnTo>
                  <a:lnTo>
                    <a:pt x="2199" y="701"/>
                  </a:lnTo>
                  <a:lnTo>
                    <a:pt x="2197" y="702"/>
                  </a:lnTo>
                  <a:lnTo>
                    <a:pt x="2193" y="702"/>
                  </a:lnTo>
                  <a:lnTo>
                    <a:pt x="2190" y="700"/>
                  </a:lnTo>
                  <a:lnTo>
                    <a:pt x="2186" y="701"/>
                  </a:lnTo>
                  <a:lnTo>
                    <a:pt x="2190" y="703"/>
                  </a:lnTo>
                  <a:lnTo>
                    <a:pt x="2188" y="705"/>
                  </a:lnTo>
                  <a:lnTo>
                    <a:pt x="2188" y="706"/>
                  </a:lnTo>
                  <a:lnTo>
                    <a:pt x="2193" y="708"/>
                  </a:lnTo>
                  <a:lnTo>
                    <a:pt x="2198" y="712"/>
                  </a:lnTo>
                  <a:lnTo>
                    <a:pt x="2201" y="714"/>
                  </a:lnTo>
                  <a:lnTo>
                    <a:pt x="2203" y="712"/>
                  </a:lnTo>
                  <a:lnTo>
                    <a:pt x="2208" y="718"/>
                  </a:lnTo>
                  <a:lnTo>
                    <a:pt x="2214" y="719"/>
                  </a:lnTo>
                  <a:lnTo>
                    <a:pt x="2219" y="723"/>
                  </a:lnTo>
                  <a:lnTo>
                    <a:pt x="2225" y="727"/>
                  </a:lnTo>
                  <a:lnTo>
                    <a:pt x="2227" y="731"/>
                  </a:lnTo>
                  <a:lnTo>
                    <a:pt x="2232" y="734"/>
                  </a:lnTo>
                  <a:lnTo>
                    <a:pt x="2233" y="735"/>
                  </a:lnTo>
                  <a:lnTo>
                    <a:pt x="2236" y="736"/>
                  </a:lnTo>
                  <a:lnTo>
                    <a:pt x="2238" y="739"/>
                  </a:lnTo>
                  <a:lnTo>
                    <a:pt x="2244" y="740"/>
                  </a:lnTo>
                  <a:lnTo>
                    <a:pt x="2246" y="742"/>
                  </a:lnTo>
                  <a:lnTo>
                    <a:pt x="2250" y="744"/>
                  </a:lnTo>
                  <a:lnTo>
                    <a:pt x="2252" y="745"/>
                  </a:lnTo>
                  <a:lnTo>
                    <a:pt x="2253" y="749"/>
                  </a:lnTo>
                  <a:lnTo>
                    <a:pt x="2253" y="751"/>
                  </a:lnTo>
                  <a:lnTo>
                    <a:pt x="2255" y="754"/>
                  </a:lnTo>
                  <a:lnTo>
                    <a:pt x="2257" y="759"/>
                  </a:lnTo>
                  <a:lnTo>
                    <a:pt x="2257" y="761"/>
                  </a:lnTo>
                  <a:lnTo>
                    <a:pt x="2253" y="766"/>
                  </a:lnTo>
                  <a:lnTo>
                    <a:pt x="2251" y="768"/>
                  </a:lnTo>
                  <a:lnTo>
                    <a:pt x="2246" y="770"/>
                  </a:lnTo>
                  <a:lnTo>
                    <a:pt x="2244" y="770"/>
                  </a:lnTo>
                  <a:lnTo>
                    <a:pt x="2242" y="772"/>
                  </a:lnTo>
                  <a:lnTo>
                    <a:pt x="2234" y="775"/>
                  </a:lnTo>
                  <a:lnTo>
                    <a:pt x="2233" y="775"/>
                  </a:lnTo>
                  <a:lnTo>
                    <a:pt x="2227" y="774"/>
                  </a:lnTo>
                  <a:lnTo>
                    <a:pt x="2224" y="772"/>
                  </a:lnTo>
                  <a:lnTo>
                    <a:pt x="2217" y="774"/>
                  </a:lnTo>
                  <a:lnTo>
                    <a:pt x="2215" y="775"/>
                  </a:lnTo>
                  <a:lnTo>
                    <a:pt x="2209" y="775"/>
                  </a:lnTo>
                  <a:lnTo>
                    <a:pt x="2202" y="774"/>
                  </a:lnTo>
                  <a:lnTo>
                    <a:pt x="2201" y="771"/>
                  </a:lnTo>
                  <a:lnTo>
                    <a:pt x="2199" y="774"/>
                  </a:lnTo>
                  <a:lnTo>
                    <a:pt x="2197" y="772"/>
                  </a:lnTo>
                  <a:lnTo>
                    <a:pt x="2193" y="771"/>
                  </a:lnTo>
                  <a:lnTo>
                    <a:pt x="2192" y="770"/>
                  </a:lnTo>
                  <a:lnTo>
                    <a:pt x="2189" y="768"/>
                  </a:lnTo>
                  <a:lnTo>
                    <a:pt x="2186" y="768"/>
                  </a:lnTo>
                  <a:lnTo>
                    <a:pt x="2184" y="770"/>
                  </a:lnTo>
                  <a:lnTo>
                    <a:pt x="2182" y="769"/>
                  </a:lnTo>
                  <a:lnTo>
                    <a:pt x="2180" y="766"/>
                  </a:lnTo>
                  <a:lnTo>
                    <a:pt x="2180" y="763"/>
                  </a:lnTo>
                  <a:lnTo>
                    <a:pt x="2176" y="763"/>
                  </a:lnTo>
                  <a:lnTo>
                    <a:pt x="2176" y="762"/>
                  </a:lnTo>
                  <a:lnTo>
                    <a:pt x="2171" y="763"/>
                  </a:lnTo>
                  <a:lnTo>
                    <a:pt x="2168" y="762"/>
                  </a:lnTo>
                  <a:lnTo>
                    <a:pt x="2166" y="760"/>
                  </a:lnTo>
                  <a:lnTo>
                    <a:pt x="2165" y="757"/>
                  </a:lnTo>
                  <a:lnTo>
                    <a:pt x="2164" y="757"/>
                  </a:lnTo>
                  <a:lnTo>
                    <a:pt x="2161" y="758"/>
                  </a:lnTo>
                  <a:lnTo>
                    <a:pt x="2158" y="759"/>
                  </a:lnTo>
                  <a:lnTo>
                    <a:pt x="2141" y="758"/>
                  </a:lnTo>
                  <a:lnTo>
                    <a:pt x="2135" y="759"/>
                  </a:lnTo>
                  <a:lnTo>
                    <a:pt x="2126" y="762"/>
                  </a:lnTo>
                  <a:lnTo>
                    <a:pt x="2123" y="765"/>
                  </a:lnTo>
                  <a:lnTo>
                    <a:pt x="2115" y="769"/>
                  </a:lnTo>
                  <a:lnTo>
                    <a:pt x="2114" y="772"/>
                  </a:lnTo>
                  <a:lnTo>
                    <a:pt x="2107" y="772"/>
                  </a:lnTo>
                  <a:lnTo>
                    <a:pt x="2100" y="770"/>
                  </a:lnTo>
                  <a:lnTo>
                    <a:pt x="2098" y="771"/>
                  </a:lnTo>
                  <a:lnTo>
                    <a:pt x="2093" y="771"/>
                  </a:lnTo>
                  <a:lnTo>
                    <a:pt x="2084" y="770"/>
                  </a:lnTo>
                  <a:lnTo>
                    <a:pt x="2082" y="772"/>
                  </a:lnTo>
                  <a:lnTo>
                    <a:pt x="2083" y="775"/>
                  </a:lnTo>
                  <a:lnTo>
                    <a:pt x="2087" y="777"/>
                  </a:lnTo>
                  <a:lnTo>
                    <a:pt x="2088" y="777"/>
                  </a:lnTo>
                  <a:lnTo>
                    <a:pt x="2090" y="777"/>
                  </a:lnTo>
                  <a:lnTo>
                    <a:pt x="2092" y="778"/>
                  </a:lnTo>
                  <a:lnTo>
                    <a:pt x="2083" y="779"/>
                  </a:lnTo>
                  <a:lnTo>
                    <a:pt x="2080" y="780"/>
                  </a:lnTo>
                  <a:lnTo>
                    <a:pt x="2081" y="783"/>
                  </a:lnTo>
                  <a:lnTo>
                    <a:pt x="2084" y="783"/>
                  </a:lnTo>
                  <a:lnTo>
                    <a:pt x="2080" y="784"/>
                  </a:lnTo>
                  <a:lnTo>
                    <a:pt x="2071" y="784"/>
                  </a:lnTo>
                  <a:lnTo>
                    <a:pt x="2067" y="784"/>
                  </a:lnTo>
                  <a:lnTo>
                    <a:pt x="2066" y="782"/>
                  </a:lnTo>
                  <a:lnTo>
                    <a:pt x="2064" y="783"/>
                  </a:lnTo>
                  <a:lnTo>
                    <a:pt x="2064" y="785"/>
                  </a:lnTo>
                  <a:lnTo>
                    <a:pt x="2062" y="785"/>
                  </a:lnTo>
                  <a:lnTo>
                    <a:pt x="2057" y="783"/>
                  </a:lnTo>
                  <a:lnTo>
                    <a:pt x="2054" y="784"/>
                  </a:lnTo>
                  <a:lnTo>
                    <a:pt x="2052" y="784"/>
                  </a:lnTo>
                  <a:lnTo>
                    <a:pt x="2046" y="787"/>
                  </a:lnTo>
                  <a:lnTo>
                    <a:pt x="2045" y="791"/>
                  </a:lnTo>
                  <a:lnTo>
                    <a:pt x="2043" y="791"/>
                  </a:lnTo>
                  <a:lnTo>
                    <a:pt x="2043" y="796"/>
                  </a:lnTo>
                  <a:lnTo>
                    <a:pt x="2041" y="799"/>
                  </a:lnTo>
                  <a:lnTo>
                    <a:pt x="2043" y="799"/>
                  </a:lnTo>
                  <a:lnTo>
                    <a:pt x="2050" y="797"/>
                  </a:lnTo>
                  <a:lnTo>
                    <a:pt x="2054" y="797"/>
                  </a:lnTo>
                  <a:lnTo>
                    <a:pt x="2052" y="800"/>
                  </a:lnTo>
                  <a:lnTo>
                    <a:pt x="2049" y="802"/>
                  </a:lnTo>
                  <a:lnTo>
                    <a:pt x="2053" y="804"/>
                  </a:lnTo>
                  <a:lnTo>
                    <a:pt x="2052" y="806"/>
                  </a:lnTo>
                  <a:lnTo>
                    <a:pt x="2055" y="808"/>
                  </a:lnTo>
                  <a:lnTo>
                    <a:pt x="2054" y="810"/>
                  </a:lnTo>
                  <a:lnTo>
                    <a:pt x="2050" y="810"/>
                  </a:lnTo>
                  <a:lnTo>
                    <a:pt x="2053" y="814"/>
                  </a:lnTo>
                  <a:lnTo>
                    <a:pt x="2056" y="814"/>
                  </a:lnTo>
                  <a:lnTo>
                    <a:pt x="2055" y="816"/>
                  </a:lnTo>
                  <a:lnTo>
                    <a:pt x="2050" y="818"/>
                  </a:lnTo>
                  <a:lnTo>
                    <a:pt x="2049" y="817"/>
                  </a:lnTo>
                  <a:lnTo>
                    <a:pt x="2049" y="814"/>
                  </a:lnTo>
                  <a:lnTo>
                    <a:pt x="2047" y="811"/>
                  </a:lnTo>
                  <a:lnTo>
                    <a:pt x="2046" y="811"/>
                  </a:lnTo>
                  <a:lnTo>
                    <a:pt x="2046" y="813"/>
                  </a:lnTo>
                  <a:lnTo>
                    <a:pt x="2047" y="816"/>
                  </a:lnTo>
                  <a:lnTo>
                    <a:pt x="2047" y="817"/>
                  </a:lnTo>
                  <a:lnTo>
                    <a:pt x="2044" y="818"/>
                  </a:lnTo>
                  <a:lnTo>
                    <a:pt x="2049" y="820"/>
                  </a:lnTo>
                  <a:lnTo>
                    <a:pt x="2050" y="819"/>
                  </a:lnTo>
                  <a:lnTo>
                    <a:pt x="2054" y="821"/>
                  </a:lnTo>
                  <a:lnTo>
                    <a:pt x="2058" y="822"/>
                  </a:lnTo>
                  <a:lnTo>
                    <a:pt x="2057" y="827"/>
                  </a:lnTo>
                  <a:lnTo>
                    <a:pt x="2055" y="827"/>
                  </a:lnTo>
                  <a:lnTo>
                    <a:pt x="2054" y="828"/>
                  </a:lnTo>
                  <a:lnTo>
                    <a:pt x="2057" y="829"/>
                  </a:lnTo>
                  <a:lnTo>
                    <a:pt x="2057" y="833"/>
                  </a:lnTo>
                  <a:lnTo>
                    <a:pt x="2060" y="833"/>
                  </a:lnTo>
                  <a:lnTo>
                    <a:pt x="2062" y="834"/>
                  </a:lnTo>
                  <a:lnTo>
                    <a:pt x="2063" y="834"/>
                  </a:lnTo>
                  <a:lnTo>
                    <a:pt x="2061" y="837"/>
                  </a:lnTo>
                  <a:lnTo>
                    <a:pt x="2058" y="836"/>
                  </a:lnTo>
                  <a:lnTo>
                    <a:pt x="2058" y="838"/>
                  </a:lnTo>
                  <a:lnTo>
                    <a:pt x="2069" y="837"/>
                  </a:lnTo>
                  <a:lnTo>
                    <a:pt x="2071" y="839"/>
                  </a:lnTo>
                  <a:lnTo>
                    <a:pt x="2069" y="842"/>
                  </a:lnTo>
                  <a:lnTo>
                    <a:pt x="2065" y="840"/>
                  </a:lnTo>
                  <a:lnTo>
                    <a:pt x="2062" y="842"/>
                  </a:lnTo>
                  <a:lnTo>
                    <a:pt x="2060" y="843"/>
                  </a:lnTo>
                  <a:lnTo>
                    <a:pt x="2060" y="843"/>
                  </a:lnTo>
                  <a:lnTo>
                    <a:pt x="2060" y="844"/>
                  </a:lnTo>
                  <a:lnTo>
                    <a:pt x="2064" y="844"/>
                  </a:lnTo>
                  <a:lnTo>
                    <a:pt x="2065" y="842"/>
                  </a:lnTo>
                  <a:lnTo>
                    <a:pt x="2067" y="842"/>
                  </a:lnTo>
                  <a:lnTo>
                    <a:pt x="2070" y="842"/>
                  </a:lnTo>
                  <a:lnTo>
                    <a:pt x="2069" y="844"/>
                  </a:lnTo>
                  <a:lnTo>
                    <a:pt x="2067" y="845"/>
                  </a:lnTo>
                  <a:lnTo>
                    <a:pt x="2069" y="845"/>
                  </a:lnTo>
                  <a:lnTo>
                    <a:pt x="2072" y="843"/>
                  </a:lnTo>
                  <a:lnTo>
                    <a:pt x="2074" y="840"/>
                  </a:lnTo>
                  <a:lnTo>
                    <a:pt x="2077" y="840"/>
                  </a:lnTo>
                  <a:lnTo>
                    <a:pt x="2077" y="843"/>
                  </a:lnTo>
                  <a:lnTo>
                    <a:pt x="2078" y="843"/>
                  </a:lnTo>
                  <a:lnTo>
                    <a:pt x="2078" y="843"/>
                  </a:lnTo>
                  <a:lnTo>
                    <a:pt x="2079" y="843"/>
                  </a:lnTo>
                  <a:lnTo>
                    <a:pt x="2081" y="843"/>
                  </a:lnTo>
                  <a:lnTo>
                    <a:pt x="2082" y="845"/>
                  </a:lnTo>
                  <a:lnTo>
                    <a:pt x="2083" y="847"/>
                  </a:lnTo>
                  <a:lnTo>
                    <a:pt x="2084" y="848"/>
                  </a:lnTo>
                  <a:lnTo>
                    <a:pt x="2088" y="849"/>
                  </a:lnTo>
                  <a:lnTo>
                    <a:pt x="2092" y="851"/>
                  </a:lnTo>
                  <a:lnTo>
                    <a:pt x="2098" y="849"/>
                  </a:lnTo>
                  <a:lnTo>
                    <a:pt x="2101" y="851"/>
                  </a:lnTo>
                  <a:lnTo>
                    <a:pt x="2104" y="845"/>
                  </a:lnTo>
                  <a:lnTo>
                    <a:pt x="2104" y="843"/>
                  </a:lnTo>
                  <a:lnTo>
                    <a:pt x="2106" y="840"/>
                  </a:lnTo>
                  <a:lnTo>
                    <a:pt x="2110" y="840"/>
                  </a:lnTo>
                  <a:lnTo>
                    <a:pt x="2113" y="840"/>
                  </a:lnTo>
                  <a:lnTo>
                    <a:pt x="2118" y="844"/>
                  </a:lnTo>
                  <a:lnTo>
                    <a:pt x="2123" y="845"/>
                  </a:lnTo>
                  <a:lnTo>
                    <a:pt x="2125" y="847"/>
                  </a:lnTo>
                  <a:lnTo>
                    <a:pt x="2127" y="851"/>
                  </a:lnTo>
                  <a:lnTo>
                    <a:pt x="2131" y="853"/>
                  </a:lnTo>
                  <a:lnTo>
                    <a:pt x="2134" y="853"/>
                  </a:lnTo>
                  <a:lnTo>
                    <a:pt x="2137" y="852"/>
                  </a:lnTo>
                  <a:lnTo>
                    <a:pt x="2146" y="851"/>
                  </a:lnTo>
                  <a:lnTo>
                    <a:pt x="2148" y="849"/>
                  </a:lnTo>
                  <a:lnTo>
                    <a:pt x="2151" y="849"/>
                  </a:lnTo>
                  <a:lnTo>
                    <a:pt x="2152" y="847"/>
                  </a:lnTo>
                  <a:lnTo>
                    <a:pt x="2155" y="844"/>
                  </a:lnTo>
                  <a:lnTo>
                    <a:pt x="2159" y="840"/>
                  </a:lnTo>
                  <a:lnTo>
                    <a:pt x="2163" y="842"/>
                  </a:lnTo>
                  <a:lnTo>
                    <a:pt x="2163" y="843"/>
                  </a:lnTo>
                  <a:lnTo>
                    <a:pt x="2164" y="843"/>
                  </a:lnTo>
                  <a:lnTo>
                    <a:pt x="2167" y="844"/>
                  </a:lnTo>
                  <a:lnTo>
                    <a:pt x="2169" y="845"/>
                  </a:lnTo>
                  <a:lnTo>
                    <a:pt x="2172" y="845"/>
                  </a:lnTo>
                  <a:lnTo>
                    <a:pt x="2172" y="843"/>
                  </a:lnTo>
                  <a:lnTo>
                    <a:pt x="2174" y="842"/>
                  </a:lnTo>
                  <a:lnTo>
                    <a:pt x="2176" y="840"/>
                  </a:lnTo>
                  <a:lnTo>
                    <a:pt x="2180" y="840"/>
                  </a:lnTo>
                  <a:lnTo>
                    <a:pt x="2181" y="843"/>
                  </a:lnTo>
                  <a:lnTo>
                    <a:pt x="2178" y="845"/>
                  </a:lnTo>
                  <a:lnTo>
                    <a:pt x="2176" y="847"/>
                  </a:lnTo>
                  <a:lnTo>
                    <a:pt x="2175" y="851"/>
                  </a:lnTo>
                  <a:lnTo>
                    <a:pt x="2177" y="854"/>
                  </a:lnTo>
                  <a:lnTo>
                    <a:pt x="2175" y="857"/>
                  </a:lnTo>
                  <a:lnTo>
                    <a:pt x="2175" y="860"/>
                  </a:lnTo>
                  <a:lnTo>
                    <a:pt x="2176" y="862"/>
                  </a:lnTo>
                  <a:lnTo>
                    <a:pt x="2176" y="866"/>
                  </a:lnTo>
                  <a:lnTo>
                    <a:pt x="2176" y="870"/>
                  </a:lnTo>
                  <a:lnTo>
                    <a:pt x="2177" y="874"/>
                  </a:lnTo>
                  <a:lnTo>
                    <a:pt x="2177" y="877"/>
                  </a:lnTo>
                  <a:lnTo>
                    <a:pt x="2175" y="879"/>
                  </a:lnTo>
                  <a:lnTo>
                    <a:pt x="2173" y="880"/>
                  </a:lnTo>
                  <a:lnTo>
                    <a:pt x="2172" y="886"/>
                  </a:lnTo>
                  <a:lnTo>
                    <a:pt x="2171" y="887"/>
                  </a:lnTo>
                  <a:lnTo>
                    <a:pt x="2169" y="891"/>
                  </a:lnTo>
                  <a:lnTo>
                    <a:pt x="2167" y="896"/>
                  </a:lnTo>
                  <a:lnTo>
                    <a:pt x="2167" y="897"/>
                  </a:lnTo>
                  <a:lnTo>
                    <a:pt x="2165" y="898"/>
                  </a:lnTo>
                  <a:lnTo>
                    <a:pt x="2165" y="902"/>
                  </a:lnTo>
                  <a:lnTo>
                    <a:pt x="2164" y="903"/>
                  </a:lnTo>
                  <a:lnTo>
                    <a:pt x="2163" y="905"/>
                  </a:lnTo>
                  <a:lnTo>
                    <a:pt x="2161" y="911"/>
                  </a:lnTo>
                  <a:lnTo>
                    <a:pt x="2159" y="917"/>
                  </a:lnTo>
                  <a:lnTo>
                    <a:pt x="2157" y="921"/>
                  </a:lnTo>
                  <a:lnTo>
                    <a:pt x="2154" y="925"/>
                  </a:lnTo>
                  <a:lnTo>
                    <a:pt x="2151" y="926"/>
                  </a:lnTo>
                  <a:lnTo>
                    <a:pt x="2148" y="928"/>
                  </a:lnTo>
                  <a:lnTo>
                    <a:pt x="2144" y="929"/>
                  </a:lnTo>
                  <a:lnTo>
                    <a:pt x="2142" y="928"/>
                  </a:lnTo>
                  <a:lnTo>
                    <a:pt x="2141" y="929"/>
                  </a:lnTo>
                  <a:lnTo>
                    <a:pt x="2139" y="930"/>
                  </a:lnTo>
                  <a:lnTo>
                    <a:pt x="2137" y="929"/>
                  </a:lnTo>
                  <a:lnTo>
                    <a:pt x="2137" y="930"/>
                  </a:lnTo>
                  <a:lnTo>
                    <a:pt x="2135" y="929"/>
                  </a:lnTo>
                  <a:lnTo>
                    <a:pt x="2133" y="930"/>
                  </a:lnTo>
                  <a:lnTo>
                    <a:pt x="2135" y="929"/>
                  </a:lnTo>
                  <a:lnTo>
                    <a:pt x="2131" y="930"/>
                  </a:lnTo>
                  <a:lnTo>
                    <a:pt x="2129" y="928"/>
                  </a:lnTo>
                  <a:lnTo>
                    <a:pt x="2127" y="926"/>
                  </a:lnTo>
                  <a:lnTo>
                    <a:pt x="2126" y="929"/>
                  </a:lnTo>
                  <a:lnTo>
                    <a:pt x="2125" y="929"/>
                  </a:lnTo>
                  <a:lnTo>
                    <a:pt x="2124" y="929"/>
                  </a:lnTo>
                  <a:lnTo>
                    <a:pt x="2124" y="930"/>
                  </a:lnTo>
                  <a:lnTo>
                    <a:pt x="2123" y="929"/>
                  </a:lnTo>
                  <a:lnTo>
                    <a:pt x="2123" y="928"/>
                  </a:lnTo>
                  <a:lnTo>
                    <a:pt x="2120" y="926"/>
                  </a:lnTo>
                  <a:lnTo>
                    <a:pt x="2122" y="924"/>
                  </a:lnTo>
                  <a:lnTo>
                    <a:pt x="2124" y="925"/>
                  </a:lnTo>
                  <a:lnTo>
                    <a:pt x="2122" y="922"/>
                  </a:lnTo>
                  <a:lnTo>
                    <a:pt x="2121" y="922"/>
                  </a:lnTo>
                  <a:lnTo>
                    <a:pt x="2117" y="923"/>
                  </a:lnTo>
                  <a:lnTo>
                    <a:pt x="2112" y="922"/>
                  </a:lnTo>
                  <a:lnTo>
                    <a:pt x="2109" y="922"/>
                  </a:lnTo>
                  <a:lnTo>
                    <a:pt x="2110" y="922"/>
                  </a:lnTo>
                  <a:lnTo>
                    <a:pt x="2108" y="924"/>
                  </a:lnTo>
                  <a:lnTo>
                    <a:pt x="2106" y="923"/>
                  </a:lnTo>
                  <a:lnTo>
                    <a:pt x="2104" y="924"/>
                  </a:lnTo>
                  <a:lnTo>
                    <a:pt x="2106" y="922"/>
                  </a:lnTo>
                  <a:lnTo>
                    <a:pt x="2104" y="923"/>
                  </a:lnTo>
                  <a:lnTo>
                    <a:pt x="2101" y="923"/>
                  </a:lnTo>
                  <a:lnTo>
                    <a:pt x="2098" y="926"/>
                  </a:lnTo>
                  <a:lnTo>
                    <a:pt x="2099" y="926"/>
                  </a:lnTo>
                  <a:lnTo>
                    <a:pt x="2098" y="926"/>
                  </a:lnTo>
                  <a:lnTo>
                    <a:pt x="2097" y="925"/>
                  </a:lnTo>
                  <a:lnTo>
                    <a:pt x="2090" y="930"/>
                  </a:lnTo>
                  <a:lnTo>
                    <a:pt x="2084" y="932"/>
                  </a:lnTo>
                  <a:lnTo>
                    <a:pt x="2082" y="933"/>
                  </a:lnTo>
                  <a:lnTo>
                    <a:pt x="2080" y="931"/>
                  </a:lnTo>
                  <a:lnTo>
                    <a:pt x="2074" y="929"/>
                  </a:lnTo>
                  <a:lnTo>
                    <a:pt x="2069" y="929"/>
                  </a:lnTo>
                  <a:lnTo>
                    <a:pt x="2066" y="926"/>
                  </a:lnTo>
                  <a:lnTo>
                    <a:pt x="2063" y="928"/>
                  </a:lnTo>
                  <a:lnTo>
                    <a:pt x="2061" y="926"/>
                  </a:lnTo>
                  <a:lnTo>
                    <a:pt x="2058" y="924"/>
                  </a:lnTo>
                  <a:lnTo>
                    <a:pt x="2041" y="921"/>
                  </a:lnTo>
                  <a:lnTo>
                    <a:pt x="2039" y="921"/>
                  </a:lnTo>
                  <a:lnTo>
                    <a:pt x="2033" y="923"/>
                  </a:lnTo>
                  <a:lnTo>
                    <a:pt x="2030" y="923"/>
                  </a:lnTo>
                  <a:lnTo>
                    <a:pt x="2029" y="922"/>
                  </a:lnTo>
                  <a:lnTo>
                    <a:pt x="2029" y="921"/>
                  </a:lnTo>
                  <a:lnTo>
                    <a:pt x="2027" y="916"/>
                  </a:lnTo>
                  <a:lnTo>
                    <a:pt x="2024" y="915"/>
                  </a:lnTo>
                  <a:lnTo>
                    <a:pt x="2016" y="915"/>
                  </a:lnTo>
                  <a:lnTo>
                    <a:pt x="2013" y="914"/>
                  </a:lnTo>
                  <a:lnTo>
                    <a:pt x="2011" y="913"/>
                  </a:lnTo>
                  <a:lnTo>
                    <a:pt x="2003" y="912"/>
                  </a:lnTo>
                  <a:lnTo>
                    <a:pt x="2001" y="910"/>
                  </a:lnTo>
                  <a:lnTo>
                    <a:pt x="2001" y="906"/>
                  </a:lnTo>
                  <a:lnTo>
                    <a:pt x="1998" y="905"/>
                  </a:lnTo>
                  <a:lnTo>
                    <a:pt x="1993" y="903"/>
                  </a:lnTo>
                  <a:lnTo>
                    <a:pt x="1989" y="902"/>
                  </a:lnTo>
                  <a:lnTo>
                    <a:pt x="1986" y="902"/>
                  </a:lnTo>
                  <a:lnTo>
                    <a:pt x="1982" y="902"/>
                  </a:lnTo>
                  <a:lnTo>
                    <a:pt x="1980" y="902"/>
                  </a:lnTo>
                  <a:lnTo>
                    <a:pt x="1977" y="904"/>
                  </a:lnTo>
                  <a:lnTo>
                    <a:pt x="1972" y="904"/>
                  </a:lnTo>
                  <a:lnTo>
                    <a:pt x="1969" y="905"/>
                  </a:lnTo>
                  <a:lnTo>
                    <a:pt x="1967" y="906"/>
                  </a:lnTo>
                  <a:lnTo>
                    <a:pt x="1961" y="911"/>
                  </a:lnTo>
                  <a:lnTo>
                    <a:pt x="1959" y="914"/>
                  </a:lnTo>
                  <a:lnTo>
                    <a:pt x="1958" y="917"/>
                  </a:lnTo>
                  <a:lnTo>
                    <a:pt x="1958" y="921"/>
                  </a:lnTo>
                  <a:lnTo>
                    <a:pt x="1959" y="923"/>
                  </a:lnTo>
                  <a:lnTo>
                    <a:pt x="1961" y="928"/>
                  </a:lnTo>
                  <a:lnTo>
                    <a:pt x="1960" y="930"/>
                  </a:lnTo>
                  <a:lnTo>
                    <a:pt x="1959" y="933"/>
                  </a:lnTo>
                  <a:lnTo>
                    <a:pt x="1954" y="939"/>
                  </a:lnTo>
                  <a:lnTo>
                    <a:pt x="1949" y="941"/>
                  </a:lnTo>
                  <a:lnTo>
                    <a:pt x="1945" y="941"/>
                  </a:lnTo>
                  <a:lnTo>
                    <a:pt x="1939" y="938"/>
                  </a:lnTo>
                  <a:lnTo>
                    <a:pt x="1933" y="933"/>
                  </a:lnTo>
                  <a:lnTo>
                    <a:pt x="1921" y="929"/>
                  </a:lnTo>
                  <a:lnTo>
                    <a:pt x="1913" y="926"/>
                  </a:lnTo>
                  <a:lnTo>
                    <a:pt x="1910" y="928"/>
                  </a:lnTo>
                  <a:lnTo>
                    <a:pt x="1905" y="926"/>
                  </a:lnTo>
                  <a:lnTo>
                    <a:pt x="1900" y="924"/>
                  </a:lnTo>
                  <a:lnTo>
                    <a:pt x="1898" y="922"/>
                  </a:lnTo>
                  <a:lnTo>
                    <a:pt x="1896" y="920"/>
                  </a:lnTo>
                  <a:lnTo>
                    <a:pt x="1895" y="916"/>
                  </a:lnTo>
                  <a:lnTo>
                    <a:pt x="1894" y="911"/>
                  </a:lnTo>
                  <a:lnTo>
                    <a:pt x="1892" y="910"/>
                  </a:lnTo>
                  <a:lnTo>
                    <a:pt x="1887" y="908"/>
                  </a:lnTo>
                  <a:lnTo>
                    <a:pt x="1883" y="907"/>
                  </a:lnTo>
                  <a:lnTo>
                    <a:pt x="1879" y="905"/>
                  </a:lnTo>
                  <a:lnTo>
                    <a:pt x="1875" y="904"/>
                  </a:lnTo>
                  <a:lnTo>
                    <a:pt x="1870" y="903"/>
                  </a:lnTo>
                  <a:lnTo>
                    <a:pt x="1867" y="902"/>
                  </a:lnTo>
                  <a:lnTo>
                    <a:pt x="1859" y="903"/>
                  </a:lnTo>
                  <a:lnTo>
                    <a:pt x="1853" y="903"/>
                  </a:lnTo>
                  <a:lnTo>
                    <a:pt x="1847" y="899"/>
                  </a:lnTo>
                  <a:lnTo>
                    <a:pt x="1844" y="898"/>
                  </a:lnTo>
                  <a:lnTo>
                    <a:pt x="1840" y="896"/>
                  </a:lnTo>
                  <a:lnTo>
                    <a:pt x="1838" y="896"/>
                  </a:lnTo>
                  <a:lnTo>
                    <a:pt x="1836" y="893"/>
                  </a:lnTo>
                  <a:lnTo>
                    <a:pt x="1835" y="890"/>
                  </a:lnTo>
                  <a:lnTo>
                    <a:pt x="1834" y="890"/>
                  </a:lnTo>
                  <a:lnTo>
                    <a:pt x="1832" y="893"/>
                  </a:lnTo>
                  <a:lnTo>
                    <a:pt x="1832" y="890"/>
                  </a:lnTo>
                  <a:lnTo>
                    <a:pt x="1828" y="890"/>
                  </a:lnTo>
                  <a:lnTo>
                    <a:pt x="1825" y="888"/>
                  </a:lnTo>
                  <a:lnTo>
                    <a:pt x="1823" y="886"/>
                  </a:lnTo>
                  <a:lnTo>
                    <a:pt x="1822" y="883"/>
                  </a:lnTo>
                  <a:lnTo>
                    <a:pt x="1822" y="882"/>
                  </a:lnTo>
                  <a:lnTo>
                    <a:pt x="1824" y="879"/>
                  </a:lnTo>
                  <a:lnTo>
                    <a:pt x="1830" y="877"/>
                  </a:lnTo>
                  <a:lnTo>
                    <a:pt x="1834" y="871"/>
                  </a:lnTo>
                  <a:lnTo>
                    <a:pt x="1836" y="865"/>
                  </a:lnTo>
                  <a:lnTo>
                    <a:pt x="1835" y="861"/>
                  </a:lnTo>
                  <a:lnTo>
                    <a:pt x="1833" y="857"/>
                  </a:lnTo>
                  <a:lnTo>
                    <a:pt x="1831" y="857"/>
                  </a:lnTo>
                  <a:lnTo>
                    <a:pt x="1828" y="854"/>
                  </a:lnTo>
                  <a:lnTo>
                    <a:pt x="1827" y="851"/>
                  </a:lnTo>
                  <a:lnTo>
                    <a:pt x="1828" y="848"/>
                  </a:lnTo>
                  <a:lnTo>
                    <a:pt x="1832" y="846"/>
                  </a:lnTo>
                  <a:lnTo>
                    <a:pt x="1835" y="842"/>
                  </a:lnTo>
                  <a:lnTo>
                    <a:pt x="1836" y="838"/>
                  </a:lnTo>
                  <a:lnTo>
                    <a:pt x="1834" y="838"/>
                  </a:lnTo>
                  <a:lnTo>
                    <a:pt x="1827" y="843"/>
                  </a:lnTo>
                  <a:lnTo>
                    <a:pt x="1825" y="842"/>
                  </a:lnTo>
                  <a:lnTo>
                    <a:pt x="1825" y="840"/>
                  </a:lnTo>
                  <a:lnTo>
                    <a:pt x="1825" y="842"/>
                  </a:lnTo>
                  <a:lnTo>
                    <a:pt x="1826" y="839"/>
                  </a:lnTo>
                  <a:lnTo>
                    <a:pt x="1825" y="839"/>
                  </a:lnTo>
                  <a:lnTo>
                    <a:pt x="1824" y="836"/>
                  </a:lnTo>
                  <a:lnTo>
                    <a:pt x="1824" y="836"/>
                  </a:lnTo>
                  <a:lnTo>
                    <a:pt x="1822" y="834"/>
                  </a:lnTo>
                  <a:lnTo>
                    <a:pt x="1819" y="834"/>
                  </a:lnTo>
                  <a:lnTo>
                    <a:pt x="1819" y="834"/>
                  </a:lnTo>
                  <a:lnTo>
                    <a:pt x="1817" y="833"/>
                  </a:lnTo>
                  <a:lnTo>
                    <a:pt x="1809" y="836"/>
                  </a:lnTo>
                  <a:lnTo>
                    <a:pt x="1807" y="837"/>
                  </a:lnTo>
                  <a:lnTo>
                    <a:pt x="1802" y="839"/>
                  </a:lnTo>
                  <a:lnTo>
                    <a:pt x="1800" y="839"/>
                  </a:lnTo>
                  <a:lnTo>
                    <a:pt x="1797" y="838"/>
                  </a:lnTo>
                  <a:lnTo>
                    <a:pt x="1794" y="840"/>
                  </a:lnTo>
                  <a:lnTo>
                    <a:pt x="1792" y="840"/>
                  </a:lnTo>
                  <a:lnTo>
                    <a:pt x="1785" y="837"/>
                  </a:lnTo>
                  <a:lnTo>
                    <a:pt x="1784" y="837"/>
                  </a:lnTo>
                  <a:lnTo>
                    <a:pt x="1781" y="839"/>
                  </a:lnTo>
                  <a:lnTo>
                    <a:pt x="1779" y="839"/>
                  </a:lnTo>
                  <a:lnTo>
                    <a:pt x="1776" y="838"/>
                  </a:lnTo>
                  <a:lnTo>
                    <a:pt x="1773" y="836"/>
                  </a:lnTo>
                  <a:lnTo>
                    <a:pt x="1771" y="837"/>
                  </a:lnTo>
                  <a:lnTo>
                    <a:pt x="1771" y="839"/>
                  </a:lnTo>
                  <a:lnTo>
                    <a:pt x="1767" y="840"/>
                  </a:lnTo>
                  <a:lnTo>
                    <a:pt x="1763" y="842"/>
                  </a:lnTo>
                  <a:lnTo>
                    <a:pt x="1759" y="844"/>
                  </a:lnTo>
                  <a:lnTo>
                    <a:pt x="1756" y="844"/>
                  </a:lnTo>
                  <a:lnTo>
                    <a:pt x="1754" y="843"/>
                  </a:lnTo>
                  <a:lnTo>
                    <a:pt x="1754" y="840"/>
                  </a:lnTo>
                  <a:lnTo>
                    <a:pt x="1750" y="839"/>
                  </a:lnTo>
                  <a:lnTo>
                    <a:pt x="1737" y="839"/>
                  </a:lnTo>
                  <a:lnTo>
                    <a:pt x="1732" y="842"/>
                  </a:lnTo>
                  <a:lnTo>
                    <a:pt x="1729" y="840"/>
                  </a:lnTo>
                  <a:lnTo>
                    <a:pt x="1728" y="842"/>
                  </a:lnTo>
                  <a:lnTo>
                    <a:pt x="1725" y="840"/>
                  </a:lnTo>
                  <a:lnTo>
                    <a:pt x="1720" y="845"/>
                  </a:lnTo>
                  <a:lnTo>
                    <a:pt x="1717" y="844"/>
                  </a:lnTo>
                  <a:lnTo>
                    <a:pt x="1700" y="846"/>
                  </a:lnTo>
                  <a:lnTo>
                    <a:pt x="1689" y="851"/>
                  </a:lnTo>
                  <a:lnTo>
                    <a:pt x="1687" y="853"/>
                  </a:lnTo>
                  <a:lnTo>
                    <a:pt x="1685" y="856"/>
                  </a:lnTo>
                  <a:lnTo>
                    <a:pt x="1683" y="857"/>
                  </a:lnTo>
                  <a:lnTo>
                    <a:pt x="1680" y="855"/>
                  </a:lnTo>
                  <a:lnTo>
                    <a:pt x="1676" y="857"/>
                  </a:lnTo>
                  <a:lnTo>
                    <a:pt x="1672" y="857"/>
                  </a:lnTo>
                  <a:lnTo>
                    <a:pt x="1670" y="860"/>
                  </a:lnTo>
                  <a:lnTo>
                    <a:pt x="1668" y="862"/>
                  </a:lnTo>
                  <a:lnTo>
                    <a:pt x="1666" y="864"/>
                  </a:lnTo>
                  <a:lnTo>
                    <a:pt x="1663" y="865"/>
                  </a:lnTo>
                  <a:lnTo>
                    <a:pt x="1661" y="868"/>
                  </a:lnTo>
                  <a:lnTo>
                    <a:pt x="1656" y="868"/>
                  </a:lnTo>
                  <a:lnTo>
                    <a:pt x="1654" y="868"/>
                  </a:lnTo>
                  <a:lnTo>
                    <a:pt x="1653" y="868"/>
                  </a:lnTo>
                  <a:lnTo>
                    <a:pt x="1649" y="868"/>
                  </a:lnTo>
                  <a:lnTo>
                    <a:pt x="1647" y="868"/>
                  </a:lnTo>
                  <a:lnTo>
                    <a:pt x="1645" y="865"/>
                  </a:lnTo>
                  <a:lnTo>
                    <a:pt x="1645" y="864"/>
                  </a:lnTo>
                  <a:lnTo>
                    <a:pt x="1639" y="866"/>
                  </a:lnTo>
                  <a:lnTo>
                    <a:pt x="1634" y="865"/>
                  </a:lnTo>
                  <a:lnTo>
                    <a:pt x="1632" y="866"/>
                  </a:lnTo>
                  <a:lnTo>
                    <a:pt x="1630" y="865"/>
                  </a:lnTo>
                  <a:lnTo>
                    <a:pt x="1625" y="866"/>
                  </a:lnTo>
                  <a:lnTo>
                    <a:pt x="1620" y="866"/>
                  </a:lnTo>
                  <a:lnTo>
                    <a:pt x="1618" y="864"/>
                  </a:lnTo>
                  <a:lnTo>
                    <a:pt x="1612" y="860"/>
                  </a:lnTo>
                  <a:lnTo>
                    <a:pt x="1611" y="856"/>
                  </a:lnTo>
                  <a:lnTo>
                    <a:pt x="1612" y="855"/>
                  </a:lnTo>
                  <a:lnTo>
                    <a:pt x="1611" y="855"/>
                  </a:lnTo>
                  <a:lnTo>
                    <a:pt x="1606" y="856"/>
                  </a:lnTo>
                  <a:lnTo>
                    <a:pt x="1604" y="856"/>
                  </a:lnTo>
                  <a:lnTo>
                    <a:pt x="1603" y="860"/>
                  </a:lnTo>
                  <a:lnTo>
                    <a:pt x="1598" y="872"/>
                  </a:lnTo>
                  <a:lnTo>
                    <a:pt x="1592" y="883"/>
                  </a:lnTo>
                  <a:lnTo>
                    <a:pt x="1588" y="887"/>
                  </a:lnTo>
                  <a:lnTo>
                    <a:pt x="1584" y="889"/>
                  </a:lnTo>
                  <a:lnTo>
                    <a:pt x="1568" y="896"/>
                  </a:lnTo>
                  <a:lnTo>
                    <a:pt x="1563" y="902"/>
                  </a:lnTo>
                  <a:lnTo>
                    <a:pt x="1558" y="906"/>
                  </a:lnTo>
                  <a:lnTo>
                    <a:pt x="1558" y="912"/>
                  </a:lnTo>
                  <a:lnTo>
                    <a:pt x="1557" y="914"/>
                  </a:lnTo>
                  <a:lnTo>
                    <a:pt x="1553" y="919"/>
                  </a:lnTo>
                  <a:lnTo>
                    <a:pt x="1550" y="924"/>
                  </a:lnTo>
                  <a:lnTo>
                    <a:pt x="1550" y="932"/>
                  </a:lnTo>
                  <a:lnTo>
                    <a:pt x="1550" y="934"/>
                  </a:lnTo>
                  <a:lnTo>
                    <a:pt x="1552" y="938"/>
                  </a:lnTo>
                  <a:lnTo>
                    <a:pt x="1553" y="940"/>
                  </a:lnTo>
                  <a:lnTo>
                    <a:pt x="1553" y="942"/>
                  </a:lnTo>
                  <a:lnTo>
                    <a:pt x="1551" y="948"/>
                  </a:lnTo>
                  <a:lnTo>
                    <a:pt x="1548" y="950"/>
                  </a:lnTo>
                  <a:lnTo>
                    <a:pt x="1544" y="956"/>
                  </a:lnTo>
                  <a:lnTo>
                    <a:pt x="1542" y="958"/>
                  </a:lnTo>
                  <a:lnTo>
                    <a:pt x="1540" y="960"/>
                  </a:lnTo>
                  <a:lnTo>
                    <a:pt x="1534" y="964"/>
                  </a:lnTo>
                  <a:lnTo>
                    <a:pt x="1529" y="967"/>
                  </a:lnTo>
                  <a:lnTo>
                    <a:pt x="1527" y="971"/>
                  </a:lnTo>
                  <a:lnTo>
                    <a:pt x="1519" y="974"/>
                  </a:lnTo>
                  <a:lnTo>
                    <a:pt x="1509" y="975"/>
                  </a:lnTo>
                  <a:lnTo>
                    <a:pt x="1507" y="979"/>
                  </a:lnTo>
                  <a:lnTo>
                    <a:pt x="1504" y="980"/>
                  </a:lnTo>
                  <a:lnTo>
                    <a:pt x="1503" y="983"/>
                  </a:lnTo>
                  <a:lnTo>
                    <a:pt x="1501" y="987"/>
                  </a:lnTo>
                  <a:lnTo>
                    <a:pt x="1501" y="990"/>
                  </a:lnTo>
                  <a:lnTo>
                    <a:pt x="1500" y="992"/>
                  </a:lnTo>
                  <a:lnTo>
                    <a:pt x="1498" y="994"/>
                  </a:lnTo>
                  <a:lnTo>
                    <a:pt x="1487" y="1001"/>
                  </a:lnTo>
                  <a:lnTo>
                    <a:pt x="1486" y="1005"/>
                  </a:lnTo>
                  <a:lnTo>
                    <a:pt x="1482" y="1013"/>
                  </a:lnTo>
                  <a:lnTo>
                    <a:pt x="1481" y="1022"/>
                  </a:lnTo>
                  <a:lnTo>
                    <a:pt x="1480" y="1025"/>
                  </a:lnTo>
                  <a:lnTo>
                    <a:pt x="1476" y="1027"/>
                  </a:lnTo>
                  <a:lnTo>
                    <a:pt x="1472" y="1032"/>
                  </a:lnTo>
                  <a:lnTo>
                    <a:pt x="1467" y="1036"/>
                  </a:lnTo>
                  <a:lnTo>
                    <a:pt x="1466" y="1039"/>
                  </a:lnTo>
                  <a:lnTo>
                    <a:pt x="1468" y="1036"/>
                  </a:lnTo>
                  <a:lnTo>
                    <a:pt x="1467" y="1039"/>
                  </a:lnTo>
                  <a:lnTo>
                    <a:pt x="1463" y="1047"/>
                  </a:lnTo>
                  <a:lnTo>
                    <a:pt x="1463" y="1049"/>
                  </a:lnTo>
                  <a:lnTo>
                    <a:pt x="1461" y="1052"/>
                  </a:lnTo>
                  <a:lnTo>
                    <a:pt x="1460" y="1054"/>
                  </a:lnTo>
                  <a:lnTo>
                    <a:pt x="1459" y="1058"/>
                  </a:lnTo>
                  <a:lnTo>
                    <a:pt x="1457" y="1058"/>
                  </a:lnTo>
                  <a:lnTo>
                    <a:pt x="1455" y="1061"/>
                  </a:lnTo>
                  <a:lnTo>
                    <a:pt x="1454" y="1064"/>
                  </a:lnTo>
                  <a:lnTo>
                    <a:pt x="1450" y="1077"/>
                  </a:lnTo>
                  <a:lnTo>
                    <a:pt x="1451" y="1081"/>
                  </a:lnTo>
                  <a:lnTo>
                    <a:pt x="1452" y="1077"/>
                  </a:lnTo>
                  <a:lnTo>
                    <a:pt x="1452" y="1075"/>
                  </a:lnTo>
                  <a:lnTo>
                    <a:pt x="1454" y="1076"/>
                  </a:lnTo>
                  <a:lnTo>
                    <a:pt x="1457" y="1082"/>
                  </a:lnTo>
                  <a:lnTo>
                    <a:pt x="1459" y="1081"/>
                  </a:lnTo>
                  <a:lnTo>
                    <a:pt x="1463" y="1088"/>
                  </a:lnTo>
                  <a:lnTo>
                    <a:pt x="1463" y="1094"/>
                  </a:lnTo>
                  <a:lnTo>
                    <a:pt x="1459" y="1100"/>
                  </a:lnTo>
                  <a:lnTo>
                    <a:pt x="1459" y="1102"/>
                  </a:lnTo>
                  <a:lnTo>
                    <a:pt x="1461" y="1103"/>
                  </a:lnTo>
                  <a:lnTo>
                    <a:pt x="1465" y="1113"/>
                  </a:lnTo>
                  <a:lnTo>
                    <a:pt x="1465" y="1119"/>
                  </a:lnTo>
                  <a:lnTo>
                    <a:pt x="1465" y="1124"/>
                  </a:lnTo>
                  <a:lnTo>
                    <a:pt x="1465" y="1127"/>
                  </a:lnTo>
                  <a:lnTo>
                    <a:pt x="1459" y="1141"/>
                  </a:lnTo>
                  <a:lnTo>
                    <a:pt x="1458" y="1145"/>
                  </a:lnTo>
                  <a:lnTo>
                    <a:pt x="1458" y="1151"/>
                  </a:lnTo>
                  <a:lnTo>
                    <a:pt x="1454" y="1158"/>
                  </a:lnTo>
                  <a:lnTo>
                    <a:pt x="1451" y="1162"/>
                  </a:lnTo>
                  <a:lnTo>
                    <a:pt x="1449" y="1163"/>
                  </a:lnTo>
                  <a:lnTo>
                    <a:pt x="1447" y="1164"/>
                  </a:lnTo>
                  <a:lnTo>
                    <a:pt x="1448" y="1165"/>
                  </a:lnTo>
                  <a:lnTo>
                    <a:pt x="1450" y="1167"/>
                  </a:lnTo>
                  <a:lnTo>
                    <a:pt x="1452" y="1170"/>
                  </a:lnTo>
                  <a:lnTo>
                    <a:pt x="1455" y="1174"/>
                  </a:lnTo>
                  <a:lnTo>
                    <a:pt x="1455" y="1177"/>
                  </a:lnTo>
                  <a:lnTo>
                    <a:pt x="1459" y="1173"/>
                  </a:lnTo>
                  <a:lnTo>
                    <a:pt x="1459" y="1173"/>
                  </a:lnTo>
                  <a:lnTo>
                    <a:pt x="1460" y="1173"/>
                  </a:lnTo>
                  <a:lnTo>
                    <a:pt x="1459" y="1173"/>
                  </a:lnTo>
                  <a:lnTo>
                    <a:pt x="1456" y="1179"/>
                  </a:lnTo>
                  <a:lnTo>
                    <a:pt x="1458" y="1178"/>
                  </a:lnTo>
                  <a:lnTo>
                    <a:pt x="1459" y="1176"/>
                  </a:lnTo>
                  <a:lnTo>
                    <a:pt x="1459" y="1179"/>
                  </a:lnTo>
                  <a:lnTo>
                    <a:pt x="1458" y="1181"/>
                  </a:lnTo>
                  <a:lnTo>
                    <a:pt x="1458" y="1182"/>
                  </a:lnTo>
                  <a:lnTo>
                    <a:pt x="1460" y="1185"/>
                  </a:lnTo>
                  <a:lnTo>
                    <a:pt x="1464" y="1184"/>
                  </a:lnTo>
                  <a:lnTo>
                    <a:pt x="1468" y="1184"/>
                  </a:lnTo>
                  <a:lnTo>
                    <a:pt x="1472" y="1182"/>
                  </a:lnTo>
                  <a:lnTo>
                    <a:pt x="1473" y="1182"/>
                  </a:lnTo>
                  <a:lnTo>
                    <a:pt x="1475" y="1182"/>
                  </a:lnTo>
                  <a:lnTo>
                    <a:pt x="1474" y="1184"/>
                  </a:lnTo>
                  <a:lnTo>
                    <a:pt x="1473" y="1182"/>
                  </a:lnTo>
                  <a:lnTo>
                    <a:pt x="1472" y="1182"/>
                  </a:lnTo>
                  <a:lnTo>
                    <a:pt x="1469" y="1184"/>
                  </a:lnTo>
                  <a:lnTo>
                    <a:pt x="1464" y="1184"/>
                  </a:lnTo>
                  <a:lnTo>
                    <a:pt x="1464" y="1186"/>
                  </a:lnTo>
                  <a:lnTo>
                    <a:pt x="1458" y="1186"/>
                  </a:lnTo>
                  <a:lnTo>
                    <a:pt x="1457" y="1184"/>
                  </a:lnTo>
                  <a:lnTo>
                    <a:pt x="1455" y="1185"/>
                  </a:lnTo>
                  <a:lnTo>
                    <a:pt x="1455" y="1187"/>
                  </a:lnTo>
                  <a:lnTo>
                    <a:pt x="1456" y="1189"/>
                  </a:lnTo>
                  <a:lnTo>
                    <a:pt x="1455" y="1191"/>
                  </a:lnTo>
                  <a:lnTo>
                    <a:pt x="1456" y="1193"/>
                  </a:lnTo>
                  <a:lnTo>
                    <a:pt x="1458" y="1193"/>
                  </a:lnTo>
                  <a:lnTo>
                    <a:pt x="1459" y="1195"/>
                  </a:lnTo>
                  <a:lnTo>
                    <a:pt x="1457" y="1195"/>
                  </a:lnTo>
                  <a:lnTo>
                    <a:pt x="1455" y="1198"/>
                  </a:lnTo>
                  <a:lnTo>
                    <a:pt x="1456" y="1199"/>
                  </a:lnTo>
                  <a:lnTo>
                    <a:pt x="1460" y="1201"/>
                  </a:lnTo>
                  <a:lnTo>
                    <a:pt x="1461" y="1199"/>
                  </a:lnTo>
                  <a:lnTo>
                    <a:pt x="1465" y="1198"/>
                  </a:lnTo>
                  <a:lnTo>
                    <a:pt x="1461" y="1201"/>
                  </a:lnTo>
                  <a:lnTo>
                    <a:pt x="1461" y="1204"/>
                  </a:lnTo>
                  <a:lnTo>
                    <a:pt x="1464" y="1205"/>
                  </a:lnTo>
                  <a:lnTo>
                    <a:pt x="1466" y="1204"/>
                  </a:lnTo>
                  <a:lnTo>
                    <a:pt x="1469" y="1204"/>
                  </a:lnTo>
                  <a:lnTo>
                    <a:pt x="1467" y="1204"/>
                  </a:lnTo>
                  <a:lnTo>
                    <a:pt x="1467" y="1207"/>
                  </a:lnTo>
                  <a:lnTo>
                    <a:pt x="1470" y="1206"/>
                  </a:lnTo>
                  <a:lnTo>
                    <a:pt x="1472" y="1205"/>
                  </a:lnTo>
                  <a:lnTo>
                    <a:pt x="1480" y="1204"/>
                  </a:lnTo>
                  <a:lnTo>
                    <a:pt x="1480" y="1206"/>
                  </a:lnTo>
                  <a:lnTo>
                    <a:pt x="1481" y="1206"/>
                  </a:lnTo>
                  <a:lnTo>
                    <a:pt x="1480" y="1206"/>
                  </a:lnTo>
                  <a:lnTo>
                    <a:pt x="1476" y="1206"/>
                  </a:lnTo>
                  <a:lnTo>
                    <a:pt x="1474" y="1206"/>
                  </a:lnTo>
                  <a:lnTo>
                    <a:pt x="1473" y="1208"/>
                  </a:lnTo>
                  <a:lnTo>
                    <a:pt x="1477" y="1207"/>
                  </a:lnTo>
                  <a:lnTo>
                    <a:pt x="1475" y="1210"/>
                  </a:lnTo>
                  <a:lnTo>
                    <a:pt x="1473" y="1212"/>
                  </a:lnTo>
                  <a:lnTo>
                    <a:pt x="1475" y="1212"/>
                  </a:lnTo>
                  <a:lnTo>
                    <a:pt x="1475" y="1214"/>
                  </a:lnTo>
                  <a:lnTo>
                    <a:pt x="1476" y="1216"/>
                  </a:lnTo>
                  <a:lnTo>
                    <a:pt x="1480" y="1215"/>
                  </a:lnTo>
                  <a:lnTo>
                    <a:pt x="1480" y="1218"/>
                  </a:lnTo>
                  <a:lnTo>
                    <a:pt x="1484" y="1218"/>
                  </a:lnTo>
                  <a:lnTo>
                    <a:pt x="1482" y="1220"/>
                  </a:lnTo>
                  <a:lnTo>
                    <a:pt x="1484" y="1222"/>
                  </a:lnTo>
                  <a:lnTo>
                    <a:pt x="1484" y="1222"/>
                  </a:lnTo>
                  <a:lnTo>
                    <a:pt x="1486" y="1227"/>
                  </a:lnTo>
                  <a:lnTo>
                    <a:pt x="1490" y="1229"/>
                  </a:lnTo>
                  <a:lnTo>
                    <a:pt x="1492" y="1229"/>
                  </a:lnTo>
                  <a:lnTo>
                    <a:pt x="1492" y="1231"/>
                  </a:lnTo>
                  <a:lnTo>
                    <a:pt x="1495" y="1233"/>
                  </a:lnTo>
                  <a:lnTo>
                    <a:pt x="1497" y="1232"/>
                  </a:lnTo>
                  <a:lnTo>
                    <a:pt x="1498" y="1232"/>
                  </a:lnTo>
                  <a:lnTo>
                    <a:pt x="1497" y="1235"/>
                  </a:lnTo>
                  <a:lnTo>
                    <a:pt x="1498" y="1233"/>
                  </a:lnTo>
                  <a:lnTo>
                    <a:pt x="1498" y="1237"/>
                  </a:lnTo>
                  <a:lnTo>
                    <a:pt x="1500" y="1237"/>
                  </a:lnTo>
                  <a:lnTo>
                    <a:pt x="1502" y="1242"/>
                  </a:lnTo>
                  <a:lnTo>
                    <a:pt x="1502" y="1245"/>
                  </a:lnTo>
                  <a:lnTo>
                    <a:pt x="1506" y="1246"/>
                  </a:lnTo>
                  <a:lnTo>
                    <a:pt x="1507" y="1247"/>
                  </a:lnTo>
                  <a:lnTo>
                    <a:pt x="1504" y="1247"/>
                  </a:lnTo>
                  <a:lnTo>
                    <a:pt x="1503" y="1249"/>
                  </a:lnTo>
                  <a:lnTo>
                    <a:pt x="1506" y="1249"/>
                  </a:lnTo>
                  <a:lnTo>
                    <a:pt x="1506" y="1250"/>
                  </a:lnTo>
                  <a:lnTo>
                    <a:pt x="1509" y="1252"/>
                  </a:lnTo>
                  <a:lnTo>
                    <a:pt x="1506" y="1253"/>
                  </a:lnTo>
                  <a:lnTo>
                    <a:pt x="1506" y="1253"/>
                  </a:lnTo>
                  <a:lnTo>
                    <a:pt x="1506" y="1254"/>
                  </a:lnTo>
                  <a:lnTo>
                    <a:pt x="1503" y="1253"/>
                  </a:lnTo>
                  <a:lnTo>
                    <a:pt x="1504" y="1255"/>
                  </a:lnTo>
                  <a:lnTo>
                    <a:pt x="1507" y="1255"/>
                  </a:lnTo>
                  <a:lnTo>
                    <a:pt x="1508" y="1258"/>
                  </a:lnTo>
                  <a:lnTo>
                    <a:pt x="1507" y="1261"/>
                  </a:lnTo>
                  <a:lnTo>
                    <a:pt x="1512" y="1263"/>
                  </a:lnTo>
                  <a:lnTo>
                    <a:pt x="1514" y="1263"/>
                  </a:lnTo>
                  <a:lnTo>
                    <a:pt x="1516" y="1265"/>
                  </a:lnTo>
                  <a:lnTo>
                    <a:pt x="1518" y="1264"/>
                  </a:lnTo>
                  <a:lnTo>
                    <a:pt x="1515" y="1265"/>
                  </a:lnTo>
                  <a:lnTo>
                    <a:pt x="1516" y="1267"/>
                  </a:lnTo>
                  <a:lnTo>
                    <a:pt x="1518" y="1268"/>
                  </a:lnTo>
                  <a:lnTo>
                    <a:pt x="1526" y="1273"/>
                  </a:lnTo>
                  <a:lnTo>
                    <a:pt x="1526" y="1273"/>
                  </a:lnTo>
                  <a:lnTo>
                    <a:pt x="1528" y="1274"/>
                  </a:lnTo>
                  <a:lnTo>
                    <a:pt x="1529" y="1276"/>
                  </a:lnTo>
                  <a:lnTo>
                    <a:pt x="1533" y="1279"/>
                  </a:lnTo>
                  <a:lnTo>
                    <a:pt x="1536" y="1281"/>
                  </a:lnTo>
                  <a:lnTo>
                    <a:pt x="1537" y="1281"/>
                  </a:lnTo>
                  <a:lnTo>
                    <a:pt x="1536" y="1282"/>
                  </a:lnTo>
                  <a:lnTo>
                    <a:pt x="1540" y="1283"/>
                  </a:lnTo>
                  <a:lnTo>
                    <a:pt x="1543" y="1284"/>
                  </a:lnTo>
                  <a:lnTo>
                    <a:pt x="1546" y="1288"/>
                  </a:lnTo>
                  <a:lnTo>
                    <a:pt x="1548" y="1289"/>
                  </a:lnTo>
                  <a:lnTo>
                    <a:pt x="1553" y="1293"/>
                  </a:lnTo>
                  <a:lnTo>
                    <a:pt x="1555" y="1297"/>
                  </a:lnTo>
                  <a:lnTo>
                    <a:pt x="1561" y="1300"/>
                  </a:lnTo>
                  <a:lnTo>
                    <a:pt x="1579" y="1309"/>
                  </a:lnTo>
                  <a:lnTo>
                    <a:pt x="1582" y="1309"/>
                  </a:lnTo>
                  <a:lnTo>
                    <a:pt x="1582" y="1309"/>
                  </a:lnTo>
                  <a:lnTo>
                    <a:pt x="1584" y="1308"/>
                  </a:lnTo>
                  <a:lnTo>
                    <a:pt x="1586" y="1307"/>
                  </a:lnTo>
                  <a:lnTo>
                    <a:pt x="1604" y="1300"/>
                  </a:lnTo>
                  <a:lnTo>
                    <a:pt x="1610" y="1299"/>
                  </a:lnTo>
                  <a:lnTo>
                    <a:pt x="1617" y="1298"/>
                  </a:lnTo>
                  <a:lnTo>
                    <a:pt x="1613" y="1297"/>
                  </a:lnTo>
                  <a:lnTo>
                    <a:pt x="1611" y="1298"/>
                  </a:lnTo>
                  <a:lnTo>
                    <a:pt x="1612" y="1297"/>
                  </a:lnTo>
                  <a:lnTo>
                    <a:pt x="1617" y="1297"/>
                  </a:lnTo>
                  <a:lnTo>
                    <a:pt x="1617" y="1298"/>
                  </a:lnTo>
                  <a:lnTo>
                    <a:pt x="1619" y="1298"/>
                  </a:lnTo>
                  <a:lnTo>
                    <a:pt x="1630" y="1297"/>
                  </a:lnTo>
                  <a:lnTo>
                    <a:pt x="1629" y="1297"/>
                  </a:lnTo>
                  <a:lnTo>
                    <a:pt x="1623" y="1297"/>
                  </a:lnTo>
                  <a:lnTo>
                    <a:pt x="1621" y="1297"/>
                  </a:lnTo>
                  <a:lnTo>
                    <a:pt x="1619" y="1298"/>
                  </a:lnTo>
                  <a:lnTo>
                    <a:pt x="1619" y="1297"/>
                  </a:lnTo>
                  <a:lnTo>
                    <a:pt x="1626" y="1296"/>
                  </a:lnTo>
                  <a:lnTo>
                    <a:pt x="1629" y="1297"/>
                  </a:lnTo>
                  <a:lnTo>
                    <a:pt x="1630" y="1297"/>
                  </a:lnTo>
                  <a:lnTo>
                    <a:pt x="1630" y="1296"/>
                  </a:lnTo>
                  <a:lnTo>
                    <a:pt x="1632" y="1297"/>
                  </a:lnTo>
                  <a:lnTo>
                    <a:pt x="1632" y="1297"/>
                  </a:lnTo>
                  <a:lnTo>
                    <a:pt x="1630" y="1297"/>
                  </a:lnTo>
                  <a:lnTo>
                    <a:pt x="1634" y="1298"/>
                  </a:lnTo>
                  <a:lnTo>
                    <a:pt x="1634" y="1297"/>
                  </a:lnTo>
                  <a:lnTo>
                    <a:pt x="1636" y="1298"/>
                  </a:lnTo>
                  <a:lnTo>
                    <a:pt x="1639" y="1298"/>
                  </a:lnTo>
                  <a:lnTo>
                    <a:pt x="1640" y="1296"/>
                  </a:lnTo>
                  <a:lnTo>
                    <a:pt x="1640" y="1296"/>
                  </a:lnTo>
                  <a:lnTo>
                    <a:pt x="1642" y="1298"/>
                  </a:lnTo>
                  <a:lnTo>
                    <a:pt x="1645" y="1299"/>
                  </a:lnTo>
                  <a:lnTo>
                    <a:pt x="1643" y="1299"/>
                  </a:lnTo>
                  <a:lnTo>
                    <a:pt x="1653" y="1301"/>
                  </a:lnTo>
                  <a:lnTo>
                    <a:pt x="1656" y="1304"/>
                  </a:lnTo>
                  <a:lnTo>
                    <a:pt x="1662" y="1301"/>
                  </a:lnTo>
                  <a:lnTo>
                    <a:pt x="1662" y="1300"/>
                  </a:lnTo>
                  <a:lnTo>
                    <a:pt x="1671" y="1297"/>
                  </a:lnTo>
                  <a:lnTo>
                    <a:pt x="1674" y="1297"/>
                  </a:lnTo>
                  <a:lnTo>
                    <a:pt x="1680" y="1293"/>
                  </a:lnTo>
                  <a:lnTo>
                    <a:pt x="1685" y="1292"/>
                  </a:lnTo>
                  <a:lnTo>
                    <a:pt x="1687" y="1290"/>
                  </a:lnTo>
                  <a:lnTo>
                    <a:pt x="1693" y="1290"/>
                  </a:lnTo>
                  <a:lnTo>
                    <a:pt x="1694" y="1289"/>
                  </a:lnTo>
                  <a:lnTo>
                    <a:pt x="1691" y="1285"/>
                  </a:lnTo>
                  <a:lnTo>
                    <a:pt x="1689" y="1285"/>
                  </a:lnTo>
                  <a:lnTo>
                    <a:pt x="1688" y="1285"/>
                  </a:lnTo>
                  <a:lnTo>
                    <a:pt x="1691" y="1285"/>
                  </a:lnTo>
                  <a:lnTo>
                    <a:pt x="1693" y="1287"/>
                  </a:lnTo>
                  <a:lnTo>
                    <a:pt x="1694" y="1289"/>
                  </a:lnTo>
                  <a:lnTo>
                    <a:pt x="1697" y="1290"/>
                  </a:lnTo>
                  <a:lnTo>
                    <a:pt x="1699" y="1287"/>
                  </a:lnTo>
                  <a:lnTo>
                    <a:pt x="1702" y="1285"/>
                  </a:lnTo>
                  <a:lnTo>
                    <a:pt x="1704" y="1284"/>
                  </a:lnTo>
                  <a:lnTo>
                    <a:pt x="1707" y="1283"/>
                  </a:lnTo>
                  <a:lnTo>
                    <a:pt x="1711" y="1282"/>
                  </a:lnTo>
                  <a:lnTo>
                    <a:pt x="1719" y="1282"/>
                  </a:lnTo>
                  <a:lnTo>
                    <a:pt x="1730" y="1281"/>
                  </a:lnTo>
                  <a:lnTo>
                    <a:pt x="1731" y="1280"/>
                  </a:lnTo>
                  <a:lnTo>
                    <a:pt x="1736" y="1278"/>
                  </a:lnTo>
                  <a:lnTo>
                    <a:pt x="1733" y="1280"/>
                  </a:lnTo>
                  <a:lnTo>
                    <a:pt x="1731" y="1280"/>
                  </a:lnTo>
                  <a:lnTo>
                    <a:pt x="1733" y="1281"/>
                  </a:lnTo>
                  <a:lnTo>
                    <a:pt x="1737" y="1280"/>
                  </a:lnTo>
                  <a:lnTo>
                    <a:pt x="1743" y="1281"/>
                  </a:lnTo>
                  <a:lnTo>
                    <a:pt x="1749" y="1284"/>
                  </a:lnTo>
                  <a:lnTo>
                    <a:pt x="1754" y="1289"/>
                  </a:lnTo>
                  <a:lnTo>
                    <a:pt x="1755" y="1289"/>
                  </a:lnTo>
                  <a:lnTo>
                    <a:pt x="1757" y="1288"/>
                  </a:lnTo>
                  <a:lnTo>
                    <a:pt x="1755" y="1289"/>
                  </a:lnTo>
                  <a:lnTo>
                    <a:pt x="1755" y="1292"/>
                  </a:lnTo>
                  <a:lnTo>
                    <a:pt x="1758" y="1290"/>
                  </a:lnTo>
                  <a:lnTo>
                    <a:pt x="1757" y="1291"/>
                  </a:lnTo>
                  <a:lnTo>
                    <a:pt x="1760" y="1292"/>
                  </a:lnTo>
                  <a:lnTo>
                    <a:pt x="1757" y="1292"/>
                  </a:lnTo>
                  <a:lnTo>
                    <a:pt x="1758" y="1295"/>
                  </a:lnTo>
                  <a:lnTo>
                    <a:pt x="1762" y="1293"/>
                  </a:lnTo>
                  <a:lnTo>
                    <a:pt x="1762" y="1295"/>
                  </a:lnTo>
                  <a:lnTo>
                    <a:pt x="1759" y="1296"/>
                  </a:lnTo>
                  <a:lnTo>
                    <a:pt x="1759" y="1301"/>
                  </a:lnTo>
                  <a:lnTo>
                    <a:pt x="1763" y="1307"/>
                  </a:lnTo>
                  <a:lnTo>
                    <a:pt x="1766" y="1308"/>
                  </a:lnTo>
                  <a:lnTo>
                    <a:pt x="1767" y="1308"/>
                  </a:lnTo>
                  <a:lnTo>
                    <a:pt x="1768" y="1310"/>
                  </a:lnTo>
                  <a:lnTo>
                    <a:pt x="1771" y="1307"/>
                  </a:lnTo>
                  <a:lnTo>
                    <a:pt x="1771" y="1310"/>
                  </a:lnTo>
                  <a:lnTo>
                    <a:pt x="1773" y="1309"/>
                  </a:lnTo>
                  <a:lnTo>
                    <a:pt x="1774" y="1307"/>
                  </a:lnTo>
                  <a:lnTo>
                    <a:pt x="1776" y="1306"/>
                  </a:lnTo>
                  <a:lnTo>
                    <a:pt x="1776" y="1306"/>
                  </a:lnTo>
                  <a:lnTo>
                    <a:pt x="1776" y="1308"/>
                  </a:lnTo>
                  <a:lnTo>
                    <a:pt x="1777" y="1309"/>
                  </a:lnTo>
                  <a:lnTo>
                    <a:pt x="1777" y="1302"/>
                  </a:lnTo>
                  <a:lnTo>
                    <a:pt x="1779" y="1308"/>
                  </a:lnTo>
                  <a:lnTo>
                    <a:pt x="1780" y="1307"/>
                  </a:lnTo>
                  <a:lnTo>
                    <a:pt x="1780" y="1305"/>
                  </a:lnTo>
                  <a:lnTo>
                    <a:pt x="1781" y="1305"/>
                  </a:lnTo>
                  <a:lnTo>
                    <a:pt x="1781" y="1307"/>
                  </a:lnTo>
                  <a:lnTo>
                    <a:pt x="1782" y="1305"/>
                  </a:lnTo>
                  <a:lnTo>
                    <a:pt x="1784" y="1306"/>
                  </a:lnTo>
                  <a:lnTo>
                    <a:pt x="1785" y="1306"/>
                  </a:lnTo>
                  <a:lnTo>
                    <a:pt x="1788" y="1306"/>
                  </a:lnTo>
                  <a:lnTo>
                    <a:pt x="1788" y="1304"/>
                  </a:lnTo>
                  <a:lnTo>
                    <a:pt x="1789" y="1306"/>
                  </a:lnTo>
                  <a:lnTo>
                    <a:pt x="1791" y="1307"/>
                  </a:lnTo>
                  <a:lnTo>
                    <a:pt x="1797" y="1306"/>
                  </a:lnTo>
                  <a:lnTo>
                    <a:pt x="1799" y="1306"/>
                  </a:lnTo>
                  <a:lnTo>
                    <a:pt x="1797" y="1300"/>
                  </a:lnTo>
                  <a:lnTo>
                    <a:pt x="1799" y="1302"/>
                  </a:lnTo>
                  <a:lnTo>
                    <a:pt x="1800" y="1302"/>
                  </a:lnTo>
                  <a:lnTo>
                    <a:pt x="1802" y="1302"/>
                  </a:lnTo>
                  <a:lnTo>
                    <a:pt x="1801" y="1306"/>
                  </a:lnTo>
                  <a:lnTo>
                    <a:pt x="1804" y="1307"/>
                  </a:lnTo>
                  <a:lnTo>
                    <a:pt x="1804" y="1305"/>
                  </a:lnTo>
                  <a:lnTo>
                    <a:pt x="1806" y="1306"/>
                  </a:lnTo>
                  <a:lnTo>
                    <a:pt x="1806" y="1305"/>
                  </a:lnTo>
                  <a:lnTo>
                    <a:pt x="1807" y="1310"/>
                  </a:lnTo>
                  <a:lnTo>
                    <a:pt x="1809" y="1314"/>
                  </a:lnTo>
                  <a:lnTo>
                    <a:pt x="1813" y="1314"/>
                  </a:lnTo>
                  <a:lnTo>
                    <a:pt x="1813" y="1315"/>
                  </a:lnTo>
                  <a:lnTo>
                    <a:pt x="1814" y="1314"/>
                  </a:lnTo>
                  <a:lnTo>
                    <a:pt x="1815" y="1314"/>
                  </a:lnTo>
                  <a:lnTo>
                    <a:pt x="1815" y="1314"/>
                  </a:lnTo>
                  <a:lnTo>
                    <a:pt x="1814" y="1313"/>
                  </a:lnTo>
                  <a:lnTo>
                    <a:pt x="1817" y="1313"/>
                  </a:lnTo>
                  <a:lnTo>
                    <a:pt x="1817" y="1313"/>
                  </a:lnTo>
                  <a:lnTo>
                    <a:pt x="1817" y="1313"/>
                  </a:lnTo>
                  <a:lnTo>
                    <a:pt x="1818" y="1316"/>
                  </a:lnTo>
                  <a:lnTo>
                    <a:pt x="1817" y="1316"/>
                  </a:lnTo>
                  <a:lnTo>
                    <a:pt x="1817" y="1319"/>
                  </a:lnTo>
                  <a:lnTo>
                    <a:pt x="1819" y="1319"/>
                  </a:lnTo>
                  <a:lnTo>
                    <a:pt x="1818" y="1322"/>
                  </a:lnTo>
                  <a:lnTo>
                    <a:pt x="1821" y="1324"/>
                  </a:lnTo>
                  <a:lnTo>
                    <a:pt x="1822" y="1326"/>
                  </a:lnTo>
                  <a:lnTo>
                    <a:pt x="1819" y="1330"/>
                  </a:lnTo>
                  <a:lnTo>
                    <a:pt x="1818" y="1340"/>
                  </a:lnTo>
                  <a:lnTo>
                    <a:pt x="1819" y="1342"/>
                  </a:lnTo>
                  <a:lnTo>
                    <a:pt x="1817" y="1347"/>
                  </a:lnTo>
                  <a:lnTo>
                    <a:pt x="1818" y="1347"/>
                  </a:lnTo>
                  <a:lnTo>
                    <a:pt x="1816" y="1347"/>
                  </a:lnTo>
                  <a:lnTo>
                    <a:pt x="1814" y="1350"/>
                  </a:lnTo>
                  <a:lnTo>
                    <a:pt x="1813" y="1352"/>
                  </a:lnTo>
                  <a:lnTo>
                    <a:pt x="1816" y="1353"/>
                  </a:lnTo>
                  <a:lnTo>
                    <a:pt x="1818" y="1353"/>
                  </a:lnTo>
                  <a:lnTo>
                    <a:pt x="1819" y="1355"/>
                  </a:lnTo>
                  <a:lnTo>
                    <a:pt x="1816" y="1355"/>
                  </a:lnTo>
                  <a:lnTo>
                    <a:pt x="1816" y="1360"/>
                  </a:lnTo>
                  <a:lnTo>
                    <a:pt x="1814" y="1359"/>
                  </a:lnTo>
                  <a:lnTo>
                    <a:pt x="1814" y="1362"/>
                  </a:lnTo>
                  <a:lnTo>
                    <a:pt x="1816" y="1365"/>
                  </a:lnTo>
                  <a:lnTo>
                    <a:pt x="1819" y="1366"/>
                  </a:lnTo>
                  <a:lnTo>
                    <a:pt x="1822" y="1366"/>
                  </a:lnTo>
                  <a:lnTo>
                    <a:pt x="1816" y="1367"/>
                  </a:lnTo>
                  <a:lnTo>
                    <a:pt x="1814" y="1366"/>
                  </a:lnTo>
                  <a:lnTo>
                    <a:pt x="1813" y="1373"/>
                  </a:lnTo>
                  <a:lnTo>
                    <a:pt x="1809" y="1378"/>
                  </a:lnTo>
                  <a:lnTo>
                    <a:pt x="1808" y="1381"/>
                  </a:lnTo>
                  <a:lnTo>
                    <a:pt x="1807" y="1378"/>
                  </a:lnTo>
                  <a:lnTo>
                    <a:pt x="1807" y="1378"/>
                  </a:lnTo>
                  <a:lnTo>
                    <a:pt x="1806" y="1378"/>
                  </a:lnTo>
                  <a:lnTo>
                    <a:pt x="1806" y="1381"/>
                  </a:lnTo>
                  <a:lnTo>
                    <a:pt x="1807" y="1382"/>
                  </a:lnTo>
                  <a:lnTo>
                    <a:pt x="1807" y="1383"/>
                  </a:lnTo>
                  <a:lnTo>
                    <a:pt x="1808" y="1386"/>
                  </a:lnTo>
                  <a:lnTo>
                    <a:pt x="1810" y="1387"/>
                  </a:lnTo>
                  <a:lnTo>
                    <a:pt x="1813" y="1390"/>
                  </a:lnTo>
                  <a:lnTo>
                    <a:pt x="1816" y="1391"/>
                  </a:lnTo>
                  <a:lnTo>
                    <a:pt x="1813" y="1391"/>
                  </a:lnTo>
                  <a:lnTo>
                    <a:pt x="1810" y="1389"/>
                  </a:lnTo>
                  <a:lnTo>
                    <a:pt x="1808" y="1386"/>
                  </a:lnTo>
                  <a:lnTo>
                    <a:pt x="1811" y="1392"/>
                  </a:lnTo>
                  <a:lnTo>
                    <a:pt x="1813" y="1394"/>
                  </a:lnTo>
                  <a:lnTo>
                    <a:pt x="1815" y="1395"/>
                  </a:lnTo>
                  <a:lnTo>
                    <a:pt x="1815" y="1395"/>
                  </a:lnTo>
                  <a:lnTo>
                    <a:pt x="1816" y="1401"/>
                  </a:lnTo>
                  <a:lnTo>
                    <a:pt x="1819" y="1402"/>
                  </a:lnTo>
                  <a:lnTo>
                    <a:pt x="1822" y="1403"/>
                  </a:lnTo>
                  <a:lnTo>
                    <a:pt x="1822" y="1404"/>
                  </a:lnTo>
                  <a:lnTo>
                    <a:pt x="1819" y="1403"/>
                  </a:lnTo>
                  <a:lnTo>
                    <a:pt x="1821" y="1406"/>
                  </a:lnTo>
                  <a:lnTo>
                    <a:pt x="1831" y="1413"/>
                  </a:lnTo>
                  <a:lnTo>
                    <a:pt x="1831" y="1415"/>
                  </a:lnTo>
                  <a:lnTo>
                    <a:pt x="1838" y="1422"/>
                  </a:lnTo>
                  <a:lnTo>
                    <a:pt x="1844" y="1429"/>
                  </a:lnTo>
                  <a:lnTo>
                    <a:pt x="1845" y="1433"/>
                  </a:lnTo>
                  <a:lnTo>
                    <a:pt x="1849" y="1437"/>
                  </a:lnTo>
                  <a:lnTo>
                    <a:pt x="1851" y="1437"/>
                  </a:lnTo>
                  <a:lnTo>
                    <a:pt x="1850" y="1439"/>
                  </a:lnTo>
                  <a:lnTo>
                    <a:pt x="1851" y="1442"/>
                  </a:lnTo>
                  <a:lnTo>
                    <a:pt x="1851" y="1445"/>
                  </a:lnTo>
                  <a:lnTo>
                    <a:pt x="1852" y="1447"/>
                  </a:lnTo>
                  <a:lnTo>
                    <a:pt x="1853" y="1450"/>
                  </a:lnTo>
                  <a:lnTo>
                    <a:pt x="1856" y="1451"/>
                  </a:lnTo>
                  <a:lnTo>
                    <a:pt x="1858" y="1451"/>
                  </a:lnTo>
                  <a:lnTo>
                    <a:pt x="1861" y="1449"/>
                  </a:lnTo>
                  <a:lnTo>
                    <a:pt x="1865" y="1449"/>
                  </a:lnTo>
                  <a:lnTo>
                    <a:pt x="1864" y="1450"/>
                  </a:lnTo>
                  <a:lnTo>
                    <a:pt x="1861" y="1451"/>
                  </a:lnTo>
                  <a:lnTo>
                    <a:pt x="1858" y="1451"/>
                  </a:lnTo>
                  <a:lnTo>
                    <a:pt x="1853" y="1453"/>
                  </a:lnTo>
                  <a:lnTo>
                    <a:pt x="1854" y="1455"/>
                  </a:lnTo>
                  <a:lnTo>
                    <a:pt x="1858" y="1461"/>
                  </a:lnTo>
                  <a:lnTo>
                    <a:pt x="1860" y="1463"/>
                  </a:lnTo>
                  <a:lnTo>
                    <a:pt x="1860" y="1466"/>
                  </a:lnTo>
                  <a:lnTo>
                    <a:pt x="1860" y="1467"/>
                  </a:lnTo>
                  <a:lnTo>
                    <a:pt x="1862" y="1472"/>
                  </a:lnTo>
                  <a:lnTo>
                    <a:pt x="1868" y="1483"/>
                  </a:lnTo>
                  <a:lnTo>
                    <a:pt x="1868" y="1486"/>
                  </a:lnTo>
                  <a:lnTo>
                    <a:pt x="1867" y="1489"/>
                  </a:lnTo>
                  <a:lnTo>
                    <a:pt x="1862" y="1493"/>
                  </a:lnTo>
                  <a:lnTo>
                    <a:pt x="1864" y="1495"/>
                  </a:lnTo>
                  <a:lnTo>
                    <a:pt x="1865" y="1497"/>
                  </a:lnTo>
                  <a:lnTo>
                    <a:pt x="1866" y="1500"/>
                  </a:lnTo>
                  <a:lnTo>
                    <a:pt x="1866" y="1502"/>
                  </a:lnTo>
                  <a:lnTo>
                    <a:pt x="1870" y="1512"/>
                  </a:lnTo>
                  <a:lnTo>
                    <a:pt x="1873" y="1515"/>
                  </a:lnTo>
                  <a:lnTo>
                    <a:pt x="1875" y="1521"/>
                  </a:lnTo>
                  <a:lnTo>
                    <a:pt x="1873" y="1532"/>
                  </a:lnTo>
                  <a:lnTo>
                    <a:pt x="1870" y="1538"/>
                  </a:lnTo>
                  <a:lnTo>
                    <a:pt x="1869" y="1540"/>
                  </a:lnTo>
                  <a:lnTo>
                    <a:pt x="1867" y="1541"/>
                  </a:lnTo>
                  <a:lnTo>
                    <a:pt x="1864" y="1544"/>
                  </a:lnTo>
                  <a:lnTo>
                    <a:pt x="1860" y="1549"/>
                  </a:lnTo>
                  <a:lnTo>
                    <a:pt x="1858" y="1552"/>
                  </a:lnTo>
                  <a:lnTo>
                    <a:pt x="1856" y="1554"/>
                  </a:lnTo>
                  <a:lnTo>
                    <a:pt x="1856" y="1558"/>
                  </a:lnTo>
                  <a:lnTo>
                    <a:pt x="1854" y="1561"/>
                  </a:lnTo>
                  <a:lnTo>
                    <a:pt x="1853" y="1572"/>
                  </a:lnTo>
                  <a:lnTo>
                    <a:pt x="1850" y="1579"/>
                  </a:lnTo>
                  <a:lnTo>
                    <a:pt x="1850" y="1581"/>
                  </a:lnTo>
                  <a:lnTo>
                    <a:pt x="1850" y="1583"/>
                  </a:lnTo>
                  <a:lnTo>
                    <a:pt x="1845" y="1588"/>
                  </a:lnTo>
                  <a:lnTo>
                    <a:pt x="1847" y="1599"/>
                  </a:lnTo>
                  <a:lnTo>
                    <a:pt x="1845" y="1610"/>
                  </a:lnTo>
                  <a:lnTo>
                    <a:pt x="1845" y="1615"/>
                  </a:lnTo>
                  <a:lnTo>
                    <a:pt x="1845" y="1618"/>
                  </a:lnTo>
                  <a:lnTo>
                    <a:pt x="1848" y="1621"/>
                  </a:lnTo>
                  <a:lnTo>
                    <a:pt x="1849" y="1623"/>
                  </a:lnTo>
                  <a:lnTo>
                    <a:pt x="1853" y="1629"/>
                  </a:lnTo>
                  <a:lnTo>
                    <a:pt x="1857" y="1633"/>
                  </a:lnTo>
                  <a:lnTo>
                    <a:pt x="1864" y="1646"/>
                  </a:lnTo>
                  <a:lnTo>
                    <a:pt x="1865" y="1649"/>
                  </a:lnTo>
                  <a:lnTo>
                    <a:pt x="1868" y="1657"/>
                  </a:lnTo>
                  <a:lnTo>
                    <a:pt x="1870" y="1663"/>
                  </a:lnTo>
                  <a:lnTo>
                    <a:pt x="1873" y="1666"/>
                  </a:lnTo>
                  <a:lnTo>
                    <a:pt x="1877" y="1673"/>
                  </a:lnTo>
                  <a:lnTo>
                    <a:pt x="1879" y="1676"/>
                  </a:lnTo>
                  <a:lnTo>
                    <a:pt x="1883" y="1682"/>
                  </a:lnTo>
                  <a:lnTo>
                    <a:pt x="1884" y="1684"/>
                  </a:lnTo>
                  <a:lnTo>
                    <a:pt x="1884" y="1687"/>
                  </a:lnTo>
                  <a:lnTo>
                    <a:pt x="1882" y="1690"/>
                  </a:lnTo>
                  <a:lnTo>
                    <a:pt x="1883" y="1694"/>
                  </a:lnTo>
                  <a:lnTo>
                    <a:pt x="1883" y="1697"/>
                  </a:lnTo>
                  <a:lnTo>
                    <a:pt x="1884" y="1702"/>
                  </a:lnTo>
                  <a:lnTo>
                    <a:pt x="1883" y="1704"/>
                  </a:lnTo>
                  <a:lnTo>
                    <a:pt x="1885" y="1710"/>
                  </a:lnTo>
                  <a:lnTo>
                    <a:pt x="1885" y="1712"/>
                  </a:lnTo>
                  <a:lnTo>
                    <a:pt x="1887" y="1716"/>
                  </a:lnTo>
                  <a:lnTo>
                    <a:pt x="1887" y="1718"/>
                  </a:lnTo>
                  <a:lnTo>
                    <a:pt x="1887" y="1724"/>
                  </a:lnTo>
                  <a:lnTo>
                    <a:pt x="1888" y="1726"/>
                  </a:lnTo>
                  <a:lnTo>
                    <a:pt x="1887" y="1728"/>
                  </a:lnTo>
                  <a:lnTo>
                    <a:pt x="1890" y="1734"/>
                  </a:lnTo>
                  <a:lnTo>
                    <a:pt x="1890" y="1737"/>
                  </a:lnTo>
                  <a:lnTo>
                    <a:pt x="1892" y="1738"/>
                  </a:lnTo>
                  <a:lnTo>
                    <a:pt x="1892" y="1742"/>
                  </a:lnTo>
                  <a:lnTo>
                    <a:pt x="1892" y="1744"/>
                  </a:lnTo>
                  <a:lnTo>
                    <a:pt x="1893" y="1746"/>
                  </a:lnTo>
                  <a:lnTo>
                    <a:pt x="1894" y="1752"/>
                  </a:lnTo>
                  <a:lnTo>
                    <a:pt x="1899" y="1760"/>
                  </a:lnTo>
                  <a:lnTo>
                    <a:pt x="1901" y="1763"/>
                  </a:lnTo>
                  <a:lnTo>
                    <a:pt x="1910" y="1771"/>
                  </a:lnTo>
                  <a:lnTo>
                    <a:pt x="1910" y="1771"/>
                  </a:lnTo>
                  <a:lnTo>
                    <a:pt x="1911" y="1774"/>
                  </a:lnTo>
                  <a:lnTo>
                    <a:pt x="1915" y="1779"/>
                  </a:lnTo>
                  <a:lnTo>
                    <a:pt x="1918" y="1787"/>
                  </a:lnTo>
                  <a:lnTo>
                    <a:pt x="1919" y="1789"/>
                  </a:lnTo>
                  <a:lnTo>
                    <a:pt x="1921" y="1797"/>
                  </a:lnTo>
                  <a:lnTo>
                    <a:pt x="1926" y="1805"/>
                  </a:lnTo>
                  <a:lnTo>
                    <a:pt x="1929" y="1812"/>
                  </a:lnTo>
                  <a:lnTo>
                    <a:pt x="1934" y="1818"/>
                  </a:lnTo>
                  <a:lnTo>
                    <a:pt x="1935" y="1820"/>
                  </a:lnTo>
                  <a:lnTo>
                    <a:pt x="1936" y="1827"/>
                  </a:lnTo>
                  <a:lnTo>
                    <a:pt x="1936" y="1829"/>
                  </a:lnTo>
                  <a:lnTo>
                    <a:pt x="1935" y="1832"/>
                  </a:lnTo>
                  <a:lnTo>
                    <a:pt x="1933" y="1834"/>
                  </a:lnTo>
                  <a:lnTo>
                    <a:pt x="1930" y="1834"/>
                  </a:lnTo>
                  <a:lnTo>
                    <a:pt x="1929" y="1836"/>
                  </a:lnTo>
                  <a:lnTo>
                    <a:pt x="1932" y="1837"/>
                  </a:lnTo>
                  <a:lnTo>
                    <a:pt x="1933" y="1840"/>
                  </a:lnTo>
                  <a:lnTo>
                    <a:pt x="1933" y="1841"/>
                  </a:lnTo>
                  <a:lnTo>
                    <a:pt x="1935" y="1844"/>
                  </a:lnTo>
                  <a:lnTo>
                    <a:pt x="1937" y="1848"/>
                  </a:lnTo>
                  <a:lnTo>
                    <a:pt x="1936" y="1853"/>
                  </a:lnTo>
                  <a:lnTo>
                    <a:pt x="1936" y="1856"/>
                  </a:lnTo>
                  <a:lnTo>
                    <a:pt x="1938" y="1858"/>
                  </a:lnTo>
                  <a:lnTo>
                    <a:pt x="1937" y="1855"/>
                  </a:lnTo>
                  <a:lnTo>
                    <a:pt x="1938" y="1854"/>
                  </a:lnTo>
                  <a:lnTo>
                    <a:pt x="1941" y="1854"/>
                  </a:lnTo>
                  <a:lnTo>
                    <a:pt x="1943" y="1854"/>
                  </a:lnTo>
                  <a:lnTo>
                    <a:pt x="1943" y="1856"/>
                  </a:lnTo>
                  <a:lnTo>
                    <a:pt x="1944" y="1858"/>
                  </a:lnTo>
                  <a:lnTo>
                    <a:pt x="1946" y="1858"/>
                  </a:lnTo>
                  <a:lnTo>
                    <a:pt x="1949" y="1860"/>
                  </a:lnTo>
                  <a:lnTo>
                    <a:pt x="1950" y="1862"/>
                  </a:lnTo>
                  <a:lnTo>
                    <a:pt x="1951" y="1862"/>
                  </a:lnTo>
                  <a:lnTo>
                    <a:pt x="1953" y="1864"/>
                  </a:lnTo>
                  <a:lnTo>
                    <a:pt x="1955" y="1864"/>
                  </a:lnTo>
                  <a:lnTo>
                    <a:pt x="1959" y="1865"/>
                  </a:lnTo>
                  <a:lnTo>
                    <a:pt x="1967" y="1860"/>
                  </a:lnTo>
                  <a:lnTo>
                    <a:pt x="1970" y="1860"/>
                  </a:lnTo>
                  <a:lnTo>
                    <a:pt x="1970" y="1858"/>
                  </a:lnTo>
                  <a:lnTo>
                    <a:pt x="1972" y="1858"/>
                  </a:lnTo>
                  <a:lnTo>
                    <a:pt x="1976" y="1860"/>
                  </a:lnTo>
                  <a:lnTo>
                    <a:pt x="1984" y="1858"/>
                  </a:lnTo>
                  <a:lnTo>
                    <a:pt x="1989" y="1854"/>
                  </a:lnTo>
                  <a:lnTo>
                    <a:pt x="1992" y="1854"/>
                  </a:lnTo>
                  <a:lnTo>
                    <a:pt x="1993" y="1854"/>
                  </a:lnTo>
                  <a:lnTo>
                    <a:pt x="1995" y="1853"/>
                  </a:lnTo>
                  <a:lnTo>
                    <a:pt x="1996" y="1853"/>
                  </a:lnTo>
                  <a:lnTo>
                    <a:pt x="1996" y="1853"/>
                  </a:lnTo>
                  <a:lnTo>
                    <a:pt x="1997" y="1853"/>
                  </a:lnTo>
                  <a:lnTo>
                    <a:pt x="1999" y="1854"/>
                  </a:lnTo>
                  <a:lnTo>
                    <a:pt x="2001" y="1854"/>
                  </a:lnTo>
                  <a:lnTo>
                    <a:pt x="2003" y="1854"/>
                  </a:lnTo>
                  <a:lnTo>
                    <a:pt x="2005" y="1853"/>
                  </a:lnTo>
                  <a:lnTo>
                    <a:pt x="2009" y="1853"/>
                  </a:lnTo>
                  <a:lnTo>
                    <a:pt x="2024" y="1855"/>
                  </a:lnTo>
                  <a:lnTo>
                    <a:pt x="2026" y="1853"/>
                  </a:lnTo>
                  <a:lnTo>
                    <a:pt x="2027" y="1852"/>
                  </a:lnTo>
                  <a:lnTo>
                    <a:pt x="2030" y="1852"/>
                  </a:lnTo>
                  <a:lnTo>
                    <a:pt x="2032" y="1853"/>
                  </a:lnTo>
                  <a:lnTo>
                    <a:pt x="2036" y="1854"/>
                  </a:lnTo>
                  <a:lnTo>
                    <a:pt x="2037" y="1853"/>
                  </a:lnTo>
                  <a:lnTo>
                    <a:pt x="2036" y="1851"/>
                  </a:lnTo>
                  <a:lnTo>
                    <a:pt x="2038" y="1848"/>
                  </a:lnTo>
                  <a:lnTo>
                    <a:pt x="2041" y="1848"/>
                  </a:lnTo>
                  <a:lnTo>
                    <a:pt x="2047" y="1849"/>
                  </a:lnTo>
                  <a:lnTo>
                    <a:pt x="2055" y="1846"/>
                  </a:lnTo>
                  <a:lnTo>
                    <a:pt x="2066" y="1838"/>
                  </a:lnTo>
                  <a:lnTo>
                    <a:pt x="2069" y="1836"/>
                  </a:lnTo>
                  <a:lnTo>
                    <a:pt x="2070" y="1835"/>
                  </a:lnTo>
                  <a:lnTo>
                    <a:pt x="2073" y="1832"/>
                  </a:lnTo>
                  <a:lnTo>
                    <a:pt x="2079" y="1828"/>
                  </a:lnTo>
                  <a:lnTo>
                    <a:pt x="2089" y="1817"/>
                  </a:lnTo>
                  <a:lnTo>
                    <a:pt x="2096" y="1811"/>
                  </a:lnTo>
                  <a:lnTo>
                    <a:pt x="2100" y="1805"/>
                  </a:lnTo>
                  <a:lnTo>
                    <a:pt x="2104" y="1800"/>
                  </a:lnTo>
                  <a:lnTo>
                    <a:pt x="2106" y="1795"/>
                  </a:lnTo>
                  <a:lnTo>
                    <a:pt x="2110" y="1791"/>
                  </a:lnTo>
                  <a:lnTo>
                    <a:pt x="2110" y="1788"/>
                  </a:lnTo>
                  <a:lnTo>
                    <a:pt x="2114" y="1783"/>
                  </a:lnTo>
                  <a:lnTo>
                    <a:pt x="2120" y="1776"/>
                  </a:lnTo>
                  <a:lnTo>
                    <a:pt x="2121" y="1776"/>
                  </a:lnTo>
                  <a:lnTo>
                    <a:pt x="2123" y="1775"/>
                  </a:lnTo>
                  <a:lnTo>
                    <a:pt x="2123" y="1774"/>
                  </a:lnTo>
                  <a:lnTo>
                    <a:pt x="2125" y="1772"/>
                  </a:lnTo>
                  <a:lnTo>
                    <a:pt x="2127" y="1770"/>
                  </a:lnTo>
                  <a:lnTo>
                    <a:pt x="2129" y="1768"/>
                  </a:lnTo>
                  <a:lnTo>
                    <a:pt x="2130" y="1767"/>
                  </a:lnTo>
                  <a:lnTo>
                    <a:pt x="2131" y="1763"/>
                  </a:lnTo>
                  <a:lnTo>
                    <a:pt x="2132" y="1758"/>
                  </a:lnTo>
                  <a:lnTo>
                    <a:pt x="2134" y="1748"/>
                  </a:lnTo>
                  <a:lnTo>
                    <a:pt x="2137" y="1734"/>
                  </a:lnTo>
                  <a:lnTo>
                    <a:pt x="2134" y="1737"/>
                  </a:lnTo>
                  <a:lnTo>
                    <a:pt x="2132" y="1735"/>
                  </a:lnTo>
                  <a:lnTo>
                    <a:pt x="2131" y="1733"/>
                  </a:lnTo>
                  <a:lnTo>
                    <a:pt x="2130" y="1733"/>
                  </a:lnTo>
                  <a:lnTo>
                    <a:pt x="2132" y="1732"/>
                  </a:lnTo>
                  <a:lnTo>
                    <a:pt x="2134" y="1727"/>
                  </a:lnTo>
                  <a:lnTo>
                    <a:pt x="2137" y="1725"/>
                  </a:lnTo>
                  <a:lnTo>
                    <a:pt x="2139" y="1724"/>
                  </a:lnTo>
                  <a:lnTo>
                    <a:pt x="2140" y="1723"/>
                  </a:lnTo>
                  <a:lnTo>
                    <a:pt x="2159" y="1715"/>
                  </a:lnTo>
                  <a:lnTo>
                    <a:pt x="2165" y="1712"/>
                  </a:lnTo>
                  <a:lnTo>
                    <a:pt x="2169" y="1707"/>
                  </a:lnTo>
                  <a:lnTo>
                    <a:pt x="2172" y="1702"/>
                  </a:lnTo>
                  <a:lnTo>
                    <a:pt x="2168" y="1703"/>
                  </a:lnTo>
                  <a:lnTo>
                    <a:pt x="2171" y="1692"/>
                  </a:lnTo>
                  <a:lnTo>
                    <a:pt x="2172" y="1690"/>
                  </a:lnTo>
                  <a:lnTo>
                    <a:pt x="2173" y="1689"/>
                  </a:lnTo>
                  <a:lnTo>
                    <a:pt x="2171" y="1685"/>
                  </a:lnTo>
                  <a:lnTo>
                    <a:pt x="2172" y="1678"/>
                  </a:lnTo>
                  <a:lnTo>
                    <a:pt x="2171" y="1676"/>
                  </a:lnTo>
                  <a:lnTo>
                    <a:pt x="2169" y="1678"/>
                  </a:lnTo>
                  <a:lnTo>
                    <a:pt x="2169" y="1682"/>
                  </a:lnTo>
                  <a:lnTo>
                    <a:pt x="2168" y="1678"/>
                  </a:lnTo>
                  <a:lnTo>
                    <a:pt x="2168" y="1676"/>
                  </a:lnTo>
                  <a:lnTo>
                    <a:pt x="2167" y="1669"/>
                  </a:lnTo>
                  <a:lnTo>
                    <a:pt x="2166" y="1666"/>
                  </a:lnTo>
                  <a:lnTo>
                    <a:pt x="2165" y="1661"/>
                  </a:lnTo>
                  <a:lnTo>
                    <a:pt x="2166" y="1660"/>
                  </a:lnTo>
                  <a:lnTo>
                    <a:pt x="2164" y="1657"/>
                  </a:lnTo>
                  <a:lnTo>
                    <a:pt x="2159" y="1651"/>
                  </a:lnTo>
                  <a:lnTo>
                    <a:pt x="2160" y="1646"/>
                  </a:lnTo>
                  <a:lnTo>
                    <a:pt x="2160" y="1644"/>
                  </a:lnTo>
                  <a:lnTo>
                    <a:pt x="2159" y="1642"/>
                  </a:lnTo>
                  <a:lnTo>
                    <a:pt x="2158" y="1641"/>
                  </a:lnTo>
                  <a:lnTo>
                    <a:pt x="2160" y="1642"/>
                  </a:lnTo>
                  <a:lnTo>
                    <a:pt x="2161" y="1644"/>
                  </a:lnTo>
                  <a:lnTo>
                    <a:pt x="2164" y="1643"/>
                  </a:lnTo>
                  <a:lnTo>
                    <a:pt x="2169" y="1639"/>
                  </a:lnTo>
                  <a:lnTo>
                    <a:pt x="2174" y="1633"/>
                  </a:lnTo>
                  <a:lnTo>
                    <a:pt x="2176" y="1632"/>
                  </a:lnTo>
                  <a:lnTo>
                    <a:pt x="2180" y="1629"/>
                  </a:lnTo>
                  <a:lnTo>
                    <a:pt x="2181" y="1630"/>
                  </a:lnTo>
                  <a:lnTo>
                    <a:pt x="2181" y="1627"/>
                  </a:lnTo>
                  <a:lnTo>
                    <a:pt x="2184" y="1627"/>
                  </a:lnTo>
                  <a:lnTo>
                    <a:pt x="2184" y="1625"/>
                  </a:lnTo>
                  <a:lnTo>
                    <a:pt x="2189" y="1621"/>
                  </a:lnTo>
                  <a:lnTo>
                    <a:pt x="2190" y="1617"/>
                  </a:lnTo>
                  <a:lnTo>
                    <a:pt x="2189" y="1616"/>
                  </a:lnTo>
                  <a:lnTo>
                    <a:pt x="2192" y="1617"/>
                  </a:lnTo>
                  <a:lnTo>
                    <a:pt x="2194" y="1614"/>
                  </a:lnTo>
                  <a:lnTo>
                    <a:pt x="2198" y="1612"/>
                  </a:lnTo>
                  <a:lnTo>
                    <a:pt x="2199" y="1610"/>
                  </a:lnTo>
                  <a:lnTo>
                    <a:pt x="2210" y="1606"/>
                  </a:lnTo>
                  <a:lnTo>
                    <a:pt x="2212" y="1606"/>
                  </a:lnTo>
                  <a:lnTo>
                    <a:pt x="2215" y="1604"/>
                  </a:lnTo>
                  <a:lnTo>
                    <a:pt x="2217" y="1604"/>
                  </a:lnTo>
                  <a:lnTo>
                    <a:pt x="2219" y="1604"/>
                  </a:lnTo>
                  <a:lnTo>
                    <a:pt x="2224" y="1600"/>
                  </a:lnTo>
                  <a:lnTo>
                    <a:pt x="2228" y="1597"/>
                  </a:lnTo>
                  <a:lnTo>
                    <a:pt x="2229" y="1593"/>
                  </a:lnTo>
                  <a:lnTo>
                    <a:pt x="2233" y="1592"/>
                  </a:lnTo>
                  <a:lnTo>
                    <a:pt x="2238" y="1584"/>
                  </a:lnTo>
                  <a:lnTo>
                    <a:pt x="2241" y="1581"/>
                  </a:lnTo>
                  <a:lnTo>
                    <a:pt x="2242" y="1579"/>
                  </a:lnTo>
                  <a:lnTo>
                    <a:pt x="2241" y="1577"/>
                  </a:lnTo>
                  <a:lnTo>
                    <a:pt x="2244" y="1571"/>
                  </a:lnTo>
                  <a:lnTo>
                    <a:pt x="2244" y="1569"/>
                  </a:lnTo>
                  <a:lnTo>
                    <a:pt x="2242" y="1569"/>
                  </a:lnTo>
                  <a:lnTo>
                    <a:pt x="2241" y="1566"/>
                  </a:lnTo>
                  <a:lnTo>
                    <a:pt x="2240" y="1564"/>
                  </a:lnTo>
                  <a:lnTo>
                    <a:pt x="2241" y="1561"/>
                  </a:lnTo>
                  <a:lnTo>
                    <a:pt x="2241" y="1558"/>
                  </a:lnTo>
                  <a:lnTo>
                    <a:pt x="2241" y="1555"/>
                  </a:lnTo>
                  <a:lnTo>
                    <a:pt x="2240" y="1555"/>
                  </a:lnTo>
                  <a:lnTo>
                    <a:pt x="2241" y="1549"/>
                  </a:lnTo>
                  <a:lnTo>
                    <a:pt x="2238" y="1547"/>
                  </a:lnTo>
                  <a:lnTo>
                    <a:pt x="2241" y="1545"/>
                  </a:lnTo>
                  <a:lnTo>
                    <a:pt x="2240" y="1541"/>
                  </a:lnTo>
                  <a:lnTo>
                    <a:pt x="2241" y="1539"/>
                  </a:lnTo>
                  <a:lnTo>
                    <a:pt x="2240" y="1537"/>
                  </a:lnTo>
                  <a:lnTo>
                    <a:pt x="2240" y="1531"/>
                  </a:lnTo>
                  <a:lnTo>
                    <a:pt x="2238" y="1529"/>
                  </a:lnTo>
                  <a:lnTo>
                    <a:pt x="2238" y="1527"/>
                  </a:lnTo>
                  <a:lnTo>
                    <a:pt x="2237" y="1524"/>
                  </a:lnTo>
                  <a:lnTo>
                    <a:pt x="2240" y="1522"/>
                  </a:lnTo>
                  <a:lnTo>
                    <a:pt x="2240" y="1514"/>
                  </a:lnTo>
                  <a:lnTo>
                    <a:pt x="2238" y="1513"/>
                  </a:lnTo>
                  <a:lnTo>
                    <a:pt x="2236" y="1510"/>
                  </a:lnTo>
                  <a:lnTo>
                    <a:pt x="2233" y="1507"/>
                  </a:lnTo>
                  <a:lnTo>
                    <a:pt x="2232" y="1509"/>
                  </a:lnTo>
                  <a:lnTo>
                    <a:pt x="2231" y="1506"/>
                  </a:lnTo>
                  <a:lnTo>
                    <a:pt x="2228" y="1506"/>
                  </a:lnTo>
                  <a:lnTo>
                    <a:pt x="2229" y="1503"/>
                  </a:lnTo>
                  <a:lnTo>
                    <a:pt x="2228" y="1498"/>
                  </a:lnTo>
                  <a:lnTo>
                    <a:pt x="2227" y="1496"/>
                  </a:lnTo>
                  <a:lnTo>
                    <a:pt x="2224" y="1490"/>
                  </a:lnTo>
                  <a:lnTo>
                    <a:pt x="2223" y="1485"/>
                  </a:lnTo>
                  <a:lnTo>
                    <a:pt x="2223" y="1483"/>
                  </a:lnTo>
                  <a:lnTo>
                    <a:pt x="2225" y="1479"/>
                  </a:lnTo>
                  <a:lnTo>
                    <a:pt x="2225" y="1478"/>
                  </a:lnTo>
                  <a:lnTo>
                    <a:pt x="2224" y="1476"/>
                  </a:lnTo>
                  <a:lnTo>
                    <a:pt x="2223" y="1476"/>
                  </a:lnTo>
                  <a:lnTo>
                    <a:pt x="2223" y="1471"/>
                  </a:lnTo>
                  <a:lnTo>
                    <a:pt x="2224" y="1469"/>
                  </a:lnTo>
                  <a:lnTo>
                    <a:pt x="2226" y="1466"/>
                  </a:lnTo>
                  <a:lnTo>
                    <a:pt x="2226" y="1464"/>
                  </a:lnTo>
                  <a:lnTo>
                    <a:pt x="2224" y="1462"/>
                  </a:lnTo>
                  <a:lnTo>
                    <a:pt x="2223" y="1462"/>
                  </a:lnTo>
                  <a:lnTo>
                    <a:pt x="2221" y="1460"/>
                  </a:lnTo>
                  <a:lnTo>
                    <a:pt x="2217" y="1455"/>
                  </a:lnTo>
                  <a:lnTo>
                    <a:pt x="2217" y="1453"/>
                  </a:lnTo>
                  <a:lnTo>
                    <a:pt x="2216" y="1451"/>
                  </a:lnTo>
                  <a:lnTo>
                    <a:pt x="2217" y="1446"/>
                  </a:lnTo>
                  <a:lnTo>
                    <a:pt x="2219" y="1441"/>
                  </a:lnTo>
                  <a:lnTo>
                    <a:pt x="2220" y="1437"/>
                  </a:lnTo>
                  <a:lnTo>
                    <a:pt x="2221" y="1435"/>
                  </a:lnTo>
                  <a:lnTo>
                    <a:pt x="2221" y="1433"/>
                  </a:lnTo>
                  <a:lnTo>
                    <a:pt x="2225" y="1432"/>
                  </a:lnTo>
                  <a:lnTo>
                    <a:pt x="2226" y="1428"/>
                  </a:lnTo>
                  <a:lnTo>
                    <a:pt x="2227" y="1426"/>
                  </a:lnTo>
                  <a:lnTo>
                    <a:pt x="2227" y="1424"/>
                  </a:lnTo>
                  <a:lnTo>
                    <a:pt x="2228" y="1424"/>
                  </a:lnTo>
                  <a:lnTo>
                    <a:pt x="2228" y="1422"/>
                  </a:lnTo>
                  <a:lnTo>
                    <a:pt x="2231" y="1420"/>
                  </a:lnTo>
                  <a:lnTo>
                    <a:pt x="2231" y="1418"/>
                  </a:lnTo>
                  <a:lnTo>
                    <a:pt x="2232" y="1416"/>
                  </a:lnTo>
                  <a:lnTo>
                    <a:pt x="2233" y="1415"/>
                  </a:lnTo>
                  <a:lnTo>
                    <a:pt x="2234" y="1412"/>
                  </a:lnTo>
                  <a:lnTo>
                    <a:pt x="2234" y="1411"/>
                  </a:lnTo>
                  <a:lnTo>
                    <a:pt x="2235" y="1409"/>
                  </a:lnTo>
                  <a:lnTo>
                    <a:pt x="2235" y="1407"/>
                  </a:lnTo>
                  <a:lnTo>
                    <a:pt x="2237" y="1403"/>
                  </a:lnTo>
                  <a:lnTo>
                    <a:pt x="2240" y="1403"/>
                  </a:lnTo>
                  <a:lnTo>
                    <a:pt x="2242" y="1402"/>
                  </a:lnTo>
                  <a:lnTo>
                    <a:pt x="2244" y="1400"/>
                  </a:lnTo>
                  <a:lnTo>
                    <a:pt x="2244" y="1399"/>
                  </a:lnTo>
                  <a:lnTo>
                    <a:pt x="2246" y="1394"/>
                  </a:lnTo>
                  <a:lnTo>
                    <a:pt x="2249" y="1395"/>
                  </a:lnTo>
                  <a:lnTo>
                    <a:pt x="2252" y="1394"/>
                  </a:lnTo>
                  <a:lnTo>
                    <a:pt x="2254" y="1392"/>
                  </a:lnTo>
                  <a:lnTo>
                    <a:pt x="2255" y="1389"/>
                  </a:lnTo>
                  <a:lnTo>
                    <a:pt x="2258" y="1386"/>
                  </a:lnTo>
                  <a:lnTo>
                    <a:pt x="2258" y="1385"/>
                  </a:lnTo>
                  <a:lnTo>
                    <a:pt x="2259" y="1382"/>
                  </a:lnTo>
                  <a:lnTo>
                    <a:pt x="2259" y="1381"/>
                  </a:lnTo>
                  <a:lnTo>
                    <a:pt x="2261" y="1381"/>
                  </a:lnTo>
                  <a:lnTo>
                    <a:pt x="2263" y="1378"/>
                  </a:lnTo>
                  <a:lnTo>
                    <a:pt x="2268" y="1373"/>
                  </a:lnTo>
                  <a:lnTo>
                    <a:pt x="2269" y="1372"/>
                  </a:lnTo>
                  <a:lnTo>
                    <a:pt x="2272" y="1368"/>
                  </a:lnTo>
                  <a:lnTo>
                    <a:pt x="2280" y="1360"/>
                  </a:lnTo>
                  <a:lnTo>
                    <a:pt x="2287" y="1353"/>
                  </a:lnTo>
                  <a:lnTo>
                    <a:pt x="2293" y="1349"/>
                  </a:lnTo>
                  <a:lnTo>
                    <a:pt x="2296" y="1347"/>
                  </a:lnTo>
                  <a:lnTo>
                    <a:pt x="2299" y="1345"/>
                  </a:lnTo>
                  <a:lnTo>
                    <a:pt x="2301" y="1343"/>
                  </a:lnTo>
                  <a:lnTo>
                    <a:pt x="2303" y="1342"/>
                  </a:lnTo>
                  <a:lnTo>
                    <a:pt x="2305" y="1341"/>
                  </a:lnTo>
                  <a:lnTo>
                    <a:pt x="2314" y="1335"/>
                  </a:lnTo>
                  <a:lnTo>
                    <a:pt x="2317" y="1333"/>
                  </a:lnTo>
                  <a:lnTo>
                    <a:pt x="2319" y="1332"/>
                  </a:lnTo>
                  <a:lnTo>
                    <a:pt x="2321" y="1329"/>
                  </a:lnTo>
                  <a:lnTo>
                    <a:pt x="2322" y="1329"/>
                  </a:lnTo>
                  <a:lnTo>
                    <a:pt x="2325" y="1325"/>
                  </a:lnTo>
                  <a:lnTo>
                    <a:pt x="2328" y="1322"/>
                  </a:lnTo>
                  <a:lnTo>
                    <a:pt x="2330" y="1321"/>
                  </a:lnTo>
                  <a:lnTo>
                    <a:pt x="2330" y="1319"/>
                  </a:lnTo>
                  <a:lnTo>
                    <a:pt x="2334" y="1316"/>
                  </a:lnTo>
                  <a:lnTo>
                    <a:pt x="2335" y="1315"/>
                  </a:lnTo>
                  <a:lnTo>
                    <a:pt x="2337" y="1313"/>
                  </a:lnTo>
                  <a:lnTo>
                    <a:pt x="2342" y="1308"/>
                  </a:lnTo>
                  <a:lnTo>
                    <a:pt x="2343" y="1305"/>
                  </a:lnTo>
                  <a:lnTo>
                    <a:pt x="2344" y="1302"/>
                  </a:lnTo>
                  <a:lnTo>
                    <a:pt x="2346" y="1300"/>
                  </a:lnTo>
                  <a:lnTo>
                    <a:pt x="2348" y="1297"/>
                  </a:lnTo>
                  <a:lnTo>
                    <a:pt x="2349" y="1295"/>
                  </a:lnTo>
                  <a:lnTo>
                    <a:pt x="2352" y="1292"/>
                  </a:lnTo>
                  <a:lnTo>
                    <a:pt x="2354" y="1289"/>
                  </a:lnTo>
                  <a:lnTo>
                    <a:pt x="2356" y="1284"/>
                  </a:lnTo>
                  <a:lnTo>
                    <a:pt x="2357" y="1279"/>
                  </a:lnTo>
                  <a:lnTo>
                    <a:pt x="2359" y="1275"/>
                  </a:lnTo>
                  <a:lnTo>
                    <a:pt x="2360" y="1273"/>
                  </a:lnTo>
                  <a:lnTo>
                    <a:pt x="2364" y="1267"/>
                  </a:lnTo>
                  <a:lnTo>
                    <a:pt x="2366" y="1264"/>
                  </a:lnTo>
                  <a:lnTo>
                    <a:pt x="2368" y="1262"/>
                  </a:lnTo>
                  <a:lnTo>
                    <a:pt x="2366" y="1261"/>
                  </a:lnTo>
                  <a:lnTo>
                    <a:pt x="2368" y="1259"/>
                  </a:lnTo>
                  <a:lnTo>
                    <a:pt x="2370" y="1257"/>
                  </a:lnTo>
                  <a:lnTo>
                    <a:pt x="2371" y="1254"/>
                  </a:lnTo>
                  <a:lnTo>
                    <a:pt x="2372" y="1254"/>
                  </a:lnTo>
                  <a:lnTo>
                    <a:pt x="2373" y="1252"/>
                  </a:lnTo>
                  <a:lnTo>
                    <a:pt x="2374" y="1249"/>
                  </a:lnTo>
                  <a:lnTo>
                    <a:pt x="2376" y="1246"/>
                  </a:lnTo>
                  <a:lnTo>
                    <a:pt x="2378" y="1244"/>
                  </a:lnTo>
                  <a:lnTo>
                    <a:pt x="2379" y="1241"/>
                  </a:lnTo>
                  <a:lnTo>
                    <a:pt x="2381" y="1239"/>
                  </a:lnTo>
                  <a:lnTo>
                    <a:pt x="2380" y="1237"/>
                  </a:lnTo>
                  <a:lnTo>
                    <a:pt x="2381" y="1231"/>
                  </a:lnTo>
                  <a:lnTo>
                    <a:pt x="2381" y="1229"/>
                  </a:lnTo>
                  <a:lnTo>
                    <a:pt x="2382" y="1227"/>
                  </a:lnTo>
                  <a:lnTo>
                    <a:pt x="2386" y="1225"/>
                  </a:lnTo>
                  <a:lnTo>
                    <a:pt x="2388" y="1227"/>
                  </a:lnTo>
                  <a:lnTo>
                    <a:pt x="2386" y="1225"/>
                  </a:lnTo>
                  <a:lnTo>
                    <a:pt x="2383" y="1225"/>
                  </a:lnTo>
                  <a:lnTo>
                    <a:pt x="2385" y="1223"/>
                  </a:lnTo>
                  <a:lnTo>
                    <a:pt x="2385" y="1220"/>
                  </a:lnTo>
                  <a:lnTo>
                    <a:pt x="2385" y="1218"/>
                  </a:lnTo>
                  <a:lnTo>
                    <a:pt x="2385" y="1214"/>
                  </a:lnTo>
                  <a:lnTo>
                    <a:pt x="2385" y="1212"/>
                  </a:lnTo>
                  <a:lnTo>
                    <a:pt x="2387" y="1206"/>
                  </a:lnTo>
                  <a:lnTo>
                    <a:pt x="2383" y="1205"/>
                  </a:lnTo>
                  <a:lnTo>
                    <a:pt x="2381" y="1204"/>
                  </a:lnTo>
                  <a:lnTo>
                    <a:pt x="2378" y="1204"/>
                  </a:lnTo>
                  <a:lnTo>
                    <a:pt x="2376" y="1207"/>
                  </a:lnTo>
                  <a:lnTo>
                    <a:pt x="2371" y="1211"/>
                  </a:lnTo>
                  <a:lnTo>
                    <a:pt x="2369" y="1211"/>
                  </a:lnTo>
                  <a:lnTo>
                    <a:pt x="2368" y="1211"/>
                  </a:lnTo>
                  <a:lnTo>
                    <a:pt x="2365" y="1211"/>
                  </a:lnTo>
                  <a:lnTo>
                    <a:pt x="2355" y="1214"/>
                  </a:lnTo>
                  <a:lnTo>
                    <a:pt x="2354" y="1214"/>
                  </a:lnTo>
                  <a:lnTo>
                    <a:pt x="2352" y="1213"/>
                  </a:lnTo>
                  <a:lnTo>
                    <a:pt x="2348" y="1213"/>
                  </a:lnTo>
                  <a:lnTo>
                    <a:pt x="2344" y="1215"/>
                  </a:lnTo>
                  <a:lnTo>
                    <a:pt x="2340" y="1215"/>
                  </a:lnTo>
                  <a:lnTo>
                    <a:pt x="2338" y="1216"/>
                  </a:lnTo>
                  <a:lnTo>
                    <a:pt x="2335" y="1215"/>
                  </a:lnTo>
                  <a:lnTo>
                    <a:pt x="2333" y="1215"/>
                  </a:lnTo>
                  <a:lnTo>
                    <a:pt x="2328" y="1218"/>
                  </a:lnTo>
                  <a:lnTo>
                    <a:pt x="2327" y="1219"/>
                  </a:lnTo>
                  <a:lnTo>
                    <a:pt x="2325" y="1221"/>
                  </a:lnTo>
                  <a:lnTo>
                    <a:pt x="2321" y="1221"/>
                  </a:lnTo>
                  <a:lnTo>
                    <a:pt x="2319" y="1221"/>
                  </a:lnTo>
                  <a:lnTo>
                    <a:pt x="2313" y="1220"/>
                  </a:lnTo>
                  <a:lnTo>
                    <a:pt x="2310" y="1220"/>
                  </a:lnTo>
                  <a:lnTo>
                    <a:pt x="2308" y="1222"/>
                  </a:lnTo>
                  <a:lnTo>
                    <a:pt x="2304" y="1223"/>
                  </a:lnTo>
                  <a:lnTo>
                    <a:pt x="2302" y="1224"/>
                  </a:lnTo>
                  <a:lnTo>
                    <a:pt x="2301" y="1225"/>
                  </a:lnTo>
                  <a:lnTo>
                    <a:pt x="2299" y="1225"/>
                  </a:lnTo>
                  <a:lnTo>
                    <a:pt x="2295" y="1225"/>
                  </a:lnTo>
                  <a:lnTo>
                    <a:pt x="2292" y="1225"/>
                  </a:lnTo>
                  <a:lnTo>
                    <a:pt x="2291" y="1224"/>
                  </a:lnTo>
                  <a:lnTo>
                    <a:pt x="2289" y="1224"/>
                  </a:lnTo>
                  <a:lnTo>
                    <a:pt x="2288" y="1223"/>
                  </a:lnTo>
                  <a:lnTo>
                    <a:pt x="2283" y="1219"/>
                  </a:lnTo>
                  <a:lnTo>
                    <a:pt x="2279" y="1213"/>
                  </a:lnTo>
                  <a:lnTo>
                    <a:pt x="2275" y="1210"/>
                  </a:lnTo>
                  <a:lnTo>
                    <a:pt x="2271" y="1210"/>
                  </a:lnTo>
                  <a:lnTo>
                    <a:pt x="2270" y="1210"/>
                  </a:lnTo>
                  <a:lnTo>
                    <a:pt x="2268" y="1210"/>
                  </a:lnTo>
                  <a:lnTo>
                    <a:pt x="2270" y="1207"/>
                  </a:lnTo>
                  <a:lnTo>
                    <a:pt x="2274" y="1206"/>
                  </a:lnTo>
                  <a:lnTo>
                    <a:pt x="2275" y="1206"/>
                  </a:lnTo>
                  <a:lnTo>
                    <a:pt x="2276" y="1205"/>
                  </a:lnTo>
                  <a:lnTo>
                    <a:pt x="2279" y="1204"/>
                  </a:lnTo>
                  <a:lnTo>
                    <a:pt x="2279" y="1202"/>
                  </a:lnTo>
                  <a:lnTo>
                    <a:pt x="2278" y="1199"/>
                  </a:lnTo>
                  <a:lnTo>
                    <a:pt x="2277" y="1196"/>
                  </a:lnTo>
                  <a:lnTo>
                    <a:pt x="2275" y="1194"/>
                  </a:lnTo>
                  <a:lnTo>
                    <a:pt x="2271" y="1191"/>
                  </a:lnTo>
                  <a:lnTo>
                    <a:pt x="2270" y="1189"/>
                  </a:lnTo>
                  <a:lnTo>
                    <a:pt x="2265" y="1184"/>
                  </a:lnTo>
                  <a:lnTo>
                    <a:pt x="2263" y="1181"/>
                  </a:lnTo>
                  <a:lnTo>
                    <a:pt x="2262" y="1180"/>
                  </a:lnTo>
                  <a:lnTo>
                    <a:pt x="2260" y="1179"/>
                  </a:lnTo>
                  <a:lnTo>
                    <a:pt x="2258" y="1178"/>
                  </a:lnTo>
                  <a:lnTo>
                    <a:pt x="2254" y="1176"/>
                  </a:lnTo>
                  <a:lnTo>
                    <a:pt x="2251" y="1170"/>
                  </a:lnTo>
                  <a:lnTo>
                    <a:pt x="2250" y="1169"/>
                  </a:lnTo>
                  <a:lnTo>
                    <a:pt x="2250" y="1168"/>
                  </a:lnTo>
                  <a:lnTo>
                    <a:pt x="2246" y="1167"/>
                  </a:lnTo>
                  <a:lnTo>
                    <a:pt x="2244" y="1165"/>
                  </a:lnTo>
                  <a:lnTo>
                    <a:pt x="2242" y="1163"/>
                  </a:lnTo>
                  <a:lnTo>
                    <a:pt x="2240" y="1162"/>
                  </a:lnTo>
                  <a:lnTo>
                    <a:pt x="2238" y="1162"/>
                  </a:lnTo>
                  <a:lnTo>
                    <a:pt x="2236" y="1162"/>
                  </a:lnTo>
                  <a:lnTo>
                    <a:pt x="2234" y="1162"/>
                  </a:lnTo>
                  <a:lnTo>
                    <a:pt x="2233" y="1159"/>
                  </a:lnTo>
                  <a:lnTo>
                    <a:pt x="2233" y="1156"/>
                  </a:lnTo>
                  <a:lnTo>
                    <a:pt x="2229" y="1155"/>
                  </a:lnTo>
                  <a:lnTo>
                    <a:pt x="2229" y="1159"/>
                  </a:lnTo>
                  <a:lnTo>
                    <a:pt x="2229" y="1161"/>
                  </a:lnTo>
                  <a:lnTo>
                    <a:pt x="2228" y="1159"/>
                  </a:lnTo>
                  <a:lnTo>
                    <a:pt x="2227" y="1155"/>
                  </a:lnTo>
                  <a:lnTo>
                    <a:pt x="2225" y="1154"/>
                  </a:lnTo>
                  <a:lnTo>
                    <a:pt x="2225" y="1153"/>
                  </a:lnTo>
                  <a:lnTo>
                    <a:pt x="2225" y="1152"/>
                  </a:lnTo>
                  <a:lnTo>
                    <a:pt x="2224" y="1150"/>
                  </a:lnTo>
                  <a:lnTo>
                    <a:pt x="2223" y="1147"/>
                  </a:lnTo>
                  <a:lnTo>
                    <a:pt x="2221" y="1143"/>
                  </a:lnTo>
                  <a:lnTo>
                    <a:pt x="2221" y="1142"/>
                  </a:lnTo>
                  <a:lnTo>
                    <a:pt x="2220" y="1139"/>
                  </a:lnTo>
                  <a:lnTo>
                    <a:pt x="2220" y="1137"/>
                  </a:lnTo>
                  <a:lnTo>
                    <a:pt x="2218" y="1129"/>
                  </a:lnTo>
                  <a:lnTo>
                    <a:pt x="2217" y="1127"/>
                  </a:lnTo>
                  <a:lnTo>
                    <a:pt x="2216" y="1125"/>
                  </a:lnTo>
                  <a:lnTo>
                    <a:pt x="2215" y="1122"/>
                  </a:lnTo>
                  <a:lnTo>
                    <a:pt x="2214" y="1119"/>
                  </a:lnTo>
                  <a:lnTo>
                    <a:pt x="2212" y="1119"/>
                  </a:lnTo>
                  <a:lnTo>
                    <a:pt x="2209" y="1117"/>
                  </a:lnTo>
                  <a:lnTo>
                    <a:pt x="2207" y="1114"/>
                  </a:lnTo>
                  <a:lnTo>
                    <a:pt x="2203" y="1111"/>
                  </a:lnTo>
                  <a:lnTo>
                    <a:pt x="2201" y="1110"/>
                  </a:lnTo>
                  <a:lnTo>
                    <a:pt x="2199" y="1109"/>
                  </a:lnTo>
                  <a:lnTo>
                    <a:pt x="2198" y="1107"/>
                  </a:lnTo>
                  <a:lnTo>
                    <a:pt x="2195" y="1099"/>
                  </a:lnTo>
                  <a:lnTo>
                    <a:pt x="2195" y="1095"/>
                  </a:lnTo>
                  <a:lnTo>
                    <a:pt x="2193" y="1088"/>
                  </a:lnTo>
                  <a:lnTo>
                    <a:pt x="2193" y="1086"/>
                  </a:lnTo>
                  <a:lnTo>
                    <a:pt x="2194" y="1083"/>
                  </a:lnTo>
                  <a:lnTo>
                    <a:pt x="2193" y="1075"/>
                  </a:lnTo>
                  <a:lnTo>
                    <a:pt x="2195" y="1076"/>
                  </a:lnTo>
                  <a:lnTo>
                    <a:pt x="2193" y="1074"/>
                  </a:lnTo>
                  <a:lnTo>
                    <a:pt x="2191" y="1071"/>
                  </a:lnTo>
                  <a:lnTo>
                    <a:pt x="2190" y="1068"/>
                  </a:lnTo>
                  <a:lnTo>
                    <a:pt x="2190" y="1062"/>
                  </a:lnTo>
                  <a:lnTo>
                    <a:pt x="2189" y="1060"/>
                  </a:lnTo>
                  <a:lnTo>
                    <a:pt x="2183" y="1057"/>
                  </a:lnTo>
                  <a:lnTo>
                    <a:pt x="2181" y="1053"/>
                  </a:lnTo>
                  <a:lnTo>
                    <a:pt x="2178" y="1053"/>
                  </a:lnTo>
                  <a:lnTo>
                    <a:pt x="2175" y="1052"/>
                  </a:lnTo>
                  <a:lnTo>
                    <a:pt x="2174" y="1049"/>
                  </a:lnTo>
                  <a:lnTo>
                    <a:pt x="2173" y="1047"/>
                  </a:lnTo>
                  <a:lnTo>
                    <a:pt x="2172" y="1045"/>
                  </a:lnTo>
                  <a:lnTo>
                    <a:pt x="2172" y="1042"/>
                  </a:lnTo>
                  <a:lnTo>
                    <a:pt x="2172" y="1041"/>
                  </a:lnTo>
                  <a:lnTo>
                    <a:pt x="2171" y="1036"/>
                  </a:lnTo>
                  <a:lnTo>
                    <a:pt x="2172" y="1034"/>
                  </a:lnTo>
                  <a:lnTo>
                    <a:pt x="2174" y="1034"/>
                  </a:lnTo>
                  <a:lnTo>
                    <a:pt x="2172" y="1033"/>
                  </a:lnTo>
                  <a:lnTo>
                    <a:pt x="2169" y="1030"/>
                  </a:lnTo>
                  <a:lnTo>
                    <a:pt x="2167" y="1027"/>
                  </a:lnTo>
                  <a:lnTo>
                    <a:pt x="2166" y="1025"/>
                  </a:lnTo>
                  <a:lnTo>
                    <a:pt x="2164" y="1022"/>
                  </a:lnTo>
                  <a:lnTo>
                    <a:pt x="2163" y="1019"/>
                  </a:lnTo>
                  <a:lnTo>
                    <a:pt x="2161" y="1016"/>
                  </a:lnTo>
                  <a:lnTo>
                    <a:pt x="2160" y="1015"/>
                  </a:lnTo>
                  <a:lnTo>
                    <a:pt x="2159" y="1011"/>
                  </a:lnTo>
                  <a:lnTo>
                    <a:pt x="2158" y="1009"/>
                  </a:lnTo>
                  <a:lnTo>
                    <a:pt x="2156" y="1007"/>
                  </a:lnTo>
                  <a:lnTo>
                    <a:pt x="2155" y="1004"/>
                  </a:lnTo>
                  <a:lnTo>
                    <a:pt x="2154" y="1001"/>
                  </a:lnTo>
                  <a:lnTo>
                    <a:pt x="2150" y="996"/>
                  </a:lnTo>
                  <a:lnTo>
                    <a:pt x="2149" y="993"/>
                  </a:lnTo>
                  <a:lnTo>
                    <a:pt x="2149" y="990"/>
                  </a:lnTo>
                  <a:lnTo>
                    <a:pt x="2148" y="988"/>
                  </a:lnTo>
                  <a:lnTo>
                    <a:pt x="2144" y="982"/>
                  </a:lnTo>
                  <a:lnTo>
                    <a:pt x="2144" y="980"/>
                  </a:lnTo>
                  <a:lnTo>
                    <a:pt x="2144" y="976"/>
                  </a:lnTo>
                  <a:lnTo>
                    <a:pt x="2141" y="973"/>
                  </a:lnTo>
                  <a:lnTo>
                    <a:pt x="2141" y="973"/>
                  </a:lnTo>
                  <a:lnTo>
                    <a:pt x="2140" y="973"/>
                  </a:lnTo>
                  <a:lnTo>
                    <a:pt x="2140" y="973"/>
                  </a:lnTo>
                  <a:lnTo>
                    <a:pt x="2138" y="970"/>
                  </a:lnTo>
                  <a:lnTo>
                    <a:pt x="2138" y="970"/>
                  </a:lnTo>
                  <a:lnTo>
                    <a:pt x="2137" y="968"/>
                  </a:lnTo>
                  <a:lnTo>
                    <a:pt x="2137" y="968"/>
                  </a:lnTo>
                  <a:lnTo>
                    <a:pt x="2137" y="968"/>
                  </a:lnTo>
                  <a:lnTo>
                    <a:pt x="2137" y="968"/>
                  </a:lnTo>
                  <a:lnTo>
                    <a:pt x="2137" y="967"/>
                  </a:lnTo>
                  <a:lnTo>
                    <a:pt x="2135" y="966"/>
                  </a:lnTo>
                  <a:lnTo>
                    <a:pt x="2131" y="960"/>
                  </a:lnTo>
                  <a:lnTo>
                    <a:pt x="2132" y="958"/>
                  </a:lnTo>
                  <a:lnTo>
                    <a:pt x="2131" y="956"/>
                  </a:lnTo>
                  <a:lnTo>
                    <a:pt x="2129" y="954"/>
                  </a:lnTo>
                  <a:lnTo>
                    <a:pt x="2129" y="953"/>
                  </a:lnTo>
                  <a:lnTo>
                    <a:pt x="2127" y="950"/>
                  </a:lnTo>
                  <a:lnTo>
                    <a:pt x="2130" y="947"/>
                  </a:lnTo>
                  <a:lnTo>
                    <a:pt x="2131" y="946"/>
                  </a:lnTo>
                  <a:lnTo>
                    <a:pt x="2131" y="946"/>
                  </a:lnTo>
                  <a:lnTo>
                    <a:pt x="2131" y="947"/>
                  </a:lnTo>
                  <a:lnTo>
                    <a:pt x="2132" y="948"/>
                  </a:lnTo>
                  <a:lnTo>
                    <a:pt x="2132" y="948"/>
                  </a:lnTo>
                  <a:lnTo>
                    <a:pt x="2132" y="949"/>
                  </a:lnTo>
                  <a:lnTo>
                    <a:pt x="2132" y="949"/>
                  </a:lnTo>
                  <a:lnTo>
                    <a:pt x="2132" y="951"/>
                  </a:lnTo>
                  <a:lnTo>
                    <a:pt x="2134" y="956"/>
                  </a:lnTo>
                  <a:lnTo>
                    <a:pt x="2135" y="957"/>
                  </a:lnTo>
                  <a:lnTo>
                    <a:pt x="2138" y="959"/>
                  </a:lnTo>
                  <a:lnTo>
                    <a:pt x="2139" y="960"/>
                  </a:lnTo>
                  <a:lnTo>
                    <a:pt x="2139" y="963"/>
                  </a:lnTo>
                  <a:lnTo>
                    <a:pt x="2140" y="965"/>
                  </a:lnTo>
                  <a:lnTo>
                    <a:pt x="2140" y="966"/>
                  </a:lnTo>
                  <a:lnTo>
                    <a:pt x="2140" y="967"/>
                  </a:lnTo>
                  <a:lnTo>
                    <a:pt x="2143" y="970"/>
                  </a:lnTo>
                  <a:lnTo>
                    <a:pt x="2144" y="971"/>
                  </a:lnTo>
                  <a:lnTo>
                    <a:pt x="2146" y="973"/>
                  </a:lnTo>
                  <a:lnTo>
                    <a:pt x="2149" y="976"/>
                  </a:lnTo>
                  <a:lnTo>
                    <a:pt x="2151" y="979"/>
                  </a:lnTo>
                  <a:lnTo>
                    <a:pt x="2154" y="979"/>
                  </a:lnTo>
                  <a:lnTo>
                    <a:pt x="2154" y="980"/>
                  </a:lnTo>
                  <a:lnTo>
                    <a:pt x="2154" y="979"/>
                  </a:lnTo>
                  <a:lnTo>
                    <a:pt x="2155" y="977"/>
                  </a:lnTo>
                  <a:lnTo>
                    <a:pt x="2155" y="977"/>
                  </a:lnTo>
                  <a:lnTo>
                    <a:pt x="2156" y="974"/>
                  </a:lnTo>
                  <a:lnTo>
                    <a:pt x="2156" y="974"/>
                  </a:lnTo>
                  <a:lnTo>
                    <a:pt x="2156" y="972"/>
                  </a:lnTo>
                  <a:lnTo>
                    <a:pt x="2157" y="970"/>
                  </a:lnTo>
                  <a:lnTo>
                    <a:pt x="2158" y="964"/>
                  </a:lnTo>
                  <a:lnTo>
                    <a:pt x="2159" y="962"/>
                  </a:lnTo>
                  <a:lnTo>
                    <a:pt x="2159" y="959"/>
                  </a:lnTo>
                  <a:lnTo>
                    <a:pt x="2160" y="956"/>
                  </a:lnTo>
                  <a:lnTo>
                    <a:pt x="2160" y="956"/>
                  </a:lnTo>
                  <a:lnTo>
                    <a:pt x="2163" y="954"/>
                  </a:lnTo>
                  <a:lnTo>
                    <a:pt x="2163" y="953"/>
                  </a:lnTo>
                  <a:lnTo>
                    <a:pt x="2164" y="953"/>
                  </a:lnTo>
                  <a:lnTo>
                    <a:pt x="2164" y="953"/>
                  </a:lnTo>
                  <a:lnTo>
                    <a:pt x="2164" y="955"/>
                  </a:lnTo>
                  <a:lnTo>
                    <a:pt x="2163" y="958"/>
                  </a:lnTo>
                  <a:lnTo>
                    <a:pt x="2163" y="960"/>
                  </a:lnTo>
                  <a:lnTo>
                    <a:pt x="2163" y="960"/>
                  </a:lnTo>
                  <a:lnTo>
                    <a:pt x="2161" y="965"/>
                  </a:lnTo>
                  <a:lnTo>
                    <a:pt x="2161" y="966"/>
                  </a:lnTo>
                  <a:lnTo>
                    <a:pt x="2159" y="972"/>
                  </a:lnTo>
                  <a:lnTo>
                    <a:pt x="2158" y="974"/>
                  </a:lnTo>
                  <a:lnTo>
                    <a:pt x="2159" y="975"/>
                  </a:lnTo>
                  <a:lnTo>
                    <a:pt x="2164" y="974"/>
                  </a:lnTo>
                  <a:lnTo>
                    <a:pt x="2167" y="974"/>
                  </a:lnTo>
                  <a:lnTo>
                    <a:pt x="2167" y="975"/>
                  </a:lnTo>
                  <a:lnTo>
                    <a:pt x="2169" y="979"/>
                  </a:lnTo>
                  <a:lnTo>
                    <a:pt x="2172" y="984"/>
                  </a:lnTo>
                  <a:lnTo>
                    <a:pt x="2175" y="987"/>
                  </a:lnTo>
                  <a:lnTo>
                    <a:pt x="2176" y="990"/>
                  </a:lnTo>
                  <a:lnTo>
                    <a:pt x="2181" y="996"/>
                  </a:lnTo>
                  <a:lnTo>
                    <a:pt x="2183" y="999"/>
                  </a:lnTo>
                  <a:lnTo>
                    <a:pt x="2183" y="1000"/>
                  </a:lnTo>
                  <a:lnTo>
                    <a:pt x="2185" y="1004"/>
                  </a:lnTo>
                  <a:lnTo>
                    <a:pt x="2188" y="1006"/>
                  </a:lnTo>
                  <a:lnTo>
                    <a:pt x="2186" y="1006"/>
                  </a:lnTo>
                  <a:lnTo>
                    <a:pt x="2190" y="1009"/>
                  </a:lnTo>
                  <a:lnTo>
                    <a:pt x="2191" y="1011"/>
                  </a:lnTo>
                  <a:lnTo>
                    <a:pt x="2193" y="1015"/>
                  </a:lnTo>
                  <a:lnTo>
                    <a:pt x="2194" y="1017"/>
                  </a:lnTo>
                  <a:lnTo>
                    <a:pt x="2195" y="1019"/>
                  </a:lnTo>
                  <a:lnTo>
                    <a:pt x="2193" y="1022"/>
                  </a:lnTo>
                  <a:lnTo>
                    <a:pt x="2195" y="1025"/>
                  </a:lnTo>
                  <a:lnTo>
                    <a:pt x="2198" y="1028"/>
                  </a:lnTo>
                  <a:lnTo>
                    <a:pt x="2201" y="1030"/>
                  </a:lnTo>
                  <a:lnTo>
                    <a:pt x="2203" y="1032"/>
                  </a:lnTo>
                  <a:lnTo>
                    <a:pt x="2207" y="1034"/>
                  </a:lnTo>
                  <a:lnTo>
                    <a:pt x="2211" y="1036"/>
                  </a:lnTo>
                  <a:lnTo>
                    <a:pt x="2212" y="1040"/>
                  </a:lnTo>
                  <a:lnTo>
                    <a:pt x="2215" y="1042"/>
                  </a:lnTo>
                  <a:lnTo>
                    <a:pt x="2215" y="1045"/>
                  </a:lnTo>
                  <a:lnTo>
                    <a:pt x="2216" y="1048"/>
                  </a:lnTo>
                  <a:lnTo>
                    <a:pt x="2218" y="1050"/>
                  </a:lnTo>
                  <a:lnTo>
                    <a:pt x="2219" y="1053"/>
                  </a:lnTo>
                  <a:lnTo>
                    <a:pt x="2219" y="1054"/>
                  </a:lnTo>
                  <a:lnTo>
                    <a:pt x="2220" y="1058"/>
                  </a:lnTo>
                  <a:lnTo>
                    <a:pt x="2219" y="1060"/>
                  </a:lnTo>
                  <a:lnTo>
                    <a:pt x="2219" y="1062"/>
                  </a:lnTo>
                  <a:lnTo>
                    <a:pt x="2219" y="1066"/>
                  </a:lnTo>
                  <a:lnTo>
                    <a:pt x="2220" y="1068"/>
                  </a:lnTo>
                  <a:lnTo>
                    <a:pt x="2221" y="1071"/>
                  </a:lnTo>
                  <a:lnTo>
                    <a:pt x="2220" y="1074"/>
                  </a:lnTo>
                  <a:lnTo>
                    <a:pt x="2221" y="1076"/>
                  </a:lnTo>
                  <a:lnTo>
                    <a:pt x="2224" y="1079"/>
                  </a:lnTo>
                  <a:lnTo>
                    <a:pt x="2227" y="1084"/>
                  </a:lnTo>
                  <a:lnTo>
                    <a:pt x="2231" y="1086"/>
                  </a:lnTo>
                  <a:lnTo>
                    <a:pt x="2235" y="1088"/>
                  </a:lnTo>
                  <a:lnTo>
                    <a:pt x="2237" y="1091"/>
                  </a:lnTo>
                  <a:lnTo>
                    <a:pt x="2243" y="1096"/>
                  </a:lnTo>
                  <a:lnTo>
                    <a:pt x="2249" y="1104"/>
                  </a:lnTo>
                  <a:lnTo>
                    <a:pt x="2250" y="1110"/>
                  </a:lnTo>
                  <a:lnTo>
                    <a:pt x="2250" y="1111"/>
                  </a:lnTo>
                  <a:lnTo>
                    <a:pt x="2252" y="1113"/>
                  </a:lnTo>
                  <a:lnTo>
                    <a:pt x="2253" y="1117"/>
                  </a:lnTo>
                  <a:lnTo>
                    <a:pt x="2254" y="1118"/>
                  </a:lnTo>
                  <a:lnTo>
                    <a:pt x="2255" y="1120"/>
                  </a:lnTo>
                  <a:lnTo>
                    <a:pt x="2259" y="1122"/>
                  </a:lnTo>
                  <a:lnTo>
                    <a:pt x="2261" y="1125"/>
                  </a:lnTo>
                  <a:lnTo>
                    <a:pt x="2263" y="1127"/>
                  </a:lnTo>
                  <a:lnTo>
                    <a:pt x="2265" y="1133"/>
                  </a:lnTo>
                  <a:lnTo>
                    <a:pt x="2266" y="1133"/>
                  </a:lnTo>
                  <a:lnTo>
                    <a:pt x="2267" y="1136"/>
                  </a:lnTo>
                  <a:lnTo>
                    <a:pt x="2270" y="1138"/>
                  </a:lnTo>
                  <a:lnTo>
                    <a:pt x="2271" y="1147"/>
                  </a:lnTo>
                  <a:lnTo>
                    <a:pt x="2270" y="1150"/>
                  </a:lnTo>
                  <a:lnTo>
                    <a:pt x="2269" y="1153"/>
                  </a:lnTo>
                  <a:lnTo>
                    <a:pt x="2270" y="1155"/>
                  </a:lnTo>
                  <a:lnTo>
                    <a:pt x="2271" y="1159"/>
                  </a:lnTo>
                  <a:lnTo>
                    <a:pt x="2268" y="1159"/>
                  </a:lnTo>
                  <a:lnTo>
                    <a:pt x="2268" y="1159"/>
                  </a:lnTo>
                  <a:lnTo>
                    <a:pt x="2271" y="1160"/>
                  </a:lnTo>
                  <a:lnTo>
                    <a:pt x="2272" y="1162"/>
                  </a:lnTo>
                  <a:lnTo>
                    <a:pt x="2272" y="1164"/>
                  </a:lnTo>
                  <a:lnTo>
                    <a:pt x="2274" y="1167"/>
                  </a:lnTo>
                  <a:lnTo>
                    <a:pt x="2274" y="1170"/>
                  </a:lnTo>
                  <a:lnTo>
                    <a:pt x="2275" y="1172"/>
                  </a:lnTo>
                  <a:lnTo>
                    <a:pt x="2275" y="1176"/>
                  </a:lnTo>
                  <a:lnTo>
                    <a:pt x="2277" y="1178"/>
                  </a:lnTo>
                  <a:lnTo>
                    <a:pt x="2277" y="1180"/>
                  </a:lnTo>
                  <a:lnTo>
                    <a:pt x="2277" y="1181"/>
                  </a:lnTo>
                  <a:lnTo>
                    <a:pt x="2277" y="1184"/>
                  </a:lnTo>
                  <a:lnTo>
                    <a:pt x="2277" y="1187"/>
                  </a:lnTo>
                  <a:lnTo>
                    <a:pt x="2280" y="1193"/>
                  </a:lnTo>
                  <a:lnTo>
                    <a:pt x="2280" y="1194"/>
                  </a:lnTo>
                  <a:lnTo>
                    <a:pt x="2284" y="1194"/>
                  </a:lnTo>
                  <a:lnTo>
                    <a:pt x="2286" y="1195"/>
                  </a:lnTo>
                  <a:lnTo>
                    <a:pt x="2292" y="1195"/>
                  </a:lnTo>
                  <a:lnTo>
                    <a:pt x="2294" y="1193"/>
                  </a:lnTo>
                  <a:lnTo>
                    <a:pt x="2297" y="1193"/>
                  </a:lnTo>
                  <a:lnTo>
                    <a:pt x="2300" y="1194"/>
                  </a:lnTo>
                  <a:lnTo>
                    <a:pt x="2300" y="1193"/>
                  </a:lnTo>
                  <a:lnTo>
                    <a:pt x="2301" y="1193"/>
                  </a:lnTo>
                  <a:lnTo>
                    <a:pt x="2301" y="1191"/>
                  </a:lnTo>
                  <a:lnTo>
                    <a:pt x="2301" y="1193"/>
                  </a:lnTo>
                  <a:lnTo>
                    <a:pt x="2301" y="1193"/>
                  </a:lnTo>
                  <a:lnTo>
                    <a:pt x="2301" y="1193"/>
                  </a:lnTo>
                  <a:lnTo>
                    <a:pt x="2302" y="1190"/>
                  </a:lnTo>
                  <a:lnTo>
                    <a:pt x="2305" y="1189"/>
                  </a:lnTo>
                  <a:lnTo>
                    <a:pt x="2309" y="1187"/>
                  </a:lnTo>
                  <a:lnTo>
                    <a:pt x="2311" y="1185"/>
                  </a:lnTo>
                  <a:lnTo>
                    <a:pt x="2313" y="1185"/>
                  </a:lnTo>
                  <a:lnTo>
                    <a:pt x="2317" y="1185"/>
                  </a:lnTo>
                  <a:lnTo>
                    <a:pt x="2319" y="1184"/>
                  </a:lnTo>
                  <a:lnTo>
                    <a:pt x="2321" y="1184"/>
                  </a:lnTo>
                  <a:lnTo>
                    <a:pt x="2325" y="1184"/>
                  </a:lnTo>
                  <a:lnTo>
                    <a:pt x="2327" y="1182"/>
                  </a:lnTo>
                  <a:lnTo>
                    <a:pt x="2330" y="1181"/>
                  </a:lnTo>
                  <a:lnTo>
                    <a:pt x="2333" y="1181"/>
                  </a:lnTo>
                  <a:lnTo>
                    <a:pt x="2335" y="1180"/>
                  </a:lnTo>
                  <a:lnTo>
                    <a:pt x="2337" y="1178"/>
                  </a:lnTo>
                  <a:lnTo>
                    <a:pt x="2340" y="1177"/>
                  </a:lnTo>
                  <a:lnTo>
                    <a:pt x="2343" y="1176"/>
                  </a:lnTo>
                  <a:lnTo>
                    <a:pt x="2345" y="1176"/>
                  </a:lnTo>
                  <a:lnTo>
                    <a:pt x="2348" y="1176"/>
                  </a:lnTo>
                  <a:lnTo>
                    <a:pt x="2349" y="1176"/>
                  </a:lnTo>
                  <a:lnTo>
                    <a:pt x="2351" y="1176"/>
                  </a:lnTo>
                  <a:lnTo>
                    <a:pt x="2354" y="1173"/>
                  </a:lnTo>
                  <a:lnTo>
                    <a:pt x="2356" y="1170"/>
                  </a:lnTo>
                  <a:lnTo>
                    <a:pt x="2359" y="1168"/>
                  </a:lnTo>
                  <a:lnTo>
                    <a:pt x="2364" y="1165"/>
                  </a:lnTo>
                  <a:lnTo>
                    <a:pt x="2366" y="1164"/>
                  </a:lnTo>
                  <a:lnTo>
                    <a:pt x="2369" y="1164"/>
                  </a:lnTo>
                  <a:lnTo>
                    <a:pt x="2372" y="1164"/>
                  </a:lnTo>
                  <a:lnTo>
                    <a:pt x="2378" y="1161"/>
                  </a:lnTo>
                  <a:lnTo>
                    <a:pt x="2379" y="1161"/>
                  </a:lnTo>
                  <a:lnTo>
                    <a:pt x="2382" y="1160"/>
                  </a:lnTo>
                  <a:lnTo>
                    <a:pt x="2385" y="1160"/>
                  </a:lnTo>
                  <a:lnTo>
                    <a:pt x="2385" y="1160"/>
                  </a:lnTo>
                  <a:lnTo>
                    <a:pt x="2388" y="1159"/>
                  </a:lnTo>
                  <a:lnTo>
                    <a:pt x="2390" y="1158"/>
                  </a:lnTo>
                  <a:lnTo>
                    <a:pt x="2391" y="1156"/>
                  </a:lnTo>
                  <a:lnTo>
                    <a:pt x="2396" y="1154"/>
                  </a:lnTo>
                  <a:lnTo>
                    <a:pt x="2398" y="1154"/>
                  </a:lnTo>
                  <a:lnTo>
                    <a:pt x="2399" y="1152"/>
                  </a:lnTo>
                  <a:lnTo>
                    <a:pt x="2399" y="1148"/>
                  </a:lnTo>
                  <a:lnTo>
                    <a:pt x="2399" y="1146"/>
                  </a:lnTo>
                  <a:lnTo>
                    <a:pt x="2400" y="1145"/>
                  </a:lnTo>
                  <a:lnTo>
                    <a:pt x="2403" y="1142"/>
                  </a:lnTo>
                  <a:lnTo>
                    <a:pt x="2404" y="1142"/>
                  </a:lnTo>
                  <a:lnTo>
                    <a:pt x="2410" y="1139"/>
                  </a:lnTo>
                  <a:lnTo>
                    <a:pt x="2411" y="1139"/>
                  </a:lnTo>
                  <a:lnTo>
                    <a:pt x="2412" y="1139"/>
                  </a:lnTo>
                  <a:lnTo>
                    <a:pt x="2412" y="1138"/>
                  </a:lnTo>
                  <a:lnTo>
                    <a:pt x="2415" y="1137"/>
                  </a:lnTo>
                  <a:lnTo>
                    <a:pt x="2417" y="1137"/>
                  </a:lnTo>
                  <a:lnTo>
                    <a:pt x="2420" y="1136"/>
                  </a:lnTo>
                  <a:lnTo>
                    <a:pt x="2423" y="1135"/>
                  </a:lnTo>
                  <a:lnTo>
                    <a:pt x="2425" y="1134"/>
                  </a:lnTo>
                  <a:lnTo>
                    <a:pt x="2425" y="1134"/>
                  </a:lnTo>
                  <a:lnTo>
                    <a:pt x="2431" y="1133"/>
                  </a:lnTo>
                  <a:lnTo>
                    <a:pt x="2434" y="1134"/>
                  </a:lnTo>
                  <a:lnTo>
                    <a:pt x="2437" y="1134"/>
                  </a:lnTo>
                  <a:lnTo>
                    <a:pt x="2439" y="1133"/>
                  </a:lnTo>
                  <a:lnTo>
                    <a:pt x="2441" y="1131"/>
                  </a:lnTo>
                  <a:lnTo>
                    <a:pt x="2442" y="1128"/>
                  </a:lnTo>
                  <a:lnTo>
                    <a:pt x="2441" y="1126"/>
                  </a:lnTo>
                  <a:lnTo>
                    <a:pt x="2444" y="1124"/>
                  </a:lnTo>
                  <a:lnTo>
                    <a:pt x="2446" y="1121"/>
                  </a:lnTo>
                  <a:lnTo>
                    <a:pt x="2456" y="1120"/>
                  </a:lnTo>
                  <a:lnTo>
                    <a:pt x="2458" y="1118"/>
                  </a:lnTo>
                  <a:lnTo>
                    <a:pt x="2459" y="1116"/>
                  </a:lnTo>
                  <a:lnTo>
                    <a:pt x="2461" y="1112"/>
                  </a:lnTo>
                  <a:lnTo>
                    <a:pt x="2462" y="1110"/>
                  </a:lnTo>
                  <a:lnTo>
                    <a:pt x="2463" y="1109"/>
                  </a:lnTo>
                  <a:lnTo>
                    <a:pt x="2468" y="1107"/>
                  </a:lnTo>
                  <a:lnTo>
                    <a:pt x="2472" y="1107"/>
                  </a:lnTo>
                  <a:lnTo>
                    <a:pt x="2473" y="1107"/>
                  </a:lnTo>
                  <a:lnTo>
                    <a:pt x="2476" y="1105"/>
                  </a:lnTo>
                  <a:lnTo>
                    <a:pt x="2476" y="1103"/>
                  </a:lnTo>
                  <a:lnTo>
                    <a:pt x="2476" y="1101"/>
                  </a:lnTo>
                  <a:lnTo>
                    <a:pt x="2475" y="1097"/>
                  </a:lnTo>
                  <a:lnTo>
                    <a:pt x="2475" y="1096"/>
                  </a:lnTo>
                  <a:lnTo>
                    <a:pt x="2476" y="1093"/>
                  </a:lnTo>
                  <a:lnTo>
                    <a:pt x="2476" y="1091"/>
                  </a:lnTo>
                  <a:lnTo>
                    <a:pt x="2476" y="1088"/>
                  </a:lnTo>
                  <a:lnTo>
                    <a:pt x="2480" y="1083"/>
                  </a:lnTo>
                  <a:lnTo>
                    <a:pt x="2482" y="1086"/>
                  </a:lnTo>
                  <a:lnTo>
                    <a:pt x="2485" y="1086"/>
                  </a:lnTo>
                  <a:lnTo>
                    <a:pt x="2487" y="1083"/>
                  </a:lnTo>
                  <a:lnTo>
                    <a:pt x="2489" y="1081"/>
                  </a:lnTo>
                  <a:lnTo>
                    <a:pt x="2491" y="1075"/>
                  </a:lnTo>
                  <a:lnTo>
                    <a:pt x="2494" y="1073"/>
                  </a:lnTo>
                  <a:lnTo>
                    <a:pt x="2497" y="1071"/>
                  </a:lnTo>
                  <a:lnTo>
                    <a:pt x="2499" y="1068"/>
                  </a:lnTo>
                  <a:lnTo>
                    <a:pt x="2500" y="1066"/>
                  </a:lnTo>
                  <a:lnTo>
                    <a:pt x="2501" y="1062"/>
                  </a:lnTo>
                  <a:lnTo>
                    <a:pt x="2504" y="1060"/>
                  </a:lnTo>
                  <a:lnTo>
                    <a:pt x="2504" y="1059"/>
                  </a:lnTo>
                  <a:lnTo>
                    <a:pt x="2505" y="1057"/>
                  </a:lnTo>
                  <a:lnTo>
                    <a:pt x="2504" y="1054"/>
                  </a:lnTo>
                  <a:lnTo>
                    <a:pt x="2501" y="1054"/>
                  </a:lnTo>
                  <a:lnTo>
                    <a:pt x="2498" y="1053"/>
                  </a:lnTo>
                  <a:lnTo>
                    <a:pt x="2497" y="1050"/>
                  </a:lnTo>
                  <a:lnTo>
                    <a:pt x="2493" y="1048"/>
                  </a:lnTo>
                  <a:lnTo>
                    <a:pt x="2492" y="1045"/>
                  </a:lnTo>
                  <a:lnTo>
                    <a:pt x="2490" y="1042"/>
                  </a:lnTo>
                  <a:lnTo>
                    <a:pt x="2488" y="1040"/>
                  </a:lnTo>
                  <a:lnTo>
                    <a:pt x="2482" y="1039"/>
                  </a:lnTo>
                  <a:lnTo>
                    <a:pt x="2480" y="1037"/>
                  </a:lnTo>
                  <a:lnTo>
                    <a:pt x="2476" y="1037"/>
                  </a:lnTo>
                  <a:lnTo>
                    <a:pt x="2473" y="1036"/>
                  </a:lnTo>
                  <a:lnTo>
                    <a:pt x="2472" y="1036"/>
                  </a:lnTo>
                  <a:lnTo>
                    <a:pt x="2468" y="1035"/>
                  </a:lnTo>
                  <a:lnTo>
                    <a:pt x="2466" y="1034"/>
                  </a:lnTo>
                  <a:lnTo>
                    <a:pt x="2464" y="1031"/>
                  </a:lnTo>
                  <a:lnTo>
                    <a:pt x="2462" y="1028"/>
                  </a:lnTo>
                  <a:lnTo>
                    <a:pt x="2459" y="1026"/>
                  </a:lnTo>
                  <a:lnTo>
                    <a:pt x="2458" y="1023"/>
                  </a:lnTo>
                  <a:lnTo>
                    <a:pt x="2457" y="1020"/>
                  </a:lnTo>
                  <a:lnTo>
                    <a:pt x="2457" y="1019"/>
                  </a:lnTo>
                  <a:lnTo>
                    <a:pt x="2457" y="1019"/>
                  </a:lnTo>
                  <a:lnTo>
                    <a:pt x="2456" y="1018"/>
                  </a:lnTo>
                  <a:lnTo>
                    <a:pt x="2457" y="1015"/>
                  </a:lnTo>
                  <a:lnTo>
                    <a:pt x="2457" y="1015"/>
                  </a:lnTo>
                  <a:lnTo>
                    <a:pt x="2456" y="1010"/>
                  </a:lnTo>
                  <a:lnTo>
                    <a:pt x="2455" y="1010"/>
                  </a:lnTo>
                  <a:lnTo>
                    <a:pt x="2457" y="1005"/>
                  </a:lnTo>
                  <a:lnTo>
                    <a:pt x="2456" y="1001"/>
                  </a:lnTo>
                  <a:lnTo>
                    <a:pt x="2457" y="999"/>
                  </a:lnTo>
                  <a:lnTo>
                    <a:pt x="2456" y="999"/>
                  </a:lnTo>
                  <a:lnTo>
                    <a:pt x="2455" y="1001"/>
                  </a:lnTo>
                  <a:lnTo>
                    <a:pt x="2453" y="1004"/>
                  </a:lnTo>
                  <a:lnTo>
                    <a:pt x="2451" y="1006"/>
                  </a:lnTo>
                  <a:lnTo>
                    <a:pt x="2446" y="1011"/>
                  </a:lnTo>
                  <a:lnTo>
                    <a:pt x="2446" y="1010"/>
                  </a:lnTo>
                  <a:lnTo>
                    <a:pt x="2445" y="1011"/>
                  </a:lnTo>
                  <a:lnTo>
                    <a:pt x="2445" y="1011"/>
                  </a:lnTo>
                  <a:lnTo>
                    <a:pt x="2445" y="1013"/>
                  </a:lnTo>
                  <a:lnTo>
                    <a:pt x="2442" y="1015"/>
                  </a:lnTo>
                  <a:lnTo>
                    <a:pt x="2442" y="1015"/>
                  </a:lnTo>
                  <a:lnTo>
                    <a:pt x="2442" y="1016"/>
                  </a:lnTo>
                  <a:lnTo>
                    <a:pt x="2442" y="1016"/>
                  </a:lnTo>
                  <a:lnTo>
                    <a:pt x="2439" y="1018"/>
                  </a:lnTo>
                  <a:lnTo>
                    <a:pt x="2438" y="1019"/>
                  </a:lnTo>
                  <a:lnTo>
                    <a:pt x="2438" y="1019"/>
                  </a:lnTo>
                  <a:lnTo>
                    <a:pt x="2438" y="1019"/>
                  </a:lnTo>
                  <a:lnTo>
                    <a:pt x="2438" y="1019"/>
                  </a:lnTo>
                  <a:lnTo>
                    <a:pt x="2436" y="1022"/>
                  </a:lnTo>
                  <a:lnTo>
                    <a:pt x="2433" y="1024"/>
                  </a:lnTo>
                  <a:lnTo>
                    <a:pt x="2432" y="1026"/>
                  </a:lnTo>
                  <a:lnTo>
                    <a:pt x="2428" y="1031"/>
                  </a:lnTo>
                  <a:lnTo>
                    <a:pt x="2425" y="1030"/>
                  </a:lnTo>
                  <a:lnTo>
                    <a:pt x="2425" y="1030"/>
                  </a:lnTo>
                  <a:lnTo>
                    <a:pt x="2425" y="1030"/>
                  </a:lnTo>
                  <a:lnTo>
                    <a:pt x="2423" y="1033"/>
                  </a:lnTo>
                  <a:lnTo>
                    <a:pt x="2420" y="1033"/>
                  </a:lnTo>
                  <a:lnTo>
                    <a:pt x="2417" y="1032"/>
                  </a:lnTo>
                  <a:lnTo>
                    <a:pt x="2416" y="1032"/>
                  </a:lnTo>
                  <a:lnTo>
                    <a:pt x="2412" y="1032"/>
                  </a:lnTo>
                  <a:lnTo>
                    <a:pt x="2411" y="1032"/>
                  </a:lnTo>
                  <a:lnTo>
                    <a:pt x="2408" y="1032"/>
                  </a:lnTo>
                  <a:lnTo>
                    <a:pt x="2407" y="1032"/>
                  </a:lnTo>
                  <a:lnTo>
                    <a:pt x="2405" y="1031"/>
                  </a:lnTo>
                  <a:lnTo>
                    <a:pt x="2403" y="1033"/>
                  </a:lnTo>
                  <a:lnTo>
                    <a:pt x="2396" y="1034"/>
                  </a:lnTo>
                  <a:lnTo>
                    <a:pt x="2394" y="1033"/>
                  </a:lnTo>
                  <a:lnTo>
                    <a:pt x="2394" y="1031"/>
                  </a:lnTo>
                  <a:lnTo>
                    <a:pt x="2391" y="1028"/>
                  </a:lnTo>
                  <a:lnTo>
                    <a:pt x="2391" y="1030"/>
                  </a:lnTo>
                  <a:lnTo>
                    <a:pt x="2388" y="1030"/>
                  </a:lnTo>
                  <a:lnTo>
                    <a:pt x="2388" y="1030"/>
                  </a:lnTo>
                  <a:lnTo>
                    <a:pt x="2388" y="1027"/>
                  </a:lnTo>
                  <a:lnTo>
                    <a:pt x="2387" y="1026"/>
                  </a:lnTo>
                  <a:lnTo>
                    <a:pt x="2386" y="1025"/>
                  </a:lnTo>
                  <a:lnTo>
                    <a:pt x="2389" y="1024"/>
                  </a:lnTo>
                  <a:lnTo>
                    <a:pt x="2389" y="1023"/>
                  </a:lnTo>
                  <a:lnTo>
                    <a:pt x="2389" y="1023"/>
                  </a:lnTo>
                  <a:lnTo>
                    <a:pt x="2391" y="1019"/>
                  </a:lnTo>
                  <a:lnTo>
                    <a:pt x="2391" y="1018"/>
                  </a:lnTo>
                  <a:lnTo>
                    <a:pt x="2391" y="1018"/>
                  </a:lnTo>
                  <a:lnTo>
                    <a:pt x="2391" y="1017"/>
                  </a:lnTo>
                  <a:lnTo>
                    <a:pt x="2391" y="1016"/>
                  </a:lnTo>
                  <a:lnTo>
                    <a:pt x="2390" y="1014"/>
                  </a:lnTo>
                  <a:lnTo>
                    <a:pt x="2389" y="1011"/>
                  </a:lnTo>
                  <a:lnTo>
                    <a:pt x="2391" y="1009"/>
                  </a:lnTo>
                  <a:lnTo>
                    <a:pt x="2391" y="1006"/>
                  </a:lnTo>
                  <a:lnTo>
                    <a:pt x="2390" y="1006"/>
                  </a:lnTo>
                  <a:lnTo>
                    <a:pt x="2389" y="1006"/>
                  </a:lnTo>
                  <a:lnTo>
                    <a:pt x="2388" y="1004"/>
                  </a:lnTo>
                  <a:lnTo>
                    <a:pt x="2385" y="1004"/>
                  </a:lnTo>
                  <a:lnTo>
                    <a:pt x="2382" y="1006"/>
                  </a:lnTo>
                  <a:lnTo>
                    <a:pt x="2382" y="1007"/>
                  </a:lnTo>
                  <a:lnTo>
                    <a:pt x="2381" y="1009"/>
                  </a:lnTo>
                  <a:lnTo>
                    <a:pt x="2381" y="1011"/>
                  </a:lnTo>
                  <a:lnTo>
                    <a:pt x="2380" y="1011"/>
                  </a:lnTo>
                  <a:lnTo>
                    <a:pt x="2380" y="1011"/>
                  </a:lnTo>
                  <a:lnTo>
                    <a:pt x="2380" y="1017"/>
                  </a:lnTo>
                  <a:lnTo>
                    <a:pt x="2381" y="1022"/>
                  </a:lnTo>
                  <a:lnTo>
                    <a:pt x="2381" y="1023"/>
                  </a:lnTo>
                  <a:lnTo>
                    <a:pt x="2380" y="1023"/>
                  </a:lnTo>
                  <a:lnTo>
                    <a:pt x="2380" y="1023"/>
                  </a:lnTo>
                  <a:lnTo>
                    <a:pt x="2379" y="1019"/>
                  </a:lnTo>
                  <a:lnTo>
                    <a:pt x="2378" y="1019"/>
                  </a:lnTo>
                  <a:lnTo>
                    <a:pt x="2378" y="1019"/>
                  </a:lnTo>
                  <a:lnTo>
                    <a:pt x="2376" y="1014"/>
                  </a:lnTo>
                  <a:lnTo>
                    <a:pt x="2371" y="1008"/>
                  </a:lnTo>
                  <a:lnTo>
                    <a:pt x="2371" y="1006"/>
                  </a:lnTo>
                  <a:lnTo>
                    <a:pt x="2370" y="1005"/>
                  </a:lnTo>
                  <a:lnTo>
                    <a:pt x="2369" y="1005"/>
                  </a:lnTo>
                  <a:lnTo>
                    <a:pt x="2369" y="1005"/>
                  </a:lnTo>
                  <a:lnTo>
                    <a:pt x="2370" y="1004"/>
                  </a:lnTo>
                  <a:lnTo>
                    <a:pt x="2370" y="1002"/>
                  </a:lnTo>
                  <a:lnTo>
                    <a:pt x="2372" y="1002"/>
                  </a:lnTo>
                  <a:lnTo>
                    <a:pt x="2372" y="1001"/>
                  </a:lnTo>
                  <a:lnTo>
                    <a:pt x="2372" y="1001"/>
                  </a:lnTo>
                  <a:lnTo>
                    <a:pt x="2371" y="998"/>
                  </a:lnTo>
                  <a:lnTo>
                    <a:pt x="2370" y="997"/>
                  </a:lnTo>
                  <a:lnTo>
                    <a:pt x="2370" y="994"/>
                  </a:lnTo>
                  <a:lnTo>
                    <a:pt x="2369" y="994"/>
                  </a:lnTo>
                  <a:lnTo>
                    <a:pt x="2370" y="993"/>
                  </a:lnTo>
                  <a:lnTo>
                    <a:pt x="2370" y="994"/>
                  </a:lnTo>
                  <a:lnTo>
                    <a:pt x="2370" y="994"/>
                  </a:lnTo>
                  <a:lnTo>
                    <a:pt x="2370" y="994"/>
                  </a:lnTo>
                  <a:lnTo>
                    <a:pt x="2371" y="996"/>
                  </a:lnTo>
                  <a:lnTo>
                    <a:pt x="2370" y="993"/>
                  </a:lnTo>
                  <a:lnTo>
                    <a:pt x="2370" y="993"/>
                  </a:lnTo>
                  <a:lnTo>
                    <a:pt x="2370" y="993"/>
                  </a:lnTo>
                  <a:lnTo>
                    <a:pt x="2369" y="992"/>
                  </a:lnTo>
                  <a:lnTo>
                    <a:pt x="2369" y="992"/>
                  </a:lnTo>
                  <a:lnTo>
                    <a:pt x="2369" y="992"/>
                  </a:lnTo>
                  <a:lnTo>
                    <a:pt x="2369" y="992"/>
                  </a:lnTo>
                  <a:lnTo>
                    <a:pt x="2368" y="992"/>
                  </a:lnTo>
                  <a:lnTo>
                    <a:pt x="2364" y="990"/>
                  </a:lnTo>
                  <a:lnTo>
                    <a:pt x="2364" y="990"/>
                  </a:lnTo>
                  <a:lnTo>
                    <a:pt x="2364" y="990"/>
                  </a:lnTo>
                  <a:lnTo>
                    <a:pt x="2363" y="988"/>
                  </a:lnTo>
                  <a:lnTo>
                    <a:pt x="2363" y="988"/>
                  </a:lnTo>
                  <a:lnTo>
                    <a:pt x="2361" y="988"/>
                  </a:lnTo>
                  <a:lnTo>
                    <a:pt x="2361" y="987"/>
                  </a:lnTo>
                  <a:lnTo>
                    <a:pt x="2360" y="987"/>
                  </a:lnTo>
                  <a:lnTo>
                    <a:pt x="2357" y="983"/>
                  </a:lnTo>
                  <a:lnTo>
                    <a:pt x="2357" y="982"/>
                  </a:lnTo>
                  <a:lnTo>
                    <a:pt x="2356" y="982"/>
                  </a:lnTo>
                  <a:lnTo>
                    <a:pt x="2356" y="982"/>
                  </a:lnTo>
                  <a:lnTo>
                    <a:pt x="2356" y="981"/>
                  </a:lnTo>
                  <a:lnTo>
                    <a:pt x="2355" y="981"/>
                  </a:lnTo>
                  <a:lnTo>
                    <a:pt x="2354" y="981"/>
                  </a:lnTo>
                  <a:lnTo>
                    <a:pt x="2354" y="981"/>
                  </a:lnTo>
                  <a:lnTo>
                    <a:pt x="2353" y="981"/>
                  </a:lnTo>
                  <a:lnTo>
                    <a:pt x="2353" y="979"/>
                  </a:lnTo>
                  <a:lnTo>
                    <a:pt x="2354" y="979"/>
                  </a:lnTo>
                  <a:lnTo>
                    <a:pt x="2354" y="979"/>
                  </a:lnTo>
                  <a:lnTo>
                    <a:pt x="2354" y="979"/>
                  </a:lnTo>
                  <a:lnTo>
                    <a:pt x="2354" y="977"/>
                  </a:lnTo>
                  <a:lnTo>
                    <a:pt x="2353" y="976"/>
                  </a:lnTo>
                  <a:lnTo>
                    <a:pt x="2353" y="975"/>
                  </a:lnTo>
                  <a:lnTo>
                    <a:pt x="2352" y="975"/>
                  </a:lnTo>
                  <a:lnTo>
                    <a:pt x="2349" y="970"/>
                  </a:lnTo>
                  <a:lnTo>
                    <a:pt x="2347" y="967"/>
                  </a:lnTo>
                  <a:lnTo>
                    <a:pt x="2347" y="964"/>
                  </a:lnTo>
                  <a:lnTo>
                    <a:pt x="2344" y="959"/>
                  </a:lnTo>
                  <a:lnTo>
                    <a:pt x="2344" y="959"/>
                  </a:lnTo>
                  <a:lnTo>
                    <a:pt x="2344" y="958"/>
                  </a:lnTo>
                  <a:lnTo>
                    <a:pt x="2343" y="956"/>
                  </a:lnTo>
                  <a:lnTo>
                    <a:pt x="2340" y="955"/>
                  </a:lnTo>
                  <a:lnTo>
                    <a:pt x="2339" y="953"/>
                  </a:lnTo>
                  <a:lnTo>
                    <a:pt x="2343" y="951"/>
                  </a:lnTo>
                  <a:lnTo>
                    <a:pt x="2344" y="951"/>
                  </a:lnTo>
                  <a:lnTo>
                    <a:pt x="2342" y="948"/>
                  </a:lnTo>
                  <a:lnTo>
                    <a:pt x="2342" y="947"/>
                  </a:lnTo>
                  <a:lnTo>
                    <a:pt x="2342" y="946"/>
                  </a:lnTo>
                  <a:lnTo>
                    <a:pt x="2342" y="943"/>
                  </a:lnTo>
                  <a:lnTo>
                    <a:pt x="2348" y="947"/>
                  </a:lnTo>
                  <a:lnTo>
                    <a:pt x="2349" y="946"/>
                  </a:lnTo>
                  <a:lnTo>
                    <a:pt x="2349" y="946"/>
                  </a:lnTo>
                  <a:lnTo>
                    <a:pt x="2351" y="946"/>
                  </a:lnTo>
                  <a:lnTo>
                    <a:pt x="2351" y="946"/>
                  </a:lnTo>
                  <a:lnTo>
                    <a:pt x="2351" y="945"/>
                  </a:lnTo>
                  <a:lnTo>
                    <a:pt x="2352" y="945"/>
                  </a:lnTo>
                  <a:lnTo>
                    <a:pt x="2354" y="945"/>
                  </a:lnTo>
                  <a:lnTo>
                    <a:pt x="2355" y="942"/>
                  </a:lnTo>
                  <a:lnTo>
                    <a:pt x="2354" y="940"/>
                  </a:lnTo>
                  <a:lnTo>
                    <a:pt x="2355" y="938"/>
                  </a:lnTo>
                  <a:lnTo>
                    <a:pt x="2356" y="938"/>
                  </a:lnTo>
                  <a:lnTo>
                    <a:pt x="2357" y="938"/>
                  </a:lnTo>
                  <a:lnTo>
                    <a:pt x="2355" y="940"/>
                  </a:lnTo>
                  <a:lnTo>
                    <a:pt x="2359" y="941"/>
                  </a:lnTo>
                  <a:lnTo>
                    <a:pt x="2361" y="943"/>
                  </a:lnTo>
                  <a:lnTo>
                    <a:pt x="2363" y="943"/>
                  </a:lnTo>
                  <a:lnTo>
                    <a:pt x="2363" y="945"/>
                  </a:lnTo>
                  <a:lnTo>
                    <a:pt x="2365" y="945"/>
                  </a:lnTo>
                  <a:lnTo>
                    <a:pt x="2368" y="942"/>
                  </a:lnTo>
                  <a:lnTo>
                    <a:pt x="2370" y="942"/>
                  </a:lnTo>
                  <a:lnTo>
                    <a:pt x="2370" y="942"/>
                  </a:lnTo>
                  <a:lnTo>
                    <a:pt x="2371" y="945"/>
                  </a:lnTo>
                  <a:lnTo>
                    <a:pt x="2371" y="946"/>
                  </a:lnTo>
                  <a:lnTo>
                    <a:pt x="2373" y="948"/>
                  </a:lnTo>
                  <a:lnTo>
                    <a:pt x="2373" y="948"/>
                  </a:lnTo>
                  <a:lnTo>
                    <a:pt x="2376" y="950"/>
                  </a:lnTo>
                  <a:lnTo>
                    <a:pt x="2376" y="951"/>
                  </a:lnTo>
                  <a:lnTo>
                    <a:pt x="2376" y="951"/>
                  </a:lnTo>
                  <a:lnTo>
                    <a:pt x="2379" y="954"/>
                  </a:lnTo>
                  <a:lnTo>
                    <a:pt x="2379" y="957"/>
                  </a:lnTo>
                  <a:lnTo>
                    <a:pt x="2378" y="958"/>
                  </a:lnTo>
                  <a:lnTo>
                    <a:pt x="2380" y="958"/>
                  </a:lnTo>
                  <a:lnTo>
                    <a:pt x="2381" y="960"/>
                  </a:lnTo>
                  <a:lnTo>
                    <a:pt x="2383" y="964"/>
                  </a:lnTo>
                  <a:lnTo>
                    <a:pt x="2385" y="966"/>
                  </a:lnTo>
                  <a:lnTo>
                    <a:pt x="2385" y="967"/>
                  </a:lnTo>
                  <a:lnTo>
                    <a:pt x="2386" y="971"/>
                  </a:lnTo>
                  <a:lnTo>
                    <a:pt x="2387" y="973"/>
                  </a:lnTo>
                  <a:lnTo>
                    <a:pt x="2388" y="975"/>
                  </a:lnTo>
                  <a:lnTo>
                    <a:pt x="2391" y="977"/>
                  </a:lnTo>
                  <a:lnTo>
                    <a:pt x="2394" y="977"/>
                  </a:lnTo>
                  <a:lnTo>
                    <a:pt x="2397" y="977"/>
                  </a:lnTo>
                  <a:lnTo>
                    <a:pt x="2399" y="980"/>
                  </a:lnTo>
                  <a:lnTo>
                    <a:pt x="2402" y="981"/>
                  </a:lnTo>
                  <a:lnTo>
                    <a:pt x="2405" y="982"/>
                  </a:lnTo>
                  <a:lnTo>
                    <a:pt x="2406" y="985"/>
                  </a:lnTo>
                  <a:lnTo>
                    <a:pt x="2408" y="987"/>
                  </a:lnTo>
                  <a:lnTo>
                    <a:pt x="2411" y="989"/>
                  </a:lnTo>
                  <a:lnTo>
                    <a:pt x="2414" y="989"/>
                  </a:lnTo>
                  <a:lnTo>
                    <a:pt x="2416" y="990"/>
                  </a:lnTo>
                  <a:lnTo>
                    <a:pt x="2416" y="991"/>
                  </a:lnTo>
                  <a:lnTo>
                    <a:pt x="2419" y="993"/>
                  </a:lnTo>
                  <a:lnTo>
                    <a:pt x="2422" y="994"/>
                  </a:lnTo>
                  <a:lnTo>
                    <a:pt x="2424" y="993"/>
                  </a:lnTo>
                  <a:lnTo>
                    <a:pt x="2427" y="994"/>
                  </a:lnTo>
                  <a:lnTo>
                    <a:pt x="2430" y="996"/>
                  </a:lnTo>
                  <a:lnTo>
                    <a:pt x="2432" y="997"/>
                  </a:lnTo>
                  <a:lnTo>
                    <a:pt x="2436" y="997"/>
                  </a:lnTo>
                  <a:lnTo>
                    <a:pt x="2438" y="996"/>
                  </a:lnTo>
                  <a:lnTo>
                    <a:pt x="2439" y="996"/>
                  </a:lnTo>
                  <a:lnTo>
                    <a:pt x="2441" y="993"/>
                  </a:lnTo>
                  <a:lnTo>
                    <a:pt x="2444" y="993"/>
                  </a:lnTo>
                  <a:lnTo>
                    <a:pt x="2446" y="991"/>
                  </a:lnTo>
                  <a:lnTo>
                    <a:pt x="2446" y="991"/>
                  </a:lnTo>
                  <a:lnTo>
                    <a:pt x="2448" y="990"/>
                  </a:lnTo>
                  <a:lnTo>
                    <a:pt x="2449" y="990"/>
                  </a:lnTo>
                  <a:lnTo>
                    <a:pt x="2451" y="989"/>
                  </a:lnTo>
                  <a:lnTo>
                    <a:pt x="2454" y="988"/>
                  </a:lnTo>
                  <a:lnTo>
                    <a:pt x="2457" y="988"/>
                  </a:lnTo>
                  <a:lnTo>
                    <a:pt x="2459" y="988"/>
                  </a:lnTo>
                  <a:lnTo>
                    <a:pt x="2463" y="988"/>
                  </a:lnTo>
                  <a:lnTo>
                    <a:pt x="2463" y="989"/>
                  </a:lnTo>
                  <a:lnTo>
                    <a:pt x="2465" y="992"/>
                  </a:lnTo>
                  <a:lnTo>
                    <a:pt x="2466" y="994"/>
                  </a:lnTo>
                  <a:lnTo>
                    <a:pt x="2466" y="997"/>
                  </a:lnTo>
                  <a:lnTo>
                    <a:pt x="2467" y="1000"/>
                  </a:lnTo>
                  <a:lnTo>
                    <a:pt x="2467" y="1002"/>
                  </a:lnTo>
                  <a:lnTo>
                    <a:pt x="2468" y="1006"/>
                  </a:lnTo>
                  <a:lnTo>
                    <a:pt x="2471" y="1008"/>
                  </a:lnTo>
                  <a:lnTo>
                    <a:pt x="2473" y="1008"/>
                  </a:lnTo>
                  <a:lnTo>
                    <a:pt x="2476" y="1010"/>
                  </a:lnTo>
                  <a:lnTo>
                    <a:pt x="2477" y="1009"/>
                  </a:lnTo>
                  <a:lnTo>
                    <a:pt x="2480" y="1011"/>
                  </a:lnTo>
                  <a:lnTo>
                    <a:pt x="2483" y="1011"/>
                  </a:lnTo>
                  <a:lnTo>
                    <a:pt x="2485" y="1010"/>
                  </a:lnTo>
                  <a:lnTo>
                    <a:pt x="2488" y="1011"/>
                  </a:lnTo>
                  <a:lnTo>
                    <a:pt x="2491" y="1011"/>
                  </a:lnTo>
                  <a:lnTo>
                    <a:pt x="2493" y="1014"/>
                  </a:lnTo>
                  <a:lnTo>
                    <a:pt x="2496" y="1013"/>
                  </a:lnTo>
                  <a:lnTo>
                    <a:pt x="2498" y="1013"/>
                  </a:lnTo>
                  <a:lnTo>
                    <a:pt x="2501" y="1014"/>
                  </a:lnTo>
                  <a:lnTo>
                    <a:pt x="2504" y="1014"/>
                  </a:lnTo>
                  <a:lnTo>
                    <a:pt x="2506" y="1014"/>
                  </a:lnTo>
                  <a:lnTo>
                    <a:pt x="2509" y="1014"/>
                  </a:lnTo>
                  <a:lnTo>
                    <a:pt x="2513" y="1015"/>
                  </a:lnTo>
                  <a:lnTo>
                    <a:pt x="2514" y="1013"/>
                  </a:lnTo>
                  <a:lnTo>
                    <a:pt x="2516" y="1015"/>
                  </a:lnTo>
                  <a:lnTo>
                    <a:pt x="2518" y="1016"/>
                  </a:lnTo>
                  <a:lnTo>
                    <a:pt x="2522" y="1016"/>
                  </a:lnTo>
                  <a:lnTo>
                    <a:pt x="2524" y="1018"/>
                  </a:lnTo>
                  <a:lnTo>
                    <a:pt x="2527" y="1016"/>
                  </a:lnTo>
                  <a:lnTo>
                    <a:pt x="2528" y="1016"/>
                  </a:lnTo>
                  <a:lnTo>
                    <a:pt x="2530" y="1016"/>
                  </a:lnTo>
                  <a:lnTo>
                    <a:pt x="2530" y="1018"/>
                  </a:lnTo>
                  <a:lnTo>
                    <a:pt x="2533" y="1017"/>
                  </a:lnTo>
                  <a:lnTo>
                    <a:pt x="2535" y="1016"/>
                  </a:lnTo>
                  <a:lnTo>
                    <a:pt x="2538" y="1017"/>
                  </a:lnTo>
                  <a:lnTo>
                    <a:pt x="2541" y="1016"/>
                  </a:lnTo>
                  <a:lnTo>
                    <a:pt x="2543" y="1015"/>
                  </a:lnTo>
                  <a:lnTo>
                    <a:pt x="2545" y="1016"/>
                  </a:lnTo>
                  <a:lnTo>
                    <a:pt x="2549" y="1016"/>
                  </a:lnTo>
                  <a:lnTo>
                    <a:pt x="2555" y="1016"/>
                  </a:lnTo>
                  <a:lnTo>
                    <a:pt x="2555" y="1014"/>
                  </a:lnTo>
                  <a:lnTo>
                    <a:pt x="2558" y="1014"/>
                  </a:lnTo>
                  <a:lnTo>
                    <a:pt x="2560" y="1015"/>
                  </a:lnTo>
                  <a:lnTo>
                    <a:pt x="2562" y="1013"/>
                  </a:lnTo>
                  <a:lnTo>
                    <a:pt x="2566" y="1015"/>
                  </a:lnTo>
                  <a:lnTo>
                    <a:pt x="2568" y="1015"/>
                  </a:lnTo>
                  <a:lnTo>
                    <a:pt x="2572" y="1015"/>
                  </a:lnTo>
                  <a:lnTo>
                    <a:pt x="2577" y="1015"/>
                  </a:lnTo>
                  <a:lnTo>
                    <a:pt x="2581" y="1014"/>
                  </a:lnTo>
                  <a:lnTo>
                    <a:pt x="2584" y="1015"/>
                  </a:lnTo>
                  <a:lnTo>
                    <a:pt x="2590" y="1013"/>
                  </a:lnTo>
                  <a:lnTo>
                    <a:pt x="2592" y="1013"/>
                  </a:lnTo>
                  <a:lnTo>
                    <a:pt x="2594" y="1013"/>
                  </a:lnTo>
                  <a:lnTo>
                    <a:pt x="2592" y="1011"/>
                  </a:lnTo>
                  <a:lnTo>
                    <a:pt x="2594" y="1010"/>
                  </a:lnTo>
                  <a:lnTo>
                    <a:pt x="2599" y="1016"/>
                  </a:lnTo>
                  <a:lnTo>
                    <a:pt x="2598" y="1019"/>
                  </a:lnTo>
                  <a:lnTo>
                    <a:pt x="2598" y="1020"/>
                  </a:lnTo>
                  <a:lnTo>
                    <a:pt x="2601" y="1022"/>
                  </a:lnTo>
                  <a:lnTo>
                    <a:pt x="2603" y="1023"/>
                  </a:lnTo>
                  <a:lnTo>
                    <a:pt x="2604" y="1025"/>
                  </a:lnTo>
                  <a:lnTo>
                    <a:pt x="2605" y="1027"/>
                  </a:lnTo>
                  <a:lnTo>
                    <a:pt x="2607" y="1032"/>
                  </a:lnTo>
                  <a:lnTo>
                    <a:pt x="2610" y="1033"/>
                  </a:lnTo>
                  <a:lnTo>
                    <a:pt x="2609" y="1034"/>
                  </a:lnTo>
                  <a:lnTo>
                    <a:pt x="2610" y="1035"/>
                  </a:lnTo>
                  <a:lnTo>
                    <a:pt x="2611" y="1035"/>
                  </a:lnTo>
                  <a:lnTo>
                    <a:pt x="2611" y="1036"/>
                  </a:lnTo>
                  <a:lnTo>
                    <a:pt x="2613" y="1035"/>
                  </a:lnTo>
                  <a:lnTo>
                    <a:pt x="2615" y="1035"/>
                  </a:lnTo>
                  <a:lnTo>
                    <a:pt x="2615" y="1035"/>
                  </a:lnTo>
                  <a:lnTo>
                    <a:pt x="2616" y="1035"/>
                  </a:lnTo>
                  <a:lnTo>
                    <a:pt x="2619" y="1037"/>
                  </a:lnTo>
                  <a:lnTo>
                    <a:pt x="2619" y="1040"/>
                  </a:lnTo>
                  <a:lnTo>
                    <a:pt x="2622" y="1037"/>
                  </a:lnTo>
                  <a:lnTo>
                    <a:pt x="2625" y="1036"/>
                  </a:lnTo>
                  <a:lnTo>
                    <a:pt x="2627" y="1036"/>
                  </a:lnTo>
                  <a:lnTo>
                    <a:pt x="2624" y="1037"/>
                  </a:lnTo>
                  <a:lnTo>
                    <a:pt x="2621" y="1040"/>
                  </a:lnTo>
                  <a:lnTo>
                    <a:pt x="2622" y="1042"/>
                  </a:lnTo>
                  <a:lnTo>
                    <a:pt x="2624" y="1044"/>
                  </a:lnTo>
                  <a:lnTo>
                    <a:pt x="2625" y="1045"/>
                  </a:lnTo>
                  <a:lnTo>
                    <a:pt x="2627" y="1048"/>
                  </a:lnTo>
                  <a:lnTo>
                    <a:pt x="2629" y="1049"/>
                  </a:lnTo>
                  <a:lnTo>
                    <a:pt x="2633" y="1050"/>
                  </a:lnTo>
                  <a:lnTo>
                    <a:pt x="2635" y="1051"/>
                  </a:lnTo>
                  <a:lnTo>
                    <a:pt x="2637" y="1052"/>
                  </a:lnTo>
                  <a:lnTo>
                    <a:pt x="2641" y="1050"/>
                  </a:lnTo>
                  <a:lnTo>
                    <a:pt x="2643" y="1050"/>
                  </a:lnTo>
                  <a:lnTo>
                    <a:pt x="2646" y="1049"/>
                  </a:lnTo>
                  <a:lnTo>
                    <a:pt x="2649" y="1049"/>
                  </a:lnTo>
                  <a:lnTo>
                    <a:pt x="2650" y="1047"/>
                  </a:lnTo>
                  <a:lnTo>
                    <a:pt x="2650" y="1049"/>
                  </a:lnTo>
                  <a:lnTo>
                    <a:pt x="2650" y="1049"/>
                  </a:lnTo>
                  <a:lnTo>
                    <a:pt x="2647" y="1051"/>
                  </a:lnTo>
                  <a:lnTo>
                    <a:pt x="2646" y="1054"/>
                  </a:lnTo>
                  <a:lnTo>
                    <a:pt x="2643" y="1054"/>
                  </a:lnTo>
                  <a:lnTo>
                    <a:pt x="2641" y="1057"/>
                  </a:lnTo>
                  <a:lnTo>
                    <a:pt x="2638" y="1058"/>
                  </a:lnTo>
                  <a:lnTo>
                    <a:pt x="2635" y="1058"/>
                  </a:lnTo>
                  <a:lnTo>
                    <a:pt x="2633" y="1059"/>
                  </a:lnTo>
                  <a:lnTo>
                    <a:pt x="2630" y="1056"/>
                  </a:lnTo>
                  <a:lnTo>
                    <a:pt x="2629" y="1058"/>
                  </a:lnTo>
                  <a:lnTo>
                    <a:pt x="2630" y="1060"/>
                  </a:lnTo>
                  <a:lnTo>
                    <a:pt x="2633" y="1062"/>
                  </a:lnTo>
                  <a:lnTo>
                    <a:pt x="2635" y="1066"/>
                  </a:lnTo>
                  <a:lnTo>
                    <a:pt x="2637" y="1068"/>
                  </a:lnTo>
                  <a:lnTo>
                    <a:pt x="2638" y="1068"/>
                  </a:lnTo>
                  <a:lnTo>
                    <a:pt x="2641" y="1070"/>
                  </a:lnTo>
                  <a:lnTo>
                    <a:pt x="2641" y="1071"/>
                  </a:lnTo>
                  <a:lnTo>
                    <a:pt x="2643" y="1074"/>
                  </a:lnTo>
                  <a:lnTo>
                    <a:pt x="2646" y="1076"/>
                  </a:lnTo>
                  <a:lnTo>
                    <a:pt x="2649" y="1078"/>
                  </a:lnTo>
                  <a:lnTo>
                    <a:pt x="2651" y="1079"/>
                  </a:lnTo>
                  <a:lnTo>
                    <a:pt x="2653" y="1081"/>
                  </a:lnTo>
                  <a:lnTo>
                    <a:pt x="2656" y="1081"/>
                  </a:lnTo>
                  <a:lnTo>
                    <a:pt x="2659" y="1081"/>
                  </a:lnTo>
                  <a:lnTo>
                    <a:pt x="2662" y="1079"/>
                  </a:lnTo>
                  <a:lnTo>
                    <a:pt x="2664" y="1077"/>
                  </a:lnTo>
                  <a:lnTo>
                    <a:pt x="2667" y="1076"/>
                  </a:lnTo>
                  <a:lnTo>
                    <a:pt x="2670" y="1075"/>
                  </a:lnTo>
                  <a:lnTo>
                    <a:pt x="2670" y="1075"/>
                  </a:lnTo>
                  <a:lnTo>
                    <a:pt x="2672" y="1073"/>
                  </a:lnTo>
                  <a:lnTo>
                    <a:pt x="2672" y="1071"/>
                  </a:lnTo>
                  <a:lnTo>
                    <a:pt x="2675" y="1069"/>
                  </a:lnTo>
                  <a:lnTo>
                    <a:pt x="2673" y="1066"/>
                  </a:lnTo>
                  <a:lnTo>
                    <a:pt x="2671" y="1065"/>
                  </a:lnTo>
                  <a:lnTo>
                    <a:pt x="2672" y="1062"/>
                  </a:lnTo>
                  <a:lnTo>
                    <a:pt x="2675" y="1061"/>
                  </a:lnTo>
                  <a:lnTo>
                    <a:pt x="2673" y="1059"/>
                  </a:lnTo>
                  <a:lnTo>
                    <a:pt x="2673" y="1059"/>
                  </a:lnTo>
                  <a:lnTo>
                    <a:pt x="2676" y="1058"/>
                  </a:lnTo>
                  <a:lnTo>
                    <a:pt x="2678" y="1059"/>
                  </a:lnTo>
                  <a:lnTo>
                    <a:pt x="2680" y="1059"/>
                  </a:lnTo>
                  <a:lnTo>
                    <a:pt x="2684" y="1059"/>
                  </a:lnTo>
                  <a:lnTo>
                    <a:pt x="2684" y="1059"/>
                  </a:lnTo>
                  <a:lnTo>
                    <a:pt x="2680" y="1060"/>
                  </a:lnTo>
                  <a:lnTo>
                    <a:pt x="2678" y="1061"/>
                  </a:lnTo>
                  <a:lnTo>
                    <a:pt x="2678" y="1064"/>
                  </a:lnTo>
                  <a:lnTo>
                    <a:pt x="2680" y="1062"/>
                  </a:lnTo>
                  <a:lnTo>
                    <a:pt x="2678" y="1066"/>
                  </a:lnTo>
                  <a:lnTo>
                    <a:pt x="2679" y="1067"/>
                  </a:lnTo>
                  <a:lnTo>
                    <a:pt x="2681" y="1067"/>
                  </a:lnTo>
                  <a:lnTo>
                    <a:pt x="2685" y="1067"/>
                  </a:lnTo>
                  <a:lnTo>
                    <a:pt x="2685" y="1067"/>
                  </a:lnTo>
                  <a:lnTo>
                    <a:pt x="2683" y="1068"/>
                  </a:lnTo>
                  <a:lnTo>
                    <a:pt x="2680" y="1069"/>
                  </a:lnTo>
                  <a:lnTo>
                    <a:pt x="2679" y="1073"/>
                  </a:lnTo>
                  <a:lnTo>
                    <a:pt x="2680" y="1075"/>
                  </a:lnTo>
                  <a:lnTo>
                    <a:pt x="2680" y="1076"/>
                  </a:lnTo>
                  <a:lnTo>
                    <a:pt x="2681" y="1075"/>
                  </a:lnTo>
                  <a:lnTo>
                    <a:pt x="2683" y="1078"/>
                  </a:lnTo>
                  <a:lnTo>
                    <a:pt x="2684" y="1081"/>
                  </a:lnTo>
                  <a:lnTo>
                    <a:pt x="2683" y="1083"/>
                  </a:lnTo>
                  <a:lnTo>
                    <a:pt x="2681" y="1086"/>
                  </a:lnTo>
                  <a:lnTo>
                    <a:pt x="2681" y="1087"/>
                  </a:lnTo>
                  <a:lnTo>
                    <a:pt x="2680" y="1087"/>
                  </a:lnTo>
                  <a:lnTo>
                    <a:pt x="2680" y="1090"/>
                  </a:lnTo>
                  <a:lnTo>
                    <a:pt x="2680" y="1091"/>
                  </a:lnTo>
                  <a:lnTo>
                    <a:pt x="2680" y="1093"/>
                  </a:lnTo>
                  <a:lnTo>
                    <a:pt x="2680" y="1095"/>
                  </a:lnTo>
                  <a:lnTo>
                    <a:pt x="2683" y="1097"/>
                  </a:lnTo>
                  <a:lnTo>
                    <a:pt x="2681" y="1097"/>
                  </a:lnTo>
                  <a:lnTo>
                    <a:pt x="2683" y="1101"/>
                  </a:lnTo>
                  <a:lnTo>
                    <a:pt x="2683" y="1101"/>
                  </a:lnTo>
                  <a:lnTo>
                    <a:pt x="2685" y="1102"/>
                  </a:lnTo>
                  <a:lnTo>
                    <a:pt x="2685" y="1102"/>
                  </a:lnTo>
                  <a:lnTo>
                    <a:pt x="2685" y="1102"/>
                  </a:lnTo>
                  <a:lnTo>
                    <a:pt x="2683" y="1101"/>
                  </a:lnTo>
                  <a:lnTo>
                    <a:pt x="2683" y="1101"/>
                  </a:lnTo>
                  <a:lnTo>
                    <a:pt x="2681" y="1103"/>
                  </a:lnTo>
                  <a:lnTo>
                    <a:pt x="2683" y="1105"/>
                  </a:lnTo>
                  <a:lnTo>
                    <a:pt x="2684" y="1104"/>
                  </a:lnTo>
                  <a:lnTo>
                    <a:pt x="2685" y="1104"/>
                  </a:lnTo>
                  <a:lnTo>
                    <a:pt x="2685" y="1105"/>
                  </a:lnTo>
                  <a:lnTo>
                    <a:pt x="2683" y="1108"/>
                  </a:lnTo>
                  <a:lnTo>
                    <a:pt x="2683" y="1109"/>
                  </a:lnTo>
                  <a:lnTo>
                    <a:pt x="2684" y="1112"/>
                  </a:lnTo>
                  <a:lnTo>
                    <a:pt x="2684" y="1114"/>
                  </a:lnTo>
                  <a:lnTo>
                    <a:pt x="2684" y="1118"/>
                  </a:lnTo>
                  <a:lnTo>
                    <a:pt x="2685" y="1120"/>
                  </a:lnTo>
                  <a:lnTo>
                    <a:pt x="2686" y="1122"/>
                  </a:lnTo>
                  <a:lnTo>
                    <a:pt x="2687" y="1126"/>
                  </a:lnTo>
                  <a:lnTo>
                    <a:pt x="2687" y="1128"/>
                  </a:lnTo>
                  <a:lnTo>
                    <a:pt x="2687" y="1129"/>
                  </a:lnTo>
                  <a:lnTo>
                    <a:pt x="2688" y="1133"/>
                  </a:lnTo>
                  <a:lnTo>
                    <a:pt x="2688" y="1135"/>
                  </a:lnTo>
                  <a:lnTo>
                    <a:pt x="2688" y="1137"/>
                  </a:lnTo>
                  <a:lnTo>
                    <a:pt x="2689" y="1139"/>
                  </a:lnTo>
                  <a:lnTo>
                    <a:pt x="2689" y="1142"/>
                  </a:lnTo>
                  <a:lnTo>
                    <a:pt x="2690" y="1145"/>
                  </a:lnTo>
                  <a:lnTo>
                    <a:pt x="2690" y="1147"/>
                  </a:lnTo>
                  <a:lnTo>
                    <a:pt x="2693" y="1151"/>
                  </a:lnTo>
                  <a:lnTo>
                    <a:pt x="2694" y="1152"/>
                  </a:lnTo>
                  <a:lnTo>
                    <a:pt x="2694" y="1152"/>
                  </a:lnTo>
                  <a:lnTo>
                    <a:pt x="2696" y="1154"/>
                  </a:lnTo>
                  <a:lnTo>
                    <a:pt x="2695" y="1155"/>
                  </a:lnTo>
                  <a:lnTo>
                    <a:pt x="2697" y="1159"/>
                  </a:lnTo>
                  <a:lnTo>
                    <a:pt x="2697" y="1161"/>
                  </a:lnTo>
                  <a:lnTo>
                    <a:pt x="2700" y="1163"/>
                  </a:lnTo>
                  <a:lnTo>
                    <a:pt x="2700" y="1164"/>
                  </a:lnTo>
                  <a:lnTo>
                    <a:pt x="2700" y="1164"/>
                  </a:lnTo>
                  <a:lnTo>
                    <a:pt x="2701" y="1165"/>
                  </a:lnTo>
                  <a:lnTo>
                    <a:pt x="2702" y="1167"/>
                  </a:lnTo>
                  <a:lnTo>
                    <a:pt x="2703" y="1169"/>
                  </a:lnTo>
                  <a:lnTo>
                    <a:pt x="2704" y="1172"/>
                  </a:lnTo>
                  <a:lnTo>
                    <a:pt x="2705" y="1172"/>
                  </a:lnTo>
                  <a:lnTo>
                    <a:pt x="2704" y="1172"/>
                  </a:lnTo>
                  <a:lnTo>
                    <a:pt x="2704" y="1172"/>
                  </a:lnTo>
                  <a:lnTo>
                    <a:pt x="2705" y="1176"/>
                  </a:lnTo>
                  <a:lnTo>
                    <a:pt x="2706" y="1178"/>
                  </a:lnTo>
                  <a:lnTo>
                    <a:pt x="2707" y="1180"/>
                  </a:lnTo>
                  <a:lnTo>
                    <a:pt x="2707" y="1180"/>
                  </a:lnTo>
                  <a:lnTo>
                    <a:pt x="2707" y="1181"/>
                  </a:lnTo>
                  <a:lnTo>
                    <a:pt x="2707" y="1184"/>
                  </a:lnTo>
                  <a:lnTo>
                    <a:pt x="2709" y="1187"/>
                  </a:lnTo>
                  <a:lnTo>
                    <a:pt x="2709" y="1189"/>
                  </a:lnTo>
                  <a:lnTo>
                    <a:pt x="2710" y="1191"/>
                  </a:lnTo>
                  <a:lnTo>
                    <a:pt x="2710" y="1193"/>
                  </a:lnTo>
                  <a:lnTo>
                    <a:pt x="2710" y="1193"/>
                  </a:lnTo>
                  <a:lnTo>
                    <a:pt x="2710" y="1193"/>
                  </a:lnTo>
                  <a:lnTo>
                    <a:pt x="2711" y="1195"/>
                  </a:lnTo>
                  <a:lnTo>
                    <a:pt x="2712" y="1197"/>
                  </a:lnTo>
                  <a:lnTo>
                    <a:pt x="2712" y="1198"/>
                  </a:lnTo>
                  <a:lnTo>
                    <a:pt x="2713" y="1201"/>
                  </a:lnTo>
                  <a:lnTo>
                    <a:pt x="2715" y="1203"/>
                  </a:lnTo>
                  <a:lnTo>
                    <a:pt x="2715" y="1204"/>
                  </a:lnTo>
                  <a:lnTo>
                    <a:pt x="2717" y="1204"/>
                  </a:lnTo>
                  <a:lnTo>
                    <a:pt x="2717" y="1204"/>
                  </a:lnTo>
                  <a:lnTo>
                    <a:pt x="2717" y="1205"/>
                  </a:lnTo>
                  <a:lnTo>
                    <a:pt x="2718" y="1206"/>
                  </a:lnTo>
                  <a:lnTo>
                    <a:pt x="2720" y="1208"/>
                  </a:lnTo>
                  <a:lnTo>
                    <a:pt x="2720" y="1210"/>
                  </a:lnTo>
                  <a:lnTo>
                    <a:pt x="2720" y="1210"/>
                  </a:lnTo>
                  <a:lnTo>
                    <a:pt x="2722" y="1213"/>
                  </a:lnTo>
                  <a:lnTo>
                    <a:pt x="2722" y="1215"/>
                  </a:lnTo>
                  <a:lnTo>
                    <a:pt x="2723" y="1218"/>
                  </a:lnTo>
                  <a:lnTo>
                    <a:pt x="2724" y="1221"/>
                  </a:lnTo>
                  <a:lnTo>
                    <a:pt x="2726" y="1223"/>
                  </a:lnTo>
                  <a:lnTo>
                    <a:pt x="2727" y="1225"/>
                  </a:lnTo>
                  <a:lnTo>
                    <a:pt x="2728" y="1229"/>
                  </a:lnTo>
                  <a:lnTo>
                    <a:pt x="2728" y="1231"/>
                  </a:lnTo>
                  <a:lnTo>
                    <a:pt x="2729" y="1231"/>
                  </a:lnTo>
                  <a:lnTo>
                    <a:pt x="2729" y="1232"/>
                  </a:lnTo>
                  <a:lnTo>
                    <a:pt x="2730" y="1233"/>
                  </a:lnTo>
                  <a:lnTo>
                    <a:pt x="2730" y="1236"/>
                  </a:lnTo>
                  <a:lnTo>
                    <a:pt x="2729" y="1233"/>
                  </a:lnTo>
                  <a:lnTo>
                    <a:pt x="2729" y="1232"/>
                  </a:lnTo>
                  <a:lnTo>
                    <a:pt x="2729" y="1232"/>
                  </a:lnTo>
                  <a:lnTo>
                    <a:pt x="2729" y="1233"/>
                  </a:lnTo>
                  <a:lnTo>
                    <a:pt x="2729" y="1236"/>
                  </a:lnTo>
                  <a:lnTo>
                    <a:pt x="2729" y="1238"/>
                  </a:lnTo>
                  <a:lnTo>
                    <a:pt x="2730" y="1240"/>
                  </a:lnTo>
                  <a:lnTo>
                    <a:pt x="2731" y="1244"/>
                  </a:lnTo>
                  <a:lnTo>
                    <a:pt x="2732" y="1246"/>
                  </a:lnTo>
                  <a:lnTo>
                    <a:pt x="2732" y="1246"/>
                  </a:lnTo>
                  <a:lnTo>
                    <a:pt x="2733" y="1247"/>
                  </a:lnTo>
                  <a:lnTo>
                    <a:pt x="2733" y="1247"/>
                  </a:lnTo>
                  <a:lnTo>
                    <a:pt x="2736" y="1249"/>
                  </a:lnTo>
                  <a:lnTo>
                    <a:pt x="2738" y="1253"/>
                  </a:lnTo>
                  <a:lnTo>
                    <a:pt x="2740" y="1255"/>
                  </a:lnTo>
                  <a:lnTo>
                    <a:pt x="2741" y="1255"/>
                  </a:lnTo>
                  <a:lnTo>
                    <a:pt x="2744" y="1257"/>
                  </a:lnTo>
                  <a:lnTo>
                    <a:pt x="2746" y="1258"/>
                  </a:lnTo>
                  <a:lnTo>
                    <a:pt x="2749" y="1256"/>
                  </a:lnTo>
                  <a:lnTo>
                    <a:pt x="2752" y="1255"/>
                  </a:lnTo>
                  <a:lnTo>
                    <a:pt x="2754" y="1253"/>
                  </a:lnTo>
                  <a:lnTo>
                    <a:pt x="2754" y="1249"/>
                  </a:lnTo>
                  <a:lnTo>
                    <a:pt x="2755" y="1248"/>
                  </a:lnTo>
                  <a:lnTo>
                    <a:pt x="2756" y="1245"/>
                  </a:lnTo>
                  <a:lnTo>
                    <a:pt x="2760" y="1244"/>
                  </a:lnTo>
                  <a:lnTo>
                    <a:pt x="2764" y="1241"/>
                  </a:lnTo>
                  <a:lnTo>
                    <a:pt x="2767" y="1241"/>
                  </a:lnTo>
                  <a:lnTo>
                    <a:pt x="2770" y="1241"/>
                  </a:lnTo>
                  <a:lnTo>
                    <a:pt x="2772" y="1244"/>
                  </a:lnTo>
                  <a:lnTo>
                    <a:pt x="2773" y="1244"/>
                  </a:lnTo>
                  <a:lnTo>
                    <a:pt x="2771" y="1241"/>
                  </a:lnTo>
                  <a:lnTo>
                    <a:pt x="2769" y="1241"/>
                  </a:lnTo>
                  <a:lnTo>
                    <a:pt x="2765" y="1239"/>
                  </a:lnTo>
                  <a:lnTo>
                    <a:pt x="2766" y="1237"/>
                  </a:lnTo>
                  <a:lnTo>
                    <a:pt x="2767" y="1233"/>
                  </a:lnTo>
                  <a:lnTo>
                    <a:pt x="2770" y="1231"/>
                  </a:lnTo>
                  <a:lnTo>
                    <a:pt x="2770" y="1230"/>
                  </a:lnTo>
                  <a:lnTo>
                    <a:pt x="2771" y="1228"/>
                  </a:lnTo>
                  <a:lnTo>
                    <a:pt x="2773" y="1227"/>
                  </a:lnTo>
                  <a:lnTo>
                    <a:pt x="2775" y="1227"/>
                  </a:lnTo>
                  <a:lnTo>
                    <a:pt x="2779" y="1225"/>
                  </a:lnTo>
                  <a:lnTo>
                    <a:pt x="2778" y="1223"/>
                  </a:lnTo>
                  <a:lnTo>
                    <a:pt x="2778" y="1215"/>
                  </a:lnTo>
                  <a:lnTo>
                    <a:pt x="2775" y="1213"/>
                  </a:lnTo>
                  <a:lnTo>
                    <a:pt x="2777" y="1213"/>
                  </a:lnTo>
                  <a:lnTo>
                    <a:pt x="2777" y="1211"/>
                  </a:lnTo>
                  <a:lnTo>
                    <a:pt x="2777" y="1207"/>
                  </a:lnTo>
                  <a:lnTo>
                    <a:pt x="2778" y="1207"/>
                  </a:lnTo>
                  <a:lnTo>
                    <a:pt x="2778" y="1206"/>
                  </a:lnTo>
                  <a:lnTo>
                    <a:pt x="2778" y="1206"/>
                  </a:lnTo>
                  <a:lnTo>
                    <a:pt x="2778" y="1206"/>
                  </a:lnTo>
                  <a:lnTo>
                    <a:pt x="2778" y="1204"/>
                  </a:lnTo>
                  <a:lnTo>
                    <a:pt x="2779" y="1204"/>
                  </a:lnTo>
                  <a:lnTo>
                    <a:pt x="2779" y="1203"/>
                  </a:lnTo>
                  <a:lnTo>
                    <a:pt x="2780" y="1201"/>
                  </a:lnTo>
                  <a:lnTo>
                    <a:pt x="2780" y="1201"/>
                  </a:lnTo>
                  <a:lnTo>
                    <a:pt x="2782" y="1197"/>
                  </a:lnTo>
                  <a:lnTo>
                    <a:pt x="2782" y="1197"/>
                  </a:lnTo>
                  <a:lnTo>
                    <a:pt x="2783" y="1195"/>
                  </a:lnTo>
                  <a:lnTo>
                    <a:pt x="2783" y="1191"/>
                  </a:lnTo>
                  <a:lnTo>
                    <a:pt x="2784" y="1189"/>
                  </a:lnTo>
                  <a:lnTo>
                    <a:pt x="2784" y="1186"/>
                  </a:lnTo>
                  <a:lnTo>
                    <a:pt x="2784" y="1184"/>
                  </a:lnTo>
                  <a:lnTo>
                    <a:pt x="2783" y="1184"/>
                  </a:lnTo>
                  <a:lnTo>
                    <a:pt x="2782" y="1182"/>
                  </a:lnTo>
                  <a:lnTo>
                    <a:pt x="2781" y="1182"/>
                  </a:lnTo>
                  <a:lnTo>
                    <a:pt x="2782" y="1181"/>
                  </a:lnTo>
                  <a:lnTo>
                    <a:pt x="2784" y="1182"/>
                  </a:lnTo>
                  <a:lnTo>
                    <a:pt x="2784" y="1182"/>
                  </a:lnTo>
                  <a:lnTo>
                    <a:pt x="2783" y="1180"/>
                  </a:lnTo>
                  <a:lnTo>
                    <a:pt x="2783" y="1177"/>
                  </a:lnTo>
                  <a:lnTo>
                    <a:pt x="2782" y="1174"/>
                  </a:lnTo>
                  <a:lnTo>
                    <a:pt x="2782" y="1171"/>
                  </a:lnTo>
                  <a:lnTo>
                    <a:pt x="2782" y="1169"/>
                  </a:lnTo>
                  <a:lnTo>
                    <a:pt x="2782" y="1168"/>
                  </a:lnTo>
                  <a:lnTo>
                    <a:pt x="2782" y="1167"/>
                  </a:lnTo>
                  <a:lnTo>
                    <a:pt x="2781" y="1164"/>
                  </a:lnTo>
                  <a:lnTo>
                    <a:pt x="2781" y="1162"/>
                  </a:lnTo>
                  <a:lnTo>
                    <a:pt x="2781" y="1159"/>
                  </a:lnTo>
                  <a:lnTo>
                    <a:pt x="2782" y="1156"/>
                  </a:lnTo>
                  <a:lnTo>
                    <a:pt x="2783" y="1154"/>
                  </a:lnTo>
                  <a:lnTo>
                    <a:pt x="2786" y="1151"/>
                  </a:lnTo>
                  <a:lnTo>
                    <a:pt x="2788" y="1150"/>
                  </a:lnTo>
                  <a:lnTo>
                    <a:pt x="2791" y="1150"/>
                  </a:lnTo>
                  <a:lnTo>
                    <a:pt x="2792" y="1147"/>
                  </a:lnTo>
                  <a:lnTo>
                    <a:pt x="2794" y="1150"/>
                  </a:lnTo>
                  <a:lnTo>
                    <a:pt x="2794" y="1151"/>
                  </a:lnTo>
                  <a:lnTo>
                    <a:pt x="2796" y="1148"/>
                  </a:lnTo>
                  <a:lnTo>
                    <a:pt x="2797" y="1145"/>
                  </a:lnTo>
                  <a:lnTo>
                    <a:pt x="2798" y="1143"/>
                  </a:lnTo>
                  <a:lnTo>
                    <a:pt x="2800" y="1143"/>
                  </a:lnTo>
                  <a:lnTo>
                    <a:pt x="2804" y="1143"/>
                  </a:lnTo>
                  <a:lnTo>
                    <a:pt x="2804" y="1143"/>
                  </a:lnTo>
                  <a:lnTo>
                    <a:pt x="2806" y="1143"/>
                  </a:lnTo>
                  <a:lnTo>
                    <a:pt x="2807" y="1142"/>
                  </a:lnTo>
                  <a:lnTo>
                    <a:pt x="2809" y="1141"/>
                  </a:lnTo>
                  <a:lnTo>
                    <a:pt x="2812" y="1139"/>
                  </a:lnTo>
                  <a:lnTo>
                    <a:pt x="2813" y="1136"/>
                  </a:lnTo>
                  <a:lnTo>
                    <a:pt x="2813" y="1133"/>
                  </a:lnTo>
                  <a:lnTo>
                    <a:pt x="2814" y="1131"/>
                  </a:lnTo>
                  <a:lnTo>
                    <a:pt x="2816" y="1129"/>
                  </a:lnTo>
                  <a:lnTo>
                    <a:pt x="2820" y="1128"/>
                  </a:lnTo>
                  <a:lnTo>
                    <a:pt x="2822" y="1127"/>
                  </a:lnTo>
                  <a:lnTo>
                    <a:pt x="2825" y="1125"/>
                  </a:lnTo>
                  <a:lnTo>
                    <a:pt x="2824" y="1124"/>
                  </a:lnTo>
                  <a:lnTo>
                    <a:pt x="2825" y="1124"/>
                  </a:lnTo>
                  <a:lnTo>
                    <a:pt x="2828" y="1121"/>
                  </a:lnTo>
                  <a:lnTo>
                    <a:pt x="2830" y="1119"/>
                  </a:lnTo>
                  <a:lnTo>
                    <a:pt x="2832" y="1118"/>
                  </a:lnTo>
                  <a:lnTo>
                    <a:pt x="2834" y="1117"/>
                  </a:lnTo>
                  <a:lnTo>
                    <a:pt x="2837" y="1114"/>
                  </a:lnTo>
                  <a:lnTo>
                    <a:pt x="2839" y="1112"/>
                  </a:lnTo>
                  <a:lnTo>
                    <a:pt x="2841" y="1110"/>
                  </a:lnTo>
                  <a:lnTo>
                    <a:pt x="2843" y="1107"/>
                  </a:lnTo>
                  <a:lnTo>
                    <a:pt x="2846" y="1104"/>
                  </a:lnTo>
                  <a:lnTo>
                    <a:pt x="2846" y="1104"/>
                  </a:lnTo>
                  <a:lnTo>
                    <a:pt x="2848" y="1101"/>
                  </a:lnTo>
                  <a:lnTo>
                    <a:pt x="2851" y="1099"/>
                  </a:lnTo>
                  <a:lnTo>
                    <a:pt x="2854" y="1097"/>
                  </a:lnTo>
                  <a:lnTo>
                    <a:pt x="2854" y="1096"/>
                  </a:lnTo>
                  <a:lnTo>
                    <a:pt x="2854" y="1096"/>
                  </a:lnTo>
                  <a:lnTo>
                    <a:pt x="2854" y="1096"/>
                  </a:lnTo>
                  <a:lnTo>
                    <a:pt x="2852" y="1096"/>
                  </a:lnTo>
                  <a:lnTo>
                    <a:pt x="2850" y="1099"/>
                  </a:lnTo>
                  <a:lnTo>
                    <a:pt x="2851" y="1095"/>
                  </a:lnTo>
                  <a:lnTo>
                    <a:pt x="2855" y="1093"/>
                  </a:lnTo>
                  <a:lnTo>
                    <a:pt x="2856" y="1095"/>
                  </a:lnTo>
                  <a:lnTo>
                    <a:pt x="2855" y="1095"/>
                  </a:lnTo>
                  <a:lnTo>
                    <a:pt x="2858" y="1095"/>
                  </a:lnTo>
                  <a:lnTo>
                    <a:pt x="2866" y="1093"/>
                  </a:lnTo>
                  <a:lnTo>
                    <a:pt x="2866" y="1091"/>
                  </a:lnTo>
                  <a:lnTo>
                    <a:pt x="2865" y="1090"/>
                  </a:lnTo>
                  <a:lnTo>
                    <a:pt x="2867" y="1091"/>
                  </a:lnTo>
                  <a:lnTo>
                    <a:pt x="2867" y="1091"/>
                  </a:lnTo>
                  <a:lnTo>
                    <a:pt x="2869" y="1088"/>
                  </a:lnTo>
                  <a:lnTo>
                    <a:pt x="2872" y="1087"/>
                  </a:lnTo>
                  <a:lnTo>
                    <a:pt x="2872" y="1087"/>
                  </a:lnTo>
                  <a:lnTo>
                    <a:pt x="2873" y="1084"/>
                  </a:lnTo>
                  <a:lnTo>
                    <a:pt x="2875" y="1083"/>
                  </a:lnTo>
                  <a:lnTo>
                    <a:pt x="2876" y="1082"/>
                  </a:lnTo>
                  <a:lnTo>
                    <a:pt x="2875" y="1082"/>
                  </a:lnTo>
                  <a:lnTo>
                    <a:pt x="2874" y="1081"/>
                  </a:lnTo>
                  <a:lnTo>
                    <a:pt x="2875" y="1077"/>
                  </a:lnTo>
                  <a:lnTo>
                    <a:pt x="2874" y="1075"/>
                  </a:lnTo>
                  <a:lnTo>
                    <a:pt x="2875" y="1073"/>
                  </a:lnTo>
                  <a:lnTo>
                    <a:pt x="2877" y="1069"/>
                  </a:lnTo>
                  <a:lnTo>
                    <a:pt x="2881" y="1069"/>
                  </a:lnTo>
                  <a:lnTo>
                    <a:pt x="2881" y="1069"/>
                  </a:lnTo>
                  <a:lnTo>
                    <a:pt x="2883" y="1068"/>
                  </a:lnTo>
                  <a:lnTo>
                    <a:pt x="2885" y="1068"/>
                  </a:lnTo>
                  <a:lnTo>
                    <a:pt x="2888" y="1066"/>
                  </a:lnTo>
                  <a:lnTo>
                    <a:pt x="2890" y="1064"/>
                  </a:lnTo>
                  <a:lnTo>
                    <a:pt x="2892" y="1061"/>
                  </a:lnTo>
                  <a:lnTo>
                    <a:pt x="2893" y="1062"/>
                  </a:lnTo>
                  <a:lnTo>
                    <a:pt x="2892" y="1065"/>
                  </a:lnTo>
                  <a:lnTo>
                    <a:pt x="2892" y="1067"/>
                  </a:lnTo>
                  <a:lnTo>
                    <a:pt x="2893" y="1068"/>
                  </a:lnTo>
                  <a:lnTo>
                    <a:pt x="2893" y="1068"/>
                  </a:lnTo>
                  <a:lnTo>
                    <a:pt x="2893" y="1069"/>
                  </a:lnTo>
                  <a:lnTo>
                    <a:pt x="2893" y="1068"/>
                  </a:lnTo>
                  <a:lnTo>
                    <a:pt x="2894" y="1067"/>
                  </a:lnTo>
                  <a:lnTo>
                    <a:pt x="2895" y="1067"/>
                  </a:lnTo>
                  <a:lnTo>
                    <a:pt x="2895" y="1068"/>
                  </a:lnTo>
                  <a:lnTo>
                    <a:pt x="2897" y="1066"/>
                  </a:lnTo>
                  <a:lnTo>
                    <a:pt x="2897" y="1065"/>
                  </a:lnTo>
                  <a:lnTo>
                    <a:pt x="2897" y="1067"/>
                  </a:lnTo>
                  <a:lnTo>
                    <a:pt x="2897" y="1068"/>
                  </a:lnTo>
                  <a:lnTo>
                    <a:pt x="2897" y="1068"/>
                  </a:lnTo>
                  <a:lnTo>
                    <a:pt x="2898" y="1069"/>
                  </a:lnTo>
                  <a:lnTo>
                    <a:pt x="2898" y="1069"/>
                  </a:lnTo>
                  <a:lnTo>
                    <a:pt x="2898" y="1068"/>
                  </a:lnTo>
                  <a:lnTo>
                    <a:pt x="2898" y="1066"/>
                  </a:lnTo>
                  <a:lnTo>
                    <a:pt x="2898" y="1064"/>
                  </a:lnTo>
                  <a:lnTo>
                    <a:pt x="2898" y="1061"/>
                  </a:lnTo>
                  <a:lnTo>
                    <a:pt x="2899" y="1060"/>
                  </a:lnTo>
                  <a:lnTo>
                    <a:pt x="2899" y="1060"/>
                  </a:lnTo>
                  <a:lnTo>
                    <a:pt x="2899" y="1062"/>
                  </a:lnTo>
                  <a:lnTo>
                    <a:pt x="2900" y="1061"/>
                  </a:lnTo>
                  <a:lnTo>
                    <a:pt x="2900" y="1062"/>
                  </a:lnTo>
                  <a:lnTo>
                    <a:pt x="2899" y="1065"/>
                  </a:lnTo>
                  <a:lnTo>
                    <a:pt x="2899" y="1067"/>
                  </a:lnTo>
                  <a:lnTo>
                    <a:pt x="2900" y="1068"/>
                  </a:lnTo>
                  <a:lnTo>
                    <a:pt x="2901" y="1067"/>
                  </a:lnTo>
                  <a:lnTo>
                    <a:pt x="2901" y="1067"/>
                  </a:lnTo>
                  <a:lnTo>
                    <a:pt x="2901" y="1066"/>
                  </a:lnTo>
                  <a:lnTo>
                    <a:pt x="2902" y="1068"/>
                  </a:lnTo>
                  <a:lnTo>
                    <a:pt x="2903" y="1065"/>
                  </a:lnTo>
                  <a:lnTo>
                    <a:pt x="2903" y="1065"/>
                  </a:lnTo>
                  <a:lnTo>
                    <a:pt x="2902" y="1064"/>
                  </a:lnTo>
                  <a:lnTo>
                    <a:pt x="2902" y="1062"/>
                  </a:lnTo>
                  <a:lnTo>
                    <a:pt x="2902" y="1062"/>
                  </a:lnTo>
                  <a:lnTo>
                    <a:pt x="2905" y="1060"/>
                  </a:lnTo>
                  <a:lnTo>
                    <a:pt x="2905" y="1061"/>
                  </a:lnTo>
                  <a:lnTo>
                    <a:pt x="2905" y="1064"/>
                  </a:lnTo>
                  <a:lnTo>
                    <a:pt x="2906" y="1066"/>
                  </a:lnTo>
                  <a:lnTo>
                    <a:pt x="2907" y="1066"/>
                  </a:lnTo>
                  <a:lnTo>
                    <a:pt x="2908" y="1064"/>
                  </a:lnTo>
                  <a:lnTo>
                    <a:pt x="2908" y="1062"/>
                  </a:lnTo>
                  <a:lnTo>
                    <a:pt x="2908" y="1066"/>
                  </a:lnTo>
                  <a:lnTo>
                    <a:pt x="2910" y="1065"/>
                  </a:lnTo>
                  <a:lnTo>
                    <a:pt x="2910" y="1061"/>
                  </a:lnTo>
                  <a:lnTo>
                    <a:pt x="2910" y="1059"/>
                  </a:lnTo>
                  <a:lnTo>
                    <a:pt x="2910" y="1058"/>
                  </a:lnTo>
                  <a:lnTo>
                    <a:pt x="2910" y="1061"/>
                  </a:lnTo>
                  <a:lnTo>
                    <a:pt x="2911" y="1062"/>
                  </a:lnTo>
                  <a:lnTo>
                    <a:pt x="2911" y="1060"/>
                  </a:lnTo>
                  <a:lnTo>
                    <a:pt x="2911" y="1058"/>
                  </a:lnTo>
                  <a:lnTo>
                    <a:pt x="2911" y="1060"/>
                  </a:lnTo>
                  <a:lnTo>
                    <a:pt x="2911" y="1064"/>
                  </a:lnTo>
                  <a:lnTo>
                    <a:pt x="2911" y="1064"/>
                  </a:lnTo>
                  <a:lnTo>
                    <a:pt x="2911" y="1065"/>
                  </a:lnTo>
                  <a:lnTo>
                    <a:pt x="2911" y="1066"/>
                  </a:lnTo>
                  <a:lnTo>
                    <a:pt x="2912" y="1064"/>
                  </a:lnTo>
                  <a:lnTo>
                    <a:pt x="2912" y="1064"/>
                  </a:lnTo>
                  <a:lnTo>
                    <a:pt x="2915" y="1065"/>
                  </a:lnTo>
                  <a:lnTo>
                    <a:pt x="2915" y="1061"/>
                  </a:lnTo>
                  <a:lnTo>
                    <a:pt x="2915" y="1059"/>
                  </a:lnTo>
                  <a:lnTo>
                    <a:pt x="2915" y="1057"/>
                  </a:lnTo>
                  <a:lnTo>
                    <a:pt x="2917" y="1056"/>
                  </a:lnTo>
                  <a:lnTo>
                    <a:pt x="2917" y="1056"/>
                  </a:lnTo>
                  <a:lnTo>
                    <a:pt x="2916" y="1058"/>
                  </a:lnTo>
                  <a:lnTo>
                    <a:pt x="2916" y="1060"/>
                  </a:lnTo>
                  <a:lnTo>
                    <a:pt x="2916" y="1062"/>
                  </a:lnTo>
                  <a:lnTo>
                    <a:pt x="2917" y="1062"/>
                  </a:lnTo>
                  <a:lnTo>
                    <a:pt x="2918" y="1060"/>
                  </a:lnTo>
                  <a:lnTo>
                    <a:pt x="2917" y="1062"/>
                  </a:lnTo>
                  <a:lnTo>
                    <a:pt x="2917" y="1062"/>
                  </a:lnTo>
                  <a:lnTo>
                    <a:pt x="2919" y="1061"/>
                  </a:lnTo>
                  <a:lnTo>
                    <a:pt x="2918" y="1062"/>
                  </a:lnTo>
                  <a:lnTo>
                    <a:pt x="2919" y="1064"/>
                  </a:lnTo>
                  <a:lnTo>
                    <a:pt x="2920" y="1065"/>
                  </a:lnTo>
                  <a:lnTo>
                    <a:pt x="2922" y="1062"/>
                  </a:lnTo>
                  <a:lnTo>
                    <a:pt x="2922" y="1062"/>
                  </a:lnTo>
                  <a:lnTo>
                    <a:pt x="2923" y="1061"/>
                  </a:lnTo>
                  <a:lnTo>
                    <a:pt x="2923" y="1059"/>
                  </a:lnTo>
                  <a:lnTo>
                    <a:pt x="2923" y="1061"/>
                  </a:lnTo>
                  <a:lnTo>
                    <a:pt x="2925" y="1059"/>
                  </a:lnTo>
                  <a:lnTo>
                    <a:pt x="2925" y="1057"/>
                  </a:lnTo>
                  <a:lnTo>
                    <a:pt x="2924" y="1056"/>
                  </a:lnTo>
                  <a:lnTo>
                    <a:pt x="2924" y="1053"/>
                  </a:lnTo>
                  <a:lnTo>
                    <a:pt x="2923" y="1052"/>
                  </a:lnTo>
                  <a:lnTo>
                    <a:pt x="2923" y="1052"/>
                  </a:lnTo>
                  <a:lnTo>
                    <a:pt x="2923" y="1051"/>
                  </a:lnTo>
                  <a:lnTo>
                    <a:pt x="2924" y="1049"/>
                  </a:lnTo>
                  <a:lnTo>
                    <a:pt x="2924" y="1048"/>
                  </a:lnTo>
                  <a:lnTo>
                    <a:pt x="2924" y="1048"/>
                  </a:lnTo>
                  <a:lnTo>
                    <a:pt x="2924" y="1048"/>
                  </a:lnTo>
                  <a:lnTo>
                    <a:pt x="2925" y="1044"/>
                  </a:lnTo>
                  <a:lnTo>
                    <a:pt x="2924" y="1044"/>
                  </a:lnTo>
                  <a:lnTo>
                    <a:pt x="2922" y="1042"/>
                  </a:lnTo>
                  <a:lnTo>
                    <a:pt x="2920" y="1042"/>
                  </a:lnTo>
                  <a:lnTo>
                    <a:pt x="2920" y="1042"/>
                  </a:lnTo>
                  <a:lnTo>
                    <a:pt x="2920" y="1042"/>
                  </a:lnTo>
                  <a:lnTo>
                    <a:pt x="2924" y="1042"/>
                  </a:lnTo>
                  <a:lnTo>
                    <a:pt x="2924" y="1040"/>
                  </a:lnTo>
                  <a:lnTo>
                    <a:pt x="2924" y="1040"/>
                  </a:lnTo>
                  <a:lnTo>
                    <a:pt x="2926" y="1040"/>
                  </a:lnTo>
                  <a:lnTo>
                    <a:pt x="2926" y="1041"/>
                  </a:lnTo>
                  <a:lnTo>
                    <a:pt x="2927" y="1041"/>
                  </a:lnTo>
                  <a:lnTo>
                    <a:pt x="2927" y="1041"/>
                  </a:lnTo>
                  <a:lnTo>
                    <a:pt x="2926" y="1043"/>
                  </a:lnTo>
                  <a:lnTo>
                    <a:pt x="2926" y="1045"/>
                  </a:lnTo>
                  <a:lnTo>
                    <a:pt x="2926" y="1048"/>
                  </a:lnTo>
                  <a:lnTo>
                    <a:pt x="2926" y="1048"/>
                  </a:lnTo>
                  <a:lnTo>
                    <a:pt x="2927" y="1049"/>
                  </a:lnTo>
                  <a:lnTo>
                    <a:pt x="2928" y="1051"/>
                  </a:lnTo>
                  <a:lnTo>
                    <a:pt x="2929" y="1054"/>
                  </a:lnTo>
                  <a:lnTo>
                    <a:pt x="2931" y="1054"/>
                  </a:lnTo>
                  <a:lnTo>
                    <a:pt x="2933" y="1051"/>
                  </a:lnTo>
                  <a:lnTo>
                    <a:pt x="2936" y="1051"/>
                  </a:lnTo>
                  <a:lnTo>
                    <a:pt x="2937" y="1050"/>
                  </a:lnTo>
                  <a:lnTo>
                    <a:pt x="2937" y="1052"/>
                  </a:lnTo>
                  <a:lnTo>
                    <a:pt x="2940" y="1054"/>
                  </a:lnTo>
                  <a:lnTo>
                    <a:pt x="2941" y="1058"/>
                  </a:lnTo>
                  <a:lnTo>
                    <a:pt x="2942" y="1058"/>
                  </a:lnTo>
                  <a:lnTo>
                    <a:pt x="2943" y="1058"/>
                  </a:lnTo>
                  <a:lnTo>
                    <a:pt x="2943" y="1058"/>
                  </a:lnTo>
                  <a:lnTo>
                    <a:pt x="2942" y="1058"/>
                  </a:lnTo>
                  <a:lnTo>
                    <a:pt x="2942" y="1061"/>
                  </a:lnTo>
                  <a:lnTo>
                    <a:pt x="2943" y="1062"/>
                  </a:lnTo>
                  <a:lnTo>
                    <a:pt x="2943" y="1064"/>
                  </a:lnTo>
                  <a:lnTo>
                    <a:pt x="2944" y="1067"/>
                  </a:lnTo>
                  <a:lnTo>
                    <a:pt x="2944" y="1069"/>
                  </a:lnTo>
                  <a:lnTo>
                    <a:pt x="2945" y="1071"/>
                  </a:lnTo>
                  <a:lnTo>
                    <a:pt x="2945" y="1075"/>
                  </a:lnTo>
                  <a:lnTo>
                    <a:pt x="2948" y="1077"/>
                  </a:lnTo>
                  <a:lnTo>
                    <a:pt x="2948" y="1078"/>
                  </a:lnTo>
                  <a:lnTo>
                    <a:pt x="2948" y="1076"/>
                  </a:lnTo>
                  <a:lnTo>
                    <a:pt x="2949" y="1079"/>
                  </a:lnTo>
                  <a:lnTo>
                    <a:pt x="2950" y="1082"/>
                  </a:lnTo>
                  <a:lnTo>
                    <a:pt x="2952" y="1084"/>
                  </a:lnTo>
                  <a:lnTo>
                    <a:pt x="2954" y="1087"/>
                  </a:lnTo>
                  <a:lnTo>
                    <a:pt x="2954" y="1084"/>
                  </a:lnTo>
                  <a:lnTo>
                    <a:pt x="2954" y="1083"/>
                  </a:lnTo>
                  <a:lnTo>
                    <a:pt x="2956" y="1085"/>
                  </a:lnTo>
                  <a:lnTo>
                    <a:pt x="2957" y="1086"/>
                  </a:lnTo>
                  <a:lnTo>
                    <a:pt x="2956" y="1087"/>
                  </a:lnTo>
                  <a:lnTo>
                    <a:pt x="2957" y="1088"/>
                  </a:lnTo>
                  <a:lnTo>
                    <a:pt x="2959" y="1086"/>
                  </a:lnTo>
                  <a:lnTo>
                    <a:pt x="2959" y="1084"/>
                  </a:lnTo>
                  <a:lnTo>
                    <a:pt x="2959" y="1084"/>
                  </a:lnTo>
                  <a:lnTo>
                    <a:pt x="2959" y="1084"/>
                  </a:lnTo>
                  <a:lnTo>
                    <a:pt x="2959" y="1084"/>
                  </a:lnTo>
                  <a:lnTo>
                    <a:pt x="2959" y="1086"/>
                  </a:lnTo>
                  <a:lnTo>
                    <a:pt x="2959" y="1086"/>
                  </a:lnTo>
                  <a:lnTo>
                    <a:pt x="2960" y="1086"/>
                  </a:lnTo>
                  <a:lnTo>
                    <a:pt x="2958" y="1088"/>
                  </a:lnTo>
                  <a:lnTo>
                    <a:pt x="2960" y="1088"/>
                  </a:lnTo>
                  <a:lnTo>
                    <a:pt x="2960" y="1088"/>
                  </a:lnTo>
                  <a:lnTo>
                    <a:pt x="2959" y="1091"/>
                  </a:lnTo>
                  <a:lnTo>
                    <a:pt x="2960" y="1094"/>
                  </a:lnTo>
                  <a:lnTo>
                    <a:pt x="2960" y="1091"/>
                  </a:lnTo>
                  <a:lnTo>
                    <a:pt x="2960" y="1091"/>
                  </a:lnTo>
                  <a:lnTo>
                    <a:pt x="2961" y="1091"/>
                  </a:lnTo>
                  <a:lnTo>
                    <a:pt x="2962" y="1091"/>
                  </a:lnTo>
                  <a:lnTo>
                    <a:pt x="2962" y="1090"/>
                  </a:lnTo>
                  <a:lnTo>
                    <a:pt x="2961" y="1087"/>
                  </a:lnTo>
                  <a:lnTo>
                    <a:pt x="2963" y="1090"/>
                  </a:lnTo>
                  <a:lnTo>
                    <a:pt x="2963" y="1090"/>
                  </a:lnTo>
                  <a:lnTo>
                    <a:pt x="2962" y="1090"/>
                  </a:lnTo>
                  <a:lnTo>
                    <a:pt x="2970" y="1102"/>
                  </a:lnTo>
                  <a:lnTo>
                    <a:pt x="2970" y="1102"/>
                  </a:lnTo>
                  <a:lnTo>
                    <a:pt x="2970" y="1102"/>
                  </a:lnTo>
                  <a:lnTo>
                    <a:pt x="2972" y="1101"/>
                  </a:lnTo>
                  <a:lnTo>
                    <a:pt x="2972" y="1101"/>
                  </a:lnTo>
                  <a:lnTo>
                    <a:pt x="2972" y="1103"/>
                  </a:lnTo>
                  <a:lnTo>
                    <a:pt x="2972" y="1105"/>
                  </a:lnTo>
                  <a:lnTo>
                    <a:pt x="2975" y="1109"/>
                  </a:lnTo>
                  <a:lnTo>
                    <a:pt x="2975" y="1110"/>
                  </a:lnTo>
                  <a:lnTo>
                    <a:pt x="2976" y="1113"/>
                  </a:lnTo>
                  <a:lnTo>
                    <a:pt x="2977" y="1116"/>
                  </a:lnTo>
                  <a:lnTo>
                    <a:pt x="2978" y="1117"/>
                  </a:lnTo>
                  <a:lnTo>
                    <a:pt x="2978" y="1119"/>
                  </a:lnTo>
                  <a:lnTo>
                    <a:pt x="2978" y="1122"/>
                  </a:lnTo>
                  <a:lnTo>
                    <a:pt x="2980" y="1125"/>
                  </a:lnTo>
                  <a:lnTo>
                    <a:pt x="2979" y="1127"/>
                  </a:lnTo>
                  <a:lnTo>
                    <a:pt x="2979" y="1130"/>
                  </a:lnTo>
                  <a:lnTo>
                    <a:pt x="2978" y="1131"/>
                  </a:lnTo>
                  <a:lnTo>
                    <a:pt x="2978" y="1134"/>
                  </a:lnTo>
                  <a:lnTo>
                    <a:pt x="2977" y="1136"/>
                  </a:lnTo>
                  <a:lnTo>
                    <a:pt x="2976" y="1139"/>
                  </a:lnTo>
                  <a:lnTo>
                    <a:pt x="2976" y="1142"/>
                  </a:lnTo>
                  <a:lnTo>
                    <a:pt x="2975" y="1145"/>
                  </a:lnTo>
                  <a:lnTo>
                    <a:pt x="2975" y="1147"/>
                  </a:lnTo>
                  <a:lnTo>
                    <a:pt x="2977" y="1147"/>
                  </a:lnTo>
                  <a:lnTo>
                    <a:pt x="2979" y="1144"/>
                  </a:lnTo>
                  <a:lnTo>
                    <a:pt x="2982" y="1142"/>
                  </a:lnTo>
                  <a:lnTo>
                    <a:pt x="2982" y="1141"/>
                  </a:lnTo>
                  <a:lnTo>
                    <a:pt x="2982" y="1141"/>
                  </a:lnTo>
                  <a:lnTo>
                    <a:pt x="2982" y="1141"/>
                  </a:lnTo>
                  <a:lnTo>
                    <a:pt x="2982" y="1143"/>
                  </a:lnTo>
                  <a:lnTo>
                    <a:pt x="2982" y="1145"/>
                  </a:lnTo>
                  <a:lnTo>
                    <a:pt x="2980" y="1147"/>
                  </a:lnTo>
                  <a:lnTo>
                    <a:pt x="2983" y="1145"/>
                  </a:lnTo>
                  <a:lnTo>
                    <a:pt x="2982" y="1148"/>
                  </a:lnTo>
                  <a:lnTo>
                    <a:pt x="2984" y="1145"/>
                  </a:lnTo>
                  <a:lnTo>
                    <a:pt x="2985" y="1144"/>
                  </a:lnTo>
                  <a:lnTo>
                    <a:pt x="2984" y="1147"/>
                  </a:lnTo>
                  <a:lnTo>
                    <a:pt x="2985" y="1147"/>
                  </a:lnTo>
                  <a:lnTo>
                    <a:pt x="2984" y="1150"/>
                  </a:lnTo>
                  <a:lnTo>
                    <a:pt x="2985" y="1151"/>
                  </a:lnTo>
                  <a:lnTo>
                    <a:pt x="2986" y="1148"/>
                  </a:lnTo>
                  <a:lnTo>
                    <a:pt x="2987" y="1145"/>
                  </a:lnTo>
                  <a:lnTo>
                    <a:pt x="2988" y="1146"/>
                  </a:lnTo>
                  <a:lnTo>
                    <a:pt x="2988" y="1146"/>
                  </a:lnTo>
                  <a:lnTo>
                    <a:pt x="2987" y="1147"/>
                  </a:lnTo>
                  <a:lnTo>
                    <a:pt x="2987" y="1150"/>
                  </a:lnTo>
                  <a:lnTo>
                    <a:pt x="2989" y="1147"/>
                  </a:lnTo>
                  <a:lnTo>
                    <a:pt x="2989" y="1146"/>
                  </a:lnTo>
                  <a:lnTo>
                    <a:pt x="2989" y="1146"/>
                  </a:lnTo>
                  <a:lnTo>
                    <a:pt x="2991" y="1145"/>
                  </a:lnTo>
                  <a:lnTo>
                    <a:pt x="2991" y="1148"/>
                  </a:lnTo>
                  <a:lnTo>
                    <a:pt x="2989" y="1151"/>
                  </a:lnTo>
                  <a:lnTo>
                    <a:pt x="2992" y="1151"/>
                  </a:lnTo>
                  <a:lnTo>
                    <a:pt x="2994" y="1148"/>
                  </a:lnTo>
                  <a:lnTo>
                    <a:pt x="2995" y="1146"/>
                  </a:lnTo>
                  <a:lnTo>
                    <a:pt x="2995" y="1145"/>
                  </a:lnTo>
                  <a:lnTo>
                    <a:pt x="2997" y="1144"/>
                  </a:lnTo>
                  <a:lnTo>
                    <a:pt x="3000" y="1143"/>
                  </a:lnTo>
                  <a:lnTo>
                    <a:pt x="3002" y="1143"/>
                  </a:lnTo>
                  <a:lnTo>
                    <a:pt x="3003" y="1141"/>
                  </a:lnTo>
                  <a:lnTo>
                    <a:pt x="3003" y="1139"/>
                  </a:lnTo>
                  <a:lnTo>
                    <a:pt x="3002" y="1137"/>
                  </a:lnTo>
                  <a:lnTo>
                    <a:pt x="3002" y="1137"/>
                  </a:lnTo>
                  <a:lnTo>
                    <a:pt x="3002" y="1137"/>
                  </a:lnTo>
                  <a:lnTo>
                    <a:pt x="3003" y="1136"/>
                  </a:lnTo>
                  <a:lnTo>
                    <a:pt x="3003" y="1136"/>
                  </a:lnTo>
                  <a:lnTo>
                    <a:pt x="3003" y="1138"/>
                  </a:lnTo>
                  <a:lnTo>
                    <a:pt x="3005" y="1141"/>
                  </a:lnTo>
                  <a:lnTo>
                    <a:pt x="3008" y="1139"/>
                  </a:lnTo>
                  <a:lnTo>
                    <a:pt x="3011" y="1137"/>
                  </a:lnTo>
                  <a:lnTo>
                    <a:pt x="3011" y="1135"/>
                  </a:lnTo>
                  <a:lnTo>
                    <a:pt x="3011" y="1133"/>
                  </a:lnTo>
                  <a:lnTo>
                    <a:pt x="3011" y="1131"/>
                  </a:lnTo>
                  <a:lnTo>
                    <a:pt x="3012" y="1129"/>
                  </a:lnTo>
                  <a:lnTo>
                    <a:pt x="3011" y="1127"/>
                  </a:lnTo>
                  <a:lnTo>
                    <a:pt x="3013" y="1130"/>
                  </a:lnTo>
                  <a:lnTo>
                    <a:pt x="3016" y="1131"/>
                  </a:lnTo>
                  <a:lnTo>
                    <a:pt x="3016" y="1135"/>
                  </a:lnTo>
                  <a:lnTo>
                    <a:pt x="3017" y="1136"/>
                  </a:lnTo>
                  <a:lnTo>
                    <a:pt x="3018" y="1139"/>
                  </a:lnTo>
                  <a:lnTo>
                    <a:pt x="3020" y="1141"/>
                  </a:lnTo>
                  <a:lnTo>
                    <a:pt x="3021" y="1141"/>
                  </a:lnTo>
                  <a:lnTo>
                    <a:pt x="3022" y="1139"/>
                  </a:lnTo>
                  <a:lnTo>
                    <a:pt x="3023" y="1139"/>
                  </a:lnTo>
                  <a:lnTo>
                    <a:pt x="3022" y="1141"/>
                  </a:lnTo>
                  <a:lnTo>
                    <a:pt x="3021" y="1142"/>
                  </a:lnTo>
                  <a:lnTo>
                    <a:pt x="3021" y="1145"/>
                  </a:lnTo>
                  <a:lnTo>
                    <a:pt x="3021" y="1146"/>
                  </a:lnTo>
                  <a:lnTo>
                    <a:pt x="3022" y="1150"/>
                  </a:lnTo>
                  <a:lnTo>
                    <a:pt x="3023" y="1152"/>
                  </a:lnTo>
                  <a:lnTo>
                    <a:pt x="3023" y="1153"/>
                  </a:lnTo>
                  <a:lnTo>
                    <a:pt x="3023" y="1155"/>
                  </a:lnTo>
                  <a:lnTo>
                    <a:pt x="3023" y="1159"/>
                  </a:lnTo>
                  <a:lnTo>
                    <a:pt x="3023" y="1161"/>
                  </a:lnTo>
                  <a:lnTo>
                    <a:pt x="3025" y="1162"/>
                  </a:lnTo>
                  <a:lnTo>
                    <a:pt x="3023" y="1163"/>
                  </a:lnTo>
                  <a:lnTo>
                    <a:pt x="3027" y="1165"/>
                  </a:lnTo>
                  <a:lnTo>
                    <a:pt x="3026" y="1168"/>
                  </a:lnTo>
                  <a:lnTo>
                    <a:pt x="3027" y="1171"/>
                  </a:lnTo>
                  <a:lnTo>
                    <a:pt x="3027" y="1172"/>
                  </a:lnTo>
                  <a:lnTo>
                    <a:pt x="3028" y="1176"/>
                  </a:lnTo>
                  <a:lnTo>
                    <a:pt x="3028" y="1178"/>
                  </a:lnTo>
                  <a:lnTo>
                    <a:pt x="3029" y="1180"/>
                  </a:lnTo>
                  <a:lnTo>
                    <a:pt x="3029" y="1178"/>
                  </a:lnTo>
                  <a:lnTo>
                    <a:pt x="3029" y="1176"/>
                  </a:lnTo>
                  <a:lnTo>
                    <a:pt x="3029" y="1174"/>
                  </a:lnTo>
                  <a:lnTo>
                    <a:pt x="3029" y="1176"/>
                  </a:lnTo>
                  <a:lnTo>
                    <a:pt x="3030" y="1178"/>
                  </a:lnTo>
                  <a:lnTo>
                    <a:pt x="3031" y="1180"/>
                  </a:lnTo>
                  <a:lnTo>
                    <a:pt x="3033" y="1184"/>
                  </a:lnTo>
                  <a:lnTo>
                    <a:pt x="3034" y="1186"/>
                  </a:lnTo>
                  <a:lnTo>
                    <a:pt x="3035" y="1188"/>
                  </a:lnTo>
                  <a:lnTo>
                    <a:pt x="3035" y="1191"/>
                  </a:lnTo>
                  <a:lnTo>
                    <a:pt x="3036" y="1194"/>
                  </a:lnTo>
                  <a:lnTo>
                    <a:pt x="3036" y="1194"/>
                  </a:lnTo>
                  <a:lnTo>
                    <a:pt x="3036" y="1195"/>
                  </a:lnTo>
                  <a:lnTo>
                    <a:pt x="3035" y="1197"/>
                  </a:lnTo>
                  <a:lnTo>
                    <a:pt x="3036" y="1198"/>
                  </a:lnTo>
                  <a:lnTo>
                    <a:pt x="3036" y="1199"/>
                  </a:lnTo>
                  <a:lnTo>
                    <a:pt x="3037" y="1201"/>
                  </a:lnTo>
                  <a:lnTo>
                    <a:pt x="3036" y="1202"/>
                  </a:lnTo>
                  <a:lnTo>
                    <a:pt x="3036" y="1205"/>
                  </a:lnTo>
                  <a:lnTo>
                    <a:pt x="3035" y="1207"/>
                  </a:lnTo>
                  <a:lnTo>
                    <a:pt x="3038" y="1206"/>
                  </a:lnTo>
                  <a:lnTo>
                    <a:pt x="3037" y="1208"/>
                  </a:lnTo>
                  <a:lnTo>
                    <a:pt x="3037" y="1211"/>
                  </a:lnTo>
                  <a:lnTo>
                    <a:pt x="3037" y="1214"/>
                  </a:lnTo>
                  <a:lnTo>
                    <a:pt x="3037" y="1216"/>
                  </a:lnTo>
                  <a:lnTo>
                    <a:pt x="3035" y="1219"/>
                  </a:lnTo>
                  <a:lnTo>
                    <a:pt x="3033" y="1221"/>
                  </a:lnTo>
                  <a:lnTo>
                    <a:pt x="3034" y="1224"/>
                  </a:lnTo>
                  <a:lnTo>
                    <a:pt x="3034" y="1225"/>
                  </a:lnTo>
                  <a:lnTo>
                    <a:pt x="3034" y="1229"/>
                  </a:lnTo>
                  <a:lnTo>
                    <a:pt x="3034" y="1231"/>
                  </a:lnTo>
                  <a:lnTo>
                    <a:pt x="3034" y="1231"/>
                  </a:lnTo>
                  <a:lnTo>
                    <a:pt x="3035" y="1231"/>
                  </a:lnTo>
                  <a:lnTo>
                    <a:pt x="3036" y="1229"/>
                  </a:lnTo>
                  <a:lnTo>
                    <a:pt x="3037" y="1227"/>
                  </a:lnTo>
                  <a:lnTo>
                    <a:pt x="3037" y="1227"/>
                  </a:lnTo>
                  <a:lnTo>
                    <a:pt x="3037" y="1227"/>
                  </a:lnTo>
                  <a:lnTo>
                    <a:pt x="3036" y="1229"/>
                  </a:lnTo>
                  <a:lnTo>
                    <a:pt x="3036" y="1230"/>
                  </a:lnTo>
                  <a:lnTo>
                    <a:pt x="3035" y="1231"/>
                  </a:lnTo>
                  <a:lnTo>
                    <a:pt x="3035" y="1231"/>
                  </a:lnTo>
                  <a:lnTo>
                    <a:pt x="3035" y="1231"/>
                  </a:lnTo>
                  <a:lnTo>
                    <a:pt x="3035" y="1231"/>
                  </a:lnTo>
                  <a:lnTo>
                    <a:pt x="3035" y="1232"/>
                  </a:lnTo>
                  <a:lnTo>
                    <a:pt x="3035" y="1233"/>
                  </a:lnTo>
                  <a:lnTo>
                    <a:pt x="3035" y="1235"/>
                  </a:lnTo>
                  <a:lnTo>
                    <a:pt x="3033" y="1238"/>
                  </a:lnTo>
                  <a:lnTo>
                    <a:pt x="3033" y="1238"/>
                  </a:lnTo>
                  <a:lnTo>
                    <a:pt x="3033" y="1238"/>
                  </a:lnTo>
                  <a:lnTo>
                    <a:pt x="3031" y="1241"/>
                  </a:lnTo>
                  <a:lnTo>
                    <a:pt x="3031" y="1244"/>
                  </a:lnTo>
                  <a:lnTo>
                    <a:pt x="3031" y="1244"/>
                  </a:lnTo>
                  <a:lnTo>
                    <a:pt x="3030" y="1247"/>
                  </a:lnTo>
                  <a:lnTo>
                    <a:pt x="3030" y="1248"/>
                  </a:lnTo>
                  <a:lnTo>
                    <a:pt x="3030" y="1249"/>
                  </a:lnTo>
                  <a:lnTo>
                    <a:pt x="3029" y="1250"/>
                  </a:lnTo>
                  <a:lnTo>
                    <a:pt x="3029" y="1253"/>
                  </a:lnTo>
                  <a:lnTo>
                    <a:pt x="3030" y="1255"/>
                  </a:lnTo>
                  <a:lnTo>
                    <a:pt x="3036" y="1254"/>
                  </a:lnTo>
                  <a:lnTo>
                    <a:pt x="3036" y="1256"/>
                  </a:lnTo>
                  <a:lnTo>
                    <a:pt x="3042" y="1261"/>
                  </a:lnTo>
                  <a:lnTo>
                    <a:pt x="3042" y="1263"/>
                  </a:lnTo>
                  <a:lnTo>
                    <a:pt x="3044" y="1264"/>
                  </a:lnTo>
                  <a:lnTo>
                    <a:pt x="3045" y="1266"/>
                  </a:lnTo>
                  <a:lnTo>
                    <a:pt x="3048" y="1268"/>
                  </a:lnTo>
                  <a:lnTo>
                    <a:pt x="3050" y="1271"/>
                  </a:lnTo>
                  <a:lnTo>
                    <a:pt x="3051" y="1271"/>
                  </a:lnTo>
                  <a:lnTo>
                    <a:pt x="3050" y="1273"/>
                  </a:lnTo>
                  <a:lnTo>
                    <a:pt x="3055" y="1281"/>
                  </a:lnTo>
                  <a:lnTo>
                    <a:pt x="3055" y="1281"/>
                  </a:lnTo>
                  <a:lnTo>
                    <a:pt x="3055" y="1281"/>
                  </a:lnTo>
                  <a:lnTo>
                    <a:pt x="3055" y="1281"/>
                  </a:lnTo>
                  <a:lnTo>
                    <a:pt x="3056" y="1283"/>
                  </a:lnTo>
                  <a:lnTo>
                    <a:pt x="3057" y="1284"/>
                  </a:lnTo>
                  <a:lnTo>
                    <a:pt x="3059" y="1287"/>
                  </a:lnTo>
                  <a:lnTo>
                    <a:pt x="3060" y="1290"/>
                  </a:lnTo>
                  <a:lnTo>
                    <a:pt x="3059" y="1292"/>
                  </a:lnTo>
                  <a:lnTo>
                    <a:pt x="3060" y="1293"/>
                  </a:lnTo>
                  <a:lnTo>
                    <a:pt x="3060" y="1296"/>
                  </a:lnTo>
                  <a:lnTo>
                    <a:pt x="3060" y="1298"/>
                  </a:lnTo>
                  <a:lnTo>
                    <a:pt x="3060" y="1301"/>
                  </a:lnTo>
                  <a:lnTo>
                    <a:pt x="3062" y="1304"/>
                  </a:lnTo>
                  <a:lnTo>
                    <a:pt x="3063" y="1306"/>
                  </a:lnTo>
                  <a:lnTo>
                    <a:pt x="3062" y="1309"/>
                  </a:lnTo>
                  <a:lnTo>
                    <a:pt x="3063" y="1312"/>
                  </a:lnTo>
                  <a:lnTo>
                    <a:pt x="3067" y="1314"/>
                  </a:lnTo>
                  <a:lnTo>
                    <a:pt x="3065" y="1316"/>
                  </a:lnTo>
                  <a:lnTo>
                    <a:pt x="3065" y="1317"/>
                  </a:lnTo>
                  <a:lnTo>
                    <a:pt x="3068" y="1319"/>
                  </a:lnTo>
                  <a:lnTo>
                    <a:pt x="3070" y="1322"/>
                  </a:lnTo>
                  <a:lnTo>
                    <a:pt x="3072" y="1324"/>
                  </a:lnTo>
                  <a:lnTo>
                    <a:pt x="3073" y="1327"/>
                  </a:lnTo>
                  <a:lnTo>
                    <a:pt x="3072" y="1330"/>
                  </a:lnTo>
                  <a:lnTo>
                    <a:pt x="3074" y="1332"/>
                  </a:lnTo>
                  <a:lnTo>
                    <a:pt x="3077" y="1333"/>
                  </a:lnTo>
                  <a:lnTo>
                    <a:pt x="3078" y="1333"/>
                  </a:lnTo>
                  <a:lnTo>
                    <a:pt x="3079" y="1333"/>
                  </a:lnTo>
                  <a:lnTo>
                    <a:pt x="3081" y="1336"/>
                  </a:lnTo>
                  <a:lnTo>
                    <a:pt x="3084" y="1339"/>
                  </a:lnTo>
                  <a:lnTo>
                    <a:pt x="3087" y="1340"/>
                  </a:lnTo>
                  <a:lnTo>
                    <a:pt x="3088" y="1340"/>
                  </a:lnTo>
                  <a:lnTo>
                    <a:pt x="3089" y="1341"/>
                  </a:lnTo>
                  <a:lnTo>
                    <a:pt x="3091" y="1343"/>
                  </a:lnTo>
                  <a:lnTo>
                    <a:pt x="3094" y="1344"/>
                  </a:lnTo>
                  <a:lnTo>
                    <a:pt x="3096" y="1345"/>
                  </a:lnTo>
                  <a:lnTo>
                    <a:pt x="3099" y="1347"/>
                  </a:lnTo>
                  <a:lnTo>
                    <a:pt x="3102" y="1350"/>
                  </a:lnTo>
                  <a:lnTo>
                    <a:pt x="3104" y="1350"/>
                  </a:lnTo>
                  <a:lnTo>
                    <a:pt x="3105" y="1349"/>
                  </a:lnTo>
                  <a:lnTo>
                    <a:pt x="3108" y="1349"/>
                  </a:lnTo>
                  <a:lnTo>
                    <a:pt x="3108" y="1347"/>
                  </a:lnTo>
                  <a:lnTo>
                    <a:pt x="3108" y="1345"/>
                  </a:lnTo>
                  <a:lnTo>
                    <a:pt x="3110" y="1349"/>
                  </a:lnTo>
                  <a:lnTo>
                    <a:pt x="3113" y="1350"/>
                  </a:lnTo>
                  <a:lnTo>
                    <a:pt x="3112" y="1347"/>
                  </a:lnTo>
                  <a:lnTo>
                    <a:pt x="3112" y="1344"/>
                  </a:lnTo>
                  <a:lnTo>
                    <a:pt x="3111" y="1341"/>
                  </a:lnTo>
                  <a:lnTo>
                    <a:pt x="3108" y="1339"/>
                  </a:lnTo>
                  <a:lnTo>
                    <a:pt x="3107" y="1336"/>
                  </a:lnTo>
                  <a:lnTo>
                    <a:pt x="3107" y="1335"/>
                  </a:lnTo>
                  <a:lnTo>
                    <a:pt x="3106" y="1333"/>
                  </a:lnTo>
                  <a:lnTo>
                    <a:pt x="3104" y="1332"/>
                  </a:lnTo>
                  <a:lnTo>
                    <a:pt x="3103" y="1332"/>
                  </a:lnTo>
                  <a:lnTo>
                    <a:pt x="3102" y="1329"/>
                  </a:lnTo>
                  <a:lnTo>
                    <a:pt x="3102" y="1324"/>
                  </a:lnTo>
                  <a:lnTo>
                    <a:pt x="3102" y="1321"/>
                  </a:lnTo>
                  <a:lnTo>
                    <a:pt x="3100" y="1319"/>
                  </a:lnTo>
                  <a:lnTo>
                    <a:pt x="3100" y="1317"/>
                  </a:lnTo>
                  <a:lnTo>
                    <a:pt x="3102" y="1314"/>
                  </a:lnTo>
                  <a:lnTo>
                    <a:pt x="3102" y="1312"/>
                  </a:lnTo>
                  <a:lnTo>
                    <a:pt x="3102" y="1312"/>
                  </a:lnTo>
                  <a:lnTo>
                    <a:pt x="3102" y="1309"/>
                  </a:lnTo>
                  <a:lnTo>
                    <a:pt x="3102" y="1306"/>
                  </a:lnTo>
                  <a:lnTo>
                    <a:pt x="3102" y="1304"/>
                  </a:lnTo>
                  <a:lnTo>
                    <a:pt x="3099" y="1300"/>
                  </a:lnTo>
                  <a:lnTo>
                    <a:pt x="3098" y="1298"/>
                  </a:lnTo>
                  <a:lnTo>
                    <a:pt x="3097" y="1296"/>
                  </a:lnTo>
                  <a:lnTo>
                    <a:pt x="3097" y="1296"/>
                  </a:lnTo>
                  <a:lnTo>
                    <a:pt x="3094" y="1292"/>
                  </a:lnTo>
                  <a:lnTo>
                    <a:pt x="3091" y="1291"/>
                  </a:lnTo>
                  <a:lnTo>
                    <a:pt x="3089" y="1289"/>
                  </a:lnTo>
                  <a:lnTo>
                    <a:pt x="3087" y="1285"/>
                  </a:lnTo>
                  <a:lnTo>
                    <a:pt x="3085" y="1283"/>
                  </a:lnTo>
                  <a:lnTo>
                    <a:pt x="3082" y="1283"/>
                  </a:lnTo>
                  <a:lnTo>
                    <a:pt x="3080" y="1281"/>
                  </a:lnTo>
                  <a:lnTo>
                    <a:pt x="3078" y="1279"/>
                  </a:lnTo>
                  <a:lnTo>
                    <a:pt x="3076" y="1275"/>
                  </a:lnTo>
                  <a:lnTo>
                    <a:pt x="3073" y="1274"/>
                  </a:lnTo>
                  <a:lnTo>
                    <a:pt x="3072" y="1274"/>
                  </a:lnTo>
                  <a:lnTo>
                    <a:pt x="3069" y="1274"/>
                  </a:lnTo>
                  <a:lnTo>
                    <a:pt x="3067" y="1273"/>
                  </a:lnTo>
                  <a:lnTo>
                    <a:pt x="3063" y="1272"/>
                  </a:lnTo>
                  <a:lnTo>
                    <a:pt x="3061" y="1271"/>
                  </a:lnTo>
                  <a:lnTo>
                    <a:pt x="3060" y="1268"/>
                  </a:lnTo>
                  <a:lnTo>
                    <a:pt x="3056" y="1266"/>
                  </a:lnTo>
                  <a:lnTo>
                    <a:pt x="3056" y="1263"/>
                  </a:lnTo>
                  <a:lnTo>
                    <a:pt x="3056" y="1262"/>
                  </a:lnTo>
                  <a:lnTo>
                    <a:pt x="3057" y="1265"/>
                  </a:lnTo>
                  <a:lnTo>
                    <a:pt x="3060" y="1267"/>
                  </a:lnTo>
                  <a:lnTo>
                    <a:pt x="3060" y="1267"/>
                  </a:lnTo>
                  <a:lnTo>
                    <a:pt x="3060" y="1267"/>
                  </a:lnTo>
                  <a:lnTo>
                    <a:pt x="3060" y="1265"/>
                  </a:lnTo>
                  <a:lnTo>
                    <a:pt x="3060" y="1262"/>
                  </a:lnTo>
                  <a:lnTo>
                    <a:pt x="3059" y="1261"/>
                  </a:lnTo>
                  <a:lnTo>
                    <a:pt x="3057" y="1256"/>
                  </a:lnTo>
                  <a:lnTo>
                    <a:pt x="3057" y="1254"/>
                  </a:lnTo>
                  <a:lnTo>
                    <a:pt x="3056" y="1252"/>
                  </a:lnTo>
                  <a:lnTo>
                    <a:pt x="3056" y="1253"/>
                  </a:lnTo>
                  <a:lnTo>
                    <a:pt x="3056" y="1252"/>
                  </a:lnTo>
                  <a:lnTo>
                    <a:pt x="3056" y="1254"/>
                  </a:lnTo>
                  <a:lnTo>
                    <a:pt x="3054" y="1252"/>
                  </a:lnTo>
                  <a:lnTo>
                    <a:pt x="3054" y="1250"/>
                  </a:lnTo>
                  <a:lnTo>
                    <a:pt x="3053" y="1247"/>
                  </a:lnTo>
                  <a:lnTo>
                    <a:pt x="3053" y="1246"/>
                  </a:lnTo>
                  <a:lnTo>
                    <a:pt x="3053" y="1244"/>
                  </a:lnTo>
                  <a:lnTo>
                    <a:pt x="3051" y="1241"/>
                  </a:lnTo>
                  <a:lnTo>
                    <a:pt x="3048" y="1241"/>
                  </a:lnTo>
                  <a:lnTo>
                    <a:pt x="3046" y="1242"/>
                  </a:lnTo>
                  <a:lnTo>
                    <a:pt x="3045" y="1240"/>
                  </a:lnTo>
                  <a:lnTo>
                    <a:pt x="3044" y="1239"/>
                  </a:lnTo>
                  <a:lnTo>
                    <a:pt x="3044" y="1237"/>
                  </a:lnTo>
                  <a:lnTo>
                    <a:pt x="3043" y="1235"/>
                  </a:lnTo>
                  <a:lnTo>
                    <a:pt x="3043" y="1231"/>
                  </a:lnTo>
                  <a:lnTo>
                    <a:pt x="3043" y="1231"/>
                  </a:lnTo>
                  <a:lnTo>
                    <a:pt x="3043" y="1229"/>
                  </a:lnTo>
                  <a:lnTo>
                    <a:pt x="3044" y="1227"/>
                  </a:lnTo>
                  <a:lnTo>
                    <a:pt x="3044" y="1225"/>
                  </a:lnTo>
                  <a:lnTo>
                    <a:pt x="3044" y="1223"/>
                  </a:lnTo>
                  <a:lnTo>
                    <a:pt x="3046" y="1221"/>
                  </a:lnTo>
                  <a:lnTo>
                    <a:pt x="3046" y="1221"/>
                  </a:lnTo>
                  <a:lnTo>
                    <a:pt x="3046" y="1221"/>
                  </a:lnTo>
                  <a:lnTo>
                    <a:pt x="3047" y="1218"/>
                  </a:lnTo>
                  <a:lnTo>
                    <a:pt x="3047" y="1218"/>
                  </a:lnTo>
                  <a:lnTo>
                    <a:pt x="3047" y="1216"/>
                  </a:lnTo>
                  <a:lnTo>
                    <a:pt x="3048" y="1213"/>
                  </a:lnTo>
                  <a:lnTo>
                    <a:pt x="3048" y="1212"/>
                  </a:lnTo>
                  <a:lnTo>
                    <a:pt x="3050" y="1210"/>
                  </a:lnTo>
                  <a:lnTo>
                    <a:pt x="3052" y="1207"/>
                  </a:lnTo>
                  <a:lnTo>
                    <a:pt x="3052" y="1206"/>
                  </a:lnTo>
                  <a:lnTo>
                    <a:pt x="3052" y="1206"/>
                  </a:lnTo>
                  <a:lnTo>
                    <a:pt x="3052" y="1204"/>
                  </a:lnTo>
                  <a:lnTo>
                    <a:pt x="3054" y="1202"/>
                  </a:lnTo>
                  <a:lnTo>
                    <a:pt x="3054" y="1202"/>
                  </a:lnTo>
                  <a:lnTo>
                    <a:pt x="3054" y="1202"/>
                  </a:lnTo>
                  <a:lnTo>
                    <a:pt x="3054" y="1198"/>
                  </a:lnTo>
                  <a:lnTo>
                    <a:pt x="3054" y="1195"/>
                  </a:lnTo>
                  <a:lnTo>
                    <a:pt x="3054" y="1195"/>
                  </a:lnTo>
                  <a:lnTo>
                    <a:pt x="3054" y="1194"/>
                  </a:lnTo>
                  <a:lnTo>
                    <a:pt x="3055" y="1189"/>
                  </a:lnTo>
                  <a:lnTo>
                    <a:pt x="3055" y="1189"/>
                  </a:lnTo>
                  <a:lnTo>
                    <a:pt x="3055" y="1189"/>
                  </a:lnTo>
                  <a:lnTo>
                    <a:pt x="3054" y="1187"/>
                  </a:lnTo>
                  <a:lnTo>
                    <a:pt x="3054" y="1186"/>
                  </a:lnTo>
                  <a:lnTo>
                    <a:pt x="3055" y="1184"/>
                  </a:lnTo>
                  <a:lnTo>
                    <a:pt x="3057" y="1182"/>
                  </a:lnTo>
                  <a:lnTo>
                    <a:pt x="3061" y="1184"/>
                  </a:lnTo>
                  <a:lnTo>
                    <a:pt x="3062" y="1181"/>
                  </a:lnTo>
                  <a:lnTo>
                    <a:pt x="3065" y="1184"/>
                  </a:lnTo>
                  <a:lnTo>
                    <a:pt x="3068" y="1184"/>
                  </a:lnTo>
                  <a:lnTo>
                    <a:pt x="3068" y="1184"/>
                  </a:lnTo>
                  <a:lnTo>
                    <a:pt x="3067" y="1185"/>
                  </a:lnTo>
                  <a:lnTo>
                    <a:pt x="3067" y="1186"/>
                  </a:lnTo>
                  <a:lnTo>
                    <a:pt x="3067" y="1189"/>
                  </a:lnTo>
                  <a:lnTo>
                    <a:pt x="3067" y="1190"/>
                  </a:lnTo>
                  <a:lnTo>
                    <a:pt x="3067" y="1191"/>
                  </a:lnTo>
                  <a:lnTo>
                    <a:pt x="3067" y="1193"/>
                  </a:lnTo>
                  <a:lnTo>
                    <a:pt x="3068" y="1195"/>
                  </a:lnTo>
                  <a:lnTo>
                    <a:pt x="3070" y="1195"/>
                  </a:lnTo>
                  <a:lnTo>
                    <a:pt x="3071" y="1195"/>
                  </a:lnTo>
                  <a:lnTo>
                    <a:pt x="3073" y="1195"/>
                  </a:lnTo>
                  <a:lnTo>
                    <a:pt x="3079" y="1194"/>
                  </a:lnTo>
                  <a:lnTo>
                    <a:pt x="3081" y="1196"/>
                  </a:lnTo>
                  <a:lnTo>
                    <a:pt x="3082" y="1197"/>
                  </a:lnTo>
                  <a:lnTo>
                    <a:pt x="3082" y="1197"/>
                  </a:lnTo>
                  <a:lnTo>
                    <a:pt x="3085" y="1199"/>
                  </a:lnTo>
                  <a:lnTo>
                    <a:pt x="3086" y="1198"/>
                  </a:lnTo>
                  <a:lnTo>
                    <a:pt x="3087" y="1202"/>
                  </a:lnTo>
                  <a:lnTo>
                    <a:pt x="3089" y="1201"/>
                  </a:lnTo>
                  <a:lnTo>
                    <a:pt x="3091" y="1203"/>
                  </a:lnTo>
                  <a:lnTo>
                    <a:pt x="3091" y="1203"/>
                  </a:lnTo>
                  <a:lnTo>
                    <a:pt x="3091" y="1204"/>
                  </a:lnTo>
                  <a:lnTo>
                    <a:pt x="3094" y="1206"/>
                  </a:lnTo>
                  <a:lnTo>
                    <a:pt x="3094" y="1206"/>
                  </a:lnTo>
                  <a:lnTo>
                    <a:pt x="3094" y="1207"/>
                  </a:lnTo>
                  <a:lnTo>
                    <a:pt x="3094" y="1208"/>
                  </a:lnTo>
                  <a:lnTo>
                    <a:pt x="3094" y="1206"/>
                  </a:lnTo>
                  <a:lnTo>
                    <a:pt x="3094" y="1206"/>
                  </a:lnTo>
                  <a:lnTo>
                    <a:pt x="3094" y="1208"/>
                  </a:lnTo>
                  <a:lnTo>
                    <a:pt x="3094" y="1206"/>
                  </a:lnTo>
                  <a:lnTo>
                    <a:pt x="3095" y="1208"/>
                  </a:lnTo>
                  <a:lnTo>
                    <a:pt x="3096" y="1208"/>
                  </a:lnTo>
                  <a:lnTo>
                    <a:pt x="3095" y="1210"/>
                  </a:lnTo>
                  <a:lnTo>
                    <a:pt x="3095" y="1210"/>
                  </a:lnTo>
                  <a:lnTo>
                    <a:pt x="3095" y="1210"/>
                  </a:lnTo>
                  <a:lnTo>
                    <a:pt x="3096" y="1210"/>
                  </a:lnTo>
                  <a:lnTo>
                    <a:pt x="3097" y="1211"/>
                  </a:lnTo>
                  <a:lnTo>
                    <a:pt x="3097" y="1215"/>
                  </a:lnTo>
                  <a:lnTo>
                    <a:pt x="3097" y="1216"/>
                  </a:lnTo>
                  <a:lnTo>
                    <a:pt x="3097" y="1218"/>
                  </a:lnTo>
                  <a:lnTo>
                    <a:pt x="3097" y="1219"/>
                  </a:lnTo>
                  <a:lnTo>
                    <a:pt x="3097" y="1220"/>
                  </a:lnTo>
                  <a:lnTo>
                    <a:pt x="3100" y="1220"/>
                  </a:lnTo>
                  <a:lnTo>
                    <a:pt x="3100" y="1219"/>
                  </a:lnTo>
                  <a:lnTo>
                    <a:pt x="3100" y="1219"/>
                  </a:lnTo>
                  <a:lnTo>
                    <a:pt x="3102" y="1216"/>
                  </a:lnTo>
                  <a:lnTo>
                    <a:pt x="3103" y="1215"/>
                  </a:lnTo>
                  <a:lnTo>
                    <a:pt x="3105" y="1218"/>
                  </a:lnTo>
                  <a:lnTo>
                    <a:pt x="3105" y="1219"/>
                  </a:lnTo>
                  <a:lnTo>
                    <a:pt x="3104" y="1221"/>
                  </a:lnTo>
                  <a:lnTo>
                    <a:pt x="3105" y="1221"/>
                  </a:lnTo>
                  <a:lnTo>
                    <a:pt x="3105" y="1221"/>
                  </a:lnTo>
                  <a:lnTo>
                    <a:pt x="3103" y="1222"/>
                  </a:lnTo>
                  <a:lnTo>
                    <a:pt x="3103" y="1222"/>
                  </a:lnTo>
                  <a:lnTo>
                    <a:pt x="3103" y="1222"/>
                  </a:lnTo>
                  <a:lnTo>
                    <a:pt x="3103" y="1223"/>
                  </a:lnTo>
                  <a:lnTo>
                    <a:pt x="3105" y="1224"/>
                  </a:lnTo>
                  <a:lnTo>
                    <a:pt x="3107" y="1223"/>
                  </a:lnTo>
                  <a:lnTo>
                    <a:pt x="3113" y="1225"/>
                  </a:lnTo>
                  <a:lnTo>
                    <a:pt x="3114" y="1224"/>
                  </a:lnTo>
                  <a:lnTo>
                    <a:pt x="3115" y="1227"/>
                  </a:lnTo>
                  <a:lnTo>
                    <a:pt x="3116" y="1225"/>
                  </a:lnTo>
                  <a:lnTo>
                    <a:pt x="3115" y="1227"/>
                  </a:lnTo>
                  <a:lnTo>
                    <a:pt x="3115" y="1227"/>
                  </a:lnTo>
                  <a:lnTo>
                    <a:pt x="3115" y="1227"/>
                  </a:lnTo>
                  <a:lnTo>
                    <a:pt x="3117" y="1229"/>
                  </a:lnTo>
                  <a:lnTo>
                    <a:pt x="3120" y="1229"/>
                  </a:lnTo>
                  <a:lnTo>
                    <a:pt x="3123" y="1231"/>
                  </a:lnTo>
                  <a:lnTo>
                    <a:pt x="3124" y="1233"/>
                  </a:lnTo>
                  <a:lnTo>
                    <a:pt x="3121" y="1233"/>
                  </a:lnTo>
                  <a:lnTo>
                    <a:pt x="3121" y="1233"/>
                  </a:lnTo>
                  <a:lnTo>
                    <a:pt x="3121" y="1233"/>
                  </a:lnTo>
                  <a:lnTo>
                    <a:pt x="3121" y="1237"/>
                  </a:lnTo>
                  <a:lnTo>
                    <a:pt x="3120" y="1238"/>
                  </a:lnTo>
                  <a:lnTo>
                    <a:pt x="3120" y="1238"/>
                  </a:lnTo>
                  <a:lnTo>
                    <a:pt x="3120" y="1238"/>
                  </a:lnTo>
                  <a:lnTo>
                    <a:pt x="3120" y="1240"/>
                  </a:lnTo>
                  <a:lnTo>
                    <a:pt x="3120" y="1248"/>
                  </a:lnTo>
                  <a:lnTo>
                    <a:pt x="3122" y="1248"/>
                  </a:lnTo>
                  <a:lnTo>
                    <a:pt x="3122" y="1249"/>
                  </a:lnTo>
                  <a:lnTo>
                    <a:pt x="3120" y="1250"/>
                  </a:lnTo>
                  <a:lnTo>
                    <a:pt x="3120" y="1250"/>
                  </a:lnTo>
                  <a:lnTo>
                    <a:pt x="3120" y="1250"/>
                  </a:lnTo>
                  <a:lnTo>
                    <a:pt x="3122" y="1252"/>
                  </a:lnTo>
                  <a:lnTo>
                    <a:pt x="3124" y="1249"/>
                  </a:lnTo>
                  <a:lnTo>
                    <a:pt x="3125" y="1249"/>
                  </a:lnTo>
                  <a:lnTo>
                    <a:pt x="3125" y="1249"/>
                  </a:lnTo>
                  <a:lnTo>
                    <a:pt x="3127" y="1248"/>
                  </a:lnTo>
                  <a:lnTo>
                    <a:pt x="3128" y="1246"/>
                  </a:lnTo>
                  <a:lnTo>
                    <a:pt x="3128" y="1246"/>
                  </a:lnTo>
                  <a:lnTo>
                    <a:pt x="3128" y="1246"/>
                  </a:lnTo>
                  <a:lnTo>
                    <a:pt x="3128" y="1245"/>
                  </a:lnTo>
                  <a:lnTo>
                    <a:pt x="3131" y="1244"/>
                  </a:lnTo>
                  <a:lnTo>
                    <a:pt x="3137" y="1241"/>
                  </a:lnTo>
                  <a:lnTo>
                    <a:pt x="3138" y="1240"/>
                  </a:lnTo>
                  <a:lnTo>
                    <a:pt x="3138" y="1239"/>
                  </a:lnTo>
                  <a:lnTo>
                    <a:pt x="3138" y="1239"/>
                  </a:lnTo>
                  <a:lnTo>
                    <a:pt x="3138" y="1237"/>
                  </a:lnTo>
                  <a:lnTo>
                    <a:pt x="3137" y="1235"/>
                  </a:lnTo>
                  <a:lnTo>
                    <a:pt x="3134" y="1232"/>
                  </a:lnTo>
                  <a:lnTo>
                    <a:pt x="3134" y="1232"/>
                  </a:lnTo>
                  <a:lnTo>
                    <a:pt x="3136" y="1233"/>
                  </a:lnTo>
                  <a:lnTo>
                    <a:pt x="3138" y="1236"/>
                  </a:lnTo>
                  <a:lnTo>
                    <a:pt x="3141" y="1238"/>
                  </a:lnTo>
                  <a:lnTo>
                    <a:pt x="3144" y="1237"/>
                  </a:lnTo>
                  <a:lnTo>
                    <a:pt x="3144" y="1237"/>
                  </a:lnTo>
                  <a:lnTo>
                    <a:pt x="3144" y="1237"/>
                  </a:lnTo>
                  <a:lnTo>
                    <a:pt x="3144" y="1235"/>
                  </a:lnTo>
                  <a:lnTo>
                    <a:pt x="3141" y="1231"/>
                  </a:lnTo>
                  <a:lnTo>
                    <a:pt x="3140" y="1231"/>
                  </a:lnTo>
                  <a:lnTo>
                    <a:pt x="3139" y="1230"/>
                  </a:lnTo>
                  <a:lnTo>
                    <a:pt x="3138" y="1229"/>
                  </a:lnTo>
                  <a:lnTo>
                    <a:pt x="3140" y="1230"/>
                  </a:lnTo>
                  <a:lnTo>
                    <a:pt x="3140" y="1231"/>
                  </a:lnTo>
                  <a:lnTo>
                    <a:pt x="3141" y="1231"/>
                  </a:lnTo>
                  <a:lnTo>
                    <a:pt x="3144" y="1233"/>
                  </a:lnTo>
                  <a:lnTo>
                    <a:pt x="3144" y="1233"/>
                  </a:lnTo>
                  <a:lnTo>
                    <a:pt x="3144" y="1233"/>
                  </a:lnTo>
                  <a:lnTo>
                    <a:pt x="3144" y="1231"/>
                  </a:lnTo>
                  <a:lnTo>
                    <a:pt x="3142" y="1231"/>
                  </a:lnTo>
                  <a:lnTo>
                    <a:pt x="3144" y="1231"/>
                  </a:lnTo>
                  <a:lnTo>
                    <a:pt x="3145" y="1231"/>
                  </a:lnTo>
                  <a:lnTo>
                    <a:pt x="3146" y="1230"/>
                  </a:lnTo>
                  <a:lnTo>
                    <a:pt x="3146" y="1230"/>
                  </a:lnTo>
                  <a:lnTo>
                    <a:pt x="3144" y="1228"/>
                  </a:lnTo>
                  <a:lnTo>
                    <a:pt x="3142" y="1228"/>
                  </a:lnTo>
                  <a:lnTo>
                    <a:pt x="3142" y="1228"/>
                  </a:lnTo>
                  <a:lnTo>
                    <a:pt x="3145" y="1228"/>
                  </a:lnTo>
                  <a:lnTo>
                    <a:pt x="3145" y="1228"/>
                  </a:lnTo>
                  <a:lnTo>
                    <a:pt x="3145" y="1228"/>
                  </a:lnTo>
                  <a:lnTo>
                    <a:pt x="3145" y="1224"/>
                  </a:lnTo>
                  <a:lnTo>
                    <a:pt x="3145" y="1224"/>
                  </a:lnTo>
                  <a:lnTo>
                    <a:pt x="3147" y="1222"/>
                  </a:lnTo>
                  <a:lnTo>
                    <a:pt x="3147" y="1222"/>
                  </a:lnTo>
                  <a:lnTo>
                    <a:pt x="3148" y="1222"/>
                  </a:lnTo>
                  <a:lnTo>
                    <a:pt x="3149" y="1222"/>
                  </a:lnTo>
                  <a:lnTo>
                    <a:pt x="3150" y="1224"/>
                  </a:lnTo>
                  <a:lnTo>
                    <a:pt x="3154" y="1225"/>
                  </a:lnTo>
                  <a:lnTo>
                    <a:pt x="3157" y="1224"/>
                  </a:lnTo>
                  <a:lnTo>
                    <a:pt x="3161" y="1222"/>
                  </a:lnTo>
                  <a:lnTo>
                    <a:pt x="3163" y="1222"/>
                  </a:lnTo>
                  <a:lnTo>
                    <a:pt x="3165" y="1220"/>
                  </a:lnTo>
                  <a:lnTo>
                    <a:pt x="3166" y="1219"/>
                  </a:lnTo>
                  <a:lnTo>
                    <a:pt x="3168" y="1218"/>
                  </a:lnTo>
                  <a:lnTo>
                    <a:pt x="3171" y="1215"/>
                  </a:lnTo>
                  <a:lnTo>
                    <a:pt x="3175" y="1213"/>
                  </a:lnTo>
                  <a:lnTo>
                    <a:pt x="3178" y="1211"/>
                  </a:lnTo>
                  <a:lnTo>
                    <a:pt x="3178" y="1211"/>
                  </a:lnTo>
                  <a:lnTo>
                    <a:pt x="3178" y="1211"/>
                  </a:lnTo>
                  <a:lnTo>
                    <a:pt x="3178" y="1210"/>
                  </a:lnTo>
                  <a:lnTo>
                    <a:pt x="3180" y="1207"/>
                  </a:lnTo>
                  <a:lnTo>
                    <a:pt x="3180" y="1207"/>
                  </a:lnTo>
                  <a:lnTo>
                    <a:pt x="3181" y="1207"/>
                  </a:lnTo>
                  <a:lnTo>
                    <a:pt x="3179" y="1206"/>
                  </a:lnTo>
                  <a:lnTo>
                    <a:pt x="3180" y="1204"/>
                  </a:lnTo>
                  <a:lnTo>
                    <a:pt x="3180" y="1204"/>
                  </a:lnTo>
                  <a:lnTo>
                    <a:pt x="3180" y="1204"/>
                  </a:lnTo>
                  <a:lnTo>
                    <a:pt x="3180" y="1203"/>
                  </a:lnTo>
                  <a:lnTo>
                    <a:pt x="3181" y="1201"/>
                  </a:lnTo>
                  <a:lnTo>
                    <a:pt x="3180" y="1201"/>
                  </a:lnTo>
                  <a:lnTo>
                    <a:pt x="3180" y="1201"/>
                  </a:lnTo>
                  <a:lnTo>
                    <a:pt x="3180" y="1201"/>
                  </a:lnTo>
                  <a:lnTo>
                    <a:pt x="3180" y="1199"/>
                  </a:lnTo>
                  <a:lnTo>
                    <a:pt x="3180" y="1199"/>
                  </a:lnTo>
                  <a:lnTo>
                    <a:pt x="3180" y="1197"/>
                  </a:lnTo>
                  <a:lnTo>
                    <a:pt x="3181" y="1197"/>
                  </a:lnTo>
                  <a:lnTo>
                    <a:pt x="3181" y="1197"/>
                  </a:lnTo>
                  <a:lnTo>
                    <a:pt x="3181" y="1197"/>
                  </a:lnTo>
                  <a:lnTo>
                    <a:pt x="3181" y="1195"/>
                  </a:lnTo>
                  <a:lnTo>
                    <a:pt x="3183" y="1195"/>
                  </a:lnTo>
                  <a:lnTo>
                    <a:pt x="3183" y="1195"/>
                  </a:lnTo>
                  <a:lnTo>
                    <a:pt x="3183" y="1195"/>
                  </a:lnTo>
                  <a:lnTo>
                    <a:pt x="3183" y="1191"/>
                  </a:lnTo>
                  <a:lnTo>
                    <a:pt x="3183" y="1191"/>
                  </a:lnTo>
                  <a:lnTo>
                    <a:pt x="3183" y="1191"/>
                  </a:lnTo>
                  <a:lnTo>
                    <a:pt x="3183" y="1191"/>
                  </a:lnTo>
                  <a:lnTo>
                    <a:pt x="3182" y="1189"/>
                  </a:lnTo>
                  <a:lnTo>
                    <a:pt x="3182" y="1189"/>
                  </a:lnTo>
                  <a:lnTo>
                    <a:pt x="3182" y="1186"/>
                  </a:lnTo>
                  <a:lnTo>
                    <a:pt x="3181" y="1184"/>
                  </a:lnTo>
                  <a:lnTo>
                    <a:pt x="3181" y="1177"/>
                  </a:lnTo>
                  <a:lnTo>
                    <a:pt x="3181" y="1174"/>
                  </a:lnTo>
                  <a:lnTo>
                    <a:pt x="3180" y="1172"/>
                  </a:lnTo>
                  <a:lnTo>
                    <a:pt x="3179" y="1169"/>
                  </a:lnTo>
                  <a:lnTo>
                    <a:pt x="3179" y="1167"/>
                  </a:lnTo>
                  <a:lnTo>
                    <a:pt x="3178" y="1164"/>
                  </a:lnTo>
                  <a:lnTo>
                    <a:pt x="3176" y="1162"/>
                  </a:lnTo>
                  <a:lnTo>
                    <a:pt x="3175" y="1160"/>
                  </a:lnTo>
                  <a:lnTo>
                    <a:pt x="3175" y="1158"/>
                  </a:lnTo>
                  <a:lnTo>
                    <a:pt x="3174" y="1158"/>
                  </a:lnTo>
                  <a:lnTo>
                    <a:pt x="3174" y="1156"/>
                  </a:lnTo>
                  <a:lnTo>
                    <a:pt x="3172" y="1155"/>
                  </a:lnTo>
                  <a:lnTo>
                    <a:pt x="3171" y="1153"/>
                  </a:lnTo>
                  <a:lnTo>
                    <a:pt x="3170" y="1150"/>
                  </a:lnTo>
                  <a:lnTo>
                    <a:pt x="3168" y="1150"/>
                  </a:lnTo>
                  <a:lnTo>
                    <a:pt x="3167" y="1147"/>
                  </a:lnTo>
                  <a:lnTo>
                    <a:pt x="3167" y="1147"/>
                  </a:lnTo>
                  <a:lnTo>
                    <a:pt x="3167" y="1147"/>
                  </a:lnTo>
                  <a:lnTo>
                    <a:pt x="3167" y="1147"/>
                  </a:lnTo>
                  <a:lnTo>
                    <a:pt x="3166" y="1146"/>
                  </a:lnTo>
                  <a:lnTo>
                    <a:pt x="3167" y="1147"/>
                  </a:lnTo>
                  <a:lnTo>
                    <a:pt x="3166" y="1147"/>
                  </a:lnTo>
                  <a:lnTo>
                    <a:pt x="3166" y="1147"/>
                  </a:lnTo>
                  <a:lnTo>
                    <a:pt x="3166" y="1147"/>
                  </a:lnTo>
                  <a:lnTo>
                    <a:pt x="3166" y="1147"/>
                  </a:lnTo>
                  <a:lnTo>
                    <a:pt x="3167" y="1147"/>
                  </a:lnTo>
                  <a:lnTo>
                    <a:pt x="3167" y="1147"/>
                  </a:lnTo>
                  <a:lnTo>
                    <a:pt x="3166" y="1145"/>
                  </a:lnTo>
                  <a:lnTo>
                    <a:pt x="3165" y="1145"/>
                  </a:lnTo>
                  <a:lnTo>
                    <a:pt x="3162" y="1144"/>
                  </a:lnTo>
                  <a:lnTo>
                    <a:pt x="3161" y="1141"/>
                  </a:lnTo>
                  <a:lnTo>
                    <a:pt x="3159" y="1141"/>
                  </a:lnTo>
                  <a:lnTo>
                    <a:pt x="3158" y="1141"/>
                  </a:lnTo>
                  <a:lnTo>
                    <a:pt x="3156" y="1138"/>
                  </a:lnTo>
                  <a:lnTo>
                    <a:pt x="3156" y="1139"/>
                  </a:lnTo>
                  <a:lnTo>
                    <a:pt x="3156" y="1139"/>
                  </a:lnTo>
                  <a:lnTo>
                    <a:pt x="3156" y="1138"/>
                  </a:lnTo>
                  <a:lnTo>
                    <a:pt x="3154" y="1136"/>
                  </a:lnTo>
                  <a:lnTo>
                    <a:pt x="3151" y="1136"/>
                  </a:lnTo>
                  <a:lnTo>
                    <a:pt x="3151" y="1133"/>
                  </a:lnTo>
                  <a:lnTo>
                    <a:pt x="3147" y="1129"/>
                  </a:lnTo>
                  <a:lnTo>
                    <a:pt x="3145" y="1127"/>
                  </a:lnTo>
                  <a:lnTo>
                    <a:pt x="3144" y="1125"/>
                  </a:lnTo>
                  <a:lnTo>
                    <a:pt x="3142" y="1124"/>
                  </a:lnTo>
                  <a:lnTo>
                    <a:pt x="3142" y="1124"/>
                  </a:lnTo>
                  <a:lnTo>
                    <a:pt x="3141" y="1124"/>
                  </a:lnTo>
                  <a:lnTo>
                    <a:pt x="3141" y="1124"/>
                  </a:lnTo>
                  <a:lnTo>
                    <a:pt x="3142" y="1124"/>
                  </a:lnTo>
                  <a:lnTo>
                    <a:pt x="3142" y="1121"/>
                  </a:lnTo>
                  <a:lnTo>
                    <a:pt x="3144" y="1120"/>
                  </a:lnTo>
                  <a:lnTo>
                    <a:pt x="3138" y="1117"/>
                  </a:lnTo>
                  <a:lnTo>
                    <a:pt x="3134" y="1113"/>
                  </a:lnTo>
                  <a:lnTo>
                    <a:pt x="3133" y="1110"/>
                  </a:lnTo>
                  <a:lnTo>
                    <a:pt x="3132" y="1110"/>
                  </a:lnTo>
                  <a:lnTo>
                    <a:pt x="3131" y="1105"/>
                  </a:lnTo>
                  <a:lnTo>
                    <a:pt x="3133" y="1102"/>
                  </a:lnTo>
                  <a:lnTo>
                    <a:pt x="3133" y="1096"/>
                  </a:lnTo>
                  <a:lnTo>
                    <a:pt x="3134" y="1095"/>
                  </a:lnTo>
                  <a:lnTo>
                    <a:pt x="3136" y="1092"/>
                  </a:lnTo>
                  <a:lnTo>
                    <a:pt x="3138" y="1092"/>
                  </a:lnTo>
                  <a:lnTo>
                    <a:pt x="3139" y="1092"/>
                  </a:lnTo>
                  <a:lnTo>
                    <a:pt x="3144" y="1087"/>
                  </a:lnTo>
                  <a:lnTo>
                    <a:pt x="3144" y="1087"/>
                  </a:lnTo>
                  <a:lnTo>
                    <a:pt x="3144" y="1087"/>
                  </a:lnTo>
                  <a:lnTo>
                    <a:pt x="3142" y="1087"/>
                  </a:lnTo>
                  <a:lnTo>
                    <a:pt x="3145" y="1084"/>
                  </a:lnTo>
                  <a:lnTo>
                    <a:pt x="3145" y="1082"/>
                  </a:lnTo>
                  <a:lnTo>
                    <a:pt x="3145" y="1082"/>
                  </a:lnTo>
                  <a:lnTo>
                    <a:pt x="3146" y="1082"/>
                  </a:lnTo>
                  <a:lnTo>
                    <a:pt x="3146" y="1082"/>
                  </a:lnTo>
                  <a:lnTo>
                    <a:pt x="3146" y="1082"/>
                  </a:lnTo>
                  <a:lnTo>
                    <a:pt x="3146" y="1079"/>
                  </a:lnTo>
                  <a:lnTo>
                    <a:pt x="3146" y="1079"/>
                  </a:lnTo>
                  <a:lnTo>
                    <a:pt x="3147" y="1078"/>
                  </a:lnTo>
                  <a:lnTo>
                    <a:pt x="3147" y="1078"/>
                  </a:lnTo>
                  <a:lnTo>
                    <a:pt x="3147" y="1078"/>
                  </a:lnTo>
                  <a:lnTo>
                    <a:pt x="3146" y="1077"/>
                  </a:lnTo>
                  <a:lnTo>
                    <a:pt x="3146" y="1077"/>
                  </a:lnTo>
                  <a:lnTo>
                    <a:pt x="3148" y="1078"/>
                  </a:lnTo>
                  <a:lnTo>
                    <a:pt x="3150" y="1077"/>
                  </a:lnTo>
                  <a:lnTo>
                    <a:pt x="3150" y="1078"/>
                  </a:lnTo>
                  <a:lnTo>
                    <a:pt x="3154" y="1077"/>
                  </a:lnTo>
                  <a:lnTo>
                    <a:pt x="3154" y="1077"/>
                  </a:lnTo>
                  <a:lnTo>
                    <a:pt x="3154" y="1077"/>
                  </a:lnTo>
                  <a:lnTo>
                    <a:pt x="3155" y="1075"/>
                  </a:lnTo>
                  <a:lnTo>
                    <a:pt x="3155" y="1074"/>
                  </a:lnTo>
                  <a:lnTo>
                    <a:pt x="3156" y="1074"/>
                  </a:lnTo>
                  <a:lnTo>
                    <a:pt x="3156" y="1074"/>
                  </a:lnTo>
                  <a:lnTo>
                    <a:pt x="3156" y="1074"/>
                  </a:lnTo>
                  <a:lnTo>
                    <a:pt x="3156" y="1074"/>
                  </a:lnTo>
                  <a:lnTo>
                    <a:pt x="3157" y="1073"/>
                  </a:lnTo>
                  <a:lnTo>
                    <a:pt x="3161" y="1071"/>
                  </a:lnTo>
                  <a:lnTo>
                    <a:pt x="3164" y="1070"/>
                  </a:lnTo>
                  <a:lnTo>
                    <a:pt x="3164" y="1070"/>
                  </a:lnTo>
                  <a:lnTo>
                    <a:pt x="3164" y="1070"/>
                  </a:lnTo>
                  <a:lnTo>
                    <a:pt x="3164" y="1070"/>
                  </a:lnTo>
                  <a:lnTo>
                    <a:pt x="3164" y="1069"/>
                  </a:lnTo>
                  <a:lnTo>
                    <a:pt x="3166" y="1069"/>
                  </a:lnTo>
                  <a:lnTo>
                    <a:pt x="3168" y="1067"/>
                  </a:lnTo>
                  <a:lnTo>
                    <a:pt x="3171" y="1069"/>
                  </a:lnTo>
                  <a:lnTo>
                    <a:pt x="3171" y="1066"/>
                  </a:lnTo>
                  <a:lnTo>
                    <a:pt x="3170" y="1065"/>
                  </a:lnTo>
                  <a:lnTo>
                    <a:pt x="3170" y="1064"/>
                  </a:lnTo>
                  <a:lnTo>
                    <a:pt x="3170" y="1065"/>
                  </a:lnTo>
                  <a:lnTo>
                    <a:pt x="3172" y="1065"/>
                  </a:lnTo>
                  <a:lnTo>
                    <a:pt x="3173" y="1067"/>
                  </a:lnTo>
                  <a:lnTo>
                    <a:pt x="3173" y="1068"/>
                  </a:lnTo>
                  <a:lnTo>
                    <a:pt x="3176" y="1066"/>
                  </a:lnTo>
                  <a:lnTo>
                    <a:pt x="3179" y="1068"/>
                  </a:lnTo>
                  <a:lnTo>
                    <a:pt x="3178" y="1070"/>
                  </a:lnTo>
                  <a:lnTo>
                    <a:pt x="3181" y="1070"/>
                  </a:lnTo>
                  <a:lnTo>
                    <a:pt x="3181" y="1070"/>
                  </a:lnTo>
                  <a:lnTo>
                    <a:pt x="3183" y="1070"/>
                  </a:lnTo>
                  <a:lnTo>
                    <a:pt x="3183" y="1067"/>
                  </a:lnTo>
                  <a:lnTo>
                    <a:pt x="3187" y="1068"/>
                  </a:lnTo>
                  <a:lnTo>
                    <a:pt x="3188" y="1070"/>
                  </a:lnTo>
                  <a:lnTo>
                    <a:pt x="3188" y="1068"/>
                  </a:lnTo>
                  <a:lnTo>
                    <a:pt x="3190" y="1070"/>
                  </a:lnTo>
                  <a:lnTo>
                    <a:pt x="3190" y="1071"/>
                  </a:lnTo>
                  <a:lnTo>
                    <a:pt x="3188" y="1074"/>
                  </a:lnTo>
                  <a:lnTo>
                    <a:pt x="3187" y="1076"/>
                  </a:lnTo>
                  <a:lnTo>
                    <a:pt x="3187" y="1077"/>
                  </a:lnTo>
                  <a:lnTo>
                    <a:pt x="3189" y="1083"/>
                  </a:lnTo>
                  <a:lnTo>
                    <a:pt x="3191" y="1085"/>
                  </a:lnTo>
                  <a:lnTo>
                    <a:pt x="3191" y="1087"/>
                  </a:lnTo>
                  <a:lnTo>
                    <a:pt x="3195" y="1087"/>
                  </a:lnTo>
                  <a:lnTo>
                    <a:pt x="3197" y="1086"/>
                  </a:lnTo>
                  <a:lnTo>
                    <a:pt x="3198" y="1084"/>
                  </a:lnTo>
                  <a:lnTo>
                    <a:pt x="3196" y="1081"/>
                  </a:lnTo>
                  <a:lnTo>
                    <a:pt x="3197" y="1081"/>
                  </a:lnTo>
                  <a:lnTo>
                    <a:pt x="3197" y="1079"/>
                  </a:lnTo>
                  <a:lnTo>
                    <a:pt x="3193" y="1079"/>
                  </a:lnTo>
                  <a:lnTo>
                    <a:pt x="3193" y="1076"/>
                  </a:lnTo>
                  <a:lnTo>
                    <a:pt x="3195" y="1075"/>
                  </a:lnTo>
                  <a:lnTo>
                    <a:pt x="3197" y="1074"/>
                  </a:lnTo>
                  <a:lnTo>
                    <a:pt x="3196" y="1071"/>
                  </a:lnTo>
                  <a:lnTo>
                    <a:pt x="3197" y="1074"/>
                  </a:lnTo>
                  <a:lnTo>
                    <a:pt x="3199" y="1074"/>
                  </a:lnTo>
                  <a:lnTo>
                    <a:pt x="3200" y="1071"/>
                  </a:lnTo>
                  <a:lnTo>
                    <a:pt x="3201" y="1070"/>
                  </a:lnTo>
                  <a:lnTo>
                    <a:pt x="3200" y="1071"/>
                  </a:lnTo>
                  <a:lnTo>
                    <a:pt x="3204" y="1071"/>
                  </a:lnTo>
                  <a:lnTo>
                    <a:pt x="3207" y="1070"/>
                  </a:lnTo>
                  <a:lnTo>
                    <a:pt x="3207" y="1070"/>
                  </a:lnTo>
                  <a:lnTo>
                    <a:pt x="3208" y="1070"/>
                  </a:lnTo>
                  <a:lnTo>
                    <a:pt x="3210" y="1069"/>
                  </a:lnTo>
                  <a:lnTo>
                    <a:pt x="3210" y="1069"/>
                  </a:lnTo>
                  <a:lnTo>
                    <a:pt x="3213" y="1069"/>
                  </a:lnTo>
                  <a:lnTo>
                    <a:pt x="3215" y="1067"/>
                  </a:lnTo>
                  <a:lnTo>
                    <a:pt x="3217" y="1067"/>
                  </a:lnTo>
                  <a:lnTo>
                    <a:pt x="3217" y="1066"/>
                  </a:lnTo>
                  <a:lnTo>
                    <a:pt x="3217" y="1065"/>
                  </a:lnTo>
                  <a:lnTo>
                    <a:pt x="3217" y="1065"/>
                  </a:lnTo>
                  <a:lnTo>
                    <a:pt x="3218" y="1065"/>
                  </a:lnTo>
                  <a:lnTo>
                    <a:pt x="3218" y="1065"/>
                  </a:lnTo>
                  <a:lnTo>
                    <a:pt x="3218" y="1065"/>
                  </a:lnTo>
                  <a:lnTo>
                    <a:pt x="3218" y="1065"/>
                  </a:lnTo>
                  <a:lnTo>
                    <a:pt x="3221" y="1067"/>
                  </a:lnTo>
                  <a:lnTo>
                    <a:pt x="3223" y="1067"/>
                  </a:lnTo>
                  <a:lnTo>
                    <a:pt x="3224" y="1065"/>
                  </a:lnTo>
                  <a:lnTo>
                    <a:pt x="3224" y="1064"/>
                  </a:lnTo>
                  <a:lnTo>
                    <a:pt x="3224" y="1065"/>
                  </a:lnTo>
                  <a:lnTo>
                    <a:pt x="3226" y="1066"/>
                  </a:lnTo>
                  <a:lnTo>
                    <a:pt x="3230" y="1064"/>
                  </a:lnTo>
                  <a:lnTo>
                    <a:pt x="3232" y="1064"/>
                  </a:lnTo>
                  <a:lnTo>
                    <a:pt x="3232" y="1061"/>
                  </a:lnTo>
                  <a:lnTo>
                    <a:pt x="3233" y="1059"/>
                  </a:lnTo>
                  <a:lnTo>
                    <a:pt x="3236" y="1060"/>
                  </a:lnTo>
                  <a:lnTo>
                    <a:pt x="3235" y="1058"/>
                  </a:lnTo>
                  <a:lnTo>
                    <a:pt x="3234" y="1054"/>
                  </a:lnTo>
                  <a:lnTo>
                    <a:pt x="3235" y="1057"/>
                  </a:lnTo>
                  <a:lnTo>
                    <a:pt x="3238" y="1059"/>
                  </a:lnTo>
                  <a:lnTo>
                    <a:pt x="3238" y="1060"/>
                  </a:lnTo>
                  <a:lnTo>
                    <a:pt x="3240" y="1060"/>
                  </a:lnTo>
                  <a:lnTo>
                    <a:pt x="3240" y="1054"/>
                  </a:lnTo>
                  <a:lnTo>
                    <a:pt x="3238" y="1052"/>
                  </a:lnTo>
                  <a:lnTo>
                    <a:pt x="3238" y="1052"/>
                  </a:lnTo>
                  <a:lnTo>
                    <a:pt x="3238" y="1052"/>
                  </a:lnTo>
                  <a:lnTo>
                    <a:pt x="3239" y="1051"/>
                  </a:lnTo>
                  <a:lnTo>
                    <a:pt x="3236" y="1050"/>
                  </a:lnTo>
                  <a:lnTo>
                    <a:pt x="3235" y="1050"/>
                  </a:lnTo>
                  <a:lnTo>
                    <a:pt x="3236" y="1050"/>
                  </a:lnTo>
                  <a:lnTo>
                    <a:pt x="3238" y="1049"/>
                  </a:lnTo>
                  <a:lnTo>
                    <a:pt x="3238" y="1048"/>
                  </a:lnTo>
                  <a:lnTo>
                    <a:pt x="3238" y="1047"/>
                  </a:lnTo>
                  <a:lnTo>
                    <a:pt x="3239" y="1048"/>
                  </a:lnTo>
                  <a:lnTo>
                    <a:pt x="3241" y="1047"/>
                  </a:lnTo>
                  <a:lnTo>
                    <a:pt x="3242" y="1047"/>
                  </a:lnTo>
                  <a:lnTo>
                    <a:pt x="3241" y="1047"/>
                  </a:lnTo>
                  <a:lnTo>
                    <a:pt x="3239" y="1048"/>
                  </a:lnTo>
                  <a:lnTo>
                    <a:pt x="3240" y="1048"/>
                  </a:lnTo>
                  <a:lnTo>
                    <a:pt x="3241" y="1048"/>
                  </a:lnTo>
                  <a:lnTo>
                    <a:pt x="3241" y="1049"/>
                  </a:lnTo>
                  <a:lnTo>
                    <a:pt x="3241" y="1052"/>
                  </a:lnTo>
                  <a:lnTo>
                    <a:pt x="3242" y="1052"/>
                  </a:lnTo>
                  <a:lnTo>
                    <a:pt x="3244" y="1056"/>
                  </a:lnTo>
                  <a:lnTo>
                    <a:pt x="3247" y="1056"/>
                  </a:lnTo>
                  <a:lnTo>
                    <a:pt x="3248" y="1058"/>
                  </a:lnTo>
                  <a:lnTo>
                    <a:pt x="3248" y="1058"/>
                  </a:lnTo>
                  <a:lnTo>
                    <a:pt x="3249" y="1058"/>
                  </a:lnTo>
                  <a:lnTo>
                    <a:pt x="3250" y="1059"/>
                  </a:lnTo>
                  <a:lnTo>
                    <a:pt x="3250" y="1056"/>
                  </a:lnTo>
                  <a:lnTo>
                    <a:pt x="3249" y="1054"/>
                  </a:lnTo>
                  <a:lnTo>
                    <a:pt x="3251" y="1054"/>
                  </a:lnTo>
                  <a:lnTo>
                    <a:pt x="3252" y="1054"/>
                  </a:lnTo>
                  <a:lnTo>
                    <a:pt x="3252" y="1056"/>
                  </a:lnTo>
                  <a:lnTo>
                    <a:pt x="3253" y="1053"/>
                  </a:lnTo>
                  <a:lnTo>
                    <a:pt x="3252" y="1053"/>
                  </a:lnTo>
                  <a:lnTo>
                    <a:pt x="3256" y="1051"/>
                  </a:lnTo>
                  <a:lnTo>
                    <a:pt x="3256" y="1053"/>
                  </a:lnTo>
                  <a:lnTo>
                    <a:pt x="3256" y="1054"/>
                  </a:lnTo>
                  <a:lnTo>
                    <a:pt x="3259" y="1053"/>
                  </a:lnTo>
                  <a:lnTo>
                    <a:pt x="3262" y="1051"/>
                  </a:lnTo>
                  <a:lnTo>
                    <a:pt x="3264" y="1051"/>
                  </a:lnTo>
                  <a:lnTo>
                    <a:pt x="3265" y="1052"/>
                  </a:lnTo>
                  <a:lnTo>
                    <a:pt x="3267" y="1053"/>
                  </a:lnTo>
                  <a:lnTo>
                    <a:pt x="3267" y="1053"/>
                  </a:lnTo>
                  <a:lnTo>
                    <a:pt x="3268" y="1050"/>
                  </a:lnTo>
                  <a:lnTo>
                    <a:pt x="3270" y="1051"/>
                  </a:lnTo>
                  <a:lnTo>
                    <a:pt x="3273" y="1050"/>
                  </a:lnTo>
                  <a:lnTo>
                    <a:pt x="3274" y="1050"/>
                  </a:lnTo>
                  <a:lnTo>
                    <a:pt x="3274" y="1049"/>
                  </a:lnTo>
                  <a:lnTo>
                    <a:pt x="3274" y="1050"/>
                  </a:lnTo>
                  <a:lnTo>
                    <a:pt x="3275" y="1050"/>
                  </a:lnTo>
                  <a:lnTo>
                    <a:pt x="3278" y="1049"/>
                  </a:lnTo>
                  <a:lnTo>
                    <a:pt x="3281" y="1049"/>
                  </a:lnTo>
                  <a:lnTo>
                    <a:pt x="3281" y="1047"/>
                  </a:lnTo>
                  <a:lnTo>
                    <a:pt x="3281" y="1045"/>
                  </a:lnTo>
                  <a:lnTo>
                    <a:pt x="3281" y="1045"/>
                  </a:lnTo>
                  <a:lnTo>
                    <a:pt x="3282" y="1045"/>
                  </a:lnTo>
                  <a:lnTo>
                    <a:pt x="3282" y="1043"/>
                  </a:lnTo>
                  <a:lnTo>
                    <a:pt x="3284" y="1042"/>
                  </a:lnTo>
                  <a:lnTo>
                    <a:pt x="3285" y="1042"/>
                  </a:lnTo>
                  <a:lnTo>
                    <a:pt x="3285" y="1039"/>
                  </a:lnTo>
                  <a:lnTo>
                    <a:pt x="3289" y="1040"/>
                  </a:lnTo>
                  <a:lnTo>
                    <a:pt x="3292" y="1036"/>
                  </a:lnTo>
                  <a:lnTo>
                    <a:pt x="3292" y="1036"/>
                  </a:lnTo>
                  <a:lnTo>
                    <a:pt x="3295" y="1035"/>
                  </a:lnTo>
                  <a:lnTo>
                    <a:pt x="3296" y="1033"/>
                  </a:lnTo>
                  <a:lnTo>
                    <a:pt x="3296" y="1033"/>
                  </a:lnTo>
                  <a:lnTo>
                    <a:pt x="3299" y="1033"/>
                  </a:lnTo>
                  <a:lnTo>
                    <a:pt x="3301" y="1031"/>
                  </a:lnTo>
                  <a:lnTo>
                    <a:pt x="3301" y="1027"/>
                  </a:lnTo>
                  <a:lnTo>
                    <a:pt x="3299" y="1027"/>
                  </a:lnTo>
                  <a:lnTo>
                    <a:pt x="3298" y="1027"/>
                  </a:lnTo>
                  <a:lnTo>
                    <a:pt x="3300" y="1027"/>
                  </a:lnTo>
                  <a:lnTo>
                    <a:pt x="3302" y="1026"/>
                  </a:lnTo>
                  <a:lnTo>
                    <a:pt x="3303" y="1025"/>
                  </a:lnTo>
                  <a:lnTo>
                    <a:pt x="3306" y="1025"/>
                  </a:lnTo>
                  <a:lnTo>
                    <a:pt x="3308" y="1025"/>
                  </a:lnTo>
                  <a:lnTo>
                    <a:pt x="3310" y="1025"/>
                  </a:lnTo>
                  <a:lnTo>
                    <a:pt x="3309" y="1023"/>
                  </a:lnTo>
                  <a:lnTo>
                    <a:pt x="3311" y="1020"/>
                  </a:lnTo>
                  <a:lnTo>
                    <a:pt x="3315" y="1019"/>
                  </a:lnTo>
                  <a:lnTo>
                    <a:pt x="3313" y="1017"/>
                  </a:lnTo>
                  <a:lnTo>
                    <a:pt x="3316" y="1017"/>
                  </a:lnTo>
                  <a:lnTo>
                    <a:pt x="3318" y="1017"/>
                  </a:lnTo>
                  <a:lnTo>
                    <a:pt x="3317" y="1014"/>
                  </a:lnTo>
                  <a:lnTo>
                    <a:pt x="3317" y="1013"/>
                  </a:lnTo>
                  <a:lnTo>
                    <a:pt x="3320" y="1011"/>
                  </a:lnTo>
                  <a:lnTo>
                    <a:pt x="3320" y="1014"/>
                  </a:lnTo>
                  <a:lnTo>
                    <a:pt x="3323" y="1011"/>
                  </a:lnTo>
                  <a:lnTo>
                    <a:pt x="3320" y="1010"/>
                  </a:lnTo>
                  <a:lnTo>
                    <a:pt x="3321" y="1009"/>
                  </a:lnTo>
                  <a:lnTo>
                    <a:pt x="3323" y="1006"/>
                  </a:lnTo>
                  <a:lnTo>
                    <a:pt x="3320" y="1005"/>
                  </a:lnTo>
                  <a:lnTo>
                    <a:pt x="3320" y="1005"/>
                  </a:lnTo>
                  <a:lnTo>
                    <a:pt x="3319" y="1006"/>
                  </a:lnTo>
                  <a:lnTo>
                    <a:pt x="3318" y="1005"/>
                  </a:lnTo>
                  <a:lnTo>
                    <a:pt x="3316" y="1002"/>
                  </a:lnTo>
                  <a:lnTo>
                    <a:pt x="3320" y="1005"/>
                  </a:lnTo>
                  <a:lnTo>
                    <a:pt x="3321" y="1002"/>
                  </a:lnTo>
                  <a:lnTo>
                    <a:pt x="3325" y="1000"/>
                  </a:lnTo>
                  <a:lnTo>
                    <a:pt x="3327" y="999"/>
                  </a:lnTo>
                  <a:lnTo>
                    <a:pt x="3325" y="999"/>
                  </a:lnTo>
                  <a:lnTo>
                    <a:pt x="3325" y="997"/>
                  </a:lnTo>
                  <a:lnTo>
                    <a:pt x="3325" y="997"/>
                  </a:lnTo>
                  <a:lnTo>
                    <a:pt x="3323" y="996"/>
                  </a:lnTo>
                  <a:lnTo>
                    <a:pt x="3321" y="993"/>
                  </a:lnTo>
                  <a:lnTo>
                    <a:pt x="3328" y="993"/>
                  </a:lnTo>
                  <a:lnTo>
                    <a:pt x="3328" y="994"/>
                  </a:lnTo>
                  <a:lnTo>
                    <a:pt x="3326" y="997"/>
                  </a:lnTo>
                  <a:lnTo>
                    <a:pt x="3328" y="996"/>
                  </a:lnTo>
                  <a:lnTo>
                    <a:pt x="3329" y="993"/>
                  </a:lnTo>
                  <a:lnTo>
                    <a:pt x="3332" y="989"/>
                  </a:lnTo>
                  <a:lnTo>
                    <a:pt x="3334" y="988"/>
                  </a:lnTo>
                  <a:lnTo>
                    <a:pt x="3330" y="987"/>
                  </a:lnTo>
                  <a:lnTo>
                    <a:pt x="3334" y="988"/>
                  </a:lnTo>
                  <a:lnTo>
                    <a:pt x="3335" y="984"/>
                  </a:lnTo>
                  <a:lnTo>
                    <a:pt x="3336" y="981"/>
                  </a:lnTo>
                  <a:lnTo>
                    <a:pt x="3337" y="981"/>
                  </a:lnTo>
                  <a:lnTo>
                    <a:pt x="3338" y="979"/>
                  </a:lnTo>
                  <a:lnTo>
                    <a:pt x="3337" y="975"/>
                  </a:lnTo>
                  <a:lnTo>
                    <a:pt x="3336" y="974"/>
                  </a:lnTo>
                  <a:lnTo>
                    <a:pt x="3338" y="975"/>
                  </a:lnTo>
                  <a:lnTo>
                    <a:pt x="3341" y="975"/>
                  </a:lnTo>
                  <a:lnTo>
                    <a:pt x="3343" y="973"/>
                  </a:lnTo>
                  <a:lnTo>
                    <a:pt x="3343" y="971"/>
                  </a:lnTo>
                  <a:lnTo>
                    <a:pt x="3344" y="970"/>
                  </a:lnTo>
                  <a:lnTo>
                    <a:pt x="3345" y="972"/>
                  </a:lnTo>
                  <a:lnTo>
                    <a:pt x="3347" y="971"/>
                  </a:lnTo>
                  <a:lnTo>
                    <a:pt x="3349" y="967"/>
                  </a:lnTo>
                  <a:lnTo>
                    <a:pt x="3349" y="965"/>
                  </a:lnTo>
                  <a:lnTo>
                    <a:pt x="3345" y="965"/>
                  </a:lnTo>
                  <a:lnTo>
                    <a:pt x="3344" y="963"/>
                  </a:lnTo>
                  <a:lnTo>
                    <a:pt x="3346" y="965"/>
                  </a:lnTo>
                  <a:lnTo>
                    <a:pt x="3347" y="965"/>
                  </a:lnTo>
                  <a:lnTo>
                    <a:pt x="3351" y="964"/>
                  </a:lnTo>
                  <a:lnTo>
                    <a:pt x="3350" y="959"/>
                  </a:lnTo>
                  <a:lnTo>
                    <a:pt x="3347" y="958"/>
                  </a:lnTo>
                  <a:lnTo>
                    <a:pt x="3350" y="956"/>
                  </a:lnTo>
                  <a:lnTo>
                    <a:pt x="3352" y="957"/>
                  </a:lnTo>
                  <a:lnTo>
                    <a:pt x="3353" y="958"/>
                  </a:lnTo>
                  <a:lnTo>
                    <a:pt x="3354" y="955"/>
                  </a:lnTo>
                  <a:lnTo>
                    <a:pt x="3354" y="953"/>
                  </a:lnTo>
                  <a:lnTo>
                    <a:pt x="3351" y="953"/>
                  </a:lnTo>
                  <a:lnTo>
                    <a:pt x="3349" y="954"/>
                  </a:lnTo>
                  <a:lnTo>
                    <a:pt x="3347" y="954"/>
                  </a:lnTo>
                  <a:lnTo>
                    <a:pt x="3351" y="953"/>
                  </a:lnTo>
                  <a:lnTo>
                    <a:pt x="3352" y="951"/>
                  </a:lnTo>
                  <a:lnTo>
                    <a:pt x="3353" y="949"/>
                  </a:lnTo>
                  <a:lnTo>
                    <a:pt x="3355" y="948"/>
                  </a:lnTo>
                  <a:lnTo>
                    <a:pt x="3353" y="946"/>
                  </a:lnTo>
                  <a:lnTo>
                    <a:pt x="3351" y="946"/>
                  </a:lnTo>
                  <a:lnTo>
                    <a:pt x="3350" y="945"/>
                  </a:lnTo>
                  <a:lnTo>
                    <a:pt x="3350" y="945"/>
                  </a:lnTo>
                  <a:lnTo>
                    <a:pt x="3347" y="942"/>
                  </a:lnTo>
                  <a:lnTo>
                    <a:pt x="3345" y="941"/>
                  </a:lnTo>
                  <a:lnTo>
                    <a:pt x="3343" y="941"/>
                  </a:lnTo>
                  <a:lnTo>
                    <a:pt x="3342" y="942"/>
                  </a:lnTo>
                  <a:lnTo>
                    <a:pt x="3337" y="943"/>
                  </a:lnTo>
                  <a:lnTo>
                    <a:pt x="3338" y="945"/>
                  </a:lnTo>
                  <a:lnTo>
                    <a:pt x="3337" y="943"/>
                  </a:lnTo>
                  <a:lnTo>
                    <a:pt x="3336" y="940"/>
                  </a:lnTo>
                  <a:lnTo>
                    <a:pt x="3334" y="941"/>
                  </a:lnTo>
                  <a:lnTo>
                    <a:pt x="3332" y="941"/>
                  </a:lnTo>
                  <a:lnTo>
                    <a:pt x="3333" y="940"/>
                  </a:lnTo>
                  <a:lnTo>
                    <a:pt x="3336" y="939"/>
                  </a:lnTo>
                  <a:lnTo>
                    <a:pt x="3338" y="940"/>
                  </a:lnTo>
                  <a:lnTo>
                    <a:pt x="3340" y="940"/>
                  </a:lnTo>
                  <a:lnTo>
                    <a:pt x="3341" y="938"/>
                  </a:lnTo>
                  <a:lnTo>
                    <a:pt x="3345" y="936"/>
                  </a:lnTo>
                  <a:lnTo>
                    <a:pt x="3349" y="933"/>
                  </a:lnTo>
                  <a:lnTo>
                    <a:pt x="3353" y="932"/>
                  </a:lnTo>
                  <a:lnTo>
                    <a:pt x="3353" y="930"/>
                  </a:lnTo>
                  <a:lnTo>
                    <a:pt x="3352" y="928"/>
                  </a:lnTo>
                  <a:lnTo>
                    <a:pt x="3350" y="925"/>
                  </a:lnTo>
                  <a:lnTo>
                    <a:pt x="3349" y="924"/>
                  </a:lnTo>
                  <a:lnTo>
                    <a:pt x="3346" y="923"/>
                  </a:lnTo>
                  <a:lnTo>
                    <a:pt x="3343" y="920"/>
                  </a:lnTo>
                  <a:lnTo>
                    <a:pt x="3338" y="919"/>
                  </a:lnTo>
                  <a:lnTo>
                    <a:pt x="3337" y="915"/>
                  </a:lnTo>
                  <a:lnTo>
                    <a:pt x="3335" y="915"/>
                  </a:lnTo>
                  <a:lnTo>
                    <a:pt x="3332" y="916"/>
                  </a:lnTo>
                  <a:lnTo>
                    <a:pt x="3328" y="916"/>
                  </a:lnTo>
                  <a:lnTo>
                    <a:pt x="3328" y="916"/>
                  </a:lnTo>
                  <a:lnTo>
                    <a:pt x="3326" y="914"/>
                  </a:lnTo>
                  <a:lnTo>
                    <a:pt x="3324" y="912"/>
                  </a:lnTo>
                  <a:lnTo>
                    <a:pt x="3323" y="913"/>
                  </a:lnTo>
                  <a:lnTo>
                    <a:pt x="3324" y="911"/>
                  </a:lnTo>
                  <a:lnTo>
                    <a:pt x="3323" y="910"/>
                  </a:lnTo>
                  <a:lnTo>
                    <a:pt x="3325" y="911"/>
                  </a:lnTo>
                  <a:lnTo>
                    <a:pt x="3327" y="913"/>
                  </a:lnTo>
                  <a:lnTo>
                    <a:pt x="3328" y="915"/>
                  </a:lnTo>
                  <a:lnTo>
                    <a:pt x="3330" y="916"/>
                  </a:lnTo>
                  <a:lnTo>
                    <a:pt x="3330" y="916"/>
                  </a:lnTo>
                  <a:lnTo>
                    <a:pt x="3334" y="914"/>
                  </a:lnTo>
                  <a:lnTo>
                    <a:pt x="3334" y="914"/>
                  </a:lnTo>
                  <a:lnTo>
                    <a:pt x="3337" y="914"/>
                  </a:lnTo>
                  <a:lnTo>
                    <a:pt x="3340" y="915"/>
                  </a:lnTo>
                  <a:lnTo>
                    <a:pt x="3341" y="917"/>
                  </a:lnTo>
                  <a:lnTo>
                    <a:pt x="3343" y="917"/>
                  </a:lnTo>
                  <a:lnTo>
                    <a:pt x="3346" y="917"/>
                  </a:lnTo>
                  <a:lnTo>
                    <a:pt x="3349" y="917"/>
                  </a:lnTo>
                  <a:lnTo>
                    <a:pt x="3351" y="919"/>
                  </a:lnTo>
                  <a:lnTo>
                    <a:pt x="3353" y="920"/>
                  </a:lnTo>
                  <a:lnTo>
                    <a:pt x="3353" y="917"/>
                  </a:lnTo>
                  <a:lnTo>
                    <a:pt x="3351" y="914"/>
                  </a:lnTo>
                  <a:lnTo>
                    <a:pt x="3351" y="914"/>
                  </a:lnTo>
                  <a:lnTo>
                    <a:pt x="3347" y="913"/>
                  </a:lnTo>
                  <a:lnTo>
                    <a:pt x="3347" y="910"/>
                  </a:lnTo>
                  <a:lnTo>
                    <a:pt x="3344" y="908"/>
                  </a:lnTo>
                  <a:lnTo>
                    <a:pt x="3342" y="906"/>
                  </a:lnTo>
                  <a:lnTo>
                    <a:pt x="3340" y="906"/>
                  </a:lnTo>
                  <a:lnTo>
                    <a:pt x="3340" y="903"/>
                  </a:lnTo>
                  <a:lnTo>
                    <a:pt x="3341" y="900"/>
                  </a:lnTo>
                  <a:lnTo>
                    <a:pt x="3338" y="898"/>
                  </a:lnTo>
                  <a:lnTo>
                    <a:pt x="3337" y="895"/>
                  </a:lnTo>
                  <a:lnTo>
                    <a:pt x="3336" y="893"/>
                  </a:lnTo>
                  <a:lnTo>
                    <a:pt x="3335" y="890"/>
                  </a:lnTo>
                  <a:lnTo>
                    <a:pt x="3333" y="885"/>
                  </a:lnTo>
                  <a:lnTo>
                    <a:pt x="3333" y="883"/>
                  </a:lnTo>
                  <a:lnTo>
                    <a:pt x="3332" y="880"/>
                  </a:lnTo>
                  <a:lnTo>
                    <a:pt x="3328" y="878"/>
                  </a:lnTo>
                  <a:lnTo>
                    <a:pt x="3325" y="878"/>
                  </a:lnTo>
                  <a:lnTo>
                    <a:pt x="3325" y="877"/>
                  </a:lnTo>
                  <a:lnTo>
                    <a:pt x="3323" y="876"/>
                  </a:lnTo>
                  <a:lnTo>
                    <a:pt x="3319" y="873"/>
                  </a:lnTo>
                  <a:lnTo>
                    <a:pt x="3317" y="873"/>
                  </a:lnTo>
                  <a:lnTo>
                    <a:pt x="3317" y="871"/>
                  </a:lnTo>
                  <a:lnTo>
                    <a:pt x="3317" y="869"/>
                  </a:lnTo>
                  <a:lnTo>
                    <a:pt x="3318" y="868"/>
                  </a:lnTo>
                  <a:lnTo>
                    <a:pt x="3319" y="866"/>
                  </a:lnTo>
                  <a:lnTo>
                    <a:pt x="3321" y="863"/>
                  </a:lnTo>
                  <a:lnTo>
                    <a:pt x="3324" y="860"/>
                  </a:lnTo>
                  <a:lnTo>
                    <a:pt x="3326" y="860"/>
                  </a:lnTo>
                  <a:lnTo>
                    <a:pt x="3328" y="857"/>
                  </a:lnTo>
                  <a:lnTo>
                    <a:pt x="3329" y="855"/>
                  </a:lnTo>
                  <a:lnTo>
                    <a:pt x="3330" y="855"/>
                  </a:lnTo>
                  <a:lnTo>
                    <a:pt x="3330" y="853"/>
                  </a:lnTo>
                  <a:lnTo>
                    <a:pt x="3329" y="852"/>
                  </a:lnTo>
                  <a:lnTo>
                    <a:pt x="3329" y="851"/>
                  </a:lnTo>
                  <a:lnTo>
                    <a:pt x="3333" y="849"/>
                  </a:lnTo>
                  <a:lnTo>
                    <a:pt x="3333" y="852"/>
                  </a:lnTo>
                  <a:lnTo>
                    <a:pt x="3335" y="853"/>
                  </a:lnTo>
                  <a:lnTo>
                    <a:pt x="3337" y="852"/>
                  </a:lnTo>
                  <a:lnTo>
                    <a:pt x="3337" y="848"/>
                  </a:lnTo>
                  <a:lnTo>
                    <a:pt x="3340" y="847"/>
                  </a:lnTo>
                  <a:lnTo>
                    <a:pt x="3340" y="844"/>
                  </a:lnTo>
                  <a:lnTo>
                    <a:pt x="3338" y="845"/>
                  </a:lnTo>
                  <a:lnTo>
                    <a:pt x="3340" y="844"/>
                  </a:lnTo>
                  <a:lnTo>
                    <a:pt x="3341" y="845"/>
                  </a:lnTo>
                  <a:lnTo>
                    <a:pt x="3346" y="843"/>
                  </a:lnTo>
                  <a:lnTo>
                    <a:pt x="3349" y="842"/>
                  </a:lnTo>
                  <a:lnTo>
                    <a:pt x="3351" y="840"/>
                  </a:lnTo>
                  <a:lnTo>
                    <a:pt x="3353" y="839"/>
                  </a:lnTo>
                  <a:lnTo>
                    <a:pt x="3355" y="839"/>
                  </a:lnTo>
                  <a:lnTo>
                    <a:pt x="3358" y="838"/>
                  </a:lnTo>
                  <a:lnTo>
                    <a:pt x="3358" y="840"/>
                  </a:lnTo>
                  <a:lnTo>
                    <a:pt x="3361" y="840"/>
                  </a:lnTo>
                  <a:lnTo>
                    <a:pt x="3362" y="838"/>
                  </a:lnTo>
                  <a:lnTo>
                    <a:pt x="3363" y="836"/>
                  </a:lnTo>
                  <a:lnTo>
                    <a:pt x="3363" y="833"/>
                  </a:lnTo>
                  <a:lnTo>
                    <a:pt x="3360" y="831"/>
                  </a:lnTo>
                  <a:lnTo>
                    <a:pt x="3360" y="831"/>
                  </a:lnTo>
                  <a:lnTo>
                    <a:pt x="3356" y="829"/>
                  </a:lnTo>
                  <a:lnTo>
                    <a:pt x="3355" y="831"/>
                  </a:lnTo>
                  <a:lnTo>
                    <a:pt x="3354" y="830"/>
                  </a:lnTo>
                  <a:lnTo>
                    <a:pt x="3349" y="831"/>
                  </a:lnTo>
                  <a:lnTo>
                    <a:pt x="3346" y="828"/>
                  </a:lnTo>
                  <a:lnTo>
                    <a:pt x="3344" y="829"/>
                  </a:lnTo>
                  <a:lnTo>
                    <a:pt x="3342" y="826"/>
                  </a:lnTo>
                  <a:lnTo>
                    <a:pt x="3338" y="825"/>
                  </a:lnTo>
                  <a:lnTo>
                    <a:pt x="3336" y="826"/>
                  </a:lnTo>
                  <a:lnTo>
                    <a:pt x="3333" y="827"/>
                  </a:lnTo>
                  <a:lnTo>
                    <a:pt x="3330" y="830"/>
                  </a:lnTo>
                  <a:lnTo>
                    <a:pt x="3328" y="831"/>
                  </a:lnTo>
                  <a:lnTo>
                    <a:pt x="3326" y="834"/>
                  </a:lnTo>
                  <a:lnTo>
                    <a:pt x="3324" y="836"/>
                  </a:lnTo>
                  <a:lnTo>
                    <a:pt x="3323" y="836"/>
                  </a:lnTo>
                  <a:lnTo>
                    <a:pt x="3319" y="836"/>
                  </a:lnTo>
                  <a:lnTo>
                    <a:pt x="3317" y="836"/>
                  </a:lnTo>
                  <a:lnTo>
                    <a:pt x="3313" y="834"/>
                  </a:lnTo>
                  <a:lnTo>
                    <a:pt x="3313" y="833"/>
                  </a:lnTo>
                  <a:lnTo>
                    <a:pt x="3313" y="830"/>
                  </a:lnTo>
                  <a:lnTo>
                    <a:pt x="3315" y="827"/>
                  </a:lnTo>
                  <a:lnTo>
                    <a:pt x="3316" y="825"/>
                  </a:lnTo>
                  <a:lnTo>
                    <a:pt x="3313" y="822"/>
                  </a:lnTo>
                  <a:lnTo>
                    <a:pt x="3311" y="819"/>
                  </a:lnTo>
                  <a:lnTo>
                    <a:pt x="3310" y="820"/>
                  </a:lnTo>
                  <a:lnTo>
                    <a:pt x="3309" y="822"/>
                  </a:lnTo>
                  <a:lnTo>
                    <a:pt x="3306" y="820"/>
                  </a:lnTo>
                  <a:lnTo>
                    <a:pt x="3303" y="820"/>
                  </a:lnTo>
                  <a:lnTo>
                    <a:pt x="3301" y="820"/>
                  </a:lnTo>
                  <a:lnTo>
                    <a:pt x="3299" y="818"/>
                  </a:lnTo>
                  <a:lnTo>
                    <a:pt x="3299" y="818"/>
                  </a:lnTo>
                  <a:lnTo>
                    <a:pt x="3295" y="816"/>
                  </a:lnTo>
                  <a:lnTo>
                    <a:pt x="3294" y="812"/>
                  </a:lnTo>
                  <a:lnTo>
                    <a:pt x="3294" y="810"/>
                  </a:lnTo>
                  <a:lnTo>
                    <a:pt x="3296" y="808"/>
                  </a:lnTo>
                  <a:lnTo>
                    <a:pt x="3296" y="806"/>
                  </a:lnTo>
                  <a:lnTo>
                    <a:pt x="3298" y="804"/>
                  </a:lnTo>
                  <a:lnTo>
                    <a:pt x="3301" y="803"/>
                  </a:lnTo>
                  <a:lnTo>
                    <a:pt x="3307" y="805"/>
                  </a:lnTo>
                  <a:lnTo>
                    <a:pt x="3309" y="803"/>
                  </a:lnTo>
                  <a:lnTo>
                    <a:pt x="3311" y="804"/>
                  </a:lnTo>
                  <a:lnTo>
                    <a:pt x="3315" y="803"/>
                  </a:lnTo>
                  <a:lnTo>
                    <a:pt x="3318" y="800"/>
                  </a:lnTo>
                  <a:lnTo>
                    <a:pt x="3318" y="797"/>
                  </a:lnTo>
                  <a:lnTo>
                    <a:pt x="3319" y="794"/>
                  </a:lnTo>
                  <a:lnTo>
                    <a:pt x="3323" y="792"/>
                  </a:lnTo>
                  <a:lnTo>
                    <a:pt x="3325" y="791"/>
                  </a:lnTo>
                  <a:lnTo>
                    <a:pt x="3326" y="791"/>
                  </a:lnTo>
                  <a:lnTo>
                    <a:pt x="3327" y="791"/>
                  </a:lnTo>
                  <a:lnTo>
                    <a:pt x="3328" y="789"/>
                  </a:lnTo>
                  <a:lnTo>
                    <a:pt x="3332" y="787"/>
                  </a:lnTo>
                  <a:lnTo>
                    <a:pt x="3336" y="785"/>
                  </a:lnTo>
                  <a:lnTo>
                    <a:pt x="3337" y="782"/>
                  </a:lnTo>
                  <a:lnTo>
                    <a:pt x="3340" y="779"/>
                  </a:lnTo>
                  <a:lnTo>
                    <a:pt x="3342" y="779"/>
                  </a:lnTo>
                  <a:lnTo>
                    <a:pt x="3343" y="776"/>
                  </a:lnTo>
                  <a:lnTo>
                    <a:pt x="3344" y="775"/>
                  </a:lnTo>
                  <a:lnTo>
                    <a:pt x="3346" y="775"/>
                  </a:lnTo>
                  <a:lnTo>
                    <a:pt x="3350" y="777"/>
                  </a:lnTo>
                  <a:lnTo>
                    <a:pt x="3351" y="777"/>
                  </a:lnTo>
                  <a:lnTo>
                    <a:pt x="3353" y="774"/>
                  </a:lnTo>
                  <a:lnTo>
                    <a:pt x="3353" y="775"/>
                  </a:lnTo>
                  <a:lnTo>
                    <a:pt x="3355" y="778"/>
                  </a:lnTo>
                  <a:lnTo>
                    <a:pt x="3358" y="779"/>
                  </a:lnTo>
                  <a:lnTo>
                    <a:pt x="3358" y="780"/>
                  </a:lnTo>
                  <a:lnTo>
                    <a:pt x="3359" y="783"/>
                  </a:lnTo>
                  <a:lnTo>
                    <a:pt x="3356" y="785"/>
                  </a:lnTo>
                  <a:lnTo>
                    <a:pt x="3355" y="788"/>
                  </a:lnTo>
                  <a:lnTo>
                    <a:pt x="3354" y="791"/>
                  </a:lnTo>
                  <a:lnTo>
                    <a:pt x="3353" y="791"/>
                  </a:lnTo>
                  <a:lnTo>
                    <a:pt x="3351" y="792"/>
                  </a:lnTo>
                  <a:lnTo>
                    <a:pt x="3349" y="794"/>
                  </a:lnTo>
                  <a:lnTo>
                    <a:pt x="3349" y="796"/>
                  </a:lnTo>
                  <a:lnTo>
                    <a:pt x="3347" y="796"/>
                  </a:lnTo>
                  <a:lnTo>
                    <a:pt x="3345" y="797"/>
                  </a:lnTo>
                  <a:lnTo>
                    <a:pt x="3347" y="797"/>
                  </a:lnTo>
                  <a:lnTo>
                    <a:pt x="3349" y="801"/>
                  </a:lnTo>
                  <a:lnTo>
                    <a:pt x="3354" y="800"/>
                  </a:lnTo>
                  <a:lnTo>
                    <a:pt x="3353" y="801"/>
                  </a:lnTo>
                  <a:lnTo>
                    <a:pt x="3350" y="803"/>
                  </a:lnTo>
                  <a:lnTo>
                    <a:pt x="3349" y="805"/>
                  </a:lnTo>
                  <a:lnTo>
                    <a:pt x="3346" y="806"/>
                  </a:lnTo>
                  <a:lnTo>
                    <a:pt x="3344" y="808"/>
                  </a:lnTo>
                  <a:lnTo>
                    <a:pt x="3344" y="811"/>
                  </a:lnTo>
                  <a:lnTo>
                    <a:pt x="3347" y="810"/>
                  </a:lnTo>
                  <a:lnTo>
                    <a:pt x="3350" y="808"/>
                  </a:lnTo>
                  <a:lnTo>
                    <a:pt x="3355" y="805"/>
                  </a:lnTo>
                  <a:lnTo>
                    <a:pt x="3358" y="803"/>
                  </a:lnTo>
                  <a:lnTo>
                    <a:pt x="3360" y="801"/>
                  </a:lnTo>
                  <a:lnTo>
                    <a:pt x="3362" y="799"/>
                  </a:lnTo>
                  <a:lnTo>
                    <a:pt x="3366" y="797"/>
                  </a:lnTo>
                  <a:lnTo>
                    <a:pt x="3371" y="795"/>
                  </a:lnTo>
                  <a:lnTo>
                    <a:pt x="3373" y="794"/>
                  </a:lnTo>
                  <a:lnTo>
                    <a:pt x="3376" y="793"/>
                  </a:lnTo>
                  <a:lnTo>
                    <a:pt x="3377" y="793"/>
                  </a:lnTo>
                  <a:lnTo>
                    <a:pt x="3379" y="793"/>
                  </a:lnTo>
                  <a:lnTo>
                    <a:pt x="3385" y="793"/>
                  </a:lnTo>
                  <a:lnTo>
                    <a:pt x="3387" y="791"/>
                  </a:lnTo>
                  <a:lnTo>
                    <a:pt x="3387" y="791"/>
                  </a:lnTo>
                  <a:lnTo>
                    <a:pt x="3388" y="788"/>
                  </a:lnTo>
                  <a:lnTo>
                    <a:pt x="3389" y="789"/>
                  </a:lnTo>
                  <a:lnTo>
                    <a:pt x="3389" y="789"/>
                  </a:lnTo>
                  <a:lnTo>
                    <a:pt x="3389" y="789"/>
                  </a:lnTo>
                  <a:lnTo>
                    <a:pt x="3388" y="791"/>
                  </a:lnTo>
                  <a:lnTo>
                    <a:pt x="3388" y="791"/>
                  </a:lnTo>
                  <a:lnTo>
                    <a:pt x="3388" y="793"/>
                  </a:lnTo>
                  <a:lnTo>
                    <a:pt x="3390" y="795"/>
                  </a:lnTo>
                  <a:lnTo>
                    <a:pt x="3394" y="794"/>
                  </a:lnTo>
                  <a:lnTo>
                    <a:pt x="3396" y="796"/>
                  </a:lnTo>
                  <a:lnTo>
                    <a:pt x="3397" y="796"/>
                  </a:lnTo>
                  <a:lnTo>
                    <a:pt x="3400" y="797"/>
                  </a:lnTo>
                  <a:lnTo>
                    <a:pt x="3403" y="797"/>
                  </a:lnTo>
                  <a:lnTo>
                    <a:pt x="3402" y="800"/>
                  </a:lnTo>
                  <a:lnTo>
                    <a:pt x="3402" y="802"/>
                  </a:lnTo>
                  <a:lnTo>
                    <a:pt x="3401" y="804"/>
                  </a:lnTo>
                  <a:lnTo>
                    <a:pt x="3398" y="808"/>
                  </a:lnTo>
                  <a:lnTo>
                    <a:pt x="3400" y="810"/>
                  </a:lnTo>
                  <a:lnTo>
                    <a:pt x="3400" y="811"/>
                  </a:lnTo>
                  <a:lnTo>
                    <a:pt x="3403" y="810"/>
                  </a:lnTo>
                  <a:lnTo>
                    <a:pt x="3405" y="812"/>
                  </a:lnTo>
                  <a:lnTo>
                    <a:pt x="3405" y="812"/>
                  </a:lnTo>
                  <a:lnTo>
                    <a:pt x="3404" y="812"/>
                  </a:lnTo>
                  <a:lnTo>
                    <a:pt x="3402" y="811"/>
                  </a:lnTo>
                  <a:lnTo>
                    <a:pt x="3400" y="811"/>
                  </a:lnTo>
                  <a:lnTo>
                    <a:pt x="3396" y="813"/>
                  </a:lnTo>
                  <a:lnTo>
                    <a:pt x="3396" y="814"/>
                  </a:lnTo>
                  <a:lnTo>
                    <a:pt x="3395" y="816"/>
                  </a:lnTo>
                  <a:lnTo>
                    <a:pt x="3395" y="818"/>
                  </a:lnTo>
                  <a:lnTo>
                    <a:pt x="3394" y="820"/>
                  </a:lnTo>
                  <a:lnTo>
                    <a:pt x="3396" y="821"/>
                  </a:lnTo>
                  <a:lnTo>
                    <a:pt x="3400" y="821"/>
                  </a:lnTo>
                  <a:lnTo>
                    <a:pt x="3396" y="822"/>
                  </a:lnTo>
                  <a:lnTo>
                    <a:pt x="3396" y="823"/>
                  </a:lnTo>
                  <a:lnTo>
                    <a:pt x="3398" y="825"/>
                  </a:lnTo>
                  <a:lnTo>
                    <a:pt x="3401" y="826"/>
                  </a:lnTo>
                  <a:lnTo>
                    <a:pt x="3403" y="823"/>
                  </a:lnTo>
                  <a:lnTo>
                    <a:pt x="3403" y="827"/>
                  </a:lnTo>
                  <a:lnTo>
                    <a:pt x="3405" y="825"/>
                  </a:lnTo>
                  <a:lnTo>
                    <a:pt x="3405" y="822"/>
                  </a:lnTo>
                  <a:lnTo>
                    <a:pt x="3407" y="822"/>
                  </a:lnTo>
                  <a:lnTo>
                    <a:pt x="3410" y="825"/>
                  </a:lnTo>
                  <a:lnTo>
                    <a:pt x="3413" y="825"/>
                  </a:lnTo>
                  <a:lnTo>
                    <a:pt x="3415" y="823"/>
                  </a:lnTo>
                  <a:lnTo>
                    <a:pt x="3419" y="826"/>
                  </a:lnTo>
                  <a:lnTo>
                    <a:pt x="3420" y="825"/>
                  </a:lnTo>
                  <a:lnTo>
                    <a:pt x="3420" y="825"/>
                  </a:lnTo>
                  <a:lnTo>
                    <a:pt x="3420" y="827"/>
                  </a:lnTo>
                  <a:lnTo>
                    <a:pt x="3418" y="826"/>
                  </a:lnTo>
                  <a:lnTo>
                    <a:pt x="3418" y="827"/>
                  </a:lnTo>
                  <a:lnTo>
                    <a:pt x="3419" y="829"/>
                  </a:lnTo>
                  <a:lnTo>
                    <a:pt x="3420" y="831"/>
                  </a:lnTo>
                  <a:lnTo>
                    <a:pt x="3420" y="831"/>
                  </a:lnTo>
                  <a:lnTo>
                    <a:pt x="3421" y="835"/>
                  </a:lnTo>
                  <a:lnTo>
                    <a:pt x="3420" y="836"/>
                  </a:lnTo>
                  <a:lnTo>
                    <a:pt x="3422" y="836"/>
                  </a:lnTo>
                  <a:lnTo>
                    <a:pt x="3424" y="839"/>
                  </a:lnTo>
                  <a:lnTo>
                    <a:pt x="3422" y="842"/>
                  </a:lnTo>
                  <a:lnTo>
                    <a:pt x="3421" y="838"/>
                  </a:lnTo>
                  <a:lnTo>
                    <a:pt x="3418" y="839"/>
                  </a:lnTo>
                  <a:lnTo>
                    <a:pt x="3415" y="840"/>
                  </a:lnTo>
                  <a:lnTo>
                    <a:pt x="3413" y="840"/>
                  </a:lnTo>
                  <a:lnTo>
                    <a:pt x="3413" y="843"/>
                  </a:lnTo>
                  <a:lnTo>
                    <a:pt x="3414" y="843"/>
                  </a:lnTo>
                  <a:lnTo>
                    <a:pt x="3417" y="844"/>
                  </a:lnTo>
                  <a:lnTo>
                    <a:pt x="3419" y="846"/>
                  </a:lnTo>
                  <a:lnTo>
                    <a:pt x="3418" y="849"/>
                  </a:lnTo>
                  <a:lnTo>
                    <a:pt x="3418" y="852"/>
                  </a:lnTo>
                  <a:lnTo>
                    <a:pt x="3420" y="853"/>
                  </a:lnTo>
                  <a:lnTo>
                    <a:pt x="3419" y="854"/>
                  </a:lnTo>
                  <a:lnTo>
                    <a:pt x="3421" y="856"/>
                  </a:lnTo>
                  <a:lnTo>
                    <a:pt x="3418" y="859"/>
                  </a:lnTo>
                  <a:lnTo>
                    <a:pt x="3420" y="861"/>
                  </a:lnTo>
                  <a:lnTo>
                    <a:pt x="3417" y="862"/>
                  </a:lnTo>
                  <a:lnTo>
                    <a:pt x="3417" y="862"/>
                  </a:lnTo>
                  <a:lnTo>
                    <a:pt x="3415" y="865"/>
                  </a:lnTo>
                  <a:lnTo>
                    <a:pt x="3417" y="868"/>
                  </a:lnTo>
                  <a:lnTo>
                    <a:pt x="3413" y="866"/>
                  </a:lnTo>
                  <a:lnTo>
                    <a:pt x="3414" y="869"/>
                  </a:lnTo>
                  <a:lnTo>
                    <a:pt x="3415" y="871"/>
                  </a:lnTo>
                  <a:lnTo>
                    <a:pt x="3417" y="872"/>
                  </a:lnTo>
                  <a:lnTo>
                    <a:pt x="3419" y="872"/>
                  </a:lnTo>
                  <a:lnTo>
                    <a:pt x="3417" y="873"/>
                  </a:lnTo>
                  <a:lnTo>
                    <a:pt x="3417" y="876"/>
                  </a:lnTo>
                  <a:lnTo>
                    <a:pt x="3414" y="874"/>
                  </a:lnTo>
                  <a:lnTo>
                    <a:pt x="3417" y="877"/>
                  </a:lnTo>
                  <a:lnTo>
                    <a:pt x="3417" y="879"/>
                  </a:lnTo>
                  <a:lnTo>
                    <a:pt x="3419" y="879"/>
                  </a:lnTo>
                  <a:lnTo>
                    <a:pt x="3420" y="877"/>
                  </a:lnTo>
                  <a:lnTo>
                    <a:pt x="3423" y="877"/>
                  </a:lnTo>
                  <a:lnTo>
                    <a:pt x="3426" y="874"/>
                  </a:lnTo>
                  <a:lnTo>
                    <a:pt x="3428" y="873"/>
                  </a:lnTo>
                  <a:lnTo>
                    <a:pt x="3427" y="876"/>
                  </a:lnTo>
                  <a:lnTo>
                    <a:pt x="3429" y="878"/>
                  </a:lnTo>
                  <a:lnTo>
                    <a:pt x="3429" y="877"/>
                  </a:lnTo>
                  <a:lnTo>
                    <a:pt x="3430" y="876"/>
                  </a:lnTo>
                  <a:lnTo>
                    <a:pt x="3430" y="876"/>
                  </a:lnTo>
                  <a:lnTo>
                    <a:pt x="3429" y="872"/>
                  </a:lnTo>
                  <a:lnTo>
                    <a:pt x="3430" y="871"/>
                  </a:lnTo>
                  <a:lnTo>
                    <a:pt x="3431" y="874"/>
                  </a:lnTo>
                  <a:lnTo>
                    <a:pt x="3434" y="873"/>
                  </a:lnTo>
                  <a:lnTo>
                    <a:pt x="3431" y="871"/>
                  </a:lnTo>
                  <a:lnTo>
                    <a:pt x="3435" y="870"/>
                  </a:lnTo>
                  <a:lnTo>
                    <a:pt x="3436" y="870"/>
                  </a:lnTo>
                  <a:lnTo>
                    <a:pt x="3438" y="868"/>
                  </a:lnTo>
                  <a:lnTo>
                    <a:pt x="3439" y="871"/>
                  </a:lnTo>
                  <a:lnTo>
                    <a:pt x="3441" y="871"/>
                  </a:lnTo>
                  <a:lnTo>
                    <a:pt x="3443" y="872"/>
                  </a:lnTo>
                  <a:lnTo>
                    <a:pt x="3444" y="871"/>
                  </a:lnTo>
                  <a:lnTo>
                    <a:pt x="3444" y="869"/>
                  </a:lnTo>
                  <a:lnTo>
                    <a:pt x="3446" y="866"/>
                  </a:lnTo>
                  <a:lnTo>
                    <a:pt x="3448" y="868"/>
                  </a:lnTo>
                  <a:lnTo>
                    <a:pt x="3451" y="868"/>
                  </a:lnTo>
                  <a:lnTo>
                    <a:pt x="3451" y="866"/>
                  </a:lnTo>
                  <a:lnTo>
                    <a:pt x="3454" y="866"/>
                  </a:lnTo>
                  <a:lnTo>
                    <a:pt x="3455" y="866"/>
                  </a:lnTo>
                  <a:lnTo>
                    <a:pt x="3456" y="863"/>
                  </a:lnTo>
                  <a:lnTo>
                    <a:pt x="3456" y="861"/>
                  </a:lnTo>
                  <a:lnTo>
                    <a:pt x="3457" y="859"/>
                  </a:lnTo>
                  <a:lnTo>
                    <a:pt x="3458" y="856"/>
                  </a:lnTo>
                  <a:lnTo>
                    <a:pt x="3460" y="854"/>
                  </a:lnTo>
                  <a:lnTo>
                    <a:pt x="3457" y="854"/>
                  </a:lnTo>
                  <a:lnTo>
                    <a:pt x="3456" y="851"/>
                  </a:lnTo>
                  <a:lnTo>
                    <a:pt x="3456" y="848"/>
                  </a:lnTo>
                  <a:lnTo>
                    <a:pt x="3457" y="845"/>
                  </a:lnTo>
                  <a:lnTo>
                    <a:pt x="3457" y="843"/>
                  </a:lnTo>
                  <a:lnTo>
                    <a:pt x="3457" y="840"/>
                  </a:lnTo>
                  <a:lnTo>
                    <a:pt x="3457" y="837"/>
                  </a:lnTo>
                  <a:lnTo>
                    <a:pt x="3456" y="836"/>
                  </a:lnTo>
                  <a:lnTo>
                    <a:pt x="3455" y="833"/>
                  </a:lnTo>
                  <a:lnTo>
                    <a:pt x="3454" y="831"/>
                  </a:lnTo>
                  <a:lnTo>
                    <a:pt x="3451" y="826"/>
                  </a:lnTo>
                  <a:lnTo>
                    <a:pt x="3448" y="823"/>
                  </a:lnTo>
                  <a:lnTo>
                    <a:pt x="3447" y="820"/>
                  </a:lnTo>
                  <a:lnTo>
                    <a:pt x="3445" y="818"/>
                  </a:lnTo>
                  <a:lnTo>
                    <a:pt x="3445" y="817"/>
                  </a:lnTo>
                  <a:lnTo>
                    <a:pt x="3444" y="814"/>
                  </a:lnTo>
                  <a:lnTo>
                    <a:pt x="3443" y="812"/>
                  </a:lnTo>
                  <a:lnTo>
                    <a:pt x="3440" y="810"/>
                  </a:lnTo>
                  <a:lnTo>
                    <a:pt x="3437" y="808"/>
                  </a:lnTo>
                  <a:lnTo>
                    <a:pt x="3435" y="805"/>
                  </a:lnTo>
                  <a:lnTo>
                    <a:pt x="3432" y="804"/>
                  </a:lnTo>
                  <a:lnTo>
                    <a:pt x="3430" y="803"/>
                  </a:lnTo>
                  <a:lnTo>
                    <a:pt x="3429" y="802"/>
                  </a:lnTo>
                  <a:lnTo>
                    <a:pt x="3430" y="800"/>
                  </a:lnTo>
                  <a:lnTo>
                    <a:pt x="3430" y="800"/>
                  </a:lnTo>
                  <a:lnTo>
                    <a:pt x="3431" y="796"/>
                  </a:lnTo>
                  <a:lnTo>
                    <a:pt x="3431" y="794"/>
                  </a:lnTo>
                  <a:lnTo>
                    <a:pt x="3434" y="793"/>
                  </a:lnTo>
                  <a:lnTo>
                    <a:pt x="3437" y="791"/>
                  </a:lnTo>
                  <a:lnTo>
                    <a:pt x="3437" y="791"/>
                  </a:lnTo>
                  <a:lnTo>
                    <a:pt x="3439" y="789"/>
                  </a:lnTo>
                  <a:lnTo>
                    <a:pt x="3443" y="789"/>
                  </a:lnTo>
                  <a:lnTo>
                    <a:pt x="3445" y="787"/>
                  </a:lnTo>
                  <a:lnTo>
                    <a:pt x="3447" y="785"/>
                  </a:lnTo>
                  <a:lnTo>
                    <a:pt x="3451" y="784"/>
                  </a:lnTo>
                  <a:lnTo>
                    <a:pt x="3453" y="783"/>
                  </a:lnTo>
                  <a:lnTo>
                    <a:pt x="3454" y="780"/>
                  </a:lnTo>
                  <a:lnTo>
                    <a:pt x="3456" y="778"/>
                  </a:lnTo>
                  <a:lnTo>
                    <a:pt x="3458" y="777"/>
                  </a:lnTo>
                  <a:lnTo>
                    <a:pt x="3462" y="776"/>
                  </a:lnTo>
                  <a:lnTo>
                    <a:pt x="3461" y="772"/>
                  </a:lnTo>
                  <a:lnTo>
                    <a:pt x="3462" y="770"/>
                  </a:lnTo>
                  <a:lnTo>
                    <a:pt x="3462" y="769"/>
                  </a:lnTo>
                  <a:lnTo>
                    <a:pt x="3462" y="768"/>
                  </a:lnTo>
                  <a:lnTo>
                    <a:pt x="3461" y="765"/>
                  </a:lnTo>
                  <a:lnTo>
                    <a:pt x="3462" y="762"/>
                  </a:lnTo>
                  <a:lnTo>
                    <a:pt x="3463" y="759"/>
                  </a:lnTo>
                  <a:lnTo>
                    <a:pt x="3465" y="758"/>
                  </a:lnTo>
                  <a:lnTo>
                    <a:pt x="3465" y="758"/>
                  </a:lnTo>
                  <a:lnTo>
                    <a:pt x="3468" y="756"/>
                  </a:lnTo>
                  <a:lnTo>
                    <a:pt x="3470" y="753"/>
                  </a:lnTo>
                  <a:lnTo>
                    <a:pt x="3473" y="753"/>
                  </a:lnTo>
                  <a:lnTo>
                    <a:pt x="3474" y="753"/>
                  </a:lnTo>
                  <a:lnTo>
                    <a:pt x="3475" y="750"/>
                  </a:lnTo>
                  <a:lnTo>
                    <a:pt x="3474" y="748"/>
                  </a:lnTo>
                  <a:lnTo>
                    <a:pt x="3480" y="746"/>
                  </a:lnTo>
                  <a:lnTo>
                    <a:pt x="3483" y="744"/>
                  </a:lnTo>
                  <a:lnTo>
                    <a:pt x="3484" y="742"/>
                  </a:lnTo>
                  <a:lnTo>
                    <a:pt x="3487" y="740"/>
                  </a:lnTo>
                  <a:lnTo>
                    <a:pt x="3488" y="737"/>
                  </a:lnTo>
                  <a:lnTo>
                    <a:pt x="3489" y="736"/>
                  </a:lnTo>
                  <a:lnTo>
                    <a:pt x="3492" y="736"/>
                  </a:lnTo>
                  <a:lnTo>
                    <a:pt x="3490" y="739"/>
                  </a:lnTo>
                  <a:lnTo>
                    <a:pt x="3494" y="739"/>
                  </a:lnTo>
                  <a:lnTo>
                    <a:pt x="3496" y="736"/>
                  </a:lnTo>
                  <a:lnTo>
                    <a:pt x="3497" y="740"/>
                  </a:lnTo>
                  <a:lnTo>
                    <a:pt x="3496" y="742"/>
                  </a:lnTo>
                  <a:lnTo>
                    <a:pt x="3501" y="743"/>
                  </a:lnTo>
                  <a:lnTo>
                    <a:pt x="3506" y="744"/>
                  </a:lnTo>
                  <a:lnTo>
                    <a:pt x="3508" y="746"/>
                  </a:lnTo>
                  <a:lnTo>
                    <a:pt x="3514" y="744"/>
                  </a:lnTo>
                  <a:lnTo>
                    <a:pt x="3516" y="743"/>
                  </a:lnTo>
                  <a:lnTo>
                    <a:pt x="3518" y="743"/>
                  </a:lnTo>
                  <a:lnTo>
                    <a:pt x="3522" y="741"/>
                  </a:lnTo>
                  <a:lnTo>
                    <a:pt x="3524" y="740"/>
                  </a:lnTo>
                  <a:lnTo>
                    <a:pt x="3526" y="737"/>
                  </a:lnTo>
                  <a:lnTo>
                    <a:pt x="3528" y="737"/>
                  </a:lnTo>
                  <a:lnTo>
                    <a:pt x="3530" y="736"/>
                  </a:lnTo>
                  <a:lnTo>
                    <a:pt x="3531" y="735"/>
                  </a:lnTo>
                  <a:lnTo>
                    <a:pt x="3535" y="733"/>
                  </a:lnTo>
                  <a:lnTo>
                    <a:pt x="3537" y="729"/>
                  </a:lnTo>
                  <a:lnTo>
                    <a:pt x="3539" y="728"/>
                  </a:lnTo>
                  <a:lnTo>
                    <a:pt x="3539" y="728"/>
                  </a:lnTo>
                  <a:lnTo>
                    <a:pt x="3540" y="725"/>
                  </a:lnTo>
                  <a:lnTo>
                    <a:pt x="3542" y="723"/>
                  </a:lnTo>
                  <a:lnTo>
                    <a:pt x="3547" y="717"/>
                  </a:lnTo>
                  <a:lnTo>
                    <a:pt x="3549" y="716"/>
                  </a:lnTo>
                  <a:lnTo>
                    <a:pt x="3550" y="714"/>
                  </a:lnTo>
                  <a:lnTo>
                    <a:pt x="3552" y="711"/>
                  </a:lnTo>
                  <a:lnTo>
                    <a:pt x="3555" y="709"/>
                  </a:lnTo>
                  <a:lnTo>
                    <a:pt x="3556" y="708"/>
                  </a:lnTo>
                  <a:lnTo>
                    <a:pt x="3558" y="705"/>
                  </a:lnTo>
                  <a:lnTo>
                    <a:pt x="3564" y="700"/>
                  </a:lnTo>
                  <a:lnTo>
                    <a:pt x="3568" y="695"/>
                  </a:lnTo>
                  <a:lnTo>
                    <a:pt x="3575" y="688"/>
                  </a:lnTo>
                  <a:lnTo>
                    <a:pt x="3577" y="683"/>
                  </a:lnTo>
                  <a:lnTo>
                    <a:pt x="3577" y="682"/>
                  </a:lnTo>
                  <a:lnTo>
                    <a:pt x="3580" y="680"/>
                  </a:lnTo>
                  <a:lnTo>
                    <a:pt x="3580" y="677"/>
                  </a:lnTo>
                  <a:lnTo>
                    <a:pt x="3582" y="674"/>
                  </a:lnTo>
                  <a:lnTo>
                    <a:pt x="3586" y="668"/>
                  </a:lnTo>
                  <a:lnTo>
                    <a:pt x="3589" y="666"/>
                  </a:lnTo>
                  <a:lnTo>
                    <a:pt x="3590" y="664"/>
                  </a:lnTo>
                  <a:lnTo>
                    <a:pt x="3591" y="662"/>
                  </a:lnTo>
                  <a:lnTo>
                    <a:pt x="3593" y="658"/>
                  </a:lnTo>
                  <a:lnTo>
                    <a:pt x="3596" y="656"/>
                  </a:lnTo>
                  <a:lnTo>
                    <a:pt x="3598" y="654"/>
                  </a:lnTo>
                  <a:lnTo>
                    <a:pt x="3601" y="651"/>
                  </a:lnTo>
                  <a:lnTo>
                    <a:pt x="3602" y="650"/>
                  </a:lnTo>
                  <a:lnTo>
                    <a:pt x="3605" y="648"/>
                  </a:lnTo>
                  <a:lnTo>
                    <a:pt x="3605" y="643"/>
                  </a:lnTo>
                  <a:lnTo>
                    <a:pt x="3606" y="640"/>
                  </a:lnTo>
                  <a:lnTo>
                    <a:pt x="3606" y="638"/>
                  </a:lnTo>
                  <a:lnTo>
                    <a:pt x="3607" y="638"/>
                  </a:lnTo>
                  <a:lnTo>
                    <a:pt x="3607" y="635"/>
                  </a:lnTo>
                  <a:lnTo>
                    <a:pt x="3607" y="633"/>
                  </a:lnTo>
                  <a:lnTo>
                    <a:pt x="3607" y="633"/>
                  </a:lnTo>
                  <a:lnTo>
                    <a:pt x="3608" y="631"/>
                  </a:lnTo>
                  <a:lnTo>
                    <a:pt x="3609" y="628"/>
                  </a:lnTo>
                  <a:lnTo>
                    <a:pt x="3609" y="625"/>
                  </a:lnTo>
                  <a:lnTo>
                    <a:pt x="3608" y="623"/>
                  </a:lnTo>
                  <a:lnTo>
                    <a:pt x="3609" y="621"/>
                  </a:lnTo>
                  <a:lnTo>
                    <a:pt x="3609" y="618"/>
                  </a:lnTo>
                  <a:lnTo>
                    <a:pt x="3609" y="615"/>
                  </a:lnTo>
                  <a:lnTo>
                    <a:pt x="3609" y="613"/>
                  </a:lnTo>
                  <a:lnTo>
                    <a:pt x="3609" y="612"/>
                  </a:lnTo>
                  <a:lnTo>
                    <a:pt x="3608" y="607"/>
                  </a:lnTo>
                  <a:lnTo>
                    <a:pt x="3611" y="601"/>
                  </a:lnTo>
                  <a:lnTo>
                    <a:pt x="3611" y="599"/>
                  </a:lnTo>
                  <a:lnTo>
                    <a:pt x="3614" y="597"/>
                  </a:lnTo>
                  <a:lnTo>
                    <a:pt x="3615" y="594"/>
                  </a:lnTo>
                  <a:lnTo>
                    <a:pt x="3615" y="591"/>
                  </a:lnTo>
                  <a:lnTo>
                    <a:pt x="3618" y="589"/>
                  </a:lnTo>
                  <a:lnTo>
                    <a:pt x="3620" y="587"/>
                  </a:lnTo>
                  <a:lnTo>
                    <a:pt x="3620" y="583"/>
                  </a:lnTo>
                  <a:lnTo>
                    <a:pt x="3623" y="581"/>
                  </a:lnTo>
                  <a:lnTo>
                    <a:pt x="3623" y="580"/>
                  </a:lnTo>
                  <a:lnTo>
                    <a:pt x="3620" y="579"/>
                  </a:lnTo>
                  <a:lnTo>
                    <a:pt x="3617" y="578"/>
                  </a:lnTo>
                  <a:lnTo>
                    <a:pt x="3619" y="574"/>
                  </a:lnTo>
                  <a:lnTo>
                    <a:pt x="3619" y="572"/>
                  </a:lnTo>
                  <a:lnTo>
                    <a:pt x="3619" y="570"/>
                  </a:lnTo>
                  <a:lnTo>
                    <a:pt x="3611" y="564"/>
                  </a:lnTo>
                  <a:lnTo>
                    <a:pt x="3617" y="566"/>
                  </a:lnTo>
                  <a:lnTo>
                    <a:pt x="3619" y="564"/>
                  </a:lnTo>
                  <a:lnTo>
                    <a:pt x="3620" y="562"/>
                  </a:lnTo>
                  <a:lnTo>
                    <a:pt x="3618" y="560"/>
                  </a:lnTo>
                  <a:lnTo>
                    <a:pt x="3616" y="558"/>
                  </a:lnTo>
                  <a:lnTo>
                    <a:pt x="3612" y="555"/>
                  </a:lnTo>
                  <a:lnTo>
                    <a:pt x="3609" y="554"/>
                  </a:lnTo>
                  <a:lnTo>
                    <a:pt x="3607" y="552"/>
                  </a:lnTo>
                  <a:lnTo>
                    <a:pt x="3606" y="548"/>
                  </a:lnTo>
                  <a:lnTo>
                    <a:pt x="3605" y="546"/>
                  </a:lnTo>
                  <a:lnTo>
                    <a:pt x="3602" y="545"/>
                  </a:lnTo>
                  <a:lnTo>
                    <a:pt x="3599" y="543"/>
                  </a:lnTo>
                  <a:lnTo>
                    <a:pt x="3597" y="543"/>
                  </a:lnTo>
                  <a:lnTo>
                    <a:pt x="3593" y="544"/>
                  </a:lnTo>
                  <a:lnTo>
                    <a:pt x="3591" y="544"/>
                  </a:lnTo>
                  <a:lnTo>
                    <a:pt x="3588" y="543"/>
                  </a:lnTo>
                  <a:lnTo>
                    <a:pt x="3585" y="541"/>
                  </a:lnTo>
                  <a:lnTo>
                    <a:pt x="3584" y="545"/>
                  </a:lnTo>
                  <a:lnTo>
                    <a:pt x="3585" y="547"/>
                  </a:lnTo>
                  <a:lnTo>
                    <a:pt x="3584" y="549"/>
                  </a:lnTo>
                  <a:lnTo>
                    <a:pt x="3583" y="553"/>
                  </a:lnTo>
                  <a:lnTo>
                    <a:pt x="3582" y="555"/>
                  </a:lnTo>
                  <a:lnTo>
                    <a:pt x="3579" y="556"/>
                  </a:lnTo>
                  <a:lnTo>
                    <a:pt x="3580" y="554"/>
                  </a:lnTo>
                  <a:lnTo>
                    <a:pt x="3582" y="551"/>
                  </a:lnTo>
                  <a:lnTo>
                    <a:pt x="3582" y="548"/>
                  </a:lnTo>
                  <a:lnTo>
                    <a:pt x="3580" y="549"/>
                  </a:lnTo>
                  <a:lnTo>
                    <a:pt x="3579" y="552"/>
                  </a:lnTo>
                  <a:lnTo>
                    <a:pt x="3573" y="555"/>
                  </a:lnTo>
                  <a:lnTo>
                    <a:pt x="3568" y="556"/>
                  </a:lnTo>
                  <a:lnTo>
                    <a:pt x="3568" y="556"/>
                  </a:lnTo>
                  <a:lnTo>
                    <a:pt x="3565" y="556"/>
                  </a:lnTo>
                  <a:lnTo>
                    <a:pt x="3567" y="553"/>
                  </a:lnTo>
                  <a:lnTo>
                    <a:pt x="3568" y="551"/>
                  </a:lnTo>
                  <a:lnTo>
                    <a:pt x="3572" y="549"/>
                  </a:lnTo>
                  <a:lnTo>
                    <a:pt x="3568" y="548"/>
                  </a:lnTo>
                  <a:lnTo>
                    <a:pt x="3566" y="547"/>
                  </a:lnTo>
                  <a:lnTo>
                    <a:pt x="3568" y="544"/>
                  </a:lnTo>
                  <a:lnTo>
                    <a:pt x="3571" y="541"/>
                  </a:lnTo>
                  <a:lnTo>
                    <a:pt x="3567" y="541"/>
                  </a:lnTo>
                  <a:lnTo>
                    <a:pt x="3565" y="543"/>
                  </a:lnTo>
                  <a:lnTo>
                    <a:pt x="3562" y="545"/>
                  </a:lnTo>
                  <a:lnTo>
                    <a:pt x="3565" y="546"/>
                  </a:lnTo>
                  <a:lnTo>
                    <a:pt x="3564" y="549"/>
                  </a:lnTo>
                  <a:lnTo>
                    <a:pt x="3560" y="551"/>
                  </a:lnTo>
                  <a:lnTo>
                    <a:pt x="3558" y="552"/>
                  </a:lnTo>
                  <a:lnTo>
                    <a:pt x="3558" y="552"/>
                  </a:lnTo>
                  <a:lnTo>
                    <a:pt x="3556" y="548"/>
                  </a:lnTo>
                  <a:lnTo>
                    <a:pt x="3558" y="546"/>
                  </a:lnTo>
                  <a:lnTo>
                    <a:pt x="3557" y="540"/>
                  </a:lnTo>
                  <a:lnTo>
                    <a:pt x="3558" y="538"/>
                  </a:lnTo>
                  <a:lnTo>
                    <a:pt x="3558" y="536"/>
                  </a:lnTo>
                  <a:lnTo>
                    <a:pt x="3556" y="535"/>
                  </a:lnTo>
                  <a:lnTo>
                    <a:pt x="3552" y="536"/>
                  </a:lnTo>
                  <a:lnTo>
                    <a:pt x="3550" y="536"/>
                  </a:lnTo>
                  <a:lnTo>
                    <a:pt x="3545" y="537"/>
                  </a:lnTo>
                  <a:lnTo>
                    <a:pt x="3542" y="535"/>
                  </a:lnTo>
                  <a:lnTo>
                    <a:pt x="3539" y="535"/>
                  </a:lnTo>
                  <a:lnTo>
                    <a:pt x="3537" y="534"/>
                  </a:lnTo>
                  <a:lnTo>
                    <a:pt x="3535" y="531"/>
                  </a:lnTo>
                  <a:lnTo>
                    <a:pt x="3538" y="529"/>
                  </a:lnTo>
                  <a:lnTo>
                    <a:pt x="3541" y="527"/>
                  </a:lnTo>
                  <a:lnTo>
                    <a:pt x="3543" y="526"/>
                  </a:lnTo>
                  <a:lnTo>
                    <a:pt x="3549" y="522"/>
                  </a:lnTo>
                  <a:lnTo>
                    <a:pt x="3551" y="520"/>
                  </a:lnTo>
                  <a:lnTo>
                    <a:pt x="3554" y="518"/>
                  </a:lnTo>
                  <a:lnTo>
                    <a:pt x="3556" y="517"/>
                  </a:lnTo>
                  <a:lnTo>
                    <a:pt x="3559" y="514"/>
                  </a:lnTo>
                  <a:lnTo>
                    <a:pt x="3562" y="513"/>
                  </a:lnTo>
                  <a:lnTo>
                    <a:pt x="3566" y="510"/>
                  </a:lnTo>
                  <a:lnTo>
                    <a:pt x="3567" y="509"/>
                  </a:lnTo>
                  <a:lnTo>
                    <a:pt x="3569" y="506"/>
                  </a:lnTo>
                  <a:lnTo>
                    <a:pt x="3575" y="502"/>
                  </a:lnTo>
                  <a:lnTo>
                    <a:pt x="3577" y="501"/>
                  </a:lnTo>
                  <a:lnTo>
                    <a:pt x="3576" y="497"/>
                  </a:lnTo>
                  <a:lnTo>
                    <a:pt x="3580" y="495"/>
                  </a:lnTo>
                  <a:lnTo>
                    <a:pt x="3580" y="494"/>
                  </a:lnTo>
                  <a:lnTo>
                    <a:pt x="3585" y="491"/>
                  </a:lnTo>
                  <a:lnTo>
                    <a:pt x="3588" y="488"/>
                  </a:lnTo>
                  <a:lnTo>
                    <a:pt x="3590" y="486"/>
                  </a:lnTo>
                  <a:lnTo>
                    <a:pt x="3592" y="484"/>
                  </a:lnTo>
                  <a:lnTo>
                    <a:pt x="3594" y="484"/>
                  </a:lnTo>
                  <a:lnTo>
                    <a:pt x="3598" y="480"/>
                  </a:lnTo>
                  <a:lnTo>
                    <a:pt x="3600" y="479"/>
                  </a:lnTo>
                  <a:lnTo>
                    <a:pt x="3602" y="476"/>
                  </a:lnTo>
                  <a:lnTo>
                    <a:pt x="3608" y="475"/>
                  </a:lnTo>
                  <a:lnTo>
                    <a:pt x="3609" y="471"/>
                  </a:lnTo>
                  <a:lnTo>
                    <a:pt x="3610" y="469"/>
                  </a:lnTo>
                  <a:lnTo>
                    <a:pt x="3611" y="466"/>
                  </a:lnTo>
                  <a:lnTo>
                    <a:pt x="3614" y="463"/>
                  </a:lnTo>
                  <a:lnTo>
                    <a:pt x="3616" y="461"/>
                  </a:lnTo>
                  <a:lnTo>
                    <a:pt x="3619" y="461"/>
                  </a:lnTo>
                  <a:lnTo>
                    <a:pt x="3625" y="457"/>
                  </a:lnTo>
                  <a:lnTo>
                    <a:pt x="3627" y="454"/>
                  </a:lnTo>
                  <a:lnTo>
                    <a:pt x="3628" y="451"/>
                  </a:lnTo>
                  <a:lnTo>
                    <a:pt x="3631" y="449"/>
                  </a:lnTo>
                  <a:lnTo>
                    <a:pt x="3636" y="445"/>
                  </a:lnTo>
                  <a:lnTo>
                    <a:pt x="3642" y="444"/>
                  </a:lnTo>
                  <a:lnTo>
                    <a:pt x="3645" y="443"/>
                  </a:lnTo>
                  <a:lnTo>
                    <a:pt x="3645" y="443"/>
                  </a:lnTo>
                  <a:lnTo>
                    <a:pt x="3649" y="443"/>
                  </a:lnTo>
                  <a:lnTo>
                    <a:pt x="3651" y="443"/>
                  </a:lnTo>
                  <a:lnTo>
                    <a:pt x="3651" y="443"/>
                  </a:lnTo>
                  <a:lnTo>
                    <a:pt x="3657" y="442"/>
                  </a:lnTo>
                  <a:lnTo>
                    <a:pt x="3660" y="442"/>
                  </a:lnTo>
                  <a:lnTo>
                    <a:pt x="3662" y="442"/>
                  </a:lnTo>
                  <a:lnTo>
                    <a:pt x="3665" y="443"/>
                  </a:lnTo>
                  <a:lnTo>
                    <a:pt x="3670" y="443"/>
                  </a:lnTo>
                  <a:lnTo>
                    <a:pt x="3673" y="442"/>
                  </a:lnTo>
                  <a:lnTo>
                    <a:pt x="3676" y="442"/>
                  </a:lnTo>
                  <a:lnTo>
                    <a:pt x="3678" y="442"/>
                  </a:lnTo>
                  <a:lnTo>
                    <a:pt x="3682" y="442"/>
                  </a:lnTo>
                  <a:lnTo>
                    <a:pt x="3682" y="445"/>
                  </a:lnTo>
                  <a:lnTo>
                    <a:pt x="3684" y="447"/>
                  </a:lnTo>
                  <a:lnTo>
                    <a:pt x="3686" y="446"/>
                  </a:lnTo>
                  <a:lnTo>
                    <a:pt x="3688" y="443"/>
                  </a:lnTo>
                  <a:lnTo>
                    <a:pt x="3691" y="441"/>
                  </a:lnTo>
                  <a:lnTo>
                    <a:pt x="3694" y="443"/>
                  </a:lnTo>
                  <a:lnTo>
                    <a:pt x="3696" y="443"/>
                  </a:lnTo>
                  <a:lnTo>
                    <a:pt x="3702" y="444"/>
                  </a:lnTo>
                  <a:lnTo>
                    <a:pt x="3704" y="445"/>
                  </a:lnTo>
                  <a:lnTo>
                    <a:pt x="3708" y="444"/>
                  </a:lnTo>
                  <a:lnTo>
                    <a:pt x="3710" y="442"/>
                  </a:lnTo>
                  <a:lnTo>
                    <a:pt x="3712" y="442"/>
                  </a:lnTo>
                  <a:lnTo>
                    <a:pt x="3716" y="442"/>
                  </a:lnTo>
                  <a:lnTo>
                    <a:pt x="3717" y="444"/>
                  </a:lnTo>
                  <a:lnTo>
                    <a:pt x="3720" y="445"/>
                  </a:lnTo>
                  <a:lnTo>
                    <a:pt x="3722" y="444"/>
                  </a:lnTo>
                  <a:lnTo>
                    <a:pt x="3721" y="442"/>
                  </a:lnTo>
                  <a:lnTo>
                    <a:pt x="3722" y="440"/>
                  </a:lnTo>
                  <a:lnTo>
                    <a:pt x="3726" y="441"/>
                  </a:lnTo>
                  <a:lnTo>
                    <a:pt x="3726" y="437"/>
                  </a:lnTo>
                  <a:lnTo>
                    <a:pt x="3728" y="436"/>
                  </a:lnTo>
                  <a:lnTo>
                    <a:pt x="3731" y="435"/>
                  </a:lnTo>
                  <a:lnTo>
                    <a:pt x="3734" y="435"/>
                  </a:lnTo>
                  <a:lnTo>
                    <a:pt x="3737" y="435"/>
                  </a:lnTo>
                  <a:lnTo>
                    <a:pt x="3738" y="436"/>
                  </a:lnTo>
                  <a:lnTo>
                    <a:pt x="3740" y="436"/>
                  </a:lnTo>
                  <a:lnTo>
                    <a:pt x="3743" y="437"/>
                  </a:lnTo>
                  <a:lnTo>
                    <a:pt x="3746" y="438"/>
                  </a:lnTo>
                  <a:lnTo>
                    <a:pt x="3748" y="440"/>
                  </a:lnTo>
                  <a:lnTo>
                    <a:pt x="3746" y="440"/>
                  </a:lnTo>
                  <a:lnTo>
                    <a:pt x="3748" y="441"/>
                  </a:lnTo>
                  <a:lnTo>
                    <a:pt x="3751" y="441"/>
                  </a:lnTo>
                  <a:lnTo>
                    <a:pt x="3753" y="438"/>
                  </a:lnTo>
                  <a:lnTo>
                    <a:pt x="3756" y="438"/>
                  </a:lnTo>
                  <a:lnTo>
                    <a:pt x="3759" y="440"/>
                  </a:lnTo>
                  <a:lnTo>
                    <a:pt x="3761" y="442"/>
                  </a:lnTo>
                  <a:lnTo>
                    <a:pt x="3762" y="444"/>
                  </a:lnTo>
                  <a:lnTo>
                    <a:pt x="3764" y="444"/>
                  </a:lnTo>
                  <a:lnTo>
                    <a:pt x="3768" y="446"/>
                  </a:lnTo>
                  <a:lnTo>
                    <a:pt x="3762" y="447"/>
                  </a:lnTo>
                  <a:lnTo>
                    <a:pt x="3760" y="447"/>
                  </a:lnTo>
                  <a:lnTo>
                    <a:pt x="3756" y="447"/>
                  </a:lnTo>
                  <a:lnTo>
                    <a:pt x="3754" y="447"/>
                  </a:lnTo>
                  <a:lnTo>
                    <a:pt x="3755" y="451"/>
                  </a:lnTo>
                  <a:lnTo>
                    <a:pt x="3756" y="453"/>
                  </a:lnTo>
                  <a:lnTo>
                    <a:pt x="3761" y="453"/>
                  </a:lnTo>
                  <a:lnTo>
                    <a:pt x="3762" y="453"/>
                  </a:lnTo>
                  <a:lnTo>
                    <a:pt x="3765" y="452"/>
                  </a:lnTo>
                  <a:lnTo>
                    <a:pt x="3768" y="451"/>
                  </a:lnTo>
                  <a:lnTo>
                    <a:pt x="3770" y="450"/>
                  </a:lnTo>
                  <a:lnTo>
                    <a:pt x="3776" y="452"/>
                  </a:lnTo>
                  <a:lnTo>
                    <a:pt x="3779" y="451"/>
                  </a:lnTo>
                  <a:lnTo>
                    <a:pt x="3781" y="449"/>
                  </a:lnTo>
                  <a:lnTo>
                    <a:pt x="3785" y="449"/>
                  </a:lnTo>
                  <a:lnTo>
                    <a:pt x="3785" y="445"/>
                  </a:lnTo>
                  <a:lnTo>
                    <a:pt x="3788" y="446"/>
                  </a:lnTo>
                  <a:lnTo>
                    <a:pt x="3790" y="446"/>
                  </a:lnTo>
                  <a:lnTo>
                    <a:pt x="3793" y="449"/>
                  </a:lnTo>
                  <a:lnTo>
                    <a:pt x="3796" y="449"/>
                  </a:lnTo>
                  <a:lnTo>
                    <a:pt x="3798" y="446"/>
                  </a:lnTo>
                  <a:lnTo>
                    <a:pt x="3802" y="446"/>
                  </a:lnTo>
                  <a:lnTo>
                    <a:pt x="3807" y="446"/>
                  </a:lnTo>
                  <a:lnTo>
                    <a:pt x="3810" y="445"/>
                  </a:lnTo>
                  <a:lnTo>
                    <a:pt x="3808" y="442"/>
                  </a:lnTo>
                  <a:lnTo>
                    <a:pt x="3806" y="441"/>
                  </a:lnTo>
                  <a:lnTo>
                    <a:pt x="3803" y="440"/>
                  </a:lnTo>
                  <a:lnTo>
                    <a:pt x="3801" y="441"/>
                  </a:lnTo>
                  <a:lnTo>
                    <a:pt x="3798" y="441"/>
                  </a:lnTo>
                  <a:lnTo>
                    <a:pt x="3795" y="440"/>
                  </a:lnTo>
                  <a:lnTo>
                    <a:pt x="3798" y="437"/>
                  </a:lnTo>
                  <a:lnTo>
                    <a:pt x="3797" y="435"/>
                  </a:lnTo>
                  <a:lnTo>
                    <a:pt x="3797" y="432"/>
                  </a:lnTo>
                  <a:lnTo>
                    <a:pt x="3799" y="433"/>
                  </a:lnTo>
                  <a:lnTo>
                    <a:pt x="3801" y="429"/>
                  </a:lnTo>
                  <a:lnTo>
                    <a:pt x="3802" y="427"/>
                  </a:lnTo>
                  <a:lnTo>
                    <a:pt x="3804" y="425"/>
                  </a:lnTo>
                  <a:lnTo>
                    <a:pt x="3807" y="423"/>
                  </a:lnTo>
                  <a:lnTo>
                    <a:pt x="3813" y="419"/>
                  </a:lnTo>
                  <a:lnTo>
                    <a:pt x="3815" y="417"/>
                  </a:lnTo>
                  <a:lnTo>
                    <a:pt x="3819" y="416"/>
                  </a:lnTo>
                  <a:lnTo>
                    <a:pt x="3821" y="410"/>
                  </a:lnTo>
                  <a:lnTo>
                    <a:pt x="3824" y="408"/>
                  </a:lnTo>
                  <a:lnTo>
                    <a:pt x="3827" y="406"/>
                  </a:lnTo>
                  <a:lnTo>
                    <a:pt x="3830" y="404"/>
                  </a:lnTo>
                  <a:lnTo>
                    <a:pt x="3830" y="402"/>
                  </a:lnTo>
                  <a:lnTo>
                    <a:pt x="3830" y="399"/>
                  </a:lnTo>
                  <a:lnTo>
                    <a:pt x="3833" y="398"/>
                  </a:lnTo>
                  <a:lnTo>
                    <a:pt x="3836" y="395"/>
                  </a:lnTo>
                  <a:lnTo>
                    <a:pt x="3838" y="394"/>
                  </a:lnTo>
                  <a:lnTo>
                    <a:pt x="3841" y="392"/>
                  </a:lnTo>
                  <a:lnTo>
                    <a:pt x="3847" y="393"/>
                  </a:lnTo>
                  <a:lnTo>
                    <a:pt x="3849" y="394"/>
                  </a:lnTo>
                  <a:lnTo>
                    <a:pt x="3852" y="392"/>
                  </a:lnTo>
                  <a:lnTo>
                    <a:pt x="3855" y="392"/>
                  </a:lnTo>
                  <a:lnTo>
                    <a:pt x="3859" y="392"/>
                  </a:lnTo>
                  <a:lnTo>
                    <a:pt x="3863" y="390"/>
                  </a:lnTo>
                  <a:lnTo>
                    <a:pt x="3865" y="390"/>
                  </a:lnTo>
                  <a:lnTo>
                    <a:pt x="3867" y="392"/>
                  </a:lnTo>
                  <a:lnTo>
                    <a:pt x="3870" y="395"/>
                  </a:lnTo>
                  <a:lnTo>
                    <a:pt x="3872" y="394"/>
                  </a:lnTo>
                  <a:lnTo>
                    <a:pt x="3879" y="390"/>
                  </a:lnTo>
                  <a:lnTo>
                    <a:pt x="3881" y="393"/>
                  </a:lnTo>
                  <a:lnTo>
                    <a:pt x="3876" y="401"/>
                  </a:lnTo>
                  <a:lnTo>
                    <a:pt x="3875" y="401"/>
                  </a:lnTo>
                  <a:lnTo>
                    <a:pt x="3873" y="403"/>
                  </a:lnTo>
                  <a:lnTo>
                    <a:pt x="3875" y="406"/>
                  </a:lnTo>
                  <a:lnTo>
                    <a:pt x="3874" y="409"/>
                  </a:lnTo>
                  <a:lnTo>
                    <a:pt x="3875" y="409"/>
                  </a:lnTo>
                  <a:lnTo>
                    <a:pt x="3879" y="408"/>
                  </a:lnTo>
                  <a:lnTo>
                    <a:pt x="3881" y="408"/>
                  </a:lnTo>
                  <a:lnTo>
                    <a:pt x="3881" y="411"/>
                  </a:lnTo>
                  <a:lnTo>
                    <a:pt x="3879" y="414"/>
                  </a:lnTo>
                  <a:lnTo>
                    <a:pt x="3878" y="416"/>
                  </a:lnTo>
                  <a:lnTo>
                    <a:pt x="3880" y="416"/>
                  </a:lnTo>
                  <a:lnTo>
                    <a:pt x="3883" y="415"/>
                  </a:lnTo>
                  <a:lnTo>
                    <a:pt x="3885" y="415"/>
                  </a:lnTo>
                  <a:lnTo>
                    <a:pt x="3888" y="411"/>
                  </a:lnTo>
                  <a:lnTo>
                    <a:pt x="3893" y="408"/>
                  </a:lnTo>
                  <a:lnTo>
                    <a:pt x="3896" y="404"/>
                  </a:lnTo>
                  <a:lnTo>
                    <a:pt x="3901" y="401"/>
                  </a:lnTo>
                  <a:lnTo>
                    <a:pt x="3905" y="400"/>
                  </a:lnTo>
                  <a:lnTo>
                    <a:pt x="3907" y="397"/>
                  </a:lnTo>
                  <a:lnTo>
                    <a:pt x="3909" y="395"/>
                  </a:lnTo>
                  <a:lnTo>
                    <a:pt x="3910" y="395"/>
                  </a:lnTo>
                  <a:lnTo>
                    <a:pt x="3913" y="397"/>
                  </a:lnTo>
                  <a:lnTo>
                    <a:pt x="3916" y="394"/>
                  </a:lnTo>
                  <a:lnTo>
                    <a:pt x="3916" y="398"/>
                  </a:lnTo>
                  <a:lnTo>
                    <a:pt x="3919" y="397"/>
                  </a:lnTo>
                  <a:lnTo>
                    <a:pt x="3919" y="393"/>
                  </a:lnTo>
                  <a:lnTo>
                    <a:pt x="3916" y="393"/>
                  </a:lnTo>
                  <a:lnTo>
                    <a:pt x="3917" y="390"/>
                  </a:lnTo>
                  <a:lnTo>
                    <a:pt x="3918" y="387"/>
                  </a:lnTo>
                  <a:lnTo>
                    <a:pt x="3918" y="384"/>
                  </a:lnTo>
                  <a:lnTo>
                    <a:pt x="3918" y="382"/>
                  </a:lnTo>
                  <a:lnTo>
                    <a:pt x="3922" y="381"/>
                  </a:lnTo>
                  <a:lnTo>
                    <a:pt x="3919" y="378"/>
                  </a:lnTo>
                  <a:lnTo>
                    <a:pt x="3923" y="376"/>
                  </a:lnTo>
                  <a:lnTo>
                    <a:pt x="3925" y="375"/>
                  </a:lnTo>
                  <a:lnTo>
                    <a:pt x="3929" y="375"/>
                  </a:lnTo>
                  <a:lnTo>
                    <a:pt x="3931" y="374"/>
                  </a:lnTo>
                  <a:lnTo>
                    <a:pt x="3934" y="374"/>
                  </a:lnTo>
                  <a:lnTo>
                    <a:pt x="3936" y="374"/>
                  </a:lnTo>
                  <a:lnTo>
                    <a:pt x="3939" y="375"/>
                  </a:lnTo>
                  <a:lnTo>
                    <a:pt x="3942" y="376"/>
                  </a:lnTo>
                  <a:lnTo>
                    <a:pt x="3944" y="377"/>
                  </a:lnTo>
                  <a:lnTo>
                    <a:pt x="3950" y="378"/>
                  </a:lnTo>
                  <a:lnTo>
                    <a:pt x="3952" y="378"/>
                  </a:lnTo>
                  <a:lnTo>
                    <a:pt x="3953" y="378"/>
                  </a:lnTo>
                  <a:lnTo>
                    <a:pt x="3952" y="378"/>
                  </a:lnTo>
                  <a:lnTo>
                    <a:pt x="3948" y="378"/>
                  </a:lnTo>
                  <a:lnTo>
                    <a:pt x="3948" y="381"/>
                  </a:lnTo>
                  <a:lnTo>
                    <a:pt x="3946" y="380"/>
                  </a:lnTo>
                  <a:lnTo>
                    <a:pt x="3942" y="380"/>
                  </a:lnTo>
                  <a:lnTo>
                    <a:pt x="3940" y="378"/>
                  </a:lnTo>
                  <a:lnTo>
                    <a:pt x="3938" y="378"/>
                  </a:lnTo>
                  <a:lnTo>
                    <a:pt x="3934" y="381"/>
                  </a:lnTo>
                  <a:lnTo>
                    <a:pt x="3932" y="383"/>
                  </a:lnTo>
                  <a:lnTo>
                    <a:pt x="3932" y="385"/>
                  </a:lnTo>
                  <a:lnTo>
                    <a:pt x="3931" y="389"/>
                  </a:lnTo>
                  <a:lnTo>
                    <a:pt x="3931" y="394"/>
                  </a:lnTo>
                  <a:lnTo>
                    <a:pt x="3929" y="395"/>
                  </a:lnTo>
                  <a:lnTo>
                    <a:pt x="3927" y="399"/>
                  </a:lnTo>
                  <a:lnTo>
                    <a:pt x="3930" y="401"/>
                  </a:lnTo>
                  <a:lnTo>
                    <a:pt x="3930" y="403"/>
                  </a:lnTo>
                  <a:lnTo>
                    <a:pt x="3927" y="406"/>
                  </a:lnTo>
                  <a:lnTo>
                    <a:pt x="3924" y="408"/>
                  </a:lnTo>
                  <a:lnTo>
                    <a:pt x="3927" y="410"/>
                  </a:lnTo>
                  <a:lnTo>
                    <a:pt x="3922" y="414"/>
                  </a:lnTo>
                  <a:lnTo>
                    <a:pt x="3919" y="414"/>
                  </a:lnTo>
                  <a:lnTo>
                    <a:pt x="3916" y="414"/>
                  </a:lnTo>
                  <a:lnTo>
                    <a:pt x="3914" y="417"/>
                  </a:lnTo>
                  <a:lnTo>
                    <a:pt x="3910" y="417"/>
                  </a:lnTo>
                  <a:lnTo>
                    <a:pt x="3908" y="418"/>
                  </a:lnTo>
                  <a:lnTo>
                    <a:pt x="3906" y="419"/>
                  </a:lnTo>
                  <a:lnTo>
                    <a:pt x="3902" y="420"/>
                  </a:lnTo>
                  <a:lnTo>
                    <a:pt x="3902" y="424"/>
                  </a:lnTo>
                  <a:lnTo>
                    <a:pt x="3900" y="426"/>
                  </a:lnTo>
                  <a:lnTo>
                    <a:pt x="3898" y="428"/>
                  </a:lnTo>
                  <a:lnTo>
                    <a:pt x="3895" y="429"/>
                  </a:lnTo>
                  <a:lnTo>
                    <a:pt x="3893" y="433"/>
                  </a:lnTo>
                  <a:lnTo>
                    <a:pt x="3890" y="435"/>
                  </a:lnTo>
                  <a:lnTo>
                    <a:pt x="3888" y="437"/>
                  </a:lnTo>
                  <a:lnTo>
                    <a:pt x="3885" y="438"/>
                  </a:lnTo>
                  <a:lnTo>
                    <a:pt x="3882" y="440"/>
                  </a:lnTo>
                  <a:lnTo>
                    <a:pt x="3881" y="442"/>
                  </a:lnTo>
                  <a:lnTo>
                    <a:pt x="3879" y="444"/>
                  </a:lnTo>
                  <a:lnTo>
                    <a:pt x="3875" y="446"/>
                  </a:lnTo>
                  <a:lnTo>
                    <a:pt x="3873" y="449"/>
                  </a:lnTo>
                  <a:lnTo>
                    <a:pt x="3873" y="451"/>
                  </a:lnTo>
                  <a:lnTo>
                    <a:pt x="3871" y="453"/>
                  </a:lnTo>
                  <a:lnTo>
                    <a:pt x="3868" y="457"/>
                  </a:lnTo>
                  <a:lnTo>
                    <a:pt x="3865" y="459"/>
                  </a:lnTo>
                  <a:lnTo>
                    <a:pt x="3863" y="461"/>
                  </a:lnTo>
                  <a:lnTo>
                    <a:pt x="3861" y="463"/>
                  </a:lnTo>
                  <a:lnTo>
                    <a:pt x="3857" y="464"/>
                  </a:lnTo>
                  <a:lnTo>
                    <a:pt x="3855" y="467"/>
                  </a:lnTo>
                  <a:lnTo>
                    <a:pt x="3852" y="469"/>
                  </a:lnTo>
                  <a:lnTo>
                    <a:pt x="3849" y="470"/>
                  </a:lnTo>
                  <a:lnTo>
                    <a:pt x="3847" y="470"/>
                  </a:lnTo>
                  <a:lnTo>
                    <a:pt x="3844" y="470"/>
                  </a:lnTo>
                  <a:lnTo>
                    <a:pt x="3842" y="472"/>
                  </a:lnTo>
                  <a:lnTo>
                    <a:pt x="3839" y="475"/>
                  </a:lnTo>
                  <a:lnTo>
                    <a:pt x="3837" y="475"/>
                  </a:lnTo>
                  <a:lnTo>
                    <a:pt x="3833" y="474"/>
                  </a:lnTo>
                  <a:lnTo>
                    <a:pt x="3831" y="475"/>
                  </a:lnTo>
                  <a:lnTo>
                    <a:pt x="3833" y="478"/>
                  </a:lnTo>
                  <a:lnTo>
                    <a:pt x="3835" y="480"/>
                  </a:lnTo>
                  <a:lnTo>
                    <a:pt x="3833" y="484"/>
                  </a:lnTo>
                  <a:lnTo>
                    <a:pt x="3831" y="486"/>
                  </a:lnTo>
                  <a:lnTo>
                    <a:pt x="3830" y="488"/>
                  </a:lnTo>
                  <a:lnTo>
                    <a:pt x="3828" y="489"/>
                  </a:lnTo>
                  <a:lnTo>
                    <a:pt x="3825" y="492"/>
                  </a:lnTo>
                  <a:lnTo>
                    <a:pt x="3822" y="495"/>
                  </a:lnTo>
                  <a:lnTo>
                    <a:pt x="3820" y="497"/>
                  </a:lnTo>
                  <a:lnTo>
                    <a:pt x="3820" y="501"/>
                  </a:lnTo>
                  <a:lnTo>
                    <a:pt x="3819" y="503"/>
                  </a:lnTo>
                  <a:lnTo>
                    <a:pt x="3818" y="505"/>
                  </a:lnTo>
                  <a:lnTo>
                    <a:pt x="3816" y="509"/>
                  </a:lnTo>
                  <a:lnTo>
                    <a:pt x="3816" y="511"/>
                  </a:lnTo>
                  <a:lnTo>
                    <a:pt x="3816" y="513"/>
                  </a:lnTo>
                  <a:lnTo>
                    <a:pt x="3816" y="515"/>
                  </a:lnTo>
                  <a:lnTo>
                    <a:pt x="3815" y="519"/>
                  </a:lnTo>
                  <a:lnTo>
                    <a:pt x="3815" y="521"/>
                  </a:lnTo>
                  <a:lnTo>
                    <a:pt x="3815" y="523"/>
                  </a:lnTo>
                  <a:lnTo>
                    <a:pt x="3815" y="527"/>
                  </a:lnTo>
                  <a:lnTo>
                    <a:pt x="3815" y="529"/>
                  </a:lnTo>
                  <a:lnTo>
                    <a:pt x="3816" y="532"/>
                  </a:lnTo>
                  <a:lnTo>
                    <a:pt x="3816" y="535"/>
                  </a:lnTo>
                  <a:lnTo>
                    <a:pt x="3816" y="537"/>
                  </a:lnTo>
                  <a:lnTo>
                    <a:pt x="3818" y="540"/>
                  </a:lnTo>
                  <a:lnTo>
                    <a:pt x="3818" y="543"/>
                  </a:lnTo>
                  <a:lnTo>
                    <a:pt x="3819" y="546"/>
                  </a:lnTo>
                  <a:lnTo>
                    <a:pt x="3820" y="548"/>
                  </a:lnTo>
                  <a:lnTo>
                    <a:pt x="3820" y="551"/>
                  </a:lnTo>
                  <a:lnTo>
                    <a:pt x="3821" y="554"/>
                  </a:lnTo>
                  <a:lnTo>
                    <a:pt x="3821" y="556"/>
                  </a:lnTo>
                  <a:lnTo>
                    <a:pt x="3821" y="560"/>
                  </a:lnTo>
                  <a:lnTo>
                    <a:pt x="3822" y="562"/>
                  </a:lnTo>
                  <a:lnTo>
                    <a:pt x="3822" y="564"/>
                  </a:lnTo>
                  <a:lnTo>
                    <a:pt x="3822" y="568"/>
                  </a:lnTo>
                  <a:lnTo>
                    <a:pt x="3823" y="570"/>
                  </a:lnTo>
                  <a:lnTo>
                    <a:pt x="3824" y="573"/>
                  </a:lnTo>
                  <a:lnTo>
                    <a:pt x="3827" y="574"/>
                  </a:lnTo>
                  <a:lnTo>
                    <a:pt x="3825" y="578"/>
                  </a:lnTo>
                  <a:lnTo>
                    <a:pt x="3827" y="580"/>
                  </a:lnTo>
                  <a:lnTo>
                    <a:pt x="3828" y="583"/>
                  </a:lnTo>
                  <a:lnTo>
                    <a:pt x="3828" y="586"/>
                  </a:lnTo>
                  <a:lnTo>
                    <a:pt x="3828" y="588"/>
                  </a:lnTo>
                  <a:lnTo>
                    <a:pt x="3828" y="591"/>
                  </a:lnTo>
                  <a:lnTo>
                    <a:pt x="3828" y="594"/>
                  </a:lnTo>
                  <a:lnTo>
                    <a:pt x="3828" y="597"/>
                  </a:lnTo>
                  <a:lnTo>
                    <a:pt x="3831" y="599"/>
                  </a:lnTo>
                  <a:lnTo>
                    <a:pt x="3831" y="601"/>
                  </a:lnTo>
                  <a:lnTo>
                    <a:pt x="3830" y="605"/>
                  </a:lnTo>
                  <a:lnTo>
                    <a:pt x="3832" y="603"/>
                  </a:lnTo>
                  <a:lnTo>
                    <a:pt x="3836" y="600"/>
                  </a:lnTo>
                  <a:lnTo>
                    <a:pt x="3837" y="599"/>
                  </a:lnTo>
                  <a:lnTo>
                    <a:pt x="3840" y="597"/>
                  </a:lnTo>
                  <a:lnTo>
                    <a:pt x="3842" y="594"/>
                  </a:lnTo>
                  <a:lnTo>
                    <a:pt x="3845" y="592"/>
                  </a:lnTo>
                  <a:lnTo>
                    <a:pt x="3847" y="590"/>
                  </a:lnTo>
                  <a:lnTo>
                    <a:pt x="3850" y="588"/>
                  </a:lnTo>
                  <a:lnTo>
                    <a:pt x="3853" y="585"/>
                  </a:lnTo>
                  <a:lnTo>
                    <a:pt x="3853" y="582"/>
                  </a:lnTo>
                  <a:lnTo>
                    <a:pt x="3854" y="580"/>
                  </a:lnTo>
                  <a:lnTo>
                    <a:pt x="3856" y="577"/>
                  </a:lnTo>
                  <a:lnTo>
                    <a:pt x="3856" y="574"/>
                  </a:lnTo>
                  <a:lnTo>
                    <a:pt x="3856" y="571"/>
                  </a:lnTo>
                  <a:lnTo>
                    <a:pt x="3857" y="569"/>
                  </a:lnTo>
                  <a:lnTo>
                    <a:pt x="3855" y="568"/>
                  </a:lnTo>
                  <a:lnTo>
                    <a:pt x="3856" y="565"/>
                  </a:lnTo>
                  <a:lnTo>
                    <a:pt x="3858" y="568"/>
                  </a:lnTo>
                  <a:lnTo>
                    <a:pt x="3861" y="566"/>
                  </a:lnTo>
                  <a:lnTo>
                    <a:pt x="3863" y="564"/>
                  </a:lnTo>
                  <a:lnTo>
                    <a:pt x="3866" y="563"/>
                  </a:lnTo>
                  <a:lnTo>
                    <a:pt x="3868" y="562"/>
                  </a:lnTo>
                  <a:lnTo>
                    <a:pt x="3872" y="562"/>
                  </a:lnTo>
                  <a:lnTo>
                    <a:pt x="3874" y="563"/>
                  </a:lnTo>
                  <a:lnTo>
                    <a:pt x="3875" y="564"/>
                  </a:lnTo>
                  <a:lnTo>
                    <a:pt x="3876" y="562"/>
                  </a:lnTo>
                  <a:lnTo>
                    <a:pt x="3875" y="561"/>
                  </a:lnTo>
                  <a:lnTo>
                    <a:pt x="3874" y="558"/>
                  </a:lnTo>
                  <a:lnTo>
                    <a:pt x="3875" y="555"/>
                  </a:lnTo>
                  <a:lnTo>
                    <a:pt x="3873" y="553"/>
                  </a:lnTo>
                  <a:lnTo>
                    <a:pt x="3874" y="549"/>
                  </a:lnTo>
                  <a:lnTo>
                    <a:pt x="3874" y="547"/>
                  </a:lnTo>
                  <a:lnTo>
                    <a:pt x="3875" y="545"/>
                  </a:lnTo>
                  <a:lnTo>
                    <a:pt x="3879" y="543"/>
                  </a:lnTo>
                  <a:lnTo>
                    <a:pt x="3881" y="540"/>
                  </a:lnTo>
                  <a:lnTo>
                    <a:pt x="3884" y="538"/>
                  </a:lnTo>
                  <a:lnTo>
                    <a:pt x="3887" y="537"/>
                  </a:lnTo>
                  <a:lnTo>
                    <a:pt x="3890" y="536"/>
                  </a:lnTo>
                  <a:lnTo>
                    <a:pt x="3892" y="537"/>
                  </a:lnTo>
                  <a:lnTo>
                    <a:pt x="3895" y="538"/>
                  </a:lnTo>
                  <a:lnTo>
                    <a:pt x="3898" y="537"/>
                  </a:lnTo>
                  <a:lnTo>
                    <a:pt x="3900" y="536"/>
                  </a:lnTo>
                  <a:lnTo>
                    <a:pt x="3904" y="534"/>
                  </a:lnTo>
                  <a:lnTo>
                    <a:pt x="3905" y="531"/>
                  </a:lnTo>
                  <a:lnTo>
                    <a:pt x="3904" y="529"/>
                  </a:lnTo>
                  <a:lnTo>
                    <a:pt x="3900" y="526"/>
                  </a:lnTo>
                  <a:lnTo>
                    <a:pt x="3899" y="523"/>
                  </a:lnTo>
                  <a:lnTo>
                    <a:pt x="3899" y="520"/>
                  </a:lnTo>
                  <a:lnTo>
                    <a:pt x="3899" y="518"/>
                  </a:lnTo>
                  <a:lnTo>
                    <a:pt x="3900" y="514"/>
                  </a:lnTo>
                  <a:lnTo>
                    <a:pt x="3902" y="512"/>
                  </a:lnTo>
                  <a:lnTo>
                    <a:pt x="3904" y="510"/>
                  </a:lnTo>
                  <a:lnTo>
                    <a:pt x="3905" y="506"/>
                  </a:lnTo>
                  <a:lnTo>
                    <a:pt x="3908" y="505"/>
                  </a:lnTo>
                  <a:lnTo>
                    <a:pt x="3909" y="505"/>
                  </a:lnTo>
                  <a:lnTo>
                    <a:pt x="3908" y="502"/>
                  </a:lnTo>
                  <a:lnTo>
                    <a:pt x="3912" y="501"/>
                  </a:lnTo>
                  <a:lnTo>
                    <a:pt x="3914" y="501"/>
                  </a:lnTo>
                  <a:lnTo>
                    <a:pt x="3917" y="498"/>
                  </a:lnTo>
                  <a:lnTo>
                    <a:pt x="3916" y="501"/>
                  </a:lnTo>
                  <a:lnTo>
                    <a:pt x="3913" y="502"/>
                  </a:lnTo>
                  <a:lnTo>
                    <a:pt x="3912" y="505"/>
                  </a:lnTo>
                  <a:lnTo>
                    <a:pt x="3914" y="508"/>
                  </a:lnTo>
                  <a:lnTo>
                    <a:pt x="3916" y="509"/>
                  </a:lnTo>
                  <a:lnTo>
                    <a:pt x="3919" y="506"/>
                  </a:lnTo>
                  <a:lnTo>
                    <a:pt x="3922" y="504"/>
                  </a:lnTo>
                  <a:lnTo>
                    <a:pt x="3921" y="501"/>
                  </a:lnTo>
                  <a:lnTo>
                    <a:pt x="3921" y="498"/>
                  </a:lnTo>
                  <a:lnTo>
                    <a:pt x="3921" y="496"/>
                  </a:lnTo>
                  <a:lnTo>
                    <a:pt x="3917" y="495"/>
                  </a:lnTo>
                  <a:lnTo>
                    <a:pt x="3915" y="495"/>
                  </a:lnTo>
                  <a:lnTo>
                    <a:pt x="3914" y="492"/>
                  </a:lnTo>
                  <a:lnTo>
                    <a:pt x="3914" y="489"/>
                  </a:lnTo>
                  <a:lnTo>
                    <a:pt x="3914" y="487"/>
                  </a:lnTo>
                  <a:lnTo>
                    <a:pt x="3914" y="486"/>
                  </a:lnTo>
                  <a:lnTo>
                    <a:pt x="3914" y="483"/>
                  </a:lnTo>
                  <a:lnTo>
                    <a:pt x="3916" y="480"/>
                  </a:lnTo>
                  <a:lnTo>
                    <a:pt x="3919" y="478"/>
                  </a:lnTo>
                  <a:lnTo>
                    <a:pt x="3921" y="476"/>
                  </a:lnTo>
                  <a:lnTo>
                    <a:pt x="3918" y="474"/>
                  </a:lnTo>
                  <a:lnTo>
                    <a:pt x="3915" y="472"/>
                  </a:lnTo>
                  <a:lnTo>
                    <a:pt x="3913" y="470"/>
                  </a:lnTo>
                  <a:lnTo>
                    <a:pt x="3909" y="472"/>
                  </a:lnTo>
                  <a:lnTo>
                    <a:pt x="3909" y="475"/>
                  </a:lnTo>
                  <a:lnTo>
                    <a:pt x="3907" y="475"/>
                  </a:lnTo>
                  <a:lnTo>
                    <a:pt x="3905" y="472"/>
                  </a:lnTo>
                  <a:lnTo>
                    <a:pt x="3902" y="470"/>
                  </a:lnTo>
                  <a:lnTo>
                    <a:pt x="3902" y="467"/>
                  </a:lnTo>
                  <a:lnTo>
                    <a:pt x="3905" y="461"/>
                  </a:lnTo>
                  <a:lnTo>
                    <a:pt x="3907" y="459"/>
                  </a:lnTo>
                  <a:lnTo>
                    <a:pt x="3909" y="457"/>
                  </a:lnTo>
                  <a:lnTo>
                    <a:pt x="3912" y="454"/>
                  </a:lnTo>
                  <a:lnTo>
                    <a:pt x="3915" y="452"/>
                  </a:lnTo>
                  <a:lnTo>
                    <a:pt x="3917" y="450"/>
                  </a:lnTo>
                  <a:lnTo>
                    <a:pt x="3915" y="447"/>
                  </a:lnTo>
                  <a:lnTo>
                    <a:pt x="3917" y="447"/>
                  </a:lnTo>
                  <a:lnTo>
                    <a:pt x="3918" y="444"/>
                  </a:lnTo>
                  <a:lnTo>
                    <a:pt x="3921" y="444"/>
                  </a:lnTo>
                  <a:lnTo>
                    <a:pt x="3921" y="442"/>
                  </a:lnTo>
                  <a:lnTo>
                    <a:pt x="3919" y="438"/>
                  </a:lnTo>
                  <a:lnTo>
                    <a:pt x="3922" y="437"/>
                  </a:lnTo>
                  <a:lnTo>
                    <a:pt x="3922" y="435"/>
                  </a:lnTo>
                  <a:lnTo>
                    <a:pt x="3923" y="433"/>
                  </a:lnTo>
                  <a:lnTo>
                    <a:pt x="3926" y="432"/>
                  </a:lnTo>
                  <a:lnTo>
                    <a:pt x="3925" y="429"/>
                  </a:lnTo>
                  <a:lnTo>
                    <a:pt x="3929" y="428"/>
                  </a:lnTo>
                  <a:lnTo>
                    <a:pt x="3931" y="429"/>
                  </a:lnTo>
                  <a:lnTo>
                    <a:pt x="3932" y="429"/>
                  </a:lnTo>
                  <a:lnTo>
                    <a:pt x="3931" y="433"/>
                  </a:lnTo>
                  <a:lnTo>
                    <a:pt x="3934" y="430"/>
                  </a:lnTo>
                  <a:lnTo>
                    <a:pt x="3935" y="429"/>
                  </a:lnTo>
                  <a:lnTo>
                    <a:pt x="3938" y="428"/>
                  </a:lnTo>
                  <a:lnTo>
                    <a:pt x="3940" y="429"/>
                  </a:lnTo>
                  <a:lnTo>
                    <a:pt x="3941" y="433"/>
                  </a:lnTo>
                  <a:lnTo>
                    <a:pt x="3943" y="433"/>
                  </a:lnTo>
                  <a:lnTo>
                    <a:pt x="3947" y="430"/>
                  </a:lnTo>
                  <a:lnTo>
                    <a:pt x="3947" y="429"/>
                  </a:lnTo>
                  <a:lnTo>
                    <a:pt x="3944" y="428"/>
                  </a:lnTo>
                  <a:lnTo>
                    <a:pt x="3947" y="428"/>
                  </a:lnTo>
                  <a:lnTo>
                    <a:pt x="3950" y="426"/>
                  </a:lnTo>
                  <a:lnTo>
                    <a:pt x="3952" y="425"/>
                  </a:lnTo>
                  <a:lnTo>
                    <a:pt x="3956" y="424"/>
                  </a:lnTo>
                  <a:lnTo>
                    <a:pt x="3958" y="421"/>
                  </a:lnTo>
                  <a:lnTo>
                    <a:pt x="3960" y="420"/>
                  </a:lnTo>
                  <a:lnTo>
                    <a:pt x="3961" y="423"/>
                  </a:lnTo>
                  <a:lnTo>
                    <a:pt x="3961" y="426"/>
                  </a:lnTo>
                  <a:lnTo>
                    <a:pt x="3960" y="428"/>
                  </a:lnTo>
                  <a:lnTo>
                    <a:pt x="3960" y="429"/>
                  </a:lnTo>
                  <a:lnTo>
                    <a:pt x="3959" y="433"/>
                  </a:lnTo>
                  <a:lnTo>
                    <a:pt x="3963" y="433"/>
                  </a:lnTo>
                  <a:lnTo>
                    <a:pt x="3965" y="430"/>
                  </a:lnTo>
                  <a:lnTo>
                    <a:pt x="3965" y="429"/>
                  </a:lnTo>
                  <a:lnTo>
                    <a:pt x="3968" y="427"/>
                  </a:lnTo>
                  <a:lnTo>
                    <a:pt x="3970" y="425"/>
                  </a:lnTo>
                  <a:lnTo>
                    <a:pt x="3973" y="421"/>
                  </a:lnTo>
                  <a:lnTo>
                    <a:pt x="3975" y="423"/>
                  </a:lnTo>
                  <a:lnTo>
                    <a:pt x="3977" y="421"/>
                  </a:lnTo>
                  <a:lnTo>
                    <a:pt x="3981" y="420"/>
                  </a:lnTo>
                  <a:lnTo>
                    <a:pt x="3983" y="419"/>
                  </a:lnTo>
                  <a:lnTo>
                    <a:pt x="3986" y="418"/>
                  </a:lnTo>
                  <a:lnTo>
                    <a:pt x="3989" y="418"/>
                  </a:lnTo>
                  <a:lnTo>
                    <a:pt x="3992" y="418"/>
                  </a:lnTo>
                  <a:lnTo>
                    <a:pt x="3994" y="418"/>
                  </a:lnTo>
                  <a:lnTo>
                    <a:pt x="3998" y="418"/>
                  </a:lnTo>
                  <a:lnTo>
                    <a:pt x="4000" y="418"/>
                  </a:lnTo>
                  <a:lnTo>
                    <a:pt x="4002" y="417"/>
                  </a:lnTo>
                  <a:lnTo>
                    <a:pt x="4006" y="419"/>
                  </a:lnTo>
                  <a:lnTo>
                    <a:pt x="4007" y="420"/>
                  </a:lnTo>
                  <a:lnTo>
                    <a:pt x="4009" y="423"/>
                  </a:lnTo>
                  <a:lnTo>
                    <a:pt x="4011" y="425"/>
                  </a:lnTo>
                  <a:lnTo>
                    <a:pt x="4011" y="427"/>
                  </a:lnTo>
                  <a:lnTo>
                    <a:pt x="4012" y="428"/>
                  </a:lnTo>
                  <a:lnTo>
                    <a:pt x="4015" y="429"/>
                  </a:lnTo>
                  <a:lnTo>
                    <a:pt x="4017" y="432"/>
                  </a:lnTo>
                  <a:lnTo>
                    <a:pt x="4018" y="429"/>
                  </a:lnTo>
                  <a:lnTo>
                    <a:pt x="4019" y="427"/>
                  </a:lnTo>
                  <a:lnTo>
                    <a:pt x="4019" y="425"/>
                  </a:lnTo>
                  <a:lnTo>
                    <a:pt x="4021" y="421"/>
                  </a:lnTo>
                  <a:lnTo>
                    <a:pt x="4024" y="419"/>
                  </a:lnTo>
                  <a:lnTo>
                    <a:pt x="4026" y="419"/>
                  </a:lnTo>
                  <a:lnTo>
                    <a:pt x="4029" y="418"/>
                  </a:lnTo>
                  <a:lnTo>
                    <a:pt x="4032" y="415"/>
                  </a:lnTo>
                  <a:lnTo>
                    <a:pt x="4035" y="415"/>
                  </a:lnTo>
                  <a:lnTo>
                    <a:pt x="4037" y="412"/>
                  </a:lnTo>
                  <a:lnTo>
                    <a:pt x="4041" y="412"/>
                  </a:lnTo>
                  <a:lnTo>
                    <a:pt x="4042" y="411"/>
                  </a:lnTo>
                  <a:lnTo>
                    <a:pt x="4042" y="409"/>
                  </a:lnTo>
                  <a:lnTo>
                    <a:pt x="4045" y="409"/>
                  </a:lnTo>
                  <a:lnTo>
                    <a:pt x="4043" y="407"/>
                  </a:lnTo>
                  <a:lnTo>
                    <a:pt x="4046" y="404"/>
                  </a:lnTo>
                  <a:lnTo>
                    <a:pt x="4049" y="406"/>
                  </a:lnTo>
                  <a:lnTo>
                    <a:pt x="4050" y="402"/>
                  </a:lnTo>
                  <a:lnTo>
                    <a:pt x="4052" y="403"/>
                  </a:lnTo>
                  <a:lnTo>
                    <a:pt x="4051" y="401"/>
                  </a:lnTo>
                  <a:lnTo>
                    <a:pt x="4053" y="400"/>
                  </a:lnTo>
                  <a:lnTo>
                    <a:pt x="4055" y="401"/>
                  </a:lnTo>
                  <a:lnTo>
                    <a:pt x="4058" y="398"/>
                  </a:lnTo>
                  <a:lnTo>
                    <a:pt x="4061" y="395"/>
                  </a:lnTo>
                  <a:lnTo>
                    <a:pt x="4063" y="394"/>
                  </a:lnTo>
                  <a:lnTo>
                    <a:pt x="4066" y="394"/>
                  </a:lnTo>
                  <a:lnTo>
                    <a:pt x="4069" y="393"/>
                  </a:lnTo>
                  <a:lnTo>
                    <a:pt x="4071" y="392"/>
                  </a:lnTo>
                  <a:lnTo>
                    <a:pt x="4074" y="392"/>
                  </a:lnTo>
                  <a:lnTo>
                    <a:pt x="4077" y="392"/>
                  </a:lnTo>
                  <a:lnTo>
                    <a:pt x="4076" y="389"/>
                  </a:lnTo>
                  <a:lnTo>
                    <a:pt x="4078" y="390"/>
                  </a:lnTo>
                  <a:lnTo>
                    <a:pt x="4081" y="389"/>
                  </a:lnTo>
                  <a:lnTo>
                    <a:pt x="4084" y="387"/>
                  </a:lnTo>
                  <a:lnTo>
                    <a:pt x="4085" y="385"/>
                  </a:lnTo>
                  <a:lnTo>
                    <a:pt x="4087" y="385"/>
                  </a:lnTo>
                  <a:lnTo>
                    <a:pt x="4091" y="384"/>
                  </a:lnTo>
                  <a:lnTo>
                    <a:pt x="4093" y="383"/>
                  </a:lnTo>
                  <a:lnTo>
                    <a:pt x="4096" y="383"/>
                  </a:lnTo>
                  <a:lnTo>
                    <a:pt x="4098" y="382"/>
                  </a:lnTo>
                  <a:lnTo>
                    <a:pt x="4102" y="380"/>
                  </a:lnTo>
                  <a:lnTo>
                    <a:pt x="4104" y="377"/>
                  </a:lnTo>
                  <a:lnTo>
                    <a:pt x="4107" y="377"/>
                  </a:lnTo>
                  <a:lnTo>
                    <a:pt x="4110" y="376"/>
                  </a:lnTo>
                  <a:lnTo>
                    <a:pt x="4107" y="374"/>
                  </a:lnTo>
                  <a:lnTo>
                    <a:pt x="4109" y="370"/>
                  </a:lnTo>
                  <a:lnTo>
                    <a:pt x="4109" y="370"/>
                  </a:lnTo>
                  <a:lnTo>
                    <a:pt x="4111" y="373"/>
                  </a:lnTo>
                  <a:lnTo>
                    <a:pt x="4113" y="372"/>
                  </a:lnTo>
                  <a:lnTo>
                    <a:pt x="4113" y="374"/>
                  </a:lnTo>
                  <a:lnTo>
                    <a:pt x="4115" y="376"/>
                  </a:lnTo>
                  <a:lnTo>
                    <a:pt x="4119" y="376"/>
                  </a:lnTo>
                  <a:lnTo>
                    <a:pt x="4121" y="376"/>
                  </a:lnTo>
                  <a:lnTo>
                    <a:pt x="4124" y="377"/>
                  </a:lnTo>
                  <a:lnTo>
                    <a:pt x="4127" y="378"/>
                  </a:lnTo>
                  <a:lnTo>
                    <a:pt x="4130" y="380"/>
                  </a:lnTo>
                  <a:lnTo>
                    <a:pt x="4132" y="380"/>
                  </a:lnTo>
                  <a:lnTo>
                    <a:pt x="4135" y="381"/>
                  </a:lnTo>
                  <a:lnTo>
                    <a:pt x="4138" y="382"/>
                  </a:lnTo>
                  <a:lnTo>
                    <a:pt x="4137" y="378"/>
                  </a:lnTo>
                  <a:lnTo>
                    <a:pt x="4140" y="377"/>
                  </a:lnTo>
                  <a:lnTo>
                    <a:pt x="4143" y="375"/>
                  </a:lnTo>
                  <a:lnTo>
                    <a:pt x="4144" y="373"/>
                  </a:lnTo>
                  <a:lnTo>
                    <a:pt x="4143" y="369"/>
                  </a:lnTo>
                  <a:lnTo>
                    <a:pt x="4140" y="369"/>
                  </a:lnTo>
                  <a:lnTo>
                    <a:pt x="4139" y="366"/>
                  </a:lnTo>
                  <a:lnTo>
                    <a:pt x="4140" y="364"/>
                  </a:lnTo>
                  <a:lnTo>
                    <a:pt x="4138" y="361"/>
                  </a:lnTo>
                  <a:lnTo>
                    <a:pt x="4135" y="360"/>
                  </a:lnTo>
                  <a:lnTo>
                    <a:pt x="4135" y="359"/>
                  </a:lnTo>
                  <a:lnTo>
                    <a:pt x="4134" y="356"/>
                  </a:lnTo>
                  <a:lnTo>
                    <a:pt x="4132" y="359"/>
                  </a:lnTo>
                  <a:lnTo>
                    <a:pt x="4132" y="356"/>
                  </a:lnTo>
                  <a:lnTo>
                    <a:pt x="4130" y="355"/>
                  </a:lnTo>
                  <a:lnTo>
                    <a:pt x="4127" y="356"/>
                  </a:lnTo>
                  <a:lnTo>
                    <a:pt x="4130" y="353"/>
                  </a:lnTo>
                  <a:lnTo>
                    <a:pt x="4132" y="353"/>
                  </a:lnTo>
                  <a:lnTo>
                    <a:pt x="4132" y="351"/>
                  </a:lnTo>
                  <a:lnTo>
                    <a:pt x="4131" y="348"/>
                  </a:lnTo>
                  <a:lnTo>
                    <a:pt x="4130" y="346"/>
                  </a:lnTo>
                  <a:lnTo>
                    <a:pt x="4129" y="343"/>
                  </a:lnTo>
                  <a:lnTo>
                    <a:pt x="4128" y="340"/>
                  </a:lnTo>
                  <a:lnTo>
                    <a:pt x="4127" y="338"/>
                  </a:lnTo>
                  <a:lnTo>
                    <a:pt x="4123" y="340"/>
                  </a:lnTo>
                  <a:lnTo>
                    <a:pt x="4121" y="340"/>
                  </a:lnTo>
                  <a:lnTo>
                    <a:pt x="4118" y="339"/>
                  </a:lnTo>
                  <a:lnTo>
                    <a:pt x="4115" y="337"/>
                  </a:lnTo>
                  <a:lnTo>
                    <a:pt x="4113" y="334"/>
                  </a:lnTo>
                  <a:lnTo>
                    <a:pt x="4114" y="331"/>
                  </a:lnTo>
                  <a:lnTo>
                    <a:pt x="4113" y="329"/>
                  </a:lnTo>
                  <a:lnTo>
                    <a:pt x="4111" y="330"/>
                  </a:lnTo>
                  <a:lnTo>
                    <a:pt x="4109" y="330"/>
                  </a:lnTo>
                  <a:lnTo>
                    <a:pt x="4105" y="332"/>
                  </a:lnTo>
                  <a:lnTo>
                    <a:pt x="4103" y="331"/>
                  </a:lnTo>
                  <a:lnTo>
                    <a:pt x="4100" y="331"/>
                  </a:lnTo>
                  <a:lnTo>
                    <a:pt x="4097" y="332"/>
                  </a:lnTo>
                  <a:lnTo>
                    <a:pt x="4100" y="331"/>
                  </a:lnTo>
                  <a:lnTo>
                    <a:pt x="4098" y="327"/>
                  </a:lnTo>
                  <a:lnTo>
                    <a:pt x="4096" y="325"/>
                  </a:lnTo>
                  <a:lnTo>
                    <a:pt x="4094" y="325"/>
                  </a:lnTo>
                  <a:lnTo>
                    <a:pt x="4097" y="325"/>
                  </a:lnTo>
                  <a:lnTo>
                    <a:pt x="4100" y="326"/>
                  </a:lnTo>
                  <a:lnTo>
                    <a:pt x="4103" y="326"/>
                  </a:lnTo>
                  <a:lnTo>
                    <a:pt x="4105" y="326"/>
                  </a:lnTo>
                  <a:lnTo>
                    <a:pt x="4109" y="327"/>
                  </a:lnTo>
                  <a:lnTo>
                    <a:pt x="4111" y="327"/>
                  </a:lnTo>
                  <a:lnTo>
                    <a:pt x="4112" y="325"/>
                  </a:lnTo>
                  <a:lnTo>
                    <a:pt x="4109" y="323"/>
                  </a:lnTo>
                  <a:lnTo>
                    <a:pt x="4106" y="322"/>
                  </a:lnTo>
                  <a:lnTo>
                    <a:pt x="4103" y="323"/>
                  </a:lnTo>
                  <a:lnTo>
                    <a:pt x="4101" y="322"/>
                  </a:lnTo>
                  <a:lnTo>
                    <a:pt x="4103" y="323"/>
                  </a:lnTo>
                  <a:lnTo>
                    <a:pt x="4106" y="322"/>
                  </a:lnTo>
                  <a:lnTo>
                    <a:pt x="4109" y="322"/>
                  </a:lnTo>
                  <a:lnTo>
                    <a:pt x="4112" y="324"/>
                  </a:lnTo>
                  <a:lnTo>
                    <a:pt x="4114" y="325"/>
                  </a:lnTo>
                  <a:lnTo>
                    <a:pt x="4115" y="327"/>
                  </a:lnTo>
                  <a:lnTo>
                    <a:pt x="4118" y="330"/>
                  </a:lnTo>
                  <a:lnTo>
                    <a:pt x="4121" y="330"/>
                  </a:lnTo>
                  <a:lnTo>
                    <a:pt x="4123" y="331"/>
                  </a:lnTo>
                  <a:lnTo>
                    <a:pt x="4127" y="331"/>
                  </a:lnTo>
                  <a:lnTo>
                    <a:pt x="4129" y="331"/>
                  </a:lnTo>
                  <a:lnTo>
                    <a:pt x="4132" y="330"/>
                  </a:lnTo>
                  <a:lnTo>
                    <a:pt x="4130" y="332"/>
                  </a:lnTo>
                  <a:lnTo>
                    <a:pt x="4132" y="331"/>
                  </a:lnTo>
                  <a:lnTo>
                    <a:pt x="4135" y="330"/>
                  </a:lnTo>
                  <a:lnTo>
                    <a:pt x="4138" y="329"/>
                  </a:lnTo>
                  <a:lnTo>
                    <a:pt x="4140" y="327"/>
                  </a:lnTo>
                  <a:lnTo>
                    <a:pt x="4143" y="326"/>
                  </a:lnTo>
                  <a:lnTo>
                    <a:pt x="4146" y="324"/>
                  </a:lnTo>
                  <a:lnTo>
                    <a:pt x="4148" y="322"/>
                  </a:lnTo>
                  <a:lnTo>
                    <a:pt x="4149" y="322"/>
                  </a:lnTo>
                  <a:lnTo>
                    <a:pt x="4152" y="322"/>
                  </a:lnTo>
                  <a:lnTo>
                    <a:pt x="4154" y="320"/>
                  </a:lnTo>
                  <a:lnTo>
                    <a:pt x="4156" y="317"/>
                  </a:lnTo>
                  <a:lnTo>
                    <a:pt x="4155" y="314"/>
                  </a:lnTo>
                  <a:lnTo>
                    <a:pt x="4153" y="315"/>
                  </a:lnTo>
                  <a:lnTo>
                    <a:pt x="4149" y="316"/>
                  </a:lnTo>
                  <a:lnTo>
                    <a:pt x="4149" y="314"/>
                  </a:lnTo>
                  <a:lnTo>
                    <a:pt x="4151" y="314"/>
                  </a:lnTo>
                  <a:lnTo>
                    <a:pt x="4154" y="314"/>
                  </a:lnTo>
                  <a:lnTo>
                    <a:pt x="4156" y="314"/>
                  </a:lnTo>
                  <a:lnTo>
                    <a:pt x="4160" y="312"/>
                  </a:lnTo>
                  <a:lnTo>
                    <a:pt x="4157" y="308"/>
                  </a:lnTo>
                  <a:lnTo>
                    <a:pt x="4155" y="306"/>
                  </a:lnTo>
                  <a:lnTo>
                    <a:pt x="4153" y="304"/>
                  </a:lnTo>
                  <a:lnTo>
                    <a:pt x="4152" y="300"/>
                  </a:lnTo>
                  <a:lnTo>
                    <a:pt x="4154" y="298"/>
                  </a:lnTo>
                  <a:lnTo>
                    <a:pt x="4156" y="298"/>
                  </a:lnTo>
                  <a:lnTo>
                    <a:pt x="4160" y="297"/>
                  </a:lnTo>
                  <a:lnTo>
                    <a:pt x="4160" y="295"/>
                  </a:lnTo>
                  <a:lnTo>
                    <a:pt x="4162" y="292"/>
                  </a:lnTo>
                  <a:lnTo>
                    <a:pt x="4162" y="296"/>
                  </a:lnTo>
                  <a:lnTo>
                    <a:pt x="4164" y="297"/>
                  </a:lnTo>
                  <a:lnTo>
                    <a:pt x="4168" y="295"/>
                  </a:lnTo>
                  <a:lnTo>
                    <a:pt x="4170" y="293"/>
                  </a:lnTo>
                  <a:lnTo>
                    <a:pt x="4169" y="296"/>
                  </a:lnTo>
                  <a:lnTo>
                    <a:pt x="4168" y="299"/>
                  </a:lnTo>
                  <a:lnTo>
                    <a:pt x="4165" y="301"/>
                  </a:lnTo>
                  <a:lnTo>
                    <a:pt x="4166" y="305"/>
                  </a:lnTo>
                  <a:lnTo>
                    <a:pt x="4170" y="306"/>
                  </a:lnTo>
                  <a:lnTo>
                    <a:pt x="4170" y="309"/>
                  </a:lnTo>
                  <a:lnTo>
                    <a:pt x="4169" y="312"/>
                  </a:lnTo>
                  <a:lnTo>
                    <a:pt x="4172" y="313"/>
                  </a:lnTo>
                  <a:lnTo>
                    <a:pt x="4181" y="313"/>
                  </a:lnTo>
                  <a:lnTo>
                    <a:pt x="4183" y="313"/>
                  </a:lnTo>
                  <a:lnTo>
                    <a:pt x="4186" y="312"/>
                  </a:lnTo>
                  <a:lnTo>
                    <a:pt x="4189" y="309"/>
                  </a:lnTo>
                  <a:lnTo>
                    <a:pt x="4191" y="309"/>
                  </a:lnTo>
                  <a:lnTo>
                    <a:pt x="4195" y="310"/>
                  </a:lnTo>
                  <a:lnTo>
                    <a:pt x="4197" y="312"/>
                  </a:lnTo>
                  <a:lnTo>
                    <a:pt x="4199" y="313"/>
                  </a:lnTo>
                  <a:lnTo>
                    <a:pt x="4203" y="313"/>
                  </a:lnTo>
                  <a:lnTo>
                    <a:pt x="4205" y="314"/>
                  </a:lnTo>
                  <a:lnTo>
                    <a:pt x="4206" y="317"/>
                  </a:lnTo>
                  <a:lnTo>
                    <a:pt x="4207" y="320"/>
                  </a:lnTo>
                  <a:lnTo>
                    <a:pt x="4206" y="323"/>
                  </a:lnTo>
                  <a:lnTo>
                    <a:pt x="4208" y="325"/>
                  </a:lnTo>
                  <a:lnTo>
                    <a:pt x="4212" y="326"/>
                  </a:lnTo>
                  <a:lnTo>
                    <a:pt x="4214" y="327"/>
                  </a:lnTo>
                  <a:lnTo>
                    <a:pt x="4217" y="329"/>
                  </a:lnTo>
                  <a:lnTo>
                    <a:pt x="4220" y="329"/>
                  </a:lnTo>
                  <a:lnTo>
                    <a:pt x="4223" y="330"/>
                  </a:lnTo>
                  <a:lnTo>
                    <a:pt x="4225" y="331"/>
                  </a:lnTo>
                  <a:lnTo>
                    <a:pt x="4228" y="331"/>
                  </a:lnTo>
                  <a:lnTo>
                    <a:pt x="4230" y="333"/>
                  </a:lnTo>
                  <a:lnTo>
                    <a:pt x="4231" y="335"/>
                  </a:lnTo>
                  <a:lnTo>
                    <a:pt x="4233" y="337"/>
                  </a:lnTo>
                  <a:lnTo>
                    <a:pt x="4237" y="338"/>
                  </a:lnTo>
                  <a:lnTo>
                    <a:pt x="4239" y="337"/>
                  </a:lnTo>
                  <a:lnTo>
                    <a:pt x="4240" y="334"/>
                  </a:lnTo>
                  <a:lnTo>
                    <a:pt x="4240" y="332"/>
                  </a:lnTo>
                  <a:lnTo>
                    <a:pt x="4241" y="334"/>
                  </a:lnTo>
                  <a:lnTo>
                    <a:pt x="4240" y="338"/>
                  </a:lnTo>
                  <a:lnTo>
                    <a:pt x="4242" y="340"/>
                  </a:lnTo>
                  <a:lnTo>
                    <a:pt x="4242" y="340"/>
                  </a:lnTo>
                  <a:lnTo>
                    <a:pt x="4246" y="339"/>
                  </a:lnTo>
                  <a:lnTo>
                    <a:pt x="4247" y="337"/>
                  </a:lnTo>
                  <a:lnTo>
                    <a:pt x="4252" y="337"/>
                  </a:lnTo>
                  <a:lnTo>
                    <a:pt x="4255" y="335"/>
                  </a:lnTo>
                  <a:lnTo>
                    <a:pt x="4252" y="333"/>
                  </a:lnTo>
                  <a:lnTo>
                    <a:pt x="4250" y="332"/>
                  </a:lnTo>
                  <a:lnTo>
                    <a:pt x="4248" y="331"/>
                  </a:lnTo>
                  <a:lnTo>
                    <a:pt x="4245" y="331"/>
                  </a:lnTo>
                  <a:lnTo>
                    <a:pt x="4247" y="330"/>
                  </a:lnTo>
                  <a:lnTo>
                    <a:pt x="4247" y="326"/>
                  </a:lnTo>
                  <a:lnTo>
                    <a:pt x="4243" y="327"/>
                  </a:lnTo>
                  <a:lnTo>
                    <a:pt x="4247" y="326"/>
                  </a:lnTo>
                  <a:lnTo>
                    <a:pt x="4249" y="326"/>
                  </a:lnTo>
                  <a:lnTo>
                    <a:pt x="4252" y="325"/>
                  </a:lnTo>
                  <a:lnTo>
                    <a:pt x="4255" y="324"/>
                  </a:lnTo>
                  <a:lnTo>
                    <a:pt x="4257" y="321"/>
                  </a:lnTo>
                  <a:lnTo>
                    <a:pt x="4255" y="318"/>
                  </a:lnTo>
                  <a:lnTo>
                    <a:pt x="4251" y="318"/>
                  </a:lnTo>
                  <a:lnTo>
                    <a:pt x="4255" y="317"/>
                  </a:lnTo>
                  <a:lnTo>
                    <a:pt x="4256" y="318"/>
                  </a:lnTo>
                  <a:lnTo>
                    <a:pt x="4256" y="315"/>
                  </a:lnTo>
                  <a:lnTo>
                    <a:pt x="4257" y="313"/>
                  </a:lnTo>
                  <a:lnTo>
                    <a:pt x="4255" y="314"/>
                  </a:lnTo>
                  <a:lnTo>
                    <a:pt x="4254" y="310"/>
                  </a:lnTo>
                  <a:lnTo>
                    <a:pt x="4250" y="309"/>
                  </a:lnTo>
                  <a:lnTo>
                    <a:pt x="4248" y="308"/>
                  </a:lnTo>
                  <a:lnTo>
                    <a:pt x="4250" y="307"/>
                  </a:lnTo>
                  <a:lnTo>
                    <a:pt x="4254" y="308"/>
                  </a:lnTo>
                  <a:lnTo>
                    <a:pt x="4255" y="310"/>
                  </a:lnTo>
                  <a:lnTo>
                    <a:pt x="4257" y="310"/>
                  </a:lnTo>
                  <a:lnTo>
                    <a:pt x="4260" y="312"/>
                  </a:lnTo>
                  <a:lnTo>
                    <a:pt x="4263" y="312"/>
                  </a:lnTo>
                  <a:lnTo>
                    <a:pt x="4266" y="312"/>
                  </a:lnTo>
                  <a:lnTo>
                    <a:pt x="4268" y="312"/>
                  </a:lnTo>
                  <a:lnTo>
                    <a:pt x="4272" y="313"/>
                  </a:lnTo>
                  <a:lnTo>
                    <a:pt x="4273" y="309"/>
                  </a:lnTo>
                  <a:lnTo>
                    <a:pt x="4269" y="309"/>
                  </a:lnTo>
                  <a:lnTo>
                    <a:pt x="4267" y="306"/>
                  </a:lnTo>
                  <a:lnTo>
                    <a:pt x="4269" y="307"/>
                  </a:lnTo>
                  <a:lnTo>
                    <a:pt x="4273" y="308"/>
                  </a:lnTo>
                  <a:lnTo>
                    <a:pt x="4275" y="309"/>
                  </a:lnTo>
                  <a:lnTo>
                    <a:pt x="4279" y="309"/>
                  </a:lnTo>
                  <a:lnTo>
                    <a:pt x="4280" y="307"/>
                  </a:lnTo>
                  <a:lnTo>
                    <a:pt x="4280" y="305"/>
                  </a:lnTo>
                  <a:lnTo>
                    <a:pt x="4282" y="301"/>
                  </a:lnTo>
                  <a:lnTo>
                    <a:pt x="4285" y="300"/>
                  </a:lnTo>
                  <a:lnTo>
                    <a:pt x="4286" y="300"/>
                  </a:lnTo>
                  <a:lnTo>
                    <a:pt x="4290" y="301"/>
                  </a:lnTo>
                  <a:lnTo>
                    <a:pt x="4291" y="298"/>
                  </a:lnTo>
                  <a:lnTo>
                    <a:pt x="4288" y="297"/>
                  </a:lnTo>
                  <a:close/>
                  <a:moveTo>
                    <a:pt x="2110" y="1489"/>
                  </a:moveTo>
                  <a:lnTo>
                    <a:pt x="2107" y="1487"/>
                  </a:lnTo>
                  <a:lnTo>
                    <a:pt x="2106" y="1486"/>
                  </a:lnTo>
                  <a:lnTo>
                    <a:pt x="2103" y="1486"/>
                  </a:lnTo>
                  <a:lnTo>
                    <a:pt x="2101" y="1484"/>
                  </a:lnTo>
                  <a:lnTo>
                    <a:pt x="2104" y="1481"/>
                  </a:lnTo>
                  <a:lnTo>
                    <a:pt x="2103" y="1479"/>
                  </a:lnTo>
                  <a:lnTo>
                    <a:pt x="2099" y="1477"/>
                  </a:lnTo>
                  <a:lnTo>
                    <a:pt x="2098" y="1475"/>
                  </a:lnTo>
                  <a:lnTo>
                    <a:pt x="2098" y="1469"/>
                  </a:lnTo>
                  <a:lnTo>
                    <a:pt x="2096" y="1467"/>
                  </a:lnTo>
                  <a:lnTo>
                    <a:pt x="2092" y="1466"/>
                  </a:lnTo>
                  <a:lnTo>
                    <a:pt x="2089" y="1460"/>
                  </a:lnTo>
                  <a:lnTo>
                    <a:pt x="2087" y="1454"/>
                  </a:lnTo>
                  <a:lnTo>
                    <a:pt x="2084" y="1452"/>
                  </a:lnTo>
                  <a:lnTo>
                    <a:pt x="2084" y="1450"/>
                  </a:lnTo>
                  <a:lnTo>
                    <a:pt x="2087" y="1447"/>
                  </a:lnTo>
                  <a:lnTo>
                    <a:pt x="2087" y="1444"/>
                  </a:lnTo>
                  <a:lnTo>
                    <a:pt x="2084" y="1442"/>
                  </a:lnTo>
                  <a:lnTo>
                    <a:pt x="2083" y="1439"/>
                  </a:lnTo>
                  <a:lnTo>
                    <a:pt x="2083" y="1435"/>
                  </a:lnTo>
                  <a:lnTo>
                    <a:pt x="2083" y="1432"/>
                  </a:lnTo>
                  <a:lnTo>
                    <a:pt x="2086" y="1426"/>
                  </a:lnTo>
                  <a:lnTo>
                    <a:pt x="2082" y="1428"/>
                  </a:lnTo>
                  <a:lnTo>
                    <a:pt x="2083" y="1425"/>
                  </a:lnTo>
                  <a:lnTo>
                    <a:pt x="2084" y="1417"/>
                  </a:lnTo>
                  <a:lnTo>
                    <a:pt x="2084" y="1415"/>
                  </a:lnTo>
                  <a:lnTo>
                    <a:pt x="2086" y="1415"/>
                  </a:lnTo>
                  <a:lnTo>
                    <a:pt x="2087" y="1417"/>
                  </a:lnTo>
                  <a:lnTo>
                    <a:pt x="2087" y="1420"/>
                  </a:lnTo>
                  <a:lnTo>
                    <a:pt x="2091" y="1429"/>
                  </a:lnTo>
                  <a:lnTo>
                    <a:pt x="2090" y="1435"/>
                  </a:lnTo>
                  <a:lnTo>
                    <a:pt x="2092" y="1437"/>
                  </a:lnTo>
                  <a:lnTo>
                    <a:pt x="2092" y="1439"/>
                  </a:lnTo>
                  <a:lnTo>
                    <a:pt x="2092" y="1442"/>
                  </a:lnTo>
                  <a:lnTo>
                    <a:pt x="2092" y="1445"/>
                  </a:lnTo>
                  <a:lnTo>
                    <a:pt x="2095" y="1447"/>
                  </a:lnTo>
                  <a:lnTo>
                    <a:pt x="2095" y="1450"/>
                  </a:lnTo>
                  <a:lnTo>
                    <a:pt x="2091" y="1453"/>
                  </a:lnTo>
                  <a:lnTo>
                    <a:pt x="2092" y="1455"/>
                  </a:lnTo>
                  <a:lnTo>
                    <a:pt x="2096" y="1458"/>
                  </a:lnTo>
                  <a:lnTo>
                    <a:pt x="2098" y="1459"/>
                  </a:lnTo>
                  <a:lnTo>
                    <a:pt x="2103" y="1463"/>
                  </a:lnTo>
                  <a:lnTo>
                    <a:pt x="2104" y="1469"/>
                  </a:lnTo>
                  <a:lnTo>
                    <a:pt x="2104" y="1471"/>
                  </a:lnTo>
                  <a:lnTo>
                    <a:pt x="2108" y="1479"/>
                  </a:lnTo>
                  <a:lnTo>
                    <a:pt x="2108" y="1481"/>
                  </a:lnTo>
                  <a:lnTo>
                    <a:pt x="2110" y="1484"/>
                  </a:lnTo>
                  <a:lnTo>
                    <a:pt x="2112" y="1487"/>
                  </a:lnTo>
                  <a:lnTo>
                    <a:pt x="2110" y="1489"/>
                  </a:lnTo>
                  <a:close/>
                  <a:moveTo>
                    <a:pt x="2115" y="1336"/>
                  </a:moveTo>
                  <a:lnTo>
                    <a:pt x="2114" y="1338"/>
                  </a:lnTo>
                  <a:lnTo>
                    <a:pt x="2115" y="1342"/>
                  </a:lnTo>
                  <a:lnTo>
                    <a:pt x="2114" y="1344"/>
                  </a:lnTo>
                  <a:lnTo>
                    <a:pt x="2112" y="1347"/>
                  </a:lnTo>
                  <a:lnTo>
                    <a:pt x="2108" y="1348"/>
                  </a:lnTo>
                  <a:lnTo>
                    <a:pt x="2105" y="1353"/>
                  </a:lnTo>
                  <a:lnTo>
                    <a:pt x="2103" y="1351"/>
                  </a:lnTo>
                  <a:lnTo>
                    <a:pt x="2103" y="1355"/>
                  </a:lnTo>
                  <a:lnTo>
                    <a:pt x="2101" y="1352"/>
                  </a:lnTo>
                  <a:lnTo>
                    <a:pt x="2101" y="1350"/>
                  </a:lnTo>
                  <a:lnTo>
                    <a:pt x="2104" y="1347"/>
                  </a:lnTo>
                  <a:lnTo>
                    <a:pt x="2112" y="1340"/>
                  </a:lnTo>
                  <a:lnTo>
                    <a:pt x="2113" y="1339"/>
                  </a:lnTo>
                  <a:lnTo>
                    <a:pt x="2114" y="1338"/>
                  </a:lnTo>
                  <a:lnTo>
                    <a:pt x="2115" y="1335"/>
                  </a:lnTo>
                  <a:lnTo>
                    <a:pt x="2115" y="1336"/>
                  </a:lnTo>
                  <a:close/>
                  <a:moveTo>
                    <a:pt x="2150" y="1501"/>
                  </a:moveTo>
                  <a:lnTo>
                    <a:pt x="2152" y="1501"/>
                  </a:lnTo>
                  <a:lnTo>
                    <a:pt x="2155" y="1502"/>
                  </a:lnTo>
                  <a:lnTo>
                    <a:pt x="2157" y="1505"/>
                  </a:lnTo>
                  <a:lnTo>
                    <a:pt x="2157" y="1506"/>
                  </a:lnTo>
                  <a:lnTo>
                    <a:pt x="2158" y="1506"/>
                  </a:lnTo>
                  <a:lnTo>
                    <a:pt x="2158" y="1507"/>
                  </a:lnTo>
                  <a:lnTo>
                    <a:pt x="2158" y="1507"/>
                  </a:lnTo>
                  <a:lnTo>
                    <a:pt x="2158" y="1513"/>
                  </a:lnTo>
                  <a:lnTo>
                    <a:pt x="2159" y="1514"/>
                  </a:lnTo>
                  <a:lnTo>
                    <a:pt x="2159" y="1516"/>
                  </a:lnTo>
                  <a:lnTo>
                    <a:pt x="2158" y="1520"/>
                  </a:lnTo>
                  <a:lnTo>
                    <a:pt x="2159" y="1522"/>
                  </a:lnTo>
                  <a:lnTo>
                    <a:pt x="2163" y="1526"/>
                  </a:lnTo>
                  <a:lnTo>
                    <a:pt x="2164" y="1528"/>
                  </a:lnTo>
                  <a:lnTo>
                    <a:pt x="2164" y="1530"/>
                  </a:lnTo>
                  <a:lnTo>
                    <a:pt x="2163" y="1532"/>
                  </a:lnTo>
                  <a:lnTo>
                    <a:pt x="2160" y="1536"/>
                  </a:lnTo>
                  <a:lnTo>
                    <a:pt x="2160" y="1538"/>
                  </a:lnTo>
                  <a:lnTo>
                    <a:pt x="2160" y="1541"/>
                  </a:lnTo>
                  <a:lnTo>
                    <a:pt x="2161" y="1544"/>
                  </a:lnTo>
                  <a:lnTo>
                    <a:pt x="2160" y="1546"/>
                  </a:lnTo>
                  <a:lnTo>
                    <a:pt x="2161" y="1549"/>
                  </a:lnTo>
                  <a:lnTo>
                    <a:pt x="2161" y="1552"/>
                  </a:lnTo>
                  <a:lnTo>
                    <a:pt x="2163" y="1555"/>
                  </a:lnTo>
                  <a:lnTo>
                    <a:pt x="2164" y="1557"/>
                  </a:lnTo>
                  <a:lnTo>
                    <a:pt x="2165" y="1560"/>
                  </a:lnTo>
                  <a:lnTo>
                    <a:pt x="2167" y="1564"/>
                  </a:lnTo>
                  <a:lnTo>
                    <a:pt x="2167" y="1567"/>
                  </a:lnTo>
                  <a:lnTo>
                    <a:pt x="2164" y="1564"/>
                  </a:lnTo>
                  <a:lnTo>
                    <a:pt x="2163" y="1563"/>
                  </a:lnTo>
                  <a:lnTo>
                    <a:pt x="2160" y="1565"/>
                  </a:lnTo>
                  <a:lnTo>
                    <a:pt x="2159" y="1565"/>
                  </a:lnTo>
                  <a:lnTo>
                    <a:pt x="2158" y="1563"/>
                  </a:lnTo>
                  <a:lnTo>
                    <a:pt x="2158" y="1557"/>
                  </a:lnTo>
                  <a:lnTo>
                    <a:pt x="2156" y="1555"/>
                  </a:lnTo>
                  <a:lnTo>
                    <a:pt x="2155" y="1553"/>
                  </a:lnTo>
                  <a:lnTo>
                    <a:pt x="2155" y="1549"/>
                  </a:lnTo>
                  <a:lnTo>
                    <a:pt x="2154" y="1544"/>
                  </a:lnTo>
                  <a:lnTo>
                    <a:pt x="2154" y="1543"/>
                  </a:lnTo>
                  <a:lnTo>
                    <a:pt x="2152" y="1540"/>
                  </a:lnTo>
                  <a:lnTo>
                    <a:pt x="2150" y="1537"/>
                  </a:lnTo>
                  <a:lnTo>
                    <a:pt x="2151" y="1533"/>
                  </a:lnTo>
                  <a:lnTo>
                    <a:pt x="2155" y="1528"/>
                  </a:lnTo>
                  <a:lnTo>
                    <a:pt x="2154" y="1522"/>
                  </a:lnTo>
                  <a:lnTo>
                    <a:pt x="2154" y="1516"/>
                  </a:lnTo>
                  <a:lnTo>
                    <a:pt x="2152" y="1514"/>
                  </a:lnTo>
                  <a:lnTo>
                    <a:pt x="2154" y="1511"/>
                  </a:lnTo>
                  <a:lnTo>
                    <a:pt x="2151" y="1509"/>
                  </a:lnTo>
                  <a:lnTo>
                    <a:pt x="2150" y="1506"/>
                  </a:lnTo>
                  <a:lnTo>
                    <a:pt x="2149" y="1502"/>
                  </a:lnTo>
                  <a:lnTo>
                    <a:pt x="2150" y="1501"/>
                  </a:lnTo>
                  <a:close/>
                  <a:moveTo>
                    <a:pt x="2434" y="776"/>
                  </a:moveTo>
                  <a:lnTo>
                    <a:pt x="2434" y="776"/>
                  </a:lnTo>
                  <a:lnTo>
                    <a:pt x="2434" y="777"/>
                  </a:lnTo>
                  <a:lnTo>
                    <a:pt x="2434" y="777"/>
                  </a:lnTo>
                  <a:lnTo>
                    <a:pt x="2434" y="777"/>
                  </a:lnTo>
                  <a:lnTo>
                    <a:pt x="2433" y="777"/>
                  </a:lnTo>
                  <a:lnTo>
                    <a:pt x="2433" y="777"/>
                  </a:lnTo>
                  <a:lnTo>
                    <a:pt x="2433" y="777"/>
                  </a:lnTo>
                  <a:lnTo>
                    <a:pt x="2433" y="778"/>
                  </a:lnTo>
                  <a:lnTo>
                    <a:pt x="2432" y="778"/>
                  </a:lnTo>
                  <a:lnTo>
                    <a:pt x="2432" y="778"/>
                  </a:lnTo>
                  <a:lnTo>
                    <a:pt x="2431" y="778"/>
                  </a:lnTo>
                  <a:lnTo>
                    <a:pt x="2431" y="778"/>
                  </a:lnTo>
                  <a:lnTo>
                    <a:pt x="2431" y="778"/>
                  </a:lnTo>
                  <a:lnTo>
                    <a:pt x="2431" y="778"/>
                  </a:lnTo>
                  <a:lnTo>
                    <a:pt x="2431" y="778"/>
                  </a:lnTo>
                  <a:lnTo>
                    <a:pt x="2431" y="777"/>
                  </a:lnTo>
                  <a:lnTo>
                    <a:pt x="2431" y="777"/>
                  </a:lnTo>
                  <a:lnTo>
                    <a:pt x="2431" y="777"/>
                  </a:lnTo>
                  <a:lnTo>
                    <a:pt x="2431" y="777"/>
                  </a:lnTo>
                  <a:lnTo>
                    <a:pt x="2431" y="777"/>
                  </a:lnTo>
                  <a:lnTo>
                    <a:pt x="2430" y="777"/>
                  </a:lnTo>
                  <a:lnTo>
                    <a:pt x="2430" y="777"/>
                  </a:lnTo>
                  <a:lnTo>
                    <a:pt x="2430" y="777"/>
                  </a:lnTo>
                  <a:lnTo>
                    <a:pt x="2430" y="777"/>
                  </a:lnTo>
                  <a:lnTo>
                    <a:pt x="2430" y="776"/>
                  </a:lnTo>
                  <a:lnTo>
                    <a:pt x="2429" y="776"/>
                  </a:lnTo>
                  <a:lnTo>
                    <a:pt x="2429" y="776"/>
                  </a:lnTo>
                  <a:lnTo>
                    <a:pt x="2429" y="776"/>
                  </a:lnTo>
                  <a:lnTo>
                    <a:pt x="2429" y="776"/>
                  </a:lnTo>
                  <a:lnTo>
                    <a:pt x="2429" y="776"/>
                  </a:lnTo>
                  <a:lnTo>
                    <a:pt x="2429" y="777"/>
                  </a:lnTo>
                  <a:lnTo>
                    <a:pt x="2428" y="777"/>
                  </a:lnTo>
                  <a:lnTo>
                    <a:pt x="2428" y="777"/>
                  </a:lnTo>
                  <a:lnTo>
                    <a:pt x="2429" y="777"/>
                  </a:lnTo>
                  <a:lnTo>
                    <a:pt x="2429" y="778"/>
                  </a:lnTo>
                  <a:lnTo>
                    <a:pt x="2429" y="778"/>
                  </a:lnTo>
                  <a:lnTo>
                    <a:pt x="2429" y="778"/>
                  </a:lnTo>
                  <a:lnTo>
                    <a:pt x="2429" y="778"/>
                  </a:lnTo>
                  <a:lnTo>
                    <a:pt x="2429" y="779"/>
                  </a:lnTo>
                  <a:lnTo>
                    <a:pt x="2430" y="779"/>
                  </a:lnTo>
                  <a:lnTo>
                    <a:pt x="2430" y="779"/>
                  </a:lnTo>
                  <a:lnTo>
                    <a:pt x="2430" y="779"/>
                  </a:lnTo>
                  <a:lnTo>
                    <a:pt x="2430" y="780"/>
                  </a:lnTo>
                  <a:lnTo>
                    <a:pt x="2430" y="780"/>
                  </a:lnTo>
                  <a:lnTo>
                    <a:pt x="2430" y="780"/>
                  </a:lnTo>
                  <a:lnTo>
                    <a:pt x="2428" y="780"/>
                  </a:lnTo>
                  <a:lnTo>
                    <a:pt x="2428" y="780"/>
                  </a:lnTo>
                  <a:lnTo>
                    <a:pt x="2428" y="780"/>
                  </a:lnTo>
                  <a:lnTo>
                    <a:pt x="2428" y="779"/>
                  </a:lnTo>
                  <a:lnTo>
                    <a:pt x="2428" y="779"/>
                  </a:lnTo>
                  <a:lnTo>
                    <a:pt x="2428" y="779"/>
                  </a:lnTo>
                  <a:lnTo>
                    <a:pt x="2428" y="779"/>
                  </a:lnTo>
                  <a:lnTo>
                    <a:pt x="2427" y="779"/>
                  </a:lnTo>
                  <a:lnTo>
                    <a:pt x="2425" y="779"/>
                  </a:lnTo>
                  <a:lnTo>
                    <a:pt x="2425" y="779"/>
                  </a:lnTo>
                  <a:lnTo>
                    <a:pt x="2425" y="779"/>
                  </a:lnTo>
                  <a:lnTo>
                    <a:pt x="2425" y="780"/>
                  </a:lnTo>
                  <a:lnTo>
                    <a:pt x="2425" y="780"/>
                  </a:lnTo>
                  <a:lnTo>
                    <a:pt x="2425" y="780"/>
                  </a:lnTo>
                  <a:lnTo>
                    <a:pt x="2424" y="780"/>
                  </a:lnTo>
                  <a:lnTo>
                    <a:pt x="2424" y="780"/>
                  </a:lnTo>
                  <a:lnTo>
                    <a:pt x="2423" y="780"/>
                  </a:lnTo>
                  <a:lnTo>
                    <a:pt x="2423" y="780"/>
                  </a:lnTo>
                  <a:lnTo>
                    <a:pt x="2423" y="780"/>
                  </a:lnTo>
                  <a:lnTo>
                    <a:pt x="2423" y="780"/>
                  </a:lnTo>
                  <a:lnTo>
                    <a:pt x="2423" y="780"/>
                  </a:lnTo>
                  <a:lnTo>
                    <a:pt x="2423" y="782"/>
                  </a:lnTo>
                  <a:lnTo>
                    <a:pt x="2422" y="782"/>
                  </a:lnTo>
                  <a:lnTo>
                    <a:pt x="2422" y="780"/>
                  </a:lnTo>
                  <a:lnTo>
                    <a:pt x="2421" y="780"/>
                  </a:lnTo>
                  <a:lnTo>
                    <a:pt x="2421" y="782"/>
                  </a:lnTo>
                  <a:lnTo>
                    <a:pt x="2421" y="782"/>
                  </a:lnTo>
                  <a:lnTo>
                    <a:pt x="2421" y="780"/>
                  </a:lnTo>
                  <a:lnTo>
                    <a:pt x="2421" y="780"/>
                  </a:lnTo>
                  <a:lnTo>
                    <a:pt x="2421" y="780"/>
                  </a:lnTo>
                  <a:lnTo>
                    <a:pt x="2421" y="779"/>
                  </a:lnTo>
                  <a:lnTo>
                    <a:pt x="2420" y="779"/>
                  </a:lnTo>
                  <a:lnTo>
                    <a:pt x="2420" y="779"/>
                  </a:lnTo>
                  <a:lnTo>
                    <a:pt x="2420" y="779"/>
                  </a:lnTo>
                  <a:lnTo>
                    <a:pt x="2420" y="778"/>
                  </a:lnTo>
                  <a:lnTo>
                    <a:pt x="2420" y="778"/>
                  </a:lnTo>
                  <a:lnTo>
                    <a:pt x="2420" y="778"/>
                  </a:lnTo>
                  <a:lnTo>
                    <a:pt x="2420" y="778"/>
                  </a:lnTo>
                  <a:lnTo>
                    <a:pt x="2420" y="778"/>
                  </a:lnTo>
                  <a:lnTo>
                    <a:pt x="2420" y="778"/>
                  </a:lnTo>
                  <a:lnTo>
                    <a:pt x="2420" y="777"/>
                  </a:lnTo>
                  <a:lnTo>
                    <a:pt x="2420" y="777"/>
                  </a:lnTo>
                  <a:lnTo>
                    <a:pt x="2420" y="777"/>
                  </a:lnTo>
                  <a:lnTo>
                    <a:pt x="2419" y="777"/>
                  </a:lnTo>
                  <a:lnTo>
                    <a:pt x="2419" y="777"/>
                  </a:lnTo>
                  <a:lnTo>
                    <a:pt x="2419" y="777"/>
                  </a:lnTo>
                  <a:lnTo>
                    <a:pt x="2419" y="777"/>
                  </a:lnTo>
                  <a:lnTo>
                    <a:pt x="2419" y="778"/>
                  </a:lnTo>
                  <a:lnTo>
                    <a:pt x="2419" y="778"/>
                  </a:lnTo>
                  <a:lnTo>
                    <a:pt x="2419" y="778"/>
                  </a:lnTo>
                  <a:lnTo>
                    <a:pt x="2419" y="778"/>
                  </a:lnTo>
                  <a:lnTo>
                    <a:pt x="2419" y="779"/>
                  </a:lnTo>
                  <a:lnTo>
                    <a:pt x="2417" y="779"/>
                  </a:lnTo>
                  <a:lnTo>
                    <a:pt x="2417" y="779"/>
                  </a:lnTo>
                  <a:lnTo>
                    <a:pt x="2417" y="779"/>
                  </a:lnTo>
                  <a:lnTo>
                    <a:pt x="2416" y="779"/>
                  </a:lnTo>
                  <a:lnTo>
                    <a:pt x="2416" y="779"/>
                  </a:lnTo>
                  <a:lnTo>
                    <a:pt x="2416" y="778"/>
                  </a:lnTo>
                  <a:lnTo>
                    <a:pt x="2416" y="778"/>
                  </a:lnTo>
                  <a:lnTo>
                    <a:pt x="2416" y="778"/>
                  </a:lnTo>
                  <a:lnTo>
                    <a:pt x="2415" y="778"/>
                  </a:lnTo>
                  <a:lnTo>
                    <a:pt x="2415" y="778"/>
                  </a:lnTo>
                  <a:lnTo>
                    <a:pt x="2415" y="778"/>
                  </a:lnTo>
                  <a:lnTo>
                    <a:pt x="2415" y="778"/>
                  </a:lnTo>
                  <a:lnTo>
                    <a:pt x="2414" y="778"/>
                  </a:lnTo>
                  <a:lnTo>
                    <a:pt x="2414" y="778"/>
                  </a:lnTo>
                  <a:lnTo>
                    <a:pt x="2414" y="778"/>
                  </a:lnTo>
                  <a:lnTo>
                    <a:pt x="2414" y="778"/>
                  </a:lnTo>
                  <a:lnTo>
                    <a:pt x="2414" y="778"/>
                  </a:lnTo>
                  <a:lnTo>
                    <a:pt x="2414" y="778"/>
                  </a:lnTo>
                  <a:lnTo>
                    <a:pt x="2414" y="778"/>
                  </a:lnTo>
                  <a:lnTo>
                    <a:pt x="2413" y="778"/>
                  </a:lnTo>
                  <a:lnTo>
                    <a:pt x="2412" y="778"/>
                  </a:lnTo>
                  <a:lnTo>
                    <a:pt x="2412" y="778"/>
                  </a:lnTo>
                  <a:lnTo>
                    <a:pt x="2412" y="778"/>
                  </a:lnTo>
                  <a:lnTo>
                    <a:pt x="2412" y="778"/>
                  </a:lnTo>
                  <a:lnTo>
                    <a:pt x="2412" y="777"/>
                  </a:lnTo>
                  <a:lnTo>
                    <a:pt x="2412" y="777"/>
                  </a:lnTo>
                  <a:lnTo>
                    <a:pt x="2412" y="777"/>
                  </a:lnTo>
                  <a:lnTo>
                    <a:pt x="2412" y="777"/>
                  </a:lnTo>
                  <a:lnTo>
                    <a:pt x="2412" y="777"/>
                  </a:lnTo>
                  <a:lnTo>
                    <a:pt x="2412" y="777"/>
                  </a:lnTo>
                  <a:lnTo>
                    <a:pt x="2412" y="777"/>
                  </a:lnTo>
                  <a:lnTo>
                    <a:pt x="2411" y="777"/>
                  </a:lnTo>
                  <a:lnTo>
                    <a:pt x="2411" y="776"/>
                  </a:lnTo>
                  <a:lnTo>
                    <a:pt x="2411" y="776"/>
                  </a:lnTo>
                  <a:lnTo>
                    <a:pt x="2411" y="776"/>
                  </a:lnTo>
                  <a:lnTo>
                    <a:pt x="2411" y="775"/>
                  </a:lnTo>
                  <a:lnTo>
                    <a:pt x="2411" y="775"/>
                  </a:lnTo>
                  <a:lnTo>
                    <a:pt x="2411" y="775"/>
                  </a:lnTo>
                  <a:lnTo>
                    <a:pt x="2411" y="775"/>
                  </a:lnTo>
                  <a:lnTo>
                    <a:pt x="2410" y="774"/>
                  </a:lnTo>
                  <a:lnTo>
                    <a:pt x="2410" y="775"/>
                  </a:lnTo>
                  <a:lnTo>
                    <a:pt x="2410" y="775"/>
                  </a:lnTo>
                  <a:lnTo>
                    <a:pt x="2410" y="776"/>
                  </a:lnTo>
                  <a:lnTo>
                    <a:pt x="2410" y="776"/>
                  </a:lnTo>
                  <a:lnTo>
                    <a:pt x="2410" y="777"/>
                  </a:lnTo>
                  <a:lnTo>
                    <a:pt x="2410" y="777"/>
                  </a:lnTo>
                  <a:lnTo>
                    <a:pt x="2410" y="777"/>
                  </a:lnTo>
                  <a:lnTo>
                    <a:pt x="2410" y="778"/>
                  </a:lnTo>
                  <a:lnTo>
                    <a:pt x="2410" y="779"/>
                  </a:lnTo>
                  <a:lnTo>
                    <a:pt x="2408" y="779"/>
                  </a:lnTo>
                  <a:lnTo>
                    <a:pt x="2408" y="779"/>
                  </a:lnTo>
                  <a:lnTo>
                    <a:pt x="2410" y="779"/>
                  </a:lnTo>
                  <a:lnTo>
                    <a:pt x="2410" y="780"/>
                  </a:lnTo>
                  <a:lnTo>
                    <a:pt x="2408" y="780"/>
                  </a:lnTo>
                  <a:lnTo>
                    <a:pt x="2408" y="780"/>
                  </a:lnTo>
                  <a:lnTo>
                    <a:pt x="2408" y="782"/>
                  </a:lnTo>
                  <a:lnTo>
                    <a:pt x="2408" y="782"/>
                  </a:lnTo>
                  <a:lnTo>
                    <a:pt x="2408" y="782"/>
                  </a:lnTo>
                  <a:lnTo>
                    <a:pt x="2407" y="782"/>
                  </a:lnTo>
                  <a:lnTo>
                    <a:pt x="2407" y="783"/>
                  </a:lnTo>
                  <a:lnTo>
                    <a:pt x="2407" y="783"/>
                  </a:lnTo>
                  <a:lnTo>
                    <a:pt x="2407" y="783"/>
                  </a:lnTo>
                  <a:lnTo>
                    <a:pt x="2407" y="784"/>
                  </a:lnTo>
                  <a:lnTo>
                    <a:pt x="2407" y="784"/>
                  </a:lnTo>
                  <a:lnTo>
                    <a:pt x="2407" y="785"/>
                  </a:lnTo>
                  <a:lnTo>
                    <a:pt x="2407" y="785"/>
                  </a:lnTo>
                  <a:lnTo>
                    <a:pt x="2407" y="785"/>
                  </a:lnTo>
                  <a:lnTo>
                    <a:pt x="2407" y="786"/>
                  </a:lnTo>
                  <a:lnTo>
                    <a:pt x="2406" y="786"/>
                  </a:lnTo>
                  <a:lnTo>
                    <a:pt x="2406" y="786"/>
                  </a:lnTo>
                  <a:lnTo>
                    <a:pt x="2407" y="786"/>
                  </a:lnTo>
                  <a:lnTo>
                    <a:pt x="2407" y="787"/>
                  </a:lnTo>
                  <a:lnTo>
                    <a:pt x="2407" y="787"/>
                  </a:lnTo>
                  <a:lnTo>
                    <a:pt x="2407" y="787"/>
                  </a:lnTo>
                  <a:lnTo>
                    <a:pt x="2407" y="787"/>
                  </a:lnTo>
                  <a:lnTo>
                    <a:pt x="2407" y="788"/>
                  </a:lnTo>
                  <a:lnTo>
                    <a:pt x="2407" y="788"/>
                  </a:lnTo>
                  <a:lnTo>
                    <a:pt x="2407" y="788"/>
                  </a:lnTo>
                  <a:lnTo>
                    <a:pt x="2407" y="789"/>
                  </a:lnTo>
                  <a:lnTo>
                    <a:pt x="2407" y="789"/>
                  </a:lnTo>
                  <a:lnTo>
                    <a:pt x="2407" y="789"/>
                  </a:lnTo>
                  <a:lnTo>
                    <a:pt x="2407" y="791"/>
                  </a:lnTo>
                  <a:lnTo>
                    <a:pt x="2407" y="791"/>
                  </a:lnTo>
                  <a:lnTo>
                    <a:pt x="2408" y="791"/>
                  </a:lnTo>
                  <a:lnTo>
                    <a:pt x="2408" y="792"/>
                  </a:lnTo>
                  <a:lnTo>
                    <a:pt x="2408" y="792"/>
                  </a:lnTo>
                  <a:lnTo>
                    <a:pt x="2408" y="792"/>
                  </a:lnTo>
                  <a:lnTo>
                    <a:pt x="2410" y="792"/>
                  </a:lnTo>
                  <a:lnTo>
                    <a:pt x="2410" y="792"/>
                  </a:lnTo>
                  <a:lnTo>
                    <a:pt x="2410" y="792"/>
                  </a:lnTo>
                  <a:lnTo>
                    <a:pt x="2410" y="793"/>
                  </a:lnTo>
                  <a:lnTo>
                    <a:pt x="2410" y="793"/>
                  </a:lnTo>
                  <a:lnTo>
                    <a:pt x="2410" y="793"/>
                  </a:lnTo>
                  <a:lnTo>
                    <a:pt x="2410" y="793"/>
                  </a:lnTo>
                  <a:lnTo>
                    <a:pt x="2410" y="793"/>
                  </a:lnTo>
                  <a:lnTo>
                    <a:pt x="2410" y="792"/>
                  </a:lnTo>
                  <a:lnTo>
                    <a:pt x="2410" y="792"/>
                  </a:lnTo>
                  <a:lnTo>
                    <a:pt x="2410" y="792"/>
                  </a:lnTo>
                  <a:lnTo>
                    <a:pt x="2410" y="791"/>
                  </a:lnTo>
                  <a:lnTo>
                    <a:pt x="2410" y="791"/>
                  </a:lnTo>
                  <a:lnTo>
                    <a:pt x="2410" y="791"/>
                  </a:lnTo>
                  <a:lnTo>
                    <a:pt x="2410" y="791"/>
                  </a:lnTo>
                  <a:lnTo>
                    <a:pt x="2410" y="791"/>
                  </a:lnTo>
                  <a:lnTo>
                    <a:pt x="2410" y="791"/>
                  </a:lnTo>
                  <a:lnTo>
                    <a:pt x="2410" y="791"/>
                  </a:lnTo>
                  <a:lnTo>
                    <a:pt x="2410" y="791"/>
                  </a:lnTo>
                  <a:lnTo>
                    <a:pt x="2410" y="792"/>
                  </a:lnTo>
                  <a:lnTo>
                    <a:pt x="2410" y="791"/>
                  </a:lnTo>
                  <a:lnTo>
                    <a:pt x="2411" y="792"/>
                  </a:lnTo>
                  <a:lnTo>
                    <a:pt x="2411" y="792"/>
                  </a:lnTo>
                  <a:lnTo>
                    <a:pt x="2411" y="791"/>
                  </a:lnTo>
                  <a:lnTo>
                    <a:pt x="2411" y="791"/>
                  </a:lnTo>
                  <a:lnTo>
                    <a:pt x="2411" y="792"/>
                  </a:lnTo>
                  <a:lnTo>
                    <a:pt x="2411" y="791"/>
                  </a:lnTo>
                  <a:lnTo>
                    <a:pt x="2412" y="791"/>
                  </a:lnTo>
                  <a:lnTo>
                    <a:pt x="2412" y="792"/>
                  </a:lnTo>
                  <a:lnTo>
                    <a:pt x="2412" y="792"/>
                  </a:lnTo>
                  <a:lnTo>
                    <a:pt x="2412" y="792"/>
                  </a:lnTo>
                  <a:lnTo>
                    <a:pt x="2412" y="792"/>
                  </a:lnTo>
                  <a:lnTo>
                    <a:pt x="2413" y="792"/>
                  </a:lnTo>
                  <a:lnTo>
                    <a:pt x="2413" y="791"/>
                  </a:lnTo>
                  <a:lnTo>
                    <a:pt x="2414" y="791"/>
                  </a:lnTo>
                  <a:lnTo>
                    <a:pt x="2414" y="792"/>
                  </a:lnTo>
                  <a:lnTo>
                    <a:pt x="2414" y="792"/>
                  </a:lnTo>
                  <a:lnTo>
                    <a:pt x="2414" y="792"/>
                  </a:lnTo>
                  <a:lnTo>
                    <a:pt x="2414" y="792"/>
                  </a:lnTo>
                  <a:lnTo>
                    <a:pt x="2415" y="792"/>
                  </a:lnTo>
                  <a:lnTo>
                    <a:pt x="2415" y="792"/>
                  </a:lnTo>
                  <a:lnTo>
                    <a:pt x="2415" y="792"/>
                  </a:lnTo>
                  <a:lnTo>
                    <a:pt x="2416" y="792"/>
                  </a:lnTo>
                  <a:lnTo>
                    <a:pt x="2416" y="792"/>
                  </a:lnTo>
                  <a:lnTo>
                    <a:pt x="2416" y="792"/>
                  </a:lnTo>
                  <a:lnTo>
                    <a:pt x="2416" y="792"/>
                  </a:lnTo>
                  <a:lnTo>
                    <a:pt x="2416" y="792"/>
                  </a:lnTo>
                  <a:lnTo>
                    <a:pt x="2416" y="792"/>
                  </a:lnTo>
                  <a:lnTo>
                    <a:pt x="2417" y="792"/>
                  </a:lnTo>
                  <a:lnTo>
                    <a:pt x="2417" y="792"/>
                  </a:lnTo>
                  <a:lnTo>
                    <a:pt x="2416" y="792"/>
                  </a:lnTo>
                  <a:lnTo>
                    <a:pt x="2416" y="792"/>
                  </a:lnTo>
                  <a:lnTo>
                    <a:pt x="2417" y="792"/>
                  </a:lnTo>
                  <a:lnTo>
                    <a:pt x="2417" y="792"/>
                  </a:lnTo>
                  <a:lnTo>
                    <a:pt x="2417" y="793"/>
                  </a:lnTo>
                  <a:lnTo>
                    <a:pt x="2417" y="793"/>
                  </a:lnTo>
                  <a:lnTo>
                    <a:pt x="2417" y="793"/>
                  </a:lnTo>
                  <a:lnTo>
                    <a:pt x="2417" y="794"/>
                  </a:lnTo>
                  <a:lnTo>
                    <a:pt x="2417" y="794"/>
                  </a:lnTo>
                  <a:lnTo>
                    <a:pt x="2416" y="794"/>
                  </a:lnTo>
                  <a:lnTo>
                    <a:pt x="2416" y="794"/>
                  </a:lnTo>
                  <a:lnTo>
                    <a:pt x="2416" y="794"/>
                  </a:lnTo>
                  <a:lnTo>
                    <a:pt x="2416" y="794"/>
                  </a:lnTo>
                  <a:lnTo>
                    <a:pt x="2416" y="795"/>
                  </a:lnTo>
                  <a:lnTo>
                    <a:pt x="2416" y="795"/>
                  </a:lnTo>
                  <a:lnTo>
                    <a:pt x="2416" y="795"/>
                  </a:lnTo>
                  <a:lnTo>
                    <a:pt x="2416" y="795"/>
                  </a:lnTo>
                  <a:lnTo>
                    <a:pt x="2416" y="796"/>
                  </a:lnTo>
                  <a:lnTo>
                    <a:pt x="2417" y="796"/>
                  </a:lnTo>
                  <a:lnTo>
                    <a:pt x="2417" y="796"/>
                  </a:lnTo>
                  <a:lnTo>
                    <a:pt x="2417" y="796"/>
                  </a:lnTo>
                  <a:lnTo>
                    <a:pt x="2417" y="796"/>
                  </a:lnTo>
                  <a:lnTo>
                    <a:pt x="2419" y="796"/>
                  </a:lnTo>
                  <a:lnTo>
                    <a:pt x="2419" y="796"/>
                  </a:lnTo>
                  <a:lnTo>
                    <a:pt x="2419" y="796"/>
                  </a:lnTo>
                  <a:lnTo>
                    <a:pt x="2419" y="796"/>
                  </a:lnTo>
                  <a:lnTo>
                    <a:pt x="2419" y="796"/>
                  </a:lnTo>
                  <a:lnTo>
                    <a:pt x="2419" y="797"/>
                  </a:lnTo>
                  <a:lnTo>
                    <a:pt x="2419" y="796"/>
                  </a:lnTo>
                  <a:lnTo>
                    <a:pt x="2419" y="797"/>
                  </a:lnTo>
                  <a:lnTo>
                    <a:pt x="2420" y="797"/>
                  </a:lnTo>
                  <a:lnTo>
                    <a:pt x="2420" y="797"/>
                  </a:lnTo>
                  <a:lnTo>
                    <a:pt x="2420" y="797"/>
                  </a:lnTo>
                  <a:lnTo>
                    <a:pt x="2420" y="797"/>
                  </a:lnTo>
                  <a:lnTo>
                    <a:pt x="2421" y="797"/>
                  </a:lnTo>
                  <a:lnTo>
                    <a:pt x="2421" y="799"/>
                  </a:lnTo>
                  <a:lnTo>
                    <a:pt x="2420" y="799"/>
                  </a:lnTo>
                  <a:lnTo>
                    <a:pt x="2420" y="797"/>
                  </a:lnTo>
                  <a:lnTo>
                    <a:pt x="2420" y="799"/>
                  </a:lnTo>
                  <a:lnTo>
                    <a:pt x="2420" y="799"/>
                  </a:lnTo>
                  <a:lnTo>
                    <a:pt x="2420" y="799"/>
                  </a:lnTo>
                  <a:lnTo>
                    <a:pt x="2420" y="799"/>
                  </a:lnTo>
                  <a:lnTo>
                    <a:pt x="2420" y="799"/>
                  </a:lnTo>
                  <a:lnTo>
                    <a:pt x="2420" y="799"/>
                  </a:lnTo>
                  <a:lnTo>
                    <a:pt x="2420" y="799"/>
                  </a:lnTo>
                  <a:lnTo>
                    <a:pt x="2419" y="799"/>
                  </a:lnTo>
                  <a:lnTo>
                    <a:pt x="2419" y="799"/>
                  </a:lnTo>
                  <a:lnTo>
                    <a:pt x="2419" y="799"/>
                  </a:lnTo>
                  <a:lnTo>
                    <a:pt x="2419" y="799"/>
                  </a:lnTo>
                  <a:lnTo>
                    <a:pt x="2419" y="799"/>
                  </a:lnTo>
                  <a:lnTo>
                    <a:pt x="2419" y="800"/>
                  </a:lnTo>
                  <a:lnTo>
                    <a:pt x="2417" y="799"/>
                  </a:lnTo>
                  <a:lnTo>
                    <a:pt x="2419" y="799"/>
                  </a:lnTo>
                  <a:lnTo>
                    <a:pt x="2419" y="799"/>
                  </a:lnTo>
                  <a:lnTo>
                    <a:pt x="2419" y="799"/>
                  </a:lnTo>
                  <a:lnTo>
                    <a:pt x="2419" y="797"/>
                  </a:lnTo>
                  <a:lnTo>
                    <a:pt x="2419" y="797"/>
                  </a:lnTo>
                  <a:lnTo>
                    <a:pt x="2419" y="797"/>
                  </a:lnTo>
                  <a:lnTo>
                    <a:pt x="2417" y="797"/>
                  </a:lnTo>
                  <a:lnTo>
                    <a:pt x="2417" y="797"/>
                  </a:lnTo>
                  <a:lnTo>
                    <a:pt x="2417" y="797"/>
                  </a:lnTo>
                  <a:lnTo>
                    <a:pt x="2417" y="797"/>
                  </a:lnTo>
                  <a:lnTo>
                    <a:pt x="2417" y="797"/>
                  </a:lnTo>
                  <a:lnTo>
                    <a:pt x="2417" y="797"/>
                  </a:lnTo>
                  <a:lnTo>
                    <a:pt x="2417" y="797"/>
                  </a:lnTo>
                  <a:lnTo>
                    <a:pt x="2417" y="799"/>
                  </a:lnTo>
                  <a:lnTo>
                    <a:pt x="2417" y="797"/>
                  </a:lnTo>
                  <a:lnTo>
                    <a:pt x="2417" y="797"/>
                  </a:lnTo>
                  <a:lnTo>
                    <a:pt x="2416" y="799"/>
                  </a:lnTo>
                  <a:lnTo>
                    <a:pt x="2415" y="799"/>
                  </a:lnTo>
                  <a:lnTo>
                    <a:pt x="2415" y="799"/>
                  </a:lnTo>
                  <a:lnTo>
                    <a:pt x="2414" y="799"/>
                  </a:lnTo>
                  <a:lnTo>
                    <a:pt x="2414" y="797"/>
                  </a:lnTo>
                  <a:lnTo>
                    <a:pt x="2414" y="797"/>
                  </a:lnTo>
                  <a:lnTo>
                    <a:pt x="2414" y="797"/>
                  </a:lnTo>
                  <a:lnTo>
                    <a:pt x="2415" y="797"/>
                  </a:lnTo>
                  <a:lnTo>
                    <a:pt x="2415" y="796"/>
                  </a:lnTo>
                  <a:lnTo>
                    <a:pt x="2415" y="796"/>
                  </a:lnTo>
                  <a:lnTo>
                    <a:pt x="2415" y="796"/>
                  </a:lnTo>
                  <a:lnTo>
                    <a:pt x="2415" y="796"/>
                  </a:lnTo>
                  <a:lnTo>
                    <a:pt x="2414" y="796"/>
                  </a:lnTo>
                  <a:lnTo>
                    <a:pt x="2414" y="796"/>
                  </a:lnTo>
                  <a:lnTo>
                    <a:pt x="2414" y="797"/>
                  </a:lnTo>
                  <a:lnTo>
                    <a:pt x="2414" y="797"/>
                  </a:lnTo>
                  <a:lnTo>
                    <a:pt x="2414" y="797"/>
                  </a:lnTo>
                  <a:lnTo>
                    <a:pt x="2414" y="797"/>
                  </a:lnTo>
                  <a:lnTo>
                    <a:pt x="2414" y="799"/>
                  </a:lnTo>
                  <a:lnTo>
                    <a:pt x="2413" y="799"/>
                  </a:lnTo>
                  <a:lnTo>
                    <a:pt x="2413" y="799"/>
                  </a:lnTo>
                  <a:lnTo>
                    <a:pt x="2413" y="799"/>
                  </a:lnTo>
                  <a:lnTo>
                    <a:pt x="2413" y="800"/>
                  </a:lnTo>
                  <a:lnTo>
                    <a:pt x="2413" y="800"/>
                  </a:lnTo>
                  <a:lnTo>
                    <a:pt x="2413" y="800"/>
                  </a:lnTo>
                  <a:lnTo>
                    <a:pt x="2412" y="800"/>
                  </a:lnTo>
                  <a:lnTo>
                    <a:pt x="2412" y="801"/>
                  </a:lnTo>
                  <a:lnTo>
                    <a:pt x="2413" y="801"/>
                  </a:lnTo>
                  <a:lnTo>
                    <a:pt x="2413" y="802"/>
                  </a:lnTo>
                  <a:lnTo>
                    <a:pt x="2413" y="802"/>
                  </a:lnTo>
                  <a:lnTo>
                    <a:pt x="2413" y="803"/>
                  </a:lnTo>
                  <a:lnTo>
                    <a:pt x="2413" y="803"/>
                  </a:lnTo>
                  <a:lnTo>
                    <a:pt x="2413" y="802"/>
                  </a:lnTo>
                  <a:lnTo>
                    <a:pt x="2414" y="802"/>
                  </a:lnTo>
                  <a:lnTo>
                    <a:pt x="2414" y="802"/>
                  </a:lnTo>
                  <a:lnTo>
                    <a:pt x="2414" y="802"/>
                  </a:lnTo>
                  <a:lnTo>
                    <a:pt x="2414" y="801"/>
                  </a:lnTo>
                  <a:lnTo>
                    <a:pt x="2413" y="801"/>
                  </a:lnTo>
                  <a:lnTo>
                    <a:pt x="2413" y="801"/>
                  </a:lnTo>
                  <a:lnTo>
                    <a:pt x="2414" y="801"/>
                  </a:lnTo>
                  <a:lnTo>
                    <a:pt x="2414" y="801"/>
                  </a:lnTo>
                  <a:lnTo>
                    <a:pt x="2414" y="801"/>
                  </a:lnTo>
                  <a:lnTo>
                    <a:pt x="2415" y="801"/>
                  </a:lnTo>
                  <a:lnTo>
                    <a:pt x="2415" y="801"/>
                  </a:lnTo>
                  <a:lnTo>
                    <a:pt x="2416" y="801"/>
                  </a:lnTo>
                  <a:lnTo>
                    <a:pt x="2416" y="802"/>
                  </a:lnTo>
                  <a:lnTo>
                    <a:pt x="2416" y="802"/>
                  </a:lnTo>
                  <a:lnTo>
                    <a:pt x="2416" y="802"/>
                  </a:lnTo>
                  <a:lnTo>
                    <a:pt x="2417" y="802"/>
                  </a:lnTo>
                  <a:lnTo>
                    <a:pt x="2417" y="802"/>
                  </a:lnTo>
                  <a:lnTo>
                    <a:pt x="2417" y="802"/>
                  </a:lnTo>
                  <a:lnTo>
                    <a:pt x="2417" y="802"/>
                  </a:lnTo>
                  <a:lnTo>
                    <a:pt x="2419" y="802"/>
                  </a:lnTo>
                  <a:lnTo>
                    <a:pt x="2417" y="802"/>
                  </a:lnTo>
                  <a:lnTo>
                    <a:pt x="2419" y="802"/>
                  </a:lnTo>
                  <a:lnTo>
                    <a:pt x="2419" y="803"/>
                  </a:lnTo>
                  <a:lnTo>
                    <a:pt x="2419" y="803"/>
                  </a:lnTo>
                  <a:lnTo>
                    <a:pt x="2419" y="803"/>
                  </a:lnTo>
                  <a:lnTo>
                    <a:pt x="2419" y="803"/>
                  </a:lnTo>
                  <a:lnTo>
                    <a:pt x="2419" y="803"/>
                  </a:lnTo>
                  <a:lnTo>
                    <a:pt x="2419" y="803"/>
                  </a:lnTo>
                  <a:lnTo>
                    <a:pt x="2419" y="803"/>
                  </a:lnTo>
                  <a:lnTo>
                    <a:pt x="2419" y="803"/>
                  </a:lnTo>
                  <a:lnTo>
                    <a:pt x="2419" y="804"/>
                  </a:lnTo>
                  <a:lnTo>
                    <a:pt x="2419" y="804"/>
                  </a:lnTo>
                  <a:lnTo>
                    <a:pt x="2419" y="803"/>
                  </a:lnTo>
                  <a:lnTo>
                    <a:pt x="2420" y="803"/>
                  </a:lnTo>
                  <a:lnTo>
                    <a:pt x="2420" y="804"/>
                  </a:lnTo>
                  <a:lnTo>
                    <a:pt x="2419" y="804"/>
                  </a:lnTo>
                  <a:lnTo>
                    <a:pt x="2420" y="804"/>
                  </a:lnTo>
                  <a:lnTo>
                    <a:pt x="2420" y="804"/>
                  </a:lnTo>
                  <a:lnTo>
                    <a:pt x="2420" y="804"/>
                  </a:lnTo>
                  <a:lnTo>
                    <a:pt x="2420" y="805"/>
                  </a:lnTo>
                  <a:lnTo>
                    <a:pt x="2420" y="805"/>
                  </a:lnTo>
                  <a:lnTo>
                    <a:pt x="2420" y="805"/>
                  </a:lnTo>
                  <a:lnTo>
                    <a:pt x="2420" y="805"/>
                  </a:lnTo>
                  <a:lnTo>
                    <a:pt x="2420" y="805"/>
                  </a:lnTo>
                  <a:lnTo>
                    <a:pt x="2420" y="804"/>
                  </a:lnTo>
                  <a:lnTo>
                    <a:pt x="2421" y="804"/>
                  </a:lnTo>
                  <a:lnTo>
                    <a:pt x="2421" y="804"/>
                  </a:lnTo>
                  <a:lnTo>
                    <a:pt x="2421" y="804"/>
                  </a:lnTo>
                  <a:lnTo>
                    <a:pt x="2421" y="804"/>
                  </a:lnTo>
                  <a:lnTo>
                    <a:pt x="2421" y="804"/>
                  </a:lnTo>
                  <a:lnTo>
                    <a:pt x="2421" y="806"/>
                  </a:lnTo>
                  <a:lnTo>
                    <a:pt x="2421" y="806"/>
                  </a:lnTo>
                  <a:lnTo>
                    <a:pt x="2421" y="806"/>
                  </a:lnTo>
                  <a:lnTo>
                    <a:pt x="2421" y="806"/>
                  </a:lnTo>
                  <a:lnTo>
                    <a:pt x="2421" y="806"/>
                  </a:lnTo>
                  <a:lnTo>
                    <a:pt x="2421" y="806"/>
                  </a:lnTo>
                  <a:lnTo>
                    <a:pt x="2421" y="806"/>
                  </a:lnTo>
                  <a:lnTo>
                    <a:pt x="2422" y="806"/>
                  </a:lnTo>
                  <a:lnTo>
                    <a:pt x="2422" y="806"/>
                  </a:lnTo>
                  <a:lnTo>
                    <a:pt x="2423" y="806"/>
                  </a:lnTo>
                  <a:lnTo>
                    <a:pt x="2423" y="806"/>
                  </a:lnTo>
                  <a:lnTo>
                    <a:pt x="2423" y="806"/>
                  </a:lnTo>
                  <a:lnTo>
                    <a:pt x="2423" y="808"/>
                  </a:lnTo>
                  <a:lnTo>
                    <a:pt x="2423" y="808"/>
                  </a:lnTo>
                  <a:lnTo>
                    <a:pt x="2423" y="808"/>
                  </a:lnTo>
                  <a:lnTo>
                    <a:pt x="2423" y="808"/>
                  </a:lnTo>
                  <a:lnTo>
                    <a:pt x="2423" y="808"/>
                  </a:lnTo>
                  <a:lnTo>
                    <a:pt x="2424" y="809"/>
                  </a:lnTo>
                  <a:lnTo>
                    <a:pt x="2424" y="809"/>
                  </a:lnTo>
                  <a:lnTo>
                    <a:pt x="2424" y="809"/>
                  </a:lnTo>
                  <a:lnTo>
                    <a:pt x="2424" y="809"/>
                  </a:lnTo>
                  <a:lnTo>
                    <a:pt x="2424" y="809"/>
                  </a:lnTo>
                  <a:lnTo>
                    <a:pt x="2424" y="809"/>
                  </a:lnTo>
                  <a:lnTo>
                    <a:pt x="2424" y="809"/>
                  </a:lnTo>
                  <a:lnTo>
                    <a:pt x="2424" y="809"/>
                  </a:lnTo>
                  <a:lnTo>
                    <a:pt x="2424" y="809"/>
                  </a:lnTo>
                  <a:lnTo>
                    <a:pt x="2424" y="809"/>
                  </a:lnTo>
                  <a:lnTo>
                    <a:pt x="2424" y="810"/>
                  </a:lnTo>
                  <a:lnTo>
                    <a:pt x="2424" y="810"/>
                  </a:lnTo>
                  <a:lnTo>
                    <a:pt x="2423" y="810"/>
                  </a:lnTo>
                  <a:lnTo>
                    <a:pt x="2423" y="811"/>
                  </a:lnTo>
                  <a:lnTo>
                    <a:pt x="2423" y="811"/>
                  </a:lnTo>
                  <a:lnTo>
                    <a:pt x="2423" y="812"/>
                  </a:lnTo>
                  <a:lnTo>
                    <a:pt x="2423" y="812"/>
                  </a:lnTo>
                  <a:lnTo>
                    <a:pt x="2423" y="812"/>
                  </a:lnTo>
                  <a:lnTo>
                    <a:pt x="2423" y="812"/>
                  </a:lnTo>
                  <a:lnTo>
                    <a:pt x="2423" y="813"/>
                  </a:lnTo>
                  <a:lnTo>
                    <a:pt x="2422" y="813"/>
                  </a:lnTo>
                  <a:lnTo>
                    <a:pt x="2422" y="814"/>
                  </a:lnTo>
                  <a:lnTo>
                    <a:pt x="2422" y="814"/>
                  </a:lnTo>
                  <a:lnTo>
                    <a:pt x="2422" y="816"/>
                  </a:lnTo>
                  <a:lnTo>
                    <a:pt x="2422" y="816"/>
                  </a:lnTo>
                  <a:lnTo>
                    <a:pt x="2422" y="817"/>
                  </a:lnTo>
                  <a:lnTo>
                    <a:pt x="2423" y="817"/>
                  </a:lnTo>
                  <a:lnTo>
                    <a:pt x="2423" y="818"/>
                  </a:lnTo>
                  <a:lnTo>
                    <a:pt x="2423" y="818"/>
                  </a:lnTo>
                  <a:lnTo>
                    <a:pt x="2423" y="818"/>
                  </a:lnTo>
                  <a:lnTo>
                    <a:pt x="2423" y="820"/>
                  </a:lnTo>
                  <a:lnTo>
                    <a:pt x="2422" y="821"/>
                  </a:lnTo>
                  <a:lnTo>
                    <a:pt x="2422" y="821"/>
                  </a:lnTo>
                  <a:lnTo>
                    <a:pt x="2422" y="821"/>
                  </a:lnTo>
                  <a:lnTo>
                    <a:pt x="2422" y="822"/>
                  </a:lnTo>
                  <a:lnTo>
                    <a:pt x="2422" y="822"/>
                  </a:lnTo>
                  <a:lnTo>
                    <a:pt x="2422" y="826"/>
                  </a:lnTo>
                  <a:lnTo>
                    <a:pt x="2422" y="826"/>
                  </a:lnTo>
                  <a:lnTo>
                    <a:pt x="2422" y="827"/>
                  </a:lnTo>
                  <a:lnTo>
                    <a:pt x="2422" y="828"/>
                  </a:lnTo>
                  <a:lnTo>
                    <a:pt x="2422" y="829"/>
                  </a:lnTo>
                  <a:lnTo>
                    <a:pt x="2423" y="829"/>
                  </a:lnTo>
                  <a:lnTo>
                    <a:pt x="2423" y="830"/>
                  </a:lnTo>
                  <a:lnTo>
                    <a:pt x="2423" y="830"/>
                  </a:lnTo>
                  <a:lnTo>
                    <a:pt x="2423" y="830"/>
                  </a:lnTo>
                  <a:lnTo>
                    <a:pt x="2423" y="831"/>
                  </a:lnTo>
                  <a:lnTo>
                    <a:pt x="2423" y="834"/>
                  </a:lnTo>
                  <a:lnTo>
                    <a:pt x="2423" y="834"/>
                  </a:lnTo>
                  <a:lnTo>
                    <a:pt x="2423" y="835"/>
                  </a:lnTo>
                  <a:lnTo>
                    <a:pt x="2424" y="835"/>
                  </a:lnTo>
                  <a:lnTo>
                    <a:pt x="2424" y="835"/>
                  </a:lnTo>
                  <a:lnTo>
                    <a:pt x="2424" y="836"/>
                  </a:lnTo>
                  <a:lnTo>
                    <a:pt x="2424" y="837"/>
                  </a:lnTo>
                  <a:lnTo>
                    <a:pt x="2424" y="837"/>
                  </a:lnTo>
                  <a:lnTo>
                    <a:pt x="2424" y="838"/>
                  </a:lnTo>
                  <a:lnTo>
                    <a:pt x="2424" y="838"/>
                  </a:lnTo>
                  <a:lnTo>
                    <a:pt x="2424" y="838"/>
                  </a:lnTo>
                  <a:lnTo>
                    <a:pt x="2424" y="838"/>
                  </a:lnTo>
                  <a:lnTo>
                    <a:pt x="2424" y="839"/>
                  </a:lnTo>
                  <a:lnTo>
                    <a:pt x="2424" y="839"/>
                  </a:lnTo>
                  <a:lnTo>
                    <a:pt x="2424" y="839"/>
                  </a:lnTo>
                  <a:lnTo>
                    <a:pt x="2425" y="839"/>
                  </a:lnTo>
                  <a:lnTo>
                    <a:pt x="2425" y="842"/>
                  </a:lnTo>
                  <a:lnTo>
                    <a:pt x="2424" y="842"/>
                  </a:lnTo>
                  <a:lnTo>
                    <a:pt x="2424" y="842"/>
                  </a:lnTo>
                  <a:lnTo>
                    <a:pt x="2421" y="842"/>
                  </a:lnTo>
                  <a:lnTo>
                    <a:pt x="2421" y="842"/>
                  </a:lnTo>
                  <a:lnTo>
                    <a:pt x="2420" y="842"/>
                  </a:lnTo>
                  <a:lnTo>
                    <a:pt x="2420" y="842"/>
                  </a:lnTo>
                  <a:lnTo>
                    <a:pt x="2420" y="842"/>
                  </a:lnTo>
                  <a:lnTo>
                    <a:pt x="2420" y="842"/>
                  </a:lnTo>
                  <a:lnTo>
                    <a:pt x="2420" y="840"/>
                  </a:lnTo>
                  <a:lnTo>
                    <a:pt x="2420" y="840"/>
                  </a:lnTo>
                  <a:lnTo>
                    <a:pt x="2420" y="840"/>
                  </a:lnTo>
                  <a:lnTo>
                    <a:pt x="2416" y="840"/>
                  </a:lnTo>
                  <a:lnTo>
                    <a:pt x="2416" y="840"/>
                  </a:lnTo>
                  <a:lnTo>
                    <a:pt x="2415" y="840"/>
                  </a:lnTo>
                  <a:lnTo>
                    <a:pt x="2415" y="842"/>
                  </a:lnTo>
                  <a:lnTo>
                    <a:pt x="2414" y="842"/>
                  </a:lnTo>
                  <a:lnTo>
                    <a:pt x="2413" y="842"/>
                  </a:lnTo>
                  <a:lnTo>
                    <a:pt x="2413" y="842"/>
                  </a:lnTo>
                  <a:lnTo>
                    <a:pt x="2413" y="842"/>
                  </a:lnTo>
                  <a:lnTo>
                    <a:pt x="2412" y="842"/>
                  </a:lnTo>
                  <a:lnTo>
                    <a:pt x="2412" y="842"/>
                  </a:lnTo>
                  <a:lnTo>
                    <a:pt x="2411" y="842"/>
                  </a:lnTo>
                  <a:lnTo>
                    <a:pt x="2411" y="843"/>
                  </a:lnTo>
                  <a:lnTo>
                    <a:pt x="2411" y="843"/>
                  </a:lnTo>
                  <a:lnTo>
                    <a:pt x="2410" y="843"/>
                  </a:lnTo>
                  <a:lnTo>
                    <a:pt x="2410" y="843"/>
                  </a:lnTo>
                  <a:lnTo>
                    <a:pt x="2408" y="843"/>
                  </a:lnTo>
                  <a:lnTo>
                    <a:pt x="2408" y="843"/>
                  </a:lnTo>
                  <a:lnTo>
                    <a:pt x="2408" y="843"/>
                  </a:lnTo>
                  <a:lnTo>
                    <a:pt x="2406" y="843"/>
                  </a:lnTo>
                  <a:lnTo>
                    <a:pt x="2406" y="844"/>
                  </a:lnTo>
                  <a:lnTo>
                    <a:pt x="2406" y="844"/>
                  </a:lnTo>
                  <a:lnTo>
                    <a:pt x="2405" y="844"/>
                  </a:lnTo>
                  <a:lnTo>
                    <a:pt x="2404" y="844"/>
                  </a:lnTo>
                  <a:lnTo>
                    <a:pt x="2404" y="844"/>
                  </a:lnTo>
                  <a:lnTo>
                    <a:pt x="2403" y="844"/>
                  </a:lnTo>
                  <a:lnTo>
                    <a:pt x="2402" y="844"/>
                  </a:lnTo>
                  <a:lnTo>
                    <a:pt x="2402" y="844"/>
                  </a:lnTo>
                  <a:lnTo>
                    <a:pt x="2402" y="844"/>
                  </a:lnTo>
                  <a:lnTo>
                    <a:pt x="2400" y="844"/>
                  </a:lnTo>
                  <a:lnTo>
                    <a:pt x="2400" y="845"/>
                  </a:lnTo>
                  <a:lnTo>
                    <a:pt x="2399" y="845"/>
                  </a:lnTo>
                  <a:lnTo>
                    <a:pt x="2399" y="845"/>
                  </a:lnTo>
                  <a:lnTo>
                    <a:pt x="2399" y="845"/>
                  </a:lnTo>
                  <a:lnTo>
                    <a:pt x="2398" y="845"/>
                  </a:lnTo>
                  <a:lnTo>
                    <a:pt x="2398" y="845"/>
                  </a:lnTo>
                  <a:lnTo>
                    <a:pt x="2397" y="845"/>
                  </a:lnTo>
                  <a:lnTo>
                    <a:pt x="2395" y="845"/>
                  </a:lnTo>
                  <a:lnTo>
                    <a:pt x="2395" y="845"/>
                  </a:lnTo>
                  <a:lnTo>
                    <a:pt x="2394" y="845"/>
                  </a:lnTo>
                  <a:lnTo>
                    <a:pt x="2394" y="845"/>
                  </a:lnTo>
                  <a:lnTo>
                    <a:pt x="2394" y="845"/>
                  </a:lnTo>
                  <a:lnTo>
                    <a:pt x="2393" y="845"/>
                  </a:lnTo>
                  <a:lnTo>
                    <a:pt x="2391" y="845"/>
                  </a:lnTo>
                  <a:lnTo>
                    <a:pt x="2391" y="844"/>
                  </a:lnTo>
                  <a:lnTo>
                    <a:pt x="2390" y="844"/>
                  </a:lnTo>
                  <a:lnTo>
                    <a:pt x="2390" y="844"/>
                  </a:lnTo>
                  <a:lnTo>
                    <a:pt x="2389" y="844"/>
                  </a:lnTo>
                  <a:lnTo>
                    <a:pt x="2389" y="844"/>
                  </a:lnTo>
                  <a:lnTo>
                    <a:pt x="2389" y="844"/>
                  </a:lnTo>
                  <a:lnTo>
                    <a:pt x="2388" y="844"/>
                  </a:lnTo>
                  <a:lnTo>
                    <a:pt x="2387" y="844"/>
                  </a:lnTo>
                  <a:lnTo>
                    <a:pt x="2387" y="844"/>
                  </a:lnTo>
                  <a:lnTo>
                    <a:pt x="2386" y="844"/>
                  </a:lnTo>
                  <a:lnTo>
                    <a:pt x="2385" y="843"/>
                  </a:lnTo>
                  <a:lnTo>
                    <a:pt x="2385" y="843"/>
                  </a:lnTo>
                  <a:lnTo>
                    <a:pt x="2385" y="843"/>
                  </a:lnTo>
                  <a:lnTo>
                    <a:pt x="2383" y="843"/>
                  </a:lnTo>
                  <a:lnTo>
                    <a:pt x="2383" y="843"/>
                  </a:lnTo>
                  <a:lnTo>
                    <a:pt x="2383" y="843"/>
                  </a:lnTo>
                  <a:lnTo>
                    <a:pt x="2383" y="843"/>
                  </a:lnTo>
                  <a:lnTo>
                    <a:pt x="2383" y="843"/>
                  </a:lnTo>
                  <a:lnTo>
                    <a:pt x="2382" y="842"/>
                  </a:lnTo>
                  <a:lnTo>
                    <a:pt x="2382" y="842"/>
                  </a:lnTo>
                  <a:lnTo>
                    <a:pt x="2382" y="842"/>
                  </a:lnTo>
                  <a:lnTo>
                    <a:pt x="2381" y="842"/>
                  </a:lnTo>
                  <a:lnTo>
                    <a:pt x="2381" y="842"/>
                  </a:lnTo>
                  <a:lnTo>
                    <a:pt x="2381" y="842"/>
                  </a:lnTo>
                  <a:lnTo>
                    <a:pt x="2381" y="840"/>
                  </a:lnTo>
                  <a:lnTo>
                    <a:pt x="2380" y="840"/>
                  </a:lnTo>
                  <a:lnTo>
                    <a:pt x="2380" y="840"/>
                  </a:lnTo>
                  <a:lnTo>
                    <a:pt x="2380" y="840"/>
                  </a:lnTo>
                  <a:lnTo>
                    <a:pt x="2380" y="840"/>
                  </a:lnTo>
                  <a:lnTo>
                    <a:pt x="2379" y="840"/>
                  </a:lnTo>
                  <a:lnTo>
                    <a:pt x="2379" y="839"/>
                  </a:lnTo>
                  <a:lnTo>
                    <a:pt x="2379" y="839"/>
                  </a:lnTo>
                  <a:lnTo>
                    <a:pt x="2379" y="839"/>
                  </a:lnTo>
                  <a:lnTo>
                    <a:pt x="2379" y="839"/>
                  </a:lnTo>
                  <a:lnTo>
                    <a:pt x="2378" y="839"/>
                  </a:lnTo>
                  <a:lnTo>
                    <a:pt x="2378" y="839"/>
                  </a:lnTo>
                  <a:lnTo>
                    <a:pt x="2378" y="839"/>
                  </a:lnTo>
                  <a:lnTo>
                    <a:pt x="2377" y="838"/>
                  </a:lnTo>
                  <a:lnTo>
                    <a:pt x="2377" y="838"/>
                  </a:lnTo>
                  <a:lnTo>
                    <a:pt x="2376" y="838"/>
                  </a:lnTo>
                  <a:lnTo>
                    <a:pt x="2376" y="838"/>
                  </a:lnTo>
                  <a:lnTo>
                    <a:pt x="2376" y="838"/>
                  </a:lnTo>
                  <a:lnTo>
                    <a:pt x="2376" y="837"/>
                  </a:lnTo>
                  <a:lnTo>
                    <a:pt x="2376" y="837"/>
                  </a:lnTo>
                  <a:lnTo>
                    <a:pt x="2376" y="837"/>
                  </a:lnTo>
                  <a:lnTo>
                    <a:pt x="2374" y="837"/>
                  </a:lnTo>
                  <a:lnTo>
                    <a:pt x="2374" y="837"/>
                  </a:lnTo>
                  <a:lnTo>
                    <a:pt x="2374" y="837"/>
                  </a:lnTo>
                  <a:lnTo>
                    <a:pt x="2374" y="836"/>
                  </a:lnTo>
                  <a:lnTo>
                    <a:pt x="2374" y="836"/>
                  </a:lnTo>
                  <a:lnTo>
                    <a:pt x="2374" y="836"/>
                  </a:lnTo>
                  <a:lnTo>
                    <a:pt x="2373" y="836"/>
                  </a:lnTo>
                  <a:lnTo>
                    <a:pt x="2373" y="835"/>
                  </a:lnTo>
                  <a:lnTo>
                    <a:pt x="2373" y="835"/>
                  </a:lnTo>
                  <a:lnTo>
                    <a:pt x="2373" y="835"/>
                  </a:lnTo>
                  <a:lnTo>
                    <a:pt x="2373" y="835"/>
                  </a:lnTo>
                  <a:lnTo>
                    <a:pt x="2373" y="835"/>
                  </a:lnTo>
                  <a:lnTo>
                    <a:pt x="2373" y="834"/>
                  </a:lnTo>
                  <a:lnTo>
                    <a:pt x="2373" y="833"/>
                  </a:lnTo>
                  <a:lnTo>
                    <a:pt x="2372" y="833"/>
                  </a:lnTo>
                  <a:lnTo>
                    <a:pt x="2372" y="833"/>
                  </a:lnTo>
                  <a:lnTo>
                    <a:pt x="2372" y="833"/>
                  </a:lnTo>
                  <a:lnTo>
                    <a:pt x="2372" y="833"/>
                  </a:lnTo>
                  <a:lnTo>
                    <a:pt x="2371" y="833"/>
                  </a:lnTo>
                  <a:lnTo>
                    <a:pt x="2371" y="833"/>
                  </a:lnTo>
                  <a:lnTo>
                    <a:pt x="2370" y="833"/>
                  </a:lnTo>
                  <a:lnTo>
                    <a:pt x="2370" y="831"/>
                  </a:lnTo>
                  <a:lnTo>
                    <a:pt x="2369" y="831"/>
                  </a:lnTo>
                  <a:lnTo>
                    <a:pt x="2369" y="831"/>
                  </a:lnTo>
                  <a:lnTo>
                    <a:pt x="2369" y="831"/>
                  </a:lnTo>
                  <a:lnTo>
                    <a:pt x="2369" y="831"/>
                  </a:lnTo>
                  <a:lnTo>
                    <a:pt x="2369" y="831"/>
                  </a:lnTo>
                  <a:lnTo>
                    <a:pt x="2369" y="831"/>
                  </a:lnTo>
                  <a:lnTo>
                    <a:pt x="2366" y="831"/>
                  </a:lnTo>
                  <a:lnTo>
                    <a:pt x="2365" y="831"/>
                  </a:lnTo>
                  <a:lnTo>
                    <a:pt x="2363" y="831"/>
                  </a:lnTo>
                  <a:lnTo>
                    <a:pt x="2363" y="831"/>
                  </a:lnTo>
                  <a:lnTo>
                    <a:pt x="2362" y="831"/>
                  </a:lnTo>
                  <a:lnTo>
                    <a:pt x="2362" y="830"/>
                  </a:lnTo>
                  <a:lnTo>
                    <a:pt x="2361" y="830"/>
                  </a:lnTo>
                  <a:lnTo>
                    <a:pt x="2361" y="830"/>
                  </a:lnTo>
                  <a:lnTo>
                    <a:pt x="2361" y="830"/>
                  </a:lnTo>
                  <a:lnTo>
                    <a:pt x="2360" y="830"/>
                  </a:lnTo>
                  <a:lnTo>
                    <a:pt x="2360" y="830"/>
                  </a:lnTo>
                  <a:lnTo>
                    <a:pt x="2359" y="830"/>
                  </a:lnTo>
                  <a:lnTo>
                    <a:pt x="2359" y="829"/>
                  </a:lnTo>
                  <a:lnTo>
                    <a:pt x="2359" y="829"/>
                  </a:lnTo>
                  <a:lnTo>
                    <a:pt x="2359" y="829"/>
                  </a:lnTo>
                  <a:lnTo>
                    <a:pt x="2359" y="829"/>
                  </a:lnTo>
                  <a:lnTo>
                    <a:pt x="2359" y="829"/>
                  </a:lnTo>
                  <a:lnTo>
                    <a:pt x="2357" y="829"/>
                  </a:lnTo>
                  <a:lnTo>
                    <a:pt x="2357" y="829"/>
                  </a:lnTo>
                  <a:lnTo>
                    <a:pt x="2357" y="829"/>
                  </a:lnTo>
                  <a:lnTo>
                    <a:pt x="2357" y="828"/>
                  </a:lnTo>
                  <a:lnTo>
                    <a:pt x="2356" y="828"/>
                  </a:lnTo>
                  <a:lnTo>
                    <a:pt x="2356" y="828"/>
                  </a:lnTo>
                  <a:lnTo>
                    <a:pt x="2356" y="827"/>
                  </a:lnTo>
                  <a:lnTo>
                    <a:pt x="2356" y="827"/>
                  </a:lnTo>
                  <a:lnTo>
                    <a:pt x="2356" y="827"/>
                  </a:lnTo>
                  <a:lnTo>
                    <a:pt x="2356" y="826"/>
                  </a:lnTo>
                  <a:lnTo>
                    <a:pt x="2355" y="826"/>
                  </a:lnTo>
                  <a:lnTo>
                    <a:pt x="2355" y="825"/>
                  </a:lnTo>
                  <a:lnTo>
                    <a:pt x="2355" y="825"/>
                  </a:lnTo>
                  <a:lnTo>
                    <a:pt x="2355" y="823"/>
                  </a:lnTo>
                  <a:lnTo>
                    <a:pt x="2355" y="823"/>
                  </a:lnTo>
                  <a:lnTo>
                    <a:pt x="2355" y="822"/>
                  </a:lnTo>
                  <a:lnTo>
                    <a:pt x="2355" y="822"/>
                  </a:lnTo>
                  <a:lnTo>
                    <a:pt x="2355" y="821"/>
                  </a:lnTo>
                  <a:lnTo>
                    <a:pt x="2354" y="821"/>
                  </a:lnTo>
                  <a:lnTo>
                    <a:pt x="2354" y="819"/>
                  </a:lnTo>
                  <a:lnTo>
                    <a:pt x="2354" y="819"/>
                  </a:lnTo>
                  <a:lnTo>
                    <a:pt x="2354" y="817"/>
                  </a:lnTo>
                  <a:lnTo>
                    <a:pt x="2354" y="817"/>
                  </a:lnTo>
                  <a:lnTo>
                    <a:pt x="2354" y="816"/>
                  </a:lnTo>
                  <a:lnTo>
                    <a:pt x="2354" y="816"/>
                  </a:lnTo>
                  <a:lnTo>
                    <a:pt x="2354" y="816"/>
                  </a:lnTo>
                  <a:lnTo>
                    <a:pt x="2354" y="816"/>
                  </a:lnTo>
                  <a:lnTo>
                    <a:pt x="2354" y="816"/>
                  </a:lnTo>
                  <a:lnTo>
                    <a:pt x="2354" y="814"/>
                  </a:lnTo>
                  <a:lnTo>
                    <a:pt x="2354" y="811"/>
                  </a:lnTo>
                  <a:lnTo>
                    <a:pt x="2354" y="811"/>
                  </a:lnTo>
                  <a:lnTo>
                    <a:pt x="2354" y="810"/>
                  </a:lnTo>
                  <a:lnTo>
                    <a:pt x="2354" y="810"/>
                  </a:lnTo>
                  <a:lnTo>
                    <a:pt x="2354" y="809"/>
                  </a:lnTo>
                  <a:lnTo>
                    <a:pt x="2354" y="809"/>
                  </a:lnTo>
                  <a:lnTo>
                    <a:pt x="2354" y="809"/>
                  </a:lnTo>
                  <a:lnTo>
                    <a:pt x="2354" y="809"/>
                  </a:lnTo>
                  <a:lnTo>
                    <a:pt x="2355" y="809"/>
                  </a:lnTo>
                  <a:lnTo>
                    <a:pt x="2355" y="809"/>
                  </a:lnTo>
                  <a:lnTo>
                    <a:pt x="2355" y="809"/>
                  </a:lnTo>
                  <a:lnTo>
                    <a:pt x="2355" y="808"/>
                  </a:lnTo>
                  <a:lnTo>
                    <a:pt x="2355" y="808"/>
                  </a:lnTo>
                  <a:lnTo>
                    <a:pt x="2355" y="806"/>
                  </a:lnTo>
                  <a:lnTo>
                    <a:pt x="2355" y="806"/>
                  </a:lnTo>
                  <a:lnTo>
                    <a:pt x="2355" y="805"/>
                  </a:lnTo>
                  <a:lnTo>
                    <a:pt x="2355" y="805"/>
                  </a:lnTo>
                  <a:lnTo>
                    <a:pt x="2355" y="804"/>
                  </a:lnTo>
                  <a:lnTo>
                    <a:pt x="2355" y="804"/>
                  </a:lnTo>
                  <a:lnTo>
                    <a:pt x="2356" y="804"/>
                  </a:lnTo>
                  <a:lnTo>
                    <a:pt x="2356" y="804"/>
                  </a:lnTo>
                  <a:lnTo>
                    <a:pt x="2356" y="804"/>
                  </a:lnTo>
                  <a:lnTo>
                    <a:pt x="2357" y="804"/>
                  </a:lnTo>
                  <a:lnTo>
                    <a:pt x="2357" y="805"/>
                  </a:lnTo>
                  <a:lnTo>
                    <a:pt x="2357" y="805"/>
                  </a:lnTo>
                  <a:lnTo>
                    <a:pt x="2359" y="805"/>
                  </a:lnTo>
                  <a:lnTo>
                    <a:pt x="2359" y="806"/>
                  </a:lnTo>
                  <a:lnTo>
                    <a:pt x="2357" y="806"/>
                  </a:lnTo>
                  <a:lnTo>
                    <a:pt x="2356" y="806"/>
                  </a:lnTo>
                  <a:lnTo>
                    <a:pt x="2356" y="808"/>
                  </a:lnTo>
                  <a:lnTo>
                    <a:pt x="2357" y="808"/>
                  </a:lnTo>
                  <a:lnTo>
                    <a:pt x="2357" y="808"/>
                  </a:lnTo>
                  <a:lnTo>
                    <a:pt x="2356" y="808"/>
                  </a:lnTo>
                  <a:lnTo>
                    <a:pt x="2357" y="808"/>
                  </a:lnTo>
                  <a:lnTo>
                    <a:pt x="2357" y="808"/>
                  </a:lnTo>
                  <a:lnTo>
                    <a:pt x="2357" y="808"/>
                  </a:lnTo>
                  <a:lnTo>
                    <a:pt x="2359" y="808"/>
                  </a:lnTo>
                  <a:lnTo>
                    <a:pt x="2359" y="808"/>
                  </a:lnTo>
                  <a:lnTo>
                    <a:pt x="2359" y="806"/>
                  </a:lnTo>
                  <a:lnTo>
                    <a:pt x="2359" y="806"/>
                  </a:lnTo>
                  <a:lnTo>
                    <a:pt x="2359" y="805"/>
                  </a:lnTo>
                  <a:lnTo>
                    <a:pt x="2359" y="805"/>
                  </a:lnTo>
                  <a:lnTo>
                    <a:pt x="2359" y="805"/>
                  </a:lnTo>
                  <a:lnTo>
                    <a:pt x="2360" y="804"/>
                  </a:lnTo>
                  <a:lnTo>
                    <a:pt x="2360" y="802"/>
                  </a:lnTo>
                  <a:lnTo>
                    <a:pt x="2360" y="802"/>
                  </a:lnTo>
                  <a:lnTo>
                    <a:pt x="2360" y="802"/>
                  </a:lnTo>
                  <a:lnTo>
                    <a:pt x="2361" y="802"/>
                  </a:lnTo>
                  <a:lnTo>
                    <a:pt x="2361" y="802"/>
                  </a:lnTo>
                  <a:lnTo>
                    <a:pt x="2361" y="802"/>
                  </a:lnTo>
                  <a:lnTo>
                    <a:pt x="2361" y="802"/>
                  </a:lnTo>
                  <a:lnTo>
                    <a:pt x="2361" y="802"/>
                  </a:lnTo>
                  <a:lnTo>
                    <a:pt x="2362" y="802"/>
                  </a:lnTo>
                  <a:lnTo>
                    <a:pt x="2361" y="802"/>
                  </a:lnTo>
                  <a:lnTo>
                    <a:pt x="2361" y="802"/>
                  </a:lnTo>
                  <a:lnTo>
                    <a:pt x="2361" y="802"/>
                  </a:lnTo>
                  <a:lnTo>
                    <a:pt x="2361" y="802"/>
                  </a:lnTo>
                  <a:lnTo>
                    <a:pt x="2362" y="802"/>
                  </a:lnTo>
                  <a:lnTo>
                    <a:pt x="2362" y="801"/>
                  </a:lnTo>
                  <a:lnTo>
                    <a:pt x="2362" y="801"/>
                  </a:lnTo>
                  <a:lnTo>
                    <a:pt x="2362" y="801"/>
                  </a:lnTo>
                  <a:lnTo>
                    <a:pt x="2362" y="801"/>
                  </a:lnTo>
                  <a:lnTo>
                    <a:pt x="2361" y="801"/>
                  </a:lnTo>
                  <a:lnTo>
                    <a:pt x="2361" y="800"/>
                  </a:lnTo>
                  <a:lnTo>
                    <a:pt x="2361" y="800"/>
                  </a:lnTo>
                  <a:lnTo>
                    <a:pt x="2361" y="800"/>
                  </a:lnTo>
                  <a:lnTo>
                    <a:pt x="2361" y="800"/>
                  </a:lnTo>
                  <a:lnTo>
                    <a:pt x="2360" y="800"/>
                  </a:lnTo>
                  <a:lnTo>
                    <a:pt x="2360" y="800"/>
                  </a:lnTo>
                  <a:lnTo>
                    <a:pt x="2360" y="800"/>
                  </a:lnTo>
                  <a:lnTo>
                    <a:pt x="2360" y="799"/>
                  </a:lnTo>
                  <a:lnTo>
                    <a:pt x="2360" y="799"/>
                  </a:lnTo>
                  <a:lnTo>
                    <a:pt x="2360" y="797"/>
                  </a:lnTo>
                  <a:lnTo>
                    <a:pt x="2361" y="797"/>
                  </a:lnTo>
                  <a:lnTo>
                    <a:pt x="2361" y="797"/>
                  </a:lnTo>
                  <a:lnTo>
                    <a:pt x="2361" y="796"/>
                  </a:lnTo>
                  <a:lnTo>
                    <a:pt x="2361" y="796"/>
                  </a:lnTo>
                  <a:lnTo>
                    <a:pt x="2361" y="796"/>
                  </a:lnTo>
                  <a:lnTo>
                    <a:pt x="2361" y="796"/>
                  </a:lnTo>
                  <a:lnTo>
                    <a:pt x="2361" y="796"/>
                  </a:lnTo>
                  <a:lnTo>
                    <a:pt x="2362" y="796"/>
                  </a:lnTo>
                  <a:lnTo>
                    <a:pt x="2362" y="795"/>
                  </a:lnTo>
                  <a:lnTo>
                    <a:pt x="2362" y="795"/>
                  </a:lnTo>
                  <a:lnTo>
                    <a:pt x="2362" y="794"/>
                  </a:lnTo>
                  <a:lnTo>
                    <a:pt x="2362" y="794"/>
                  </a:lnTo>
                  <a:lnTo>
                    <a:pt x="2362" y="794"/>
                  </a:lnTo>
                  <a:lnTo>
                    <a:pt x="2362" y="793"/>
                  </a:lnTo>
                  <a:lnTo>
                    <a:pt x="2362" y="793"/>
                  </a:lnTo>
                  <a:lnTo>
                    <a:pt x="2362" y="793"/>
                  </a:lnTo>
                  <a:lnTo>
                    <a:pt x="2362" y="793"/>
                  </a:lnTo>
                  <a:lnTo>
                    <a:pt x="2362" y="793"/>
                  </a:lnTo>
                  <a:lnTo>
                    <a:pt x="2362" y="792"/>
                  </a:lnTo>
                  <a:lnTo>
                    <a:pt x="2362" y="792"/>
                  </a:lnTo>
                  <a:lnTo>
                    <a:pt x="2362" y="792"/>
                  </a:lnTo>
                  <a:lnTo>
                    <a:pt x="2362" y="792"/>
                  </a:lnTo>
                  <a:lnTo>
                    <a:pt x="2363" y="792"/>
                  </a:lnTo>
                  <a:lnTo>
                    <a:pt x="2363" y="791"/>
                  </a:lnTo>
                  <a:lnTo>
                    <a:pt x="2362" y="791"/>
                  </a:lnTo>
                  <a:lnTo>
                    <a:pt x="2362" y="791"/>
                  </a:lnTo>
                  <a:lnTo>
                    <a:pt x="2362" y="791"/>
                  </a:lnTo>
                  <a:lnTo>
                    <a:pt x="2362" y="789"/>
                  </a:lnTo>
                  <a:lnTo>
                    <a:pt x="2362" y="789"/>
                  </a:lnTo>
                  <a:lnTo>
                    <a:pt x="2362" y="789"/>
                  </a:lnTo>
                  <a:lnTo>
                    <a:pt x="2363" y="789"/>
                  </a:lnTo>
                  <a:lnTo>
                    <a:pt x="2363" y="788"/>
                  </a:lnTo>
                  <a:lnTo>
                    <a:pt x="2363" y="788"/>
                  </a:lnTo>
                  <a:lnTo>
                    <a:pt x="2363" y="788"/>
                  </a:lnTo>
                  <a:lnTo>
                    <a:pt x="2363" y="788"/>
                  </a:lnTo>
                  <a:lnTo>
                    <a:pt x="2363" y="787"/>
                  </a:lnTo>
                  <a:lnTo>
                    <a:pt x="2364" y="787"/>
                  </a:lnTo>
                  <a:lnTo>
                    <a:pt x="2364" y="787"/>
                  </a:lnTo>
                  <a:lnTo>
                    <a:pt x="2364" y="787"/>
                  </a:lnTo>
                  <a:lnTo>
                    <a:pt x="2364" y="787"/>
                  </a:lnTo>
                  <a:lnTo>
                    <a:pt x="2365" y="787"/>
                  </a:lnTo>
                  <a:lnTo>
                    <a:pt x="2365" y="787"/>
                  </a:lnTo>
                  <a:lnTo>
                    <a:pt x="2365" y="787"/>
                  </a:lnTo>
                  <a:lnTo>
                    <a:pt x="2365" y="787"/>
                  </a:lnTo>
                  <a:lnTo>
                    <a:pt x="2366" y="787"/>
                  </a:lnTo>
                  <a:lnTo>
                    <a:pt x="2366" y="786"/>
                  </a:lnTo>
                  <a:lnTo>
                    <a:pt x="2368" y="786"/>
                  </a:lnTo>
                  <a:lnTo>
                    <a:pt x="2368" y="786"/>
                  </a:lnTo>
                  <a:lnTo>
                    <a:pt x="2368" y="786"/>
                  </a:lnTo>
                  <a:lnTo>
                    <a:pt x="2368" y="786"/>
                  </a:lnTo>
                  <a:lnTo>
                    <a:pt x="2368" y="785"/>
                  </a:lnTo>
                  <a:lnTo>
                    <a:pt x="2368" y="785"/>
                  </a:lnTo>
                  <a:lnTo>
                    <a:pt x="2368" y="785"/>
                  </a:lnTo>
                  <a:lnTo>
                    <a:pt x="2369" y="785"/>
                  </a:lnTo>
                  <a:lnTo>
                    <a:pt x="2369" y="785"/>
                  </a:lnTo>
                  <a:lnTo>
                    <a:pt x="2369" y="785"/>
                  </a:lnTo>
                  <a:lnTo>
                    <a:pt x="2370" y="786"/>
                  </a:lnTo>
                  <a:lnTo>
                    <a:pt x="2370" y="786"/>
                  </a:lnTo>
                  <a:lnTo>
                    <a:pt x="2370" y="786"/>
                  </a:lnTo>
                  <a:lnTo>
                    <a:pt x="2370" y="786"/>
                  </a:lnTo>
                  <a:lnTo>
                    <a:pt x="2370" y="786"/>
                  </a:lnTo>
                  <a:lnTo>
                    <a:pt x="2370" y="785"/>
                  </a:lnTo>
                  <a:lnTo>
                    <a:pt x="2371" y="785"/>
                  </a:lnTo>
                  <a:lnTo>
                    <a:pt x="2371" y="786"/>
                  </a:lnTo>
                  <a:lnTo>
                    <a:pt x="2371" y="786"/>
                  </a:lnTo>
                  <a:lnTo>
                    <a:pt x="2371" y="785"/>
                  </a:lnTo>
                  <a:lnTo>
                    <a:pt x="2372" y="785"/>
                  </a:lnTo>
                  <a:lnTo>
                    <a:pt x="2372" y="786"/>
                  </a:lnTo>
                  <a:lnTo>
                    <a:pt x="2373" y="786"/>
                  </a:lnTo>
                  <a:lnTo>
                    <a:pt x="2373" y="786"/>
                  </a:lnTo>
                  <a:lnTo>
                    <a:pt x="2373" y="786"/>
                  </a:lnTo>
                  <a:lnTo>
                    <a:pt x="2374" y="786"/>
                  </a:lnTo>
                  <a:lnTo>
                    <a:pt x="2374" y="786"/>
                  </a:lnTo>
                  <a:lnTo>
                    <a:pt x="2374" y="786"/>
                  </a:lnTo>
                  <a:lnTo>
                    <a:pt x="2374" y="786"/>
                  </a:lnTo>
                  <a:lnTo>
                    <a:pt x="2374" y="787"/>
                  </a:lnTo>
                  <a:lnTo>
                    <a:pt x="2374" y="787"/>
                  </a:lnTo>
                  <a:lnTo>
                    <a:pt x="2374" y="787"/>
                  </a:lnTo>
                  <a:lnTo>
                    <a:pt x="2376" y="787"/>
                  </a:lnTo>
                  <a:lnTo>
                    <a:pt x="2376" y="787"/>
                  </a:lnTo>
                  <a:lnTo>
                    <a:pt x="2374" y="787"/>
                  </a:lnTo>
                  <a:lnTo>
                    <a:pt x="2374" y="785"/>
                  </a:lnTo>
                  <a:lnTo>
                    <a:pt x="2374" y="785"/>
                  </a:lnTo>
                  <a:lnTo>
                    <a:pt x="2374" y="785"/>
                  </a:lnTo>
                  <a:lnTo>
                    <a:pt x="2374" y="785"/>
                  </a:lnTo>
                  <a:lnTo>
                    <a:pt x="2374" y="784"/>
                  </a:lnTo>
                  <a:lnTo>
                    <a:pt x="2373" y="784"/>
                  </a:lnTo>
                  <a:lnTo>
                    <a:pt x="2373" y="784"/>
                  </a:lnTo>
                  <a:lnTo>
                    <a:pt x="2373" y="784"/>
                  </a:lnTo>
                  <a:lnTo>
                    <a:pt x="2373" y="784"/>
                  </a:lnTo>
                  <a:lnTo>
                    <a:pt x="2373" y="784"/>
                  </a:lnTo>
                  <a:lnTo>
                    <a:pt x="2373" y="783"/>
                  </a:lnTo>
                  <a:lnTo>
                    <a:pt x="2373" y="783"/>
                  </a:lnTo>
                  <a:lnTo>
                    <a:pt x="2372" y="783"/>
                  </a:lnTo>
                  <a:lnTo>
                    <a:pt x="2372" y="783"/>
                  </a:lnTo>
                  <a:lnTo>
                    <a:pt x="2371" y="783"/>
                  </a:lnTo>
                  <a:lnTo>
                    <a:pt x="2371" y="783"/>
                  </a:lnTo>
                  <a:lnTo>
                    <a:pt x="2371" y="783"/>
                  </a:lnTo>
                  <a:lnTo>
                    <a:pt x="2371" y="783"/>
                  </a:lnTo>
                  <a:lnTo>
                    <a:pt x="2371" y="782"/>
                  </a:lnTo>
                  <a:lnTo>
                    <a:pt x="2371" y="782"/>
                  </a:lnTo>
                  <a:lnTo>
                    <a:pt x="2369" y="782"/>
                  </a:lnTo>
                  <a:lnTo>
                    <a:pt x="2368" y="782"/>
                  </a:lnTo>
                  <a:lnTo>
                    <a:pt x="2366" y="782"/>
                  </a:lnTo>
                  <a:lnTo>
                    <a:pt x="2366" y="782"/>
                  </a:lnTo>
                  <a:lnTo>
                    <a:pt x="2365" y="782"/>
                  </a:lnTo>
                  <a:lnTo>
                    <a:pt x="2365" y="782"/>
                  </a:lnTo>
                  <a:lnTo>
                    <a:pt x="2365" y="782"/>
                  </a:lnTo>
                  <a:lnTo>
                    <a:pt x="2365" y="782"/>
                  </a:lnTo>
                  <a:lnTo>
                    <a:pt x="2364" y="782"/>
                  </a:lnTo>
                  <a:lnTo>
                    <a:pt x="2364" y="780"/>
                  </a:lnTo>
                  <a:lnTo>
                    <a:pt x="2364" y="780"/>
                  </a:lnTo>
                  <a:lnTo>
                    <a:pt x="2363" y="780"/>
                  </a:lnTo>
                  <a:lnTo>
                    <a:pt x="2363" y="780"/>
                  </a:lnTo>
                  <a:lnTo>
                    <a:pt x="2363" y="780"/>
                  </a:lnTo>
                  <a:lnTo>
                    <a:pt x="2363" y="779"/>
                  </a:lnTo>
                  <a:lnTo>
                    <a:pt x="2363" y="779"/>
                  </a:lnTo>
                  <a:lnTo>
                    <a:pt x="2363" y="778"/>
                  </a:lnTo>
                  <a:lnTo>
                    <a:pt x="2363" y="778"/>
                  </a:lnTo>
                  <a:lnTo>
                    <a:pt x="2363" y="778"/>
                  </a:lnTo>
                  <a:lnTo>
                    <a:pt x="2363" y="778"/>
                  </a:lnTo>
                  <a:lnTo>
                    <a:pt x="2363" y="778"/>
                  </a:lnTo>
                  <a:lnTo>
                    <a:pt x="2362" y="778"/>
                  </a:lnTo>
                  <a:lnTo>
                    <a:pt x="2362" y="777"/>
                  </a:lnTo>
                  <a:lnTo>
                    <a:pt x="2362" y="777"/>
                  </a:lnTo>
                  <a:lnTo>
                    <a:pt x="2362" y="777"/>
                  </a:lnTo>
                  <a:lnTo>
                    <a:pt x="2361" y="777"/>
                  </a:lnTo>
                  <a:lnTo>
                    <a:pt x="2361" y="777"/>
                  </a:lnTo>
                  <a:lnTo>
                    <a:pt x="2361" y="777"/>
                  </a:lnTo>
                  <a:lnTo>
                    <a:pt x="2361" y="776"/>
                  </a:lnTo>
                  <a:lnTo>
                    <a:pt x="2361" y="776"/>
                  </a:lnTo>
                  <a:lnTo>
                    <a:pt x="2361" y="776"/>
                  </a:lnTo>
                  <a:lnTo>
                    <a:pt x="2361" y="776"/>
                  </a:lnTo>
                  <a:lnTo>
                    <a:pt x="2360" y="776"/>
                  </a:lnTo>
                  <a:lnTo>
                    <a:pt x="2360" y="776"/>
                  </a:lnTo>
                  <a:lnTo>
                    <a:pt x="2360" y="776"/>
                  </a:lnTo>
                  <a:lnTo>
                    <a:pt x="2360" y="775"/>
                  </a:lnTo>
                  <a:lnTo>
                    <a:pt x="2360" y="775"/>
                  </a:lnTo>
                  <a:lnTo>
                    <a:pt x="2360" y="775"/>
                  </a:lnTo>
                  <a:lnTo>
                    <a:pt x="2360" y="775"/>
                  </a:lnTo>
                  <a:lnTo>
                    <a:pt x="2359" y="775"/>
                  </a:lnTo>
                  <a:lnTo>
                    <a:pt x="2359" y="775"/>
                  </a:lnTo>
                  <a:lnTo>
                    <a:pt x="2359" y="774"/>
                  </a:lnTo>
                  <a:lnTo>
                    <a:pt x="2359" y="774"/>
                  </a:lnTo>
                  <a:lnTo>
                    <a:pt x="2359" y="774"/>
                  </a:lnTo>
                  <a:lnTo>
                    <a:pt x="2359" y="772"/>
                  </a:lnTo>
                  <a:lnTo>
                    <a:pt x="2359" y="772"/>
                  </a:lnTo>
                  <a:lnTo>
                    <a:pt x="2357" y="769"/>
                  </a:lnTo>
                  <a:lnTo>
                    <a:pt x="2357" y="769"/>
                  </a:lnTo>
                  <a:lnTo>
                    <a:pt x="2357" y="769"/>
                  </a:lnTo>
                  <a:lnTo>
                    <a:pt x="2357" y="769"/>
                  </a:lnTo>
                  <a:lnTo>
                    <a:pt x="2356" y="768"/>
                  </a:lnTo>
                  <a:lnTo>
                    <a:pt x="2356" y="768"/>
                  </a:lnTo>
                  <a:lnTo>
                    <a:pt x="2356" y="768"/>
                  </a:lnTo>
                  <a:lnTo>
                    <a:pt x="2356" y="768"/>
                  </a:lnTo>
                  <a:lnTo>
                    <a:pt x="2356" y="768"/>
                  </a:lnTo>
                  <a:lnTo>
                    <a:pt x="2356" y="768"/>
                  </a:lnTo>
                  <a:lnTo>
                    <a:pt x="2356" y="768"/>
                  </a:lnTo>
                  <a:lnTo>
                    <a:pt x="2355" y="768"/>
                  </a:lnTo>
                  <a:lnTo>
                    <a:pt x="2355" y="767"/>
                  </a:lnTo>
                  <a:lnTo>
                    <a:pt x="2355" y="767"/>
                  </a:lnTo>
                  <a:lnTo>
                    <a:pt x="2355" y="767"/>
                  </a:lnTo>
                  <a:lnTo>
                    <a:pt x="2355" y="767"/>
                  </a:lnTo>
                  <a:lnTo>
                    <a:pt x="2355" y="767"/>
                  </a:lnTo>
                  <a:lnTo>
                    <a:pt x="2355" y="767"/>
                  </a:lnTo>
                  <a:lnTo>
                    <a:pt x="2354" y="766"/>
                  </a:lnTo>
                  <a:lnTo>
                    <a:pt x="2354" y="766"/>
                  </a:lnTo>
                  <a:lnTo>
                    <a:pt x="2354" y="766"/>
                  </a:lnTo>
                  <a:lnTo>
                    <a:pt x="2354" y="766"/>
                  </a:lnTo>
                  <a:lnTo>
                    <a:pt x="2354" y="766"/>
                  </a:lnTo>
                  <a:lnTo>
                    <a:pt x="2354" y="765"/>
                  </a:lnTo>
                  <a:lnTo>
                    <a:pt x="2354" y="765"/>
                  </a:lnTo>
                  <a:lnTo>
                    <a:pt x="2354" y="765"/>
                  </a:lnTo>
                  <a:lnTo>
                    <a:pt x="2353" y="765"/>
                  </a:lnTo>
                  <a:lnTo>
                    <a:pt x="2353" y="763"/>
                  </a:lnTo>
                  <a:lnTo>
                    <a:pt x="2353" y="763"/>
                  </a:lnTo>
                  <a:lnTo>
                    <a:pt x="2353" y="763"/>
                  </a:lnTo>
                  <a:lnTo>
                    <a:pt x="2353" y="763"/>
                  </a:lnTo>
                  <a:lnTo>
                    <a:pt x="2353" y="763"/>
                  </a:lnTo>
                  <a:lnTo>
                    <a:pt x="2352" y="761"/>
                  </a:lnTo>
                  <a:lnTo>
                    <a:pt x="2352" y="761"/>
                  </a:lnTo>
                  <a:lnTo>
                    <a:pt x="2352" y="761"/>
                  </a:lnTo>
                  <a:lnTo>
                    <a:pt x="2351" y="761"/>
                  </a:lnTo>
                  <a:lnTo>
                    <a:pt x="2351" y="761"/>
                  </a:lnTo>
                  <a:lnTo>
                    <a:pt x="2351" y="761"/>
                  </a:lnTo>
                  <a:lnTo>
                    <a:pt x="2351" y="761"/>
                  </a:lnTo>
                  <a:lnTo>
                    <a:pt x="2351" y="761"/>
                  </a:lnTo>
                  <a:lnTo>
                    <a:pt x="2349" y="761"/>
                  </a:lnTo>
                  <a:lnTo>
                    <a:pt x="2349" y="760"/>
                  </a:lnTo>
                  <a:lnTo>
                    <a:pt x="2349" y="760"/>
                  </a:lnTo>
                  <a:lnTo>
                    <a:pt x="2349" y="760"/>
                  </a:lnTo>
                  <a:lnTo>
                    <a:pt x="2349" y="760"/>
                  </a:lnTo>
                  <a:lnTo>
                    <a:pt x="2349" y="760"/>
                  </a:lnTo>
                  <a:lnTo>
                    <a:pt x="2348" y="760"/>
                  </a:lnTo>
                  <a:lnTo>
                    <a:pt x="2347" y="759"/>
                  </a:lnTo>
                  <a:lnTo>
                    <a:pt x="2347" y="759"/>
                  </a:lnTo>
                  <a:lnTo>
                    <a:pt x="2347" y="759"/>
                  </a:lnTo>
                  <a:lnTo>
                    <a:pt x="2347" y="759"/>
                  </a:lnTo>
                  <a:lnTo>
                    <a:pt x="2347" y="758"/>
                  </a:lnTo>
                  <a:lnTo>
                    <a:pt x="2347" y="758"/>
                  </a:lnTo>
                  <a:lnTo>
                    <a:pt x="2347" y="757"/>
                  </a:lnTo>
                  <a:lnTo>
                    <a:pt x="2346" y="757"/>
                  </a:lnTo>
                  <a:lnTo>
                    <a:pt x="2346" y="757"/>
                  </a:lnTo>
                  <a:lnTo>
                    <a:pt x="2346" y="757"/>
                  </a:lnTo>
                  <a:lnTo>
                    <a:pt x="2346" y="757"/>
                  </a:lnTo>
                  <a:lnTo>
                    <a:pt x="2346" y="757"/>
                  </a:lnTo>
                  <a:lnTo>
                    <a:pt x="2345" y="757"/>
                  </a:lnTo>
                  <a:lnTo>
                    <a:pt x="2345" y="756"/>
                  </a:lnTo>
                  <a:lnTo>
                    <a:pt x="2345" y="756"/>
                  </a:lnTo>
                  <a:lnTo>
                    <a:pt x="2345" y="756"/>
                  </a:lnTo>
                  <a:lnTo>
                    <a:pt x="2345" y="756"/>
                  </a:lnTo>
                  <a:lnTo>
                    <a:pt x="2345" y="754"/>
                  </a:lnTo>
                  <a:lnTo>
                    <a:pt x="2345" y="754"/>
                  </a:lnTo>
                  <a:lnTo>
                    <a:pt x="2345" y="754"/>
                  </a:lnTo>
                  <a:lnTo>
                    <a:pt x="2345" y="754"/>
                  </a:lnTo>
                  <a:lnTo>
                    <a:pt x="2344" y="753"/>
                  </a:lnTo>
                  <a:lnTo>
                    <a:pt x="2344" y="753"/>
                  </a:lnTo>
                  <a:lnTo>
                    <a:pt x="2344" y="753"/>
                  </a:lnTo>
                  <a:lnTo>
                    <a:pt x="2344" y="753"/>
                  </a:lnTo>
                  <a:lnTo>
                    <a:pt x="2344" y="753"/>
                  </a:lnTo>
                  <a:lnTo>
                    <a:pt x="2344" y="752"/>
                  </a:lnTo>
                  <a:lnTo>
                    <a:pt x="2343" y="752"/>
                  </a:lnTo>
                  <a:lnTo>
                    <a:pt x="2343" y="752"/>
                  </a:lnTo>
                  <a:lnTo>
                    <a:pt x="2343" y="752"/>
                  </a:lnTo>
                  <a:lnTo>
                    <a:pt x="2343" y="752"/>
                  </a:lnTo>
                  <a:lnTo>
                    <a:pt x="2343" y="752"/>
                  </a:lnTo>
                  <a:lnTo>
                    <a:pt x="2343" y="752"/>
                  </a:lnTo>
                  <a:lnTo>
                    <a:pt x="2342" y="751"/>
                  </a:lnTo>
                  <a:lnTo>
                    <a:pt x="2342" y="751"/>
                  </a:lnTo>
                  <a:lnTo>
                    <a:pt x="2342" y="751"/>
                  </a:lnTo>
                  <a:lnTo>
                    <a:pt x="2342" y="751"/>
                  </a:lnTo>
                  <a:lnTo>
                    <a:pt x="2342" y="751"/>
                  </a:lnTo>
                  <a:lnTo>
                    <a:pt x="2342" y="751"/>
                  </a:lnTo>
                  <a:lnTo>
                    <a:pt x="2342" y="750"/>
                  </a:lnTo>
                  <a:lnTo>
                    <a:pt x="2340" y="750"/>
                  </a:lnTo>
                  <a:lnTo>
                    <a:pt x="2340" y="750"/>
                  </a:lnTo>
                  <a:lnTo>
                    <a:pt x="2340" y="749"/>
                  </a:lnTo>
                  <a:lnTo>
                    <a:pt x="2340" y="749"/>
                  </a:lnTo>
                  <a:lnTo>
                    <a:pt x="2340" y="749"/>
                  </a:lnTo>
                  <a:lnTo>
                    <a:pt x="2340" y="749"/>
                  </a:lnTo>
                  <a:lnTo>
                    <a:pt x="2340" y="749"/>
                  </a:lnTo>
                  <a:lnTo>
                    <a:pt x="2339" y="749"/>
                  </a:lnTo>
                  <a:lnTo>
                    <a:pt x="2339" y="748"/>
                  </a:lnTo>
                  <a:lnTo>
                    <a:pt x="2339" y="748"/>
                  </a:lnTo>
                  <a:lnTo>
                    <a:pt x="2338" y="748"/>
                  </a:lnTo>
                  <a:lnTo>
                    <a:pt x="2338" y="748"/>
                  </a:lnTo>
                  <a:lnTo>
                    <a:pt x="2338" y="748"/>
                  </a:lnTo>
                  <a:lnTo>
                    <a:pt x="2338" y="746"/>
                  </a:lnTo>
                  <a:lnTo>
                    <a:pt x="2338" y="746"/>
                  </a:lnTo>
                  <a:lnTo>
                    <a:pt x="2338" y="746"/>
                  </a:lnTo>
                  <a:lnTo>
                    <a:pt x="2338" y="745"/>
                  </a:lnTo>
                  <a:lnTo>
                    <a:pt x="2337" y="744"/>
                  </a:lnTo>
                  <a:lnTo>
                    <a:pt x="2337" y="744"/>
                  </a:lnTo>
                  <a:lnTo>
                    <a:pt x="2337" y="744"/>
                  </a:lnTo>
                  <a:lnTo>
                    <a:pt x="2337" y="744"/>
                  </a:lnTo>
                  <a:lnTo>
                    <a:pt x="2337" y="744"/>
                  </a:lnTo>
                  <a:lnTo>
                    <a:pt x="2337" y="743"/>
                  </a:lnTo>
                  <a:lnTo>
                    <a:pt x="2337" y="743"/>
                  </a:lnTo>
                  <a:lnTo>
                    <a:pt x="2336" y="743"/>
                  </a:lnTo>
                  <a:lnTo>
                    <a:pt x="2336" y="742"/>
                  </a:lnTo>
                  <a:lnTo>
                    <a:pt x="2336" y="742"/>
                  </a:lnTo>
                  <a:lnTo>
                    <a:pt x="2336" y="742"/>
                  </a:lnTo>
                  <a:lnTo>
                    <a:pt x="2335" y="742"/>
                  </a:lnTo>
                  <a:lnTo>
                    <a:pt x="2335" y="742"/>
                  </a:lnTo>
                  <a:lnTo>
                    <a:pt x="2335" y="741"/>
                  </a:lnTo>
                  <a:lnTo>
                    <a:pt x="2335" y="740"/>
                  </a:lnTo>
                  <a:lnTo>
                    <a:pt x="2335" y="737"/>
                  </a:lnTo>
                  <a:lnTo>
                    <a:pt x="2335" y="735"/>
                  </a:lnTo>
                  <a:lnTo>
                    <a:pt x="2336" y="732"/>
                  </a:lnTo>
                  <a:lnTo>
                    <a:pt x="2336" y="729"/>
                  </a:lnTo>
                  <a:lnTo>
                    <a:pt x="2337" y="727"/>
                  </a:lnTo>
                  <a:lnTo>
                    <a:pt x="2337" y="727"/>
                  </a:lnTo>
                  <a:lnTo>
                    <a:pt x="2336" y="728"/>
                  </a:lnTo>
                  <a:lnTo>
                    <a:pt x="2336" y="729"/>
                  </a:lnTo>
                  <a:lnTo>
                    <a:pt x="2336" y="729"/>
                  </a:lnTo>
                  <a:lnTo>
                    <a:pt x="2336" y="731"/>
                  </a:lnTo>
                  <a:lnTo>
                    <a:pt x="2336" y="731"/>
                  </a:lnTo>
                  <a:lnTo>
                    <a:pt x="2336" y="731"/>
                  </a:lnTo>
                  <a:lnTo>
                    <a:pt x="2336" y="731"/>
                  </a:lnTo>
                  <a:lnTo>
                    <a:pt x="2336" y="731"/>
                  </a:lnTo>
                  <a:lnTo>
                    <a:pt x="2336" y="731"/>
                  </a:lnTo>
                  <a:lnTo>
                    <a:pt x="2335" y="731"/>
                  </a:lnTo>
                  <a:lnTo>
                    <a:pt x="2335" y="732"/>
                  </a:lnTo>
                  <a:lnTo>
                    <a:pt x="2335" y="733"/>
                  </a:lnTo>
                  <a:lnTo>
                    <a:pt x="2335" y="734"/>
                  </a:lnTo>
                  <a:lnTo>
                    <a:pt x="2335" y="734"/>
                  </a:lnTo>
                  <a:lnTo>
                    <a:pt x="2335" y="734"/>
                  </a:lnTo>
                  <a:lnTo>
                    <a:pt x="2335" y="734"/>
                  </a:lnTo>
                  <a:lnTo>
                    <a:pt x="2335" y="734"/>
                  </a:lnTo>
                  <a:lnTo>
                    <a:pt x="2334" y="734"/>
                  </a:lnTo>
                  <a:lnTo>
                    <a:pt x="2334" y="733"/>
                  </a:lnTo>
                  <a:lnTo>
                    <a:pt x="2334" y="733"/>
                  </a:lnTo>
                  <a:lnTo>
                    <a:pt x="2334" y="733"/>
                  </a:lnTo>
                  <a:lnTo>
                    <a:pt x="2334" y="732"/>
                  </a:lnTo>
                  <a:lnTo>
                    <a:pt x="2334" y="732"/>
                  </a:lnTo>
                  <a:lnTo>
                    <a:pt x="2334" y="732"/>
                  </a:lnTo>
                  <a:lnTo>
                    <a:pt x="2334" y="732"/>
                  </a:lnTo>
                  <a:lnTo>
                    <a:pt x="2334" y="732"/>
                  </a:lnTo>
                  <a:lnTo>
                    <a:pt x="2335" y="732"/>
                  </a:lnTo>
                  <a:lnTo>
                    <a:pt x="2335" y="731"/>
                  </a:lnTo>
                  <a:lnTo>
                    <a:pt x="2335" y="731"/>
                  </a:lnTo>
                  <a:lnTo>
                    <a:pt x="2335" y="731"/>
                  </a:lnTo>
                  <a:lnTo>
                    <a:pt x="2335" y="731"/>
                  </a:lnTo>
                  <a:lnTo>
                    <a:pt x="2335" y="729"/>
                  </a:lnTo>
                  <a:lnTo>
                    <a:pt x="2335" y="729"/>
                  </a:lnTo>
                  <a:lnTo>
                    <a:pt x="2335" y="729"/>
                  </a:lnTo>
                  <a:lnTo>
                    <a:pt x="2335" y="728"/>
                  </a:lnTo>
                  <a:lnTo>
                    <a:pt x="2335" y="728"/>
                  </a:lnTo>
                  <a:lnTo>
                    <a:pt x="2335" y="728"/>
                  </a:lnTo>
                  <a:lnTo>
                    <a:pt x="2335" y="728"/>
                  </a:lnTo>
                  <a:lnTo>
                    <a:pt x="2335" y="728"/>
                  </a:lnTo>
                  <a:lnTo>
                    <a:pt x="2335" y="728"/>
                  </a:lnTo>
                  <a:lnTo>
                    <a:pt x="2335" y="727"/>
                  </a:lnTo>
                  <a:lnTo>
                    <a:pt x="2335" y="727"/>
                  </a:lnTo>
                  <a:lnTo>
                    <a:pt x="2335" y="727"/>
                  </a:lnTo>
                  <a:lnTo>
                    <a:pt x="2335" y="726"/>
                  </a:lnTo>
                  <a:lnTo>
                    <a:pt x="2334" y="726"/>
                  </a:lnTo>
                  <a:lnTo>
                    <a:pt x="2334" y="726"/>
                  </a:lnTo>
                  <a:lnTo>
                    <a:pt x="2334" y="726"/>
                  </a:lnTo>
                  <a:lnTo>
                    <a:pt x="2334" y="726"/>
                  </a:lnTo>
                  <a:lnTo>
                    <a:pt x="2334" y="725"/>
                  </a:lnTo>
                  <a:lnTo>
                    <a:pt x="2334" y="725"/>
                  </a:lnTo>
                  <a:lnTo>
                    <a:pt x="2334" y="725"/>
                  </a:lnTo>
                  <a:lnTo>
                    <a:pt x="2333" y="725"/>
                  </a:lnTo>
                  <a:lnTo>
                    <a:pt x="2333" y="724"/>
                  </a:lnTo>
                  <a:lnTo>
                    <a:pt x="2333" y="724"/>
                  </a:lnTo>
                  <a:lnTo>
                    <a:pt x="2333" y="724"/>
                  </a:lnTo>
                  <a:lnTo>
                    <a:pt x="2333" y="723"/>
                  </a:lnTo>
                  <a:lnTo>
                    <a:pt x="2333" y="723"/>
                  </a:lnTo>
                  <a:lnTo>
                    <a:pt x="2333" y="723"/>
                  </a:lnTo>
                  <a:lnTo>
                    <a:pt x="2331" y="722"/>
                  </a:lnTo>
                  <a:lnTo>
                    <a:pt x="2331" y="722"/>
                  </a:lnTo>
                  <a:lnTo>
                    <a:pt x="2331" y="722"/>
                  </a:lnTo>
                  <a:lnTo>
                    <a:pt x="2331" y="722"/>
                  </a:lnTo>
                  <a:lnTo>
                    <a:pt x="2331" y="722"/>
                  </a:lnTo>
                  <a:lnTo>
                    <a:pt x="2330" y="722"/>
                  </a:lnTo>
                  <a:lnTo>
                    <a:pt x="2330" y="722"/>
                  </a:lnTo>
                  <a:lnTo>
                    <a:pt x="2330" y="722"/>
                  </a:lnTo>
                  <a:lnTo>
                    <a:pt x="2330" y="722"/>
                  </a:lnTo>
                  <a:lnTo>
                    <a:pt x="2330" y="722"/>
                  </a:lnTo>
                  <a:lnTo>
                    <a:pt x="2330" y="722"/>
                  </a:lnTo>
                  <a:lnTo>
                    <a:pt x="2329" y="722"/>
                  </a:lnTo>
                  <a:lnTo>
                    <a:pt x="2329" y="720"/>
                  </a:lnTo>
                  <a:lnTo>
                    <a:pt x="2329" y="720"/>
                  </a:lnTo>
                  <a:lnTo>
                    <a:pt x="2328" y="719"/>
                  </a:lnTo>
                  <a:lnTo>
                    <a:pt x="2328" y="719"/>
                  </a:lnTo>
                  <a:lnTo>
                    <a:pt x="2328" y="719"/>
                  </a:lnTo>
                  <a:lnTo>
                    <a:pt x="2327" y="719"/>
                  </a:lnTo>
                  <a:lnTo>
                    <a:pt x="2327" y="718"/>
                  </a:lnTo>
                  <a:lnTo>
                    <a:pt x="2326" y="718"/>
                  </a:lnTo>
                  <a:lnTo>
                    <a:pt x="2326" y="719"/>
                  </a:lnTo>
                  <a:lnTo>
                    <a:pt x="2326" y="719"/>
                  </a:lnTo>
                  <a:lnTo>
                    <a:pt x="2326" y="718"/>
                  </a:lnTo>
                  <a:lnTo>
                    <a:pt x="2326" y="718"/>
                  </a:lnTo>
                  <a:lnTo>
                    <a:pt x="2325" y="718"/>
                  </a:lnTo>
                  <a:lnTo>
                    <a:pt x="2325" y="718"/>
                  </a:lnTo>
                  <a:lnTo>
                    <a:pt x="2325" y="718"/>
                  </a:lnTo>
                  <a:lnTo>
                    <a:pt x="2325" y="717"/>
                  </a:lnTo>
                  <a:lnTo>
                    <a:pt x="2325" y="717"/>
                  </a:lnTo>
                  <a:lnTo>
                    <a:pt x="2325" y="717"/>
                  </a:lnTo>
                  <a:lnTo>
                    <a:pt x="2323" y="717"/>
                  </a:lnTo>
                  <a:lnTo>
                    <a:pt x="2325" y="716"/>
                  </a:lnTo>
                  <a:lnTo>
                    <a:pt x="2325" y="716"/>
                  </a:lnTo>
                  <a:lnTo>
                    <a:pt x="2325" y="716"/>
                  </a:lnTo>
                  <a:lnTo>
                    <a:pt x="2325" y="716"/>
                  </a:lnTo>
                  <a:lnTo>
                    <a:pt x="2325" y="716"/>
                  </a:lnTo>
                  <a:lnTo>
                    <a:pt x="2325" y="716"/>
                  </a:lnTo>
                  <a:lnTo>
                    <a:pt x="2325" y="716"/>
                  </a:lnTo>
                  <a:lnTo>
                    <a:pt x="2325" y="716"/>
                  </a:lnTo>
                  <a:lnTo>
                    <a:pt x="2325" y="715"/>
                  </a:lnTo>
                  <a:lnTo>
                    <a:pt x="2326" y="715"/>
                  </a:lnTo>
                  <a:lnTo>
                    <a:pt x="2326" y="714"/>
                  </a:lnTo>
                  <a:lnTo>
                    <a:pt x="2326" y="714"/>
                  </a:lnTo>
                  <a:lnTo>
                    <a:pt x="2327" y="714"/>
                  </a:lnTo>
                  <a:lnTo>
                    <a:pt x="2327" y="714"/>
                  </a:lnTo>
                  <a:lnTo>
                    <a:pt x="2327" y="712"/>
                  </a:lnTo>
                  <a:lnTo>
                    <a:pt x="2327" y="712"/>
                  </a:lnTo>
                  <a:lnTo>
                    <a:pt x="2327" y="712"/>
                  </a:lnTo>
                  <a:lnTo>
                    <a:pt x="2328" y="712"/>
                  </a:lnTo>
                  <a:lnTo>
                    <a:pt x="2328" y="712"/>
                  </a:lnTo>
                  <a:lnTo>
                    <a:pt x="2328" y="712"/>
                  </a:lnTo>
                  <a:lnTo>
                    <a:pt x="2328" y="712"/>
                  </a:lnTo>
                  <a:lnTo>
                    <a:pt x="2328" y="712"/>
                  </a:lnTo>
                  <a:lnTo>
                    <a:pt x="2328" y="711"/>
                  </a:lnTo>
                  <a:lnTo>
                    <a:pt x="2329" y="711"/>
                  </a:lnTo>
                  <a:lnTo>
                    <a:pt x="2328" y="711"/>
                  </a:lnTo>
                  <a:lnTo>
                    <a:pt x="2328" y="710"/>
                  </a:lnTo>
                  <a:lnTo>
                    <a:pt x="2329" y="710"/>
                  </a:lnTo>
                  <a:lnTo>
                    <a:pt x="2329" y="711"/>
                  </a:lnTo>
                  <a:lnTo>
                    <a:pt x="2329" y="711"/>
                  </a:lnTo>
                  <a:lnTo>
                    <a:pt x="2329" y="711"/>
                  </a:lnTo>
                  <a:lnTo>
                    <a:pt x="2329" y="711"/>
                  </a:lnTo>
                  <a:lnTo>
                    <a:pt x="2329" y="711"/>
                  </a:lnTo>
                  <a:lnTo>
                    <a:pt x="2329" y="712"/>
                  </a:lnTo>
                  <a:lnTo>
                    <a:pt x="2329" y="712"/>
                  </a:lnTo>
                  <a:lnTo>
                    <a:pt x="2330" y="711"/>
                  </a:lnTo>
                  <a:lnTo>
                    <a:pt x="2330" y="711"/>
                  </a:lnTo>
                  <a:lnTo>
                    <a:pt x="2330" y="711"/>
                  </a:lnTo>
                  <a:lnTo>
                    <a:pt x="2330" y="709"/>
                  </a:lnTo>
                  <a:lnTo>
                    <a:pt x="2330" y="709"/>
                  </a:lnTo>
                  <a:lnTo>
                    <a:pt x="2330" y="709"/>
                  </a:lnTo>
                  <a:lnTo>
                    <a:pt x="2330" y="709"/>
                  </a:lnTo>
                  <a:lnTo>
                    <a:pt x="2330" y="709"/>
                  </a:lnTo>
                  <a:lnTo>
                    <a:pt x="2330" y="709"/>
                  </a:lnTo>
                  <a:lnTo>
                    <a:pt x="2331" y="709"/>
                  </a:lnTo>
                  <a:lnTo>
                    <a:pt x="2331" y="709"/>
                  </a:lnTo>
                  <a:lnTo>
                    <a:pt x="2331" y="709"/>
                  </a:lnTo>
                  <a:lnTo>
                    <a:pt x="2331" y="709"/>
                  </a:lnTo>
                  <a:lnTo>
                    <a:pt x="2331" y="709"/>
                  </a:lnTo>
                  <a:lnTo>
                    <a:pt x="2331" y="708"/>
                  </a:lnTo>
                  <a:lnTo>
                    <a:pt x="2333" y="708"/>
                  </a:lnTo>
                  <a:lnTo>
                    <a:pt x="2333" y="707"/>
                  </a:lnTo>
                  <a:lnTo>
                    <a:pt x="2333" y="707"/>
                  </a:lnTo>
                  <a:lnTo>
                    <a:pt x="2333" y="707"/>
                  </a:lnTo>
                  <a:lnTo>
                    <a:pt x="2333" y="707"/>
                  </a:lnTo>
                  <a:lnTo>
                    <a:pt x="2333" y="706"/>
                  </a:lnTo>
                  <a:lnTo>
                    <a:pt x="2334" y="706"/>
                  </a:lnTo>
                  <a:lnTo>
                    <a:pt x="2334" y="706"/>
                  </a:lnTo>
                  <a:lnTo>
                    <a:pt x="2334" y="706"/>
                  </a:lnTo>
                  <a:lnTo>
                    <a:pt x="2334" y="703"/>
                  </a:lnTo>
                  <a:lnTo>
                    <a:pt x="2334" y="703"/>
                  </a:lnTo>
                  <a:lnTo>
                    <a:pt x="2334" y="703"/>
                  </a:lnTo>
                  <a:lnTo>
                    <a:pt x="2335" y="703"/>
                  </a:lnTo>
                  <a:lnTo>
                    <a:pt x="2335" y="702"/>
                  </a:lnTo>
                  <a:lnTo>
                    <a:pt x="2335" y="702"/>
                  </a:lnTo>
                  <a:lnTo>
                    <a:pt x="2335" y="702"/>
                  </a:lnTo>
                  <a:lnTo>
                    <a:pt x="2335" y="702"/>
                  </a:lnTo>
                  <a:lnTo>
                    <a:pt x="2335" y="701"/>
                  </a:lnTo>
                  <a:lnTo>
                    <a:pt x="2335" y="702"/>
                  </a:lnTo>
                  <a:lnTo>
                    <a:pt x="2334" y="702"/>
                  </a:lnTo>
                  <a:lnTo>
                    <a:pt x="2334" y="701"/>
                  </a:lnTo>
                  <a:lnTo>
                    <a:pt x="2334" y="701"/>
                  </a:lnTo>
                  <a:lnTo>
                    <a:pt x="2334" y="701"/>
                  </a:lnTo>
                  <a:lnTo>
                    <a:pt x="2336" y="701"/>
                  </a:lnTo>
                  <a:lnTo>
                    <a:pt x="2336" y="700"/>
                  </a:lnTo>
                  <a:lnTo>
                    <a:pt x="2336" y="700"/>
                  </a:lnTo>
                  <a:lnTo>
                    <a:pt x="2336" y="700"/>
                  </a:lnTo>
                  <a:lnTo>
                    <a:pt x="2336" y="700"/>
                  </a:lnTo>
                  <a:lnTo>
                    <a:pt x="2336" y="700"/>
                  </a:lnTo>
                  <a:lnTo>
                    <a:pt x="2336" y="700"/>
                  </a:lnTo>
                  <a:lnTo>
                    <a:pt x="2336" y="699"/>
                  </a:lnTo>
                  <a:lnTo>
                    <a:pt x="2336" y="699"/>
                  </a:lnTo>
                  <a:lnTo>
                    <a:pt x="2336" y="699"/>
                  </a:lnTo>
                  <a:lnTo>
                    <a:pt x="2335" y="699"/>
                  </a:lnTo>
                  <a:lnTo>
                    <a:pt x="2336" y="699"/>
                  </a:lnTo>
                  <a:lnTo>
                    <a:pt x="2335" y="698"/>
                  </a:lnTo>
                  <a:lnTo>
                    <a:pt x="2335" y="697"/>
                  </a:lnTo>
                  <a:lnTo>
                    <a:pt x="2335" y="697"/>
                  </a:lnTo>
                  <a:lnTo>
                    <a:pt x="2335" y="697"/>
                  </a:lnTo>
                  <a:lnTo>
                    <a:pt x="2335" y="697"/>
                  </a:lnTo>
                  <a:lnTo>
                    <a:pt x="2334" y="697"/>
                  </a:lnTo>
                  <a:lnTo>
                    <a:pt x="2334" y="697"/>
                  </a:lnTo>
                  <a:lnTo>
                    <a:pt x="2334" y="695"/>
                  </a:lnTo>
                  <a:lnTo>
                    <a:pt x="2334" y="695"/>
                  </a:lnTo>
                  <a:lnTo>
                    <a:pt x="2334" y="695"/>
                  </a:lnTo>
                  <a:lnTo>
                    <a:pt x="2334" y="695"/>
                  </a:lnTo>
                  <a:lnTo>
                    <a:pt x="2335" y="695"/>
                  </a:lnTo>
                  <a:lnTo>
                    <a:pt x="2335" y="695"/>
                  </a:lnTo>
                  <a:lnTo>
                    <a:pt x="2336" y="697"/>
                  </a:lnTo>
                  <a:lnTo>
                    <a:pt x="2336" y="697"/>
                  </a:lnTo>
                  <a:lnTo>
                    <a:pt x="2336" y="697"/>
                  </a:lnTo>
                  <a:lnTo>
                    <a:pt x="2336" y="694"/>
                  </a:lnTo>
                  <a:lnTo>
                    <a:pt x="2337" y="695"/>
                  </a:lnTo>
                  <a:lnTo>
                    <a:pt x="2337" y="695"/>
                  </a:lnTo>
                  <a:lnTo>
                    <a:pt x="2337" y="695"/>
                  </a:lnTo>
                  <a:lnTo>
                    <a:pt x="2337" y="695"/>
                  </a:lnTo>
                  <a:lnTo>
                    <a:pt x="2337" y="695"/>
                  </a:lnTo>
                  <a:lnTo>
                    <a:pt x="2337" y="695"/>
                  </a:lnTo>
                  <a:lnTo>
                    <a:pt x="2337" y="697"/>
                  </a:lnTo>
                  <a:lnTo>
                    <a:pt x="2338" y="697"/>
                  </a:lnTo>
                  <a:lnTo>
                    <a:pt x="2338" y="697"/>
                  </a:lnTo>
                  <a:lnTo>
                    <a:pt x="2339" y="697"/>
                  </a:lnTo>
                  <a:lnTo>
                    <a:pt x="2339" y="698"/>
                  </a:lnTo>
                  <a:lnTo>
                    <a:pt x="2339" y="698"/>
                  </a:lnTo>
                  <a:lnTo>
                    <a:pt x="2339" y="698"/>
                  </a:lnTo>
                  <a:lnTo>
                    <a:pt x="2339" y="698"/>
                  </a:lnTo>
                  <a:lnTo>
                    <a:pt x="2340" y="698"/>
                  </a:lnTo>
                  <a:lnTo>
                    <a:pt x="2340" y="698"/>
                  </a:lnTo>
                  <a:lnTo>
                    <a:pt x="2340" y="698"/>
                  </a:lnTo>
                  <a:lnTo>
                    <a:pt x="2340" y="698"/>
                  </a:lnTo>
                  <a:lnTo>
                    <a:pt x="2340" y="698"/>
                  </a:lnTo>
                  <a:lnTo>
                    <a:pt x="2340" y="697"/>
                  </a:lnTo>
                  <a:lnTo>
                    <a:pt x="2340" y="697"/>
                  </a:lnTo>
                  <a:lnTo>
                    <a:pt x="2340" y="697"/>
                  </a:lnTo>
                  <a:lnTo>
                    <a:pt x="2340" y="697"/>
                  </a:lnTo>
                  <a:lnTo>
                    <a:pt x="2340" y="697"/>
                  </a:lnTo>
                  <a:lnTo>
                    <a:pt x="2340" y="697"/>
                  </a:lnTo>
                  <a:lnTo>
                    <a:pt x="2342" y="697"/>
                  </a:lnTo>
                  <a:lnTo>
                    <a:pt x="2342" y="697"/>
                  </a:lnTo>
                  <a:lnTo>
                    <a:pt x="2342" y="695"/>
                  </a:lnTo>
                  <a:lnTo>
                    <a:pt x="2342" y="695"/>
                  </a:lnTo>
                  <a:lnTo>
                    <a:pt x="2342" y="697"/>
                  </a:lnTo>
                  <a:lnTo>
                    <a:pt x="2343" y="697"/>
                  </a:lnTo>
                  <a:lnTo>
                    <a:pt x="2343" y="697"/>
                  </a:lnTo>
                  <a:lnTo>
                    <a:pt x="2343" y="697"/>
                  </a:lnTo>
                  <a:lnTo>
                    <a:pt x="2343" y="697"/>
                  </a:lnTo>
                  <a:lnTo>
                    <a:pt x="2343" y="695"/>
                  </a:lnTo>
                  <a:lnTo>
                    <a:pt x="2344" y="695"/>
                  </a:lnTo>
                  <a:lnTo>
                    <a:pt x="2344" y="695"/>
                  </a:lnTo>
                  <a:lnTo>
                    <a:pt x="2344" y="695"/>
                  </a:lnTo>
                  <a:lnTo>
                    <a:pt x="2344" y="697"/>
                  </a:lnTo>
                  <a:lnTo>
                    <a:pt x="2344" y="695"/>
                  </a:lnTo>
                  <a:lnTo>
                    <a:pt x="2345" y="695"/>
                  </a:lnTo>
                  <a:lnTo>
                    <a:pt x="2345" y="697"/>
                  </a:lnTo>
                  <a:lnTo>
                    <a:pt x="2345" y="697"/>
                  </a:lnTo>
                  <a:lnTo>
                    <a:pt x="2345" y="695"/>
                  </a:lnTo>
                  <a:lnTo>
                    <a:pt x="2345" y="695"/>
                  </a:lnTo>
                  <a:lnTo>
                    <a:pt x="2345" y="695"/>
                  </a:lnTo>
                  <a:lnTo>
                    <a:pt x="2346" y="695"/>
                  </a:lnTo>
                  <a:lnTo>
                    <a:pt x="2346" y="695"/>
                  </a:lnTo>
                  <a:lnTo>
                    <a:pt x="2346" y="694"/>
                  </a:lnTo>
                  <a:lnTo>
                    <a:pt x="2346" y="694"/>
                  </a:lnTo>
                  <a:lnTo>
                    <a:pt x="2346" y="694"/>
                  </a:lnTo>
                  <a:lnTo>
                    <a:pt x="2346" y="694"/>
                  </a:lnTo>
                  <a:lnTo>
                    <a:pt x="2347" y="694"/>
                  </a:lnTo>
                  <a:lnTo>
                    <a:pt x="2347" y="694"/>
                  </a:lnTo>
                  <a:lnTo>
                    <a:pt x="2348" y="694"/>
                  </a:lnTo>
                  <a:lnTo>
                    <a:pt x="2348" y="694"/>
                  </a:lnTo>
                  <a:lnTo>
                    <a:pt x="2347" y="694"/>
                  </a:lnTo>
                  <a:lnTo>
                    <a:pt x="2347" y="694"/>
                  </a:lnTo>
                  <a:lnTo>
                    <a:pt x="2347" y="694"/>
                  </a:lnTo>
                  <a:lnTo>
                    <a:pt x="2347" y="693"/>
                  </a:lnTo>
                  <a:lnTo>
                    <a:pt x="2348" y="693"/>
                  </a:lnTo>
                  <a:lnTo>
                    <a:pt x="2348" y="693"/>
                  </a:lnTo>
                  <a:lnTo>
                    <a:pt x="2348" y="693"/>
                  </a:lnTo>
                  <a:lnTo>
                    <a:pt x="2348" y="693"/>
                  </a:lnTo>
                  <a:lnTo>
                    <a:pt x="2348" y="693"/>
                  </a:lnTo>
                  <a:lnTo>
                    <a:pt x="2348" y="692"/>
                  </a:lnTo>
                  <a:lnTo>
                    <a:pt x="2349" y="692"/>
                  </a:lnTo>
                  <a:lnTo>
                    <a:pt x="2349" y="692"/>
                  </a:lnTo>
                  <a:lnTo>
                    <a:pt x="2349" y="692"/>
                  </a:lnTo>
                  <a:lnTo>
                    <a:pt x="2349" y="692"/>
                  </a:lnTo>
                  <a:lnTo>
                    <a:pt x="2349" y="692"/>
                  </a:lnTo>
                  <a:lnTo>
                    <a:pt x="2351" y="692"/>
                  </a:lnTo>
                  <a:lnTo>
                    <a:pt x="2351" y="692"/>
                  </a:lnTo>
                  <a:lnTo>
                    <a:pt x="2351" y="692"/>
                  </a:lnTo>
                  <a:lnTo>
                    <a:pt x="2351" y="693"/>
                  </a:lnTo>
                  <a:lnTo>
                    <a:pt x="2351" y="693"/>
                  </a:lnTo>
                  <a:lnTo>
                    <a:pt x="2351" y="693"/>
                  </a:lnTo>
                  <a:lnTo>
                    <a:pt x="2352" y="693"/>
                  </a:lnTo>
                  <a:lnTo>
                    <a:pt x="2352" y="693"/>
                  </a:lnTo>
                  <a:lnTo>
                    <a:pt x="2352" y="693"/>
                  </a:lnTo>
                  <a:lnTo>
                    <a:pt x="2352" y="692"/>
                  </a:lnTo>
                  <a:lnTo>
                    <a:pt x="2352" y="692"/>
                  </a:lnTo>
                  <a:lnTo>
                    <a:pt x="2352" y="692"/>
                  </a:lnTo>
                  <a:lnTo>
                    <a:pt x="2351" y="692"/>
                  </a:lnTo>
                  <a:lnTo>
                    <a:pt x="2351" y="692"/>
                  </a:lnTo>
                  <a:lnTo>
                    <a:pt x="2352" y="692"/>
                  </a:lnTo>
                  <a:lnTo>
                    <a:pt x="2352" y="692"/>
                  </a:lnTo>
                  <a:lnTo>
                    <a:pt x="2352" y="692"/>
                  </a:lnTo>
                  <a:lnTo>
                    <a:pt x="2352" y="691"/>
                  </a:lnTo>
                  <a:lnTo>
                    <a:pt x="2352" y="691"/>
                  </a:lnTo>
                  <a:lnTo>
                    <a:pt x="2352" y="691"/>
                  </a:lnTo>
                  <a:lnTo>
                    <a:pt x="2352" y="691"/>
                  </a:lnTo>
                  <a:lnTo>
                    <a:pt x="2352" y="691"/>
                  </a:lnTo>
                  <a:lnTo>
                    <a:pt x="2351" y="690"/>
                  </a:lnTo>
                  <a:lnTo>
                    <a:pt x="2351" y="690"/>
                  </a:lnTo>
                  <a:lnTo>
                    <a:pt x="2351" y="690"/>
                  </a:lnTo>
                  <a:lnTo>
                    <a:pt x="2351" y="690"/>
                  </a:lnTo>
                  <a:lnTo>
                    <a:pt x="2352" y="690"/>
                  </a:lnTo>
                  <a:lnTo>
                    <a:pt x="2352" y="690"/>
                  </a:lnTo>
                  <a:lnTo>
                    <a:pt x="2352" y="690"/>
                  </a:lnTo>
                  <a:lnTo>
                    <a:pt x="2352" y="690"/>
                  </a:lnTo>
                  <a:lnTo>
                    <a:pt x="2352" y="690"/>
                  </a:lnTo>
                  <a:lnTo>
                    <a:pt x="2352" y="690"/>
                  </a:lnTo>
                  <a:lnTo>
                    <a:pt x="2353" y="690"/>
                  </a:lnTo>
                  <a:lnTo>
                    <a:pt x="2353" y="690"/>
                  </a:lnTo>
                  <a:lnTo>
                    <a:pt x="2353" y="690"/>
                  </a:lnTo>
                  <a:lnTo>
                    <a:pt x="2353" y="690"/>
                  </a:lnTo>
                  <a:lnTo>
                    <a:pt x="2353" y="690"/>
                  </a:lnTo>
                  <a:lnTo>
                    <a:pt x="2353" y="691"/>
                  </a:lnTo>
                  <a:lnTo>
                    <a:pt x="2354" y="691"/>
                  </a:lnTo>
                  <a:lnTo>
                    <a:pt x="2354" y="691"/>
                  </a:lnTo>
                  <a:lnTo>
                    <a:pt x="2354" y="690"/>
                  </a:lnTo>
                  <a:lnTo>
                    <a:pt x="2354" y="690"/>
                  </a:lnTo>
                  <a:lnTo>
                    <a:pt x="2353" y="690"/>
                  </a:lnTo>
                  <a:lnTo>
                    <a:pt x="2353" y="690"/>
                  </a:lnTo>
                  <a:lnTo>
                    <a:pt x="2354" y="690"/>
                  </a:lnTo>
                  <a:lnTo>
                    <a:pt x="2354" y="690"/>
                  </a:lnTo>
                  <a:lnTo>
                    <a:pt x="2354" y="690"/>
                  </a:lnTo>
                  <a:lnTo>
                    <a:pt x="2354" y="690"/>
                  </a:lnTo>
                  <a:lnTo>
                    <a:pt x="2354" y="690"/>
                  </a:lnTo>
                  <a:lnTo>
                    <a:pt x="2354" y="690"/>
                  </a:lnTo>
                  <a:lnTo>
                    <a:pt x="2354" y="690"/>
                  </a:lnTo>
                  <a:lnTo>
                    <a:pt x="2354" y="690"/>
                  </a:lnTo>
                  <a:lnTo>
                    <a:pt x="2354" y="690"/>
                  </a:lnTo>
                  <a:lnTo>
                    <a:pt x="2354" y="689"/>
                  </a:lnTo>
                  <a:lnTo>
                    <a:pt x="2354" y="689"/>
                  </a:lnTo>
                  <a:lnTo>
                    <a:pt x="2354" y="690"/>
                  </a:lnTo>
                  <a:lnTo>
                    <a:pt x="2354" y="690"/>
                  </a:lnTo>
                  <a:lnTo>
                    <a:pt x="2354" y="689"/>
                  </a:lnTo>
                  <a:lnTo>
                    <a:pt x="2354" y="689"/>
                  </a:lnTo>
                  <a:lnTo>
                    <a:pt x="2354" y="689"/>
                  </a:lnTo>
                  <a:lnTo>
                    <a:pt x="2355" y="689"/>
                  </a:lnTo>
                  <a:lnTo>
                    <a:pt x="2355" y="690"/>
                  </a:lnTo>
                  <a:lnTo>
                    <a:pt x="2355" y="690"/>
                  </a:lnTo>
                  <a:lnTo>
                    <a:pt x="2355" y="690"/>
                  </a:lnTo>
                  <a:lnTo>
                    <a:pt x="2355" y="690"/>
                  </a:lnTo>
                  <a:lnTo>
                    <a:pt x="2355" y="690"/>
                  </a:lnTo>
                  <a:lnTo>
                    <a:pt x="2355" y="690"/>
                  </a:lnTo>
                  <a:lnTo>
                    <a:pt x="2355" y="689"/>
                  </a:lnTo>
                  <a:lnTo>
                    <a:pt x="2355" y="689"/>
                  </a:lnTo>
                  <a:lnTo>
                    <a:pt x="2355" y="689"/>
                  </a:lnTo>
                  <a:lnTo>
                    <a:pt x="2355" y="689"/>
                  </a:lnTo>
                  <a:lnTo>
                    <a:pt x="2355" y="689"/>
                  </a:lnTo>
                  <a:lnTo>
                    <a:pt x="2356" y="689"/>
                  </a:lnTo>
                  <a:lnTo>
                    <a:pt x="2356" y="688"/>
                  </a:lnTo>
                  <a:lnTo>
                    <a:pt x="2356" y="688"/>
                  </a:lnTo>
                  <a:lnTo>
                    <a:pt x="2356" y="689"/>
                  </a:lnTo>
                  <a:lnTo>
                    <a:pt x="2357" y="689"/>
                  </a:lnTo>
                  <a:lnTo>
                    <a:pt x="2357" y="689"/>
                  </a:lnTo>
                  <a:lnTo>
                    <a:pt x="2357" y="689"/>
                  </a:lnTo>
                  <a:lnTo>
                    <a:pt x="2357" y="689"/>
                  </a:lnTo>
                  <a:lnTo>
                    <a:pt x="2357" y="689"/>
                  </a:lnTo>
                  <a:lnTo>
                    <a:pt x="2357" y="689"/>
                  </a:lnTo>
                  <a:lnTo>
                    <a:pt x="2357" y="688"/>
                  </a:lnTo>
                  <a:lnTo>
                    <a:pt x="2356" y="688"/>
                  </a:lnTo>
                  <a:lnTo>
                    <a:pt x="2357" y="686"/>
                  </a:lnTo>
                  <a:lnTo>
                    <a:pt x="2357" y="686"/>
                  </a:lnTo>
                  <a:lnTo>
                    <a:pt x="2357" y="686"/>
                  </a:lnTo>
                  <a:lnTo>
                    <a:pt x="2357" y="686"/>
                  </a:lnTo>
                  <a:lnTo>
                    <a:pt x="2357" y="686"/>
                  </a:lnTo>
                  <a:lnTo>
                    <a:pt x="2357" y="686"/>
                  </a:lnTo>
                  <a:lnTo>
                    <a:pt x="2357" y="686"/>
                  </a:lnTo>
                  <a:lnTo>
                    <a:pt x="2357" y="685"/>
                  </a:lnTo>
                  <a:lnTo>
                    <a:pt x="2359" y="685"/>
                  </a:lnTo>
                  <a:lnTo>
                    <a:pt x="2359" y="684"/>
                  </a:lnTo>
                  <a:lnTo>
                    <a:pt x="2359" y="684"/>
                  </a:lnTo>
                  <a:lnTo>
                    <a:pt x="2359" y="683"/>
                  </a:lnTo>
                  <a:lnTo>
                    <a:pt x="2359" y="683"/>
                  </a:lnTo>
                  <a:lnTo>
                    <a:pt x="2359" y="683"/>
                  </a:lnTo>
                  <a:lnTo>
                    <a:pt x="2360" y="683"/>
                  </a:lnTo>
                  <a:lnTo>
                    <a:pt x="2360" y="683"/>
                  </a:lnTo>
                  <a:lnTo>
                    <a:pt x="2360" y="683"/>
                  </a:lnTo>
                  <a:lnTo>
                    <a:pt x="2361" y="683"/>
                  </a:lnTo>
                  <a:lnTo>
                    <a:pt x="2362" y="683"/>
                  </a:lnTo>
                  <a:lnTo>
                    <a:pt x="2361" y="683"/>
                  </a:lnTo>
                  <a:lnTo>
                    <a:pt x="2361" y="683"/>
                  </a:lnTo>
                  <a:lnTo>
                    <a:pt x="2361" y="683"/>
                  </a:lnTo>
                  <a:lnTo>
                    <a:pt x="2361" y="683"/>
                  </a:lnTo>
                  <a:lnTo>
                    <a:pt x="2361" y="682"/>
                  </a:lnTo>
                  <a:lnTo>
                    <a:pt x="2361" y="682"/>
                  </a:lnTo>
                  <a:lnTo>
                    <a:pt x="2360" y="682"/>
                  </a:lnTo>
                  <a:lnTo>
                    <a:pt x="2360" y="682"/>
                  </a:lnTo>
                  <a:lnTo>
                    <a:pt x="2361" y="682"/>
                  </a:lnTo>
                  <a:lnTo>
                    <a:pt x="2361" y="682"/>
                  </a:lnTo>
                  <a:lnTo>
                    <a:pt x="2361" y="682"/>
                  </a:lnTo>
                  <a:lnTo>
                    <a:pt x="2361" y="682"/>
                  </a:lnTo>
                  <a:lnTo>
                    <a:pt x="2362" y="682"/>
                  </a:lnTo>
                  <a:lnTo>
                    <a:pt x="2362" y="683"/>
                  </a:lnTo>
                  <a:lnTo>
                    <a:pt x="2362" y="683"/>
                  </a:lnTo>
                  <a:lnTo>
                    <a:pt x="2362" y="682"/>
                  </a:lnTo>
                  <a:lnTo>
                    <a:pt x="2362" y="682"/>
                  </a:lnTo>
                  <a:lnTo>
                    <a:pt x="2362" y="682"/>
                  </a:lnTo>
                  <a:lnTo>
                    <a:pt x="2362" y="683"/>
                  </a:lnTo>
                  <a:lnTo>
                    <a:pt x="2362" y="683"/>
                  </a:lnTo>
                  <a:lnTo>
                    <a:pt x="2363" y="683"/>
                  </a:lnTo>
                  <a:lnTo>
                    <a:pt x="2363" y="683"/>
                  </a:lnTo>
                  <a:lnTo>
                    <a:pt x="2363" y="682"/>
                  </a:lnTo>
                  <a:lnTo>
                    <a:pt x="2363" y="682"/>
                  </a:lnTo>
                  <a:lnTo>
                    <a:pt x="2363" y="682"/>
                  </a:lnTo>
                  <a:lnTo>
                    <a:pt x="2363" y="682"/>
                  </a:lnTo>
                  <a:lnTo>
                    <a:pt x="2363" y="682"/>
                  </a:lnTo>
                  <a:lnTo>
                    <a:pt x="2363" y="682"/>
                  </a:lnTo>
                  <a:lnTo>
                    <a:pt x="2364" y="682"/>
                  </a:lnTo>
                  <a:lnTo>
                    <a:pt x="2364" y="682"/>
                  </a:lnTo>
                  <a:lnTo>
                    <a:pt x="2364" y="682"/>
                  </a:lnTo>
                  <a:lnTo>
                    <a:pt x="2364" y="682"/>
                  </a:lnTo>
                  <a:lnTo>
                    <a:pt x="2365" y="682"/>
                  </a:lnTo>
                  <a:lnTo>
                    <a:pt x="2365" y="682"/>
                  </a:lnTo>
                  <a:lnTo>
                    <a:pt x="2365" y="682"/>
                  </a:lnTo>
                  <a:lnTo>
                    <a:pt x="2365" y="682"/>
                  </a:lnTo>
                  <a:lnTo>
                    <a:pt x="2365" y="682"/>
                  </a:lnTo>
                  <a:lnTo>
                    <a:pt x="2366" y="682"/>
                  </a:lnTo>
                  <a:lnTo>
                    <a:pt x="2366" y="682"/>
                  </a:lnTo>
                  <a:lnTo>
                    <a:pt x="2366" y="682"/>
                  </a:lnTo>
                  <a:lnTo>
                    <a:pt x="2366" y="682"/>
                  </a:lnTo>
                  <a:lnTo>
                    <a:pt x="2366" y="683"/>
                  </a:lnTo>
                  <a:lnTo>
                    <a:pt x="2366" y="683"/>
                  </a:lnTo>
                  <a:lnTo>
                    <a:pt x="2368" y="682"/>
                  </a:lnTo>
                  <a:lnTo>
                    <a:pt x="2368" y="682"/>
                  </a:lnTo>
                  <a:lnTo>
                    <a:pt x="2368" y="682"/>
                  </a:lnTo>
                  <a:lnTo>
                    <a:pt x="2368" y="682"/>
                  </a:lnTo>
                  <a:lnTo>
                    <a:pt x="2369" y="682"/>
                  </a:lnTo>
                  <a:lnTo>
                    <a:pt x="2369" y="681"/>
                  </a:lnTo>
                  <a:lnTo>
                    <a:pt x="2369" y="681"/>
                  </a:lnTo>
                  <a:lnTo>
                    <a:pt x="2369" y="681"/>
                  </a:lnTo>
                  <a:lnTo>
                    <a:pt x="2370" y="681"/>
                  </a:lnTo>
                  <a:lnTo>
                    <a:pt x="2370" y="681"/>
                  </a:lnTo>
                  <a:lnTo>
                    <a:pt x="2370" y="681"/>
                  </a:lnTo>
                  <a:lnTo>
                    <a:pt x="2371" y="681"/>
                  </a:lnTo>
                  <a:lnTo>
                    <a:pt x="2371" y="680"/>
                  </a:lnTo>
                  <a:lnTo>
                    <a:pt x="2371" y="680"/>
                  </a:lnTo>
                  <a:lnTo>
                    <a:pt x="2371" y="680"/>
                  </a:lnTo>
                  <a:lnTo>
                    <a:pt x="2371" y="680"/>
                  </a:lnTo>
                  <a:lnTo>
                    <a:pt x="2371" y="680"/>
                  </a:lnTo>
                  <a:lnTo>
                    <a:pt x="2371" y="678"/>
                  </a:lnTo>
                  <a:lnTo>
                    <a:pt x="2372" y="678"/>
                  </a:lnTo>
                  <a:lnTo>
                    <a:pt x="2372" y="678"/>
                  </a:lnTo>
                  <a:lnTo>
                    <a:pt x="2372" y="678"/>
                  </a:lnTo>
                  <a:lnTo>
                    <a:pt x="2372" y="678"/>
                  </a:lnTo>
                  <a:lnTo>
                    <a:pt x="2372" y="678"/>
                  </a:lnTo>
                  <a:lnTo>
                    <a:pt x="2372" y="680"/>
                  </a:lnTo>
                  <a:lnTo>
                    <a:pt x="2372" y="680"/>
                  </a:lnTo>
                  <a:lnTo>
                    <a:pt x="2373" y="680"/>
                  </a:lnTo>
                  <a:lnTo>
                    <a:pt x="2373" y="678"/>
                  </a:lnTo>
                  <a:lnTo>
                    <a:pt x="2373" y="678"/>
                  </a:lnTo>
                  <a:lnTo>
                    <a:pt x="2373" y="678"/>
                  </a:lnTo>
                  <a:lnTo>
                    <a:pt x="2373" y="678"/>
                  </a:lnTo>
                  <a:lnTo>
                    <a:pt x="2373" y="678"/>
                  </a:lnTo>
                  <a:lnTo>
                    <a:pt x="2373" y="677"/>
                  </a:lnTo>
                  <a:lnTo>
                    <a:pt x="2374" y="677"/>
                  </a:lnTo>
                  <a:lnTo>
                    <a:pt x="2374" y="677"/>
                  </a:lnTo>
                  <a:lnTo>
                    <a:pt x="2374" y="677"/>
                  </a:lnTo>
                  <a:lnTo>
                    <a:pt x="2374" y="677"/>
                  </a:lnTo>
                  <a:lnTo>
                    <a:pt x="2374" y="677"/>
                  </a:lnTo>
                  <a:lnTo>
                    <a:pt x="2376" y="677"/>
                  </a:lnTo>
                  <a:lnTo>
                    <a:pt x="2376" y="677"/>
                  </a:lnTo>
                  <a:lnTo>
                    <a:pt x="2376" y="677"/>
                  </a:lnTo>
                  <a:lnTo>
                    <a:pt x="2376" y="677"/>
                  </a:lnTo>
                  <a:lnTo>
                    <a:pt x="2376" y="676"/>
                  </a:lnTo>
                  <a:lnTo>
                    <a:pt x="2376" y="676"/>
                  </a:lnTo>
                  <a:lnTo>
                    <a:pt x="2376" y="676"/>
                  </a:lnTo>
                  <a:lnTo>
                    <a:pt x="2376" y="676"/>
                  </a:lnTo>
                  <a:lnTo>
                    <a:pt x="2376" y="676"/>
                  </a:lnTo>
                  <a:lnTo>
                    <a:pt x="2377" y="676"/>
                  </a:lnTo>
                  <a:lnTo>
                    <a:pt x="2377" y="676"/>
                  </a:lnTo>
                  <a:lnTo>
                    <a:pt x="2378" y="676"/>
                  </a:lnTo>
                  <a:lnTo>
                    <a:pt x="2378" y="676"/>
                  </a:lnTo>
                  <a:lnTo>
                    <a:pt x="2378" y="675"/>
                  </a:lnTo>
                  <a:lnTo>
                    <a:pt x="2379" y="675"/>
                  </a:lnTo>
                  <a:lnTo>
                    <a:pt x="2379" y="675"/>
                  </a:lnTo>
                  <a:lnTo>
                    <a:pt x="2380" y="675"/>
                  </a:lnTo>
                  <a:lnTo>
                    <a:pt x="2380" y="675"/>
                  </a:lnTo>
                  <a:lnTo>
                    <a:pt x="2380" y="675"/>
                  </a:lnTo>
                  <a:lnTo>
                    <a:pt x="2380" y="675"/>
                  </a:lnTo>
                  <a:lnTo>
                    <a:pt x="2380" y="675"/>
                  </a:lnTo>
                  <a:lnTo>
                    <a:pt x="2380" y="675"/>
                  </a:lnTo>
                  <a:lnTo>
                    <a:pt x="2381" y="675"/>
                  </a:lnTo>
                  <a:lnTo>
                    <a:pt x="2381" y="674"/>
                  </a:lnTo>
                  <a:lnTo>
                    <a:pt x="2381" y="674"/>
                  </a:lnTo>
                  <a:lnTo>
                    <a:pt x="2381" y="674"/>
                  </a:lnTo>
                  <a:lnTo>
                    <a:pt x="2381" y="674"/>
                  </a:lnTo>
                  <a:lnTo>
                    <a:pt x="2381" y="674"/>
                  </a:lnTo>
                  <a:lnTo>
                    <a:pt x="2381" y="674"/>
                  </a:lnTo>
                  <a:lnTo>
                    <a:pt x="2381" y="674"/>
                  </a:lnTo>
                  <a:lnTo>
                    <a:pt x="2382" y="674"/>
                  </a:lnTo>
                  <a:lnTo>
                    <a:pt x="2382" y="674"/>
                  </a:lnTo>
                  <a:lnTo>
                    <a:pt x="2382" y="674"/>
                  </a:lnTo>
                  <a:lnTo>
                    <a:pt x="2382" y="674"/>
                  </a:lnTo>
                  <a:lnTo>
                    <a:pt x="2382" y="674"/>
                  </a:lnTo>
                  <a:lnTo>
                    <a:pt x="2382" y="674"/>
                  </a:lnTo>
                  <a:lnTo>
                    <a:pt x="2383" y="674"/>
                  </a:lnTo>
                  <a:lnTo>
                    <a:pt x="2383" y="673"/>
                  </a:lnTo>
                  <a:lnTo>
                    <a:pt x="2385" y="673"/>
                  </a:lnTo>
                  <a:lnTo>
                    <a:pt x="2385" y="673"/>
                  </a:lnTo>
                  <a:lnTo>
                    <a:pt x="2386" y="673"/>
                  </a:lnTo>
                  <a:lnTo>
                    <a:pt x="2386" y="673"/>
                  </a:lnTo>
                  <a:lnTo>
                    <a:pt x="2386" y="673"/>
                  </a:lnTo>
                  <a:lnTo>
                    <a:pt x="2387" y="673"/>
                  </a:lnTo>
                  <a:lnTo>
                    <a:pt x="2387" y="673"/>
                  </a:lnTo>
                  <a:lnTo>
                    <a:pt x="2388" y="673"/>
                  </a:lnTo>
                  <a:lnTo>
                    <a:pt x="2388" y="673"/>
                  </a:lnTo>
                  <a:lnTo>
                    <a:pt x="2389" y="673"/>
                  </a:lnTo>
                  <a:lnTo>
                    <a:pt x="2389" y="673"/>
                  </a:lnTo>
                  <a:lnTo>
                    <a:pt x="2389" y="673"/>
                  </a:lnTo>
                  <a:lnTo>
                    <a:pt x="2389" y="674"/>
                  </a:lnTo>
                  <a:lnTo>
                    <a:pt x="2390" y="674"/>
                  </a:lnTo>
                  <a:lnTo>
                    <a:pt x="2390" y="674"/>
                  </a:lnTo>
                  <a:lnTo>
                    <a:pt x="2391" y="674"/>
                  </a:lnTo>
                  <a:lnTo>
                    <a:pt x="2391" y="674"/>
                  </a:lnTo>
                  <a:lnTo>
                    <a:pt x="2391" y="675"/>
                  </a:lnTo>
                  <a:lnTo>
                    <a:pt x="2391" y="675"/>
                  </a:lnTo>
                  <a:lnTo>
                    <a:pt x="2391" y="674"/>
                  </a:lnTo>
                  <a:lnTo>
                    <a:pt x="2393" y="674"/>
                  </a:lnTo>
                  <a:lnTo>
                    <a:pt x="2393" y="674"/>
                  </a:lnTo>
                  <a:lnTo>
                    <a:pt x="2393" y="674"/>
                  </a:lnTo>
                  <a:lnTo>
                    <a:pt x="2393" y="674"/>
                  </a:lnTo>
                  <a:lnTo>
                    <a:pt x="2393" y="674"/>
                  </a:lnTo>
                  <a:lnTo>
                    <a:pt x="2393" y="675"/>
                  </a:lnTo>
                  <a:lnTo>
                    <a:pt x="2393" y="675"/>
                  </a:lnTo>
                  <a:lnTo>
                    <a:pt x="2394" y="675"/>
                  </a:lnTo>
                  <a:lnTo>
                    <a:pt x="2394" y="675"/>
                  </a:lnTo>
                  <a:lnTo>
                    <a:pt x="2394" y="676"/>
                  </a:lnTo>
                  <a:lnTo>
                    <a:pt x="2394" y="676"/>
                  </a:lnTo>
                  <a:lnTo>
                    <a:pt x="2394" y="676"/>
                  </a:lnTo>
                  <a:lnTo>
                    <a:pt x="2394" y="676"/>
                  </a:lnTo>
                  <a:lnTo>
                    <a:pt x="2395" y="676"/>
                  </a:lnTo>
                  <a:lnTo>
                    <a:pt x="2395" y="676"/>
                  </a:lnTo>
                  <a:lnTo>
                    <a:pt x="2395" y="676"/>
                  </a:lnTo>
                  <a:lnTo>
                    <a:pt x="2395" y="675"/>
                  </a:lnTo>
                  <a:lnTo>
                    <a:pt x="2396" y="675"/>
                  </a:lnTo>
                  <a:lnTo>
                    <a:pt x="2396" y="676"/>
                  </a:lnTo>
                  <a:lnTo>
                    <a:pt x="2395" y="676"/>
                  </a:lnTo>
                  <a:lnTo>
                    <a:pt x="2395" y="676"/>
                  </a:lnTo>
                  <a:lnTo>
                    <a:pt x="2396" y="676"/>
                  </a:lnTo>
                  <a:lnTo>
                    <a:pt x="2396" y="676"/>
                  </a:lnTo>
                  <a:lnTo>
                    <a:pt x="2396" y="676"/>
                  </a:lnTo>
                  <a:lnTo>
                    <a:pt x="2396" y="676"/>
                  </a:lnTo>
                  <a:lnTo>
                    <a:pt x="2397" y="676"/>
                  </a:lnTo>
                  <a:lnTo>
                    <a:pt x="2397" y="676"/>
                  </a:lnTo>
                  <a:lnTo>
                    <a:pt x="2397" y="676"/>
                  </a:lnTo>
                  <a:lnTo>
                    <a:pt x="2397" y="675"/>
                  </a:lnTo>
                  <a:lnTo>
                    <a:pt x="2397" y="675"/>
                  </a:lnTo>
                  <a:lnTo>
                    <a:pt x="2397" y="676"/>
                  </a:lnTo>
                  <a:lnTo>
                    <a:pt x="2397" y="676"/>
                  </a:lnTo>
                  <a:lnTo>
                    <a:pt x="2397" y="676"/>
                  </a:lnTo>
                  <a:lnTo>
                    <a:pt x="2397" y="676"/>
                  </a:lnTo>
                  <a:lnTo>
                    <a:pt x="2397" y="677"/>
                  </a:lnTo>
                  <a:lnTo>
                    <a:pt x="2398" y="677"/>
                  </a:lnTo>
                  <a:lnTo>
                    <a:pt x="2398" y="677"/>
                  </a:lnTo>
                  <a:lnTo>
                    <a:pt x="2398" y="677"/>
                  </a:lnTo>
                  <a:lnTo>
                    <a:pt x="2398" y="677"/>
                  </a:lnTo>
                  <a:lnTo>
                    <a:pt x="2399" y="677"/>
                  </a:lnTo>
                  <a:lnTo>
                    <a:pt x="2400" y="677"/>
                  </a:lnTo>
                  <a:lnTo>
                    <a:pt x="2400" y="677"/>
                  </a:lnTo>
                  <a:lnTo>
                    <a:pt x="2400" y="677"/>
                  </a:lnTo>
                  <a:lnTo>
                    <a:pt x="2400" y="677"/>
                  </a:lnTo>
                  <a:lnTo>
                    <a:pt x="2399" y="677"/>
                  </a:lnTo>
                  <a:lnTo>
                    <a:pt x="2399" y="676"/>
                  </a:lnTo>
                  <a:lnTo>
                    <a:pt x="2402" y="676"/>
                  </a:lnTo>
                  <a:lnTo>
                    <a:pt x="2402" y="676"/>
                  </a:lnTo>
                  <a:lnTo>
                    <a:pt x="2402" y="676"/>
                  </a:lnTo>
                  <a:lnTo>
                    <a:pt x="2402" y="676"/>
                  </a:lnTo>
                  <a:lnTo>
                    <a:pt x="2403" y="676"/>
                  </a:lnTo>
                  <a:lnTo>
                    <a:pt x="2403" y="676"/>
                  </a:lnTo>
                  <a:lnTo>
                    <a:pt x="2403" y="675"/>
                  </a:lnTo>
                  <a:lnTo>
                    <a:pt x="2403" y="675"/>
                  </a:lnTo>
                  <a:lnTo>
                    <a:pt x="2403" y="675"/>
                  </a:lnTo>
                  <a:lnTo>
                    <a:pt x="2403" y="675"/>
                  </a:lnTo>
                  <a:lnTo>
                    <a:pt x="2403" y="675"/>
                  </a:lnTo>
                  <a:lnTo>
                    <a:pt x="2403" y="674"/>
                  </a:lnTo>
                  <a:lnTo>
                    <a:pt x="2404" y="674"/>
                  </a:lnTo>
                  <a:lnTo>
                    <a:pt x="2404" y="675"/>
                  </a:lnTo>
                  <a:lnTo>
                    <a:pt x="2405" y="675"/>
                  </a:lnTo>
                  <a:lnTo>
                    <a:pt x="2405" y="675"/>
                  </a:lnTo>
                  <a:lnTo>
                    <a:pt x="2405" y="675"/>
                  </a:lnTo>
                  <a:lnTo>
                    <a:pt x="2407" y="675"/>
                  </a:lnTo>
                  <a:lnTo>
                    <a:pt x="2407" y="675"/>
                  </a:lnTo>
                  <a:lnTo>
                    <a:pt x="2408" y="675"/>
                  </a:lnTo>
                  <a:lnTo>
                    <a:pt x="2408" y="675"/>
                  </a:lnTo>
                  <a:lnTo>
                    <a:pt x="2408" y="675"/>
                  </a:lnTo>
                  <a:lnTo>
                    <a:pt x="2410" y="675"/>
                  </a:lnTo>
                  <a:lnTo>
                    <a:pt x="2410" y="675"/>
                  </a:lnTo>
                  <a:lnTo>
                    <a:pt x="2410" y="676"/>
                  </a:lnTo>
                  <a:lnTo>
                    <a:pt x="2411" y="676"/>
                  </a:lnTo>
                  <a:lnTo>
                    <a:pt x="2411" y="676"/>
                  </a:lnTo>
                  <a:lnTo>
                    <a:pt x="2412" y="677"/>
                  </a:lnTo>
                  <a:lnTo>
                    <a:pt x="2412" y="677"/>
                  </a:lnTo>
                  <a:lnTo>
                    <a:pt x="2412" y="677"/>
                  </a:lnTo>
                  <a:lnTo>
                    <a:pt x="2412" y="678"/>
                  </a:lnTo>
                  <a:lnTo>
                    <a:pt x="2412" y="678"/>
                  </a:lnTo>
                  <a:lnTo>
                    <a:pt x="2412" y="680"/>
                  </a:lnTo>
                  <a:lnTo>
                    <a:pt x="2412" y="680"/>
                  </a:lnTo>
                  <a:lnTo>
                    <a:pt x="2413" y="681"/>
                  </a:lnTo>
                  <a:lnTo>
                    <a:pt x="2413" y="681"/>
                  </a:lnTo>
                  <a:lnTo>
                    <a:pt x="2413" y="682"/>
                  </a:lnTo>
                  <a:lnTo>
                    <a:pt x="2413" y="682"/>
                  </a:lnTo>
                  <a:lnTo>
                    <a:pt x="2414" y="683"/>
                  </a:lnTo>
                  <a:lnTo>
                    <a:pt x="2414" y="683"/>
                  </a:lnTo>
                  <a:lnTo>
                    <a:pt x="2414" y="684"/>
                  </a:lnTo>
                  <a:lnTo>
                    <a:pt x="2414" y="684"/>
                  </a:lnTo>
                  <a:lnTo>
                    <a:pt x="2414" y="684"/>
                  </a:lnTo>
                  <a:lnTo>
                    <a:pt x="2414" y="685"/>
                  </a:lnTo>
                  <a:lnTo>
                    <a:pt x="2415" y="686"/>
                  </a:lnTo>
                  <a:lnTo>
                    <a:pt x="2415" y="686"/>
                  </a:lnTo>
                  <a:lnTo>
                    <a:pt x="2415" y="688"/>
                  </a:lnTo>
                  <a:lnTo>
                    <a:pt x="2415" y="688"/>
                  </a:lnTo>
                  <a:lnTo>
                    <a:pt x="2415" y="689"/>
                  </a:lnTo>
                  <a:lnTo>
                    <a:pt x="2414" y="690"/>
                  </a:lnTo>
                  <a:lnTo>
                    <a:pt x="2414" y="690"/>
                  </a:lnTo>
                  <a:lnTo>
                    <a:pt x="2414" y="691"/>
                  </a:lnTo>
                  <a:lnTo>
                    <a:pt x="2414" y="691"/>
                  </a:lnTo>
                  <a:lnTo>
                    <a:pt x="2414" y="691"/>
                  </a:lnTo>
                  <a:lnTo>
                    <a:pt x="2414" y="692"/>
                  </a:lnTo>
                  <a:lnTo>
                    <a:pt x="2413" y="693"/>
                  </a:lnTo>
                  <a:lnTo>
                    <a:pt x="2413" y="693"/>
                  </a:lnTo>
                  <a:lnTo>
                    <a:pt x="2413" y="694"/>
                  </a:lnTo>
                  <a:lnTo>
                    <a:pt x="2412" y="694"/>
                  </a:lnTo>
                  <a:lnTo>
                    <a:pt x="2412" y="694"/>
                  </a:lnTo>
                  <a:lnTo>
                    <a:pt x="2412" y="695"/>
                  </a:lnTo>
                  <a:lnTo>
                    <a:pt x="2412" y="697"/>
                  </a:lnTo>
                  <a:lnTo>
                    <a:pt x="2412" y="697"/>
                  </a:lnTo>
                  <a:lnTo>
                    <a:pt x="2412" y="698"/>
                  </a:lnTo>
                  <a:lnTo>
                    <a:pt x="2411" y="698"/>
                  </a:lnTo>
                  <a:lnTo>
                    <a:pt x="2411" y="698"/>
                  </a:lnTo>
                  <a:lnTo>
                    <a:pt x="2411" y="698"/>
                  </a:lnTo>
                  <a:lnTo>
                    <a:pt x="2411" y="699"/>
                  </a:lnTo>
                  <a:lnTo>
                    <a:pt x="2411" y="699"/>
                  </a:lnTo>
                  <a:lnTo>
                    <a:pt x="2412" y="699"/>
                  </a:lnTo>
                  <a:lnTo>
                    <a:pt x="2412" y="699"/>
                  </a:lnTo>
                  <a:lnTo>
                    <a:pt x="2412" y="700"/>
                  </a:lnTo>
                  <a:lnTo>
                    <a:pt x="2412" y="700"/>
                  </a:lnTo>
                  <a:lnTo>
                    <a:pt x="2412" y="701"/>
                  </a:lnTo>
                  <a:lnTo>
                    <a:pt x="2413" y="701"/>
                  </a:lnTo>
                  <a:lnTo>
                    <a:pt x="2413" y="702"/>
                  </a:lnTo>
                  <a:lnTo>
                    <a:pt x="2413" y="702"/>
                  </a:lnTo>
                  <a:lnTo>
                    <a:pt x="2414" y="702"/>
                  </a:lnTo>
                  <a:lnTo>
                    <a:pt x="2414" y="702"/>
                  </a:lnTo>
                  <a:lnTo>
                    <a:pt x="2415" y="702"/>
                  </a:lnTo>
                  <a:lnTo>
                    <a:pt x="2415" y="702"/>
                  </a:lnTo>
                  <a:lnTo>
                    <a:pt x="2415" y="702"/>
                  </a:lnTo>
                  <a:lnTo>
                    <a:pt x="2415" y="702"/>
                  </a:lnTo>
                  <a:lnTo>
                    <a:pt x="2416" y="703"/>
                  </a:lnTo>
                  <a:lnTo>
                    <a:pt x="2416" y="703"/>
                  </a:lnTo>
                  <a:lnTo>
                    <a:pt x="2417" y="703"/>
                  </a:lnTo>
                  <a:lnTo>
                    <a:pt x="2419" y="703"/>
                  </a:lnTo>
                  <a:lnTo>
                    <a:pt x="2421" y="703"/>
                  </a:lnTo>
                  <a:lnTo>
                    <a:pt x="2422" y="702"/>
                  </a:lnTo>
                  <a:lnTo>
                    <a:pt x="2422" y="702"/>
                  </a:lnTo>
                  <a:lnTo>
                    <a:pt x="2423" y="702"/>
                  </a:lnTo>
                  <a:lnTo>
                    <a:pt x="2423" y="702"/>
                  </a:lnTo>
                  <a:lnTo>
                    <a:pt x="2423" y="701"/>
                  </a:lnTo>
                  <a:lnTo>
                    <a:pt x="2424" y="701"/>
                  </a:lnTo>
                  <a:lnTo>
                    <a:pt x="2424" y="701"/>
                  </a:lnTo>
                  <a:lnTo>
                    <a:pt x="2424" y="700"/>
                  </a:lnTo>
                  <a:lnTo>
                    <a:pt x="2424" y="700"/>
                  </a:lnTo>
                  <a:lnTo>
                    <a:pt x="2424" y="700"/>
                  </a:lnTo>
                  <a:lnTo>
                    <a:pt x="2425" y="700"/>
                  </a:lnTo>
                  <a:lnTo>
                    <a:pt x="2425" y="700"/>
                  </a:lnTo>
                  <a:lnTo>
                    <a:pt x="2427" y="700"/>
                  </a:lnTo>
                  <a:lnTo>
                    <a:pt x="2428" y="701"/>
                  </a:lnTo>
                  <a:lnTo>
                    <a:pt x="2428" y="701"/>
                  </a:lnTo>
                  <a:lnTo>
                    <a:pt x="2428" y="701"/>
                  </a:lnTo>
                  <a:lnTo>
                    <a:pt x="2428" y="701"/>
                  </a:lnTo>
                  <a:lnTo>
                    <a:pt x="2428" y="702"/>
                  </a:lnTo>
                  <a:lnTo>
                    <a:pt x="2427" y="702"/>
                  </a:lnTo>
                  <a:lnTo>
                    <a:pt x="2427" y="702"/>
                  </a:lnTo>
                  <a:lnTo>
                    <a:pt x="2427" y="702"/>
                  </a:lnTo>
                  <a:lnTo>
                    <a:pt x="2427" y="703"/>
                  </a:lnTo>
                  <a:lnTo>
                    <a:pt x="2427" y="703"/>
                  </a:lnTo>
                  <a:lnTo>
                    <a:pt x="2427" y="705"/>
                  </a:lnTo>
                  <a:lnTo>
                    <a:pt x="2428" y="705"/>
                  </a:lnTo>
                  <a:lnTo>
                    <a:pt x="2428" y="705"/>
                  </a:lnTo>
                  <a:lnTo>
                    <a:pt x="2428" y="706"/>
                  </a:lnTo>
                  <a:lnTo>
                    <a:pt x="2429" y="706"/>
                  </a:lnTo>
                  <a:lnTo>
                    <a:pt x="2429" y="706"/>
                  </a:lnTo>
                  <a:lnTo>
                    <a:pt x="2429" y="707"/>
                  </a:lnTo>
                  <a:lnTo>
                    <a:pt x="2429" y="707"/>
                  </a:lnTo>
                  <a:lnTo>
                    <a:pt x="2429" y="707"/>
                  </a:lnTo>
                  <a:lnTo>
                    <a:pt x="2430" y="708"/>
                  </a:lnTo>
                  <a:lnTo>
                    <a:pt x="2429" y="708"/>
                  </a:lnTo>
                  <a:lnTo>
                    <a:pt x="2429" y="709"/>
                  </a:lnTo>
                  <a:lnTo>
                    <a:pt x="2429" y="709"/>
                  </a:lnTo>
                  <a:lnTo>
                    <a:pt x="2429" y="709"/>
                  </a:lnTo>
                  <a:lnTo>
                    <a:pt x="2429" y="709"/>
                  </a:lnTo>
                  <a:lnTo>
                    <a:pt x="2429" y="709"/>
                  </a:lnTo>
                  <a:lnTo>
                    <a:pt x="2428" y="709"/>
                  </a:lnTo>
                  <a:lnTo>
                    <a:pt x="2428" y="709"/>
                  </a:lnTo>
                  <a:lnTo>
                    <a:pt x="2427" y="709"/>
                  </a:lnTo>
                  <a:lnTo>
                    <a:pt x="2425" y="709"/>
                  </a:lnTo>
                  <a:lnTo>
                    <a:pt x="2424" y="709"/>
                  </a:lnTo>
                  <a:lnTo>
                    <a:pt x="2424" y="709"/>
                  </a:lnTo>
                  <a:lnTo>
                    <a:pt x="2424" y="709"/>
                  </a:lnTo>
                  <a:lnTo>
                    <a:pt x="2421" y="709"/>
                  </a:lnTo>
                  <a:lnTo>
                    <a:pt x="2420" y="709"/>
                  </a:lnTo>
                  <a:lnTo>
                    <a:pt x="2420" y="710"/>
                  </a:lnTo>
                  <a:lnTo>
                    <a:pt x="2420" y="710"/>
                  </a:lnTo>
                  <a:lnTo>
                    <a:pt x="2420" y="710"/>
                  </a:lnTo>
                  <a:lnTo>
                    <a:pt x="2419" y="711"/>
                  </a:lnTo>
                  <a:lnTo>
                    <a:pt x="2419" y="711"/>
                  </a:lnTo>
                  <a:lnTo>
                    <a:pt x="2417" y="711"/>
                  </a:lnTo>
                  <a:lnTo>
                    <a:pt x="2417" y="712"/>
                  </a:lnTo>
                  <a:lnTo>
                    <a:pt x="2417" y="714"/>
                  </a:lnTo>
                  <a:lnTo>
                    <a:pt x="2417" y="714"/>
                  </a:lnTo>
                  <a:lnTo>
                    <a:pt x="2417" y="714"/>
                  </a:lnTo>
                  <a:lnTo>
                    <a:pt x="2417" y="715"/>
                  </a:lnTo>
                  <a:lnTo>
                    <a:pt x="2416" y="715"/>
                  </a:lnTo>
                  <a:lnTo>
                    <a:pt x="2416" y="716"/>
                  </a:lnTo>
                  <a:lnTo>
                    <a:pt x="2416" y="716"/>
                  </a:lnTo>
                  <a:lnTo>
                    <a:pt x="2416" y="717"/>
                  </a:lnTo>
                  <a:lnTo>
                    <a:pt x="2415" y="717"/>
                  </a:lnTo>
                  <a:lnTo>
                    <a:pt x="2415" y="717"/>
                  </a:lnTo>
                  <a:lnTo>
                    <a:pt x="2415" y="718"/>
                  </a:lnTo>
                  <a:lnTo>
                    <a:pt x="2415" y="718"/>
                  </a:lnTo>
                  <a:lnTo>
                    <a:pt x="2415" y="718"/>
                  </a:lnTo>
                  <a:lnTo>
                    <a:pt x="2414" y="718"/>
                  </a:lnTo>
                  <a:lnTo>
                    <a:pt x="2414" y="718"/>
                  </a:lnTo>
                  <a:lnTo>
                    <a:pt x="2414" y="718"/>
                  </a:lnTo>
                  <a:lnTo>
                    <a:pt x="2414" y="718"/>
                  </a:lnTo>
                  <a:lnTo>
                    <a:pt x="2413" y="718"/>
                  </a:lnTo>
                  <a:lnTo>
                    <a:pt x="2413" y="717"/>
                  </a:lnTo>
                  <a:lnTo>
                    <a:pt x="2413" y="717"/>
                  </a:lnTo>
                  <a:lnTo>
                    <a:pt x="2413" y="717"/>
                  </a:lnTo>
                  <a:lnTo>
                    <a:pt x="2414" y="717"/>
                  </a:lnTo>
                  <a:lnTo>
                    <a:pt x="2414" y="716"/>
                  </a:lnTo>
                  <a:lnTo>
                    <a:pt x="2414" y="716"/>
                  </a:lnTo>
                  <a:lnTo>
                    <a:pt x="2414" y="715"/>
                  </a:lnTo>
                  <a:lnTo>
                    <a:pt x="2415" y="715"/>
                  </a:lnTo>
                  <a:lnTo>
                    <a:pt x="2415" y="714"/>
                  </a:lnTo>
                  <a:lnTo>
                    <a:pt x="2415" y="714"/>
                  </a:lnTo>
                  <a:lnTo>
                    <a:pt x="2415" y="712"/>
                  </a:lnTo>
                  <a:lnTo>
                    <a:pt x="2416" y="712"/>
                  </a:lnTo>
                  <a:lnTo>
                    <a:pt x="2416" y="712"/>
                  </a:lnTo>
                  <a:lnTo>
                    <a:pt x="2416" y="711"/>
                  </a:lnTo>
                  <a:lnTo>
                    <a:pt x="2416" y="711"/>
                  </a:lnTo>
                  <a:lnTo>
                    <a:pt x="2417" y="710"/>
                  </a:lnTo>
                  <a:lnTo>
                    <a:pt x="2417" y="710"/>
                  </a:lnTo>
                  <a:lnTo>
                    <a:pt x="2417" y="710"/>
                  </a:lnTo>
                  <a:lnTo>
                    <a:pt x="2419" y="709"/>
                  </a:lnTo>
                  <a:lnTo>
                    <a:pt x="2419" y="709"/>
                  </a:lnTo>
                  <a:lnTo>
                    <a:pt x="2419" y="709"/>
                  </a:lnTo>
                  <a:lnTo>
                    <a:pt x="2420" y="709"/>
                  </a:lnTo>
                  <a:lnTo>
                    <a:pt x="2420" y="709"/>
                  </a:lnTo>
                  <a:lnTo>
                    <a:pt x="2420" y="708"/>
                  </a:lnTo>
                  <a:lnTo>
                    <a:pt x="2422" y="708"/>
                  </a:lnTo>
                  <a:lnTo>
                    <a:pt x="2423" y="708"/>
                  </a:lnTo>
                  <a:lnTo>
                    <a:pt x="2423" y="708"/>
                  </a:lnTo>
                  <a:lnTo>
                    <a:pt x="2424" y="708"/>
                  </a:lnTo>
                  <a:lnTo>
                    <a:pt x="2424" y="708"/>
                  </a:lnTo>
                  <a:lnTo>
                    <a:pt x="2425" y="707"/>
                  </a:lnTo>
                  <a:lnTo>
                    <a:pt x="2425" y="707"/>
                  </a:lnTo>
                  <a:lnTo>
                    <a:pt x="2425" y="706"/>
                  </a:lnTo>
                  <a:lnTo>
                    <a:pt x="2425" y="706"/>
                  </a:lnTo>
                  <a:lnTo>
                    <a:pt x="2425" y="705"/>
                  </a:lnTo>
                  <a:lnTo>
                    <a:pt x="2424" y="705"/>
                  </a:lnTo>
                  <a:lnTo>
                    <a:pt x="2424" y="705"/>
                  </a:lnTo>
                  <a:lnTo>
                    <a:pt x="2423" y="705"/>
                  </a:lnTo>
                  <a:lnTo>
                    <a:pt x="2423" y="705"/>
                  </a:lnTo>
                  <a:lnTo>
                    <a:pt x="2423" y="705"/>
                  </a:lnTo>
                  <a:lnTo>
                    <a:pt x="2422" y="705"/>
                  </a:lnTo>
                  <a:lnTo>
                    <a:pt x="2422" y="705"/>
                  </a:lnTo>
                  <a:lnTo>
                    <a:pt x="2421" y="705"/>
                  </a:lnTo>
                  <a:lnTo>
                    <a:pt x="2421" y="705"/>
                  </a:lnTo>
                  <a:lnTo>
                    <a:pt x="2420" y="706"/>
                  </a:lnTo>
                  <a:lnTo>
                    <a:pt x="2420" y="706"/>
                  </a:lnTo>
                  <a:lnTo>
                    <a:pt x="2420" y="706"/>
                  </a:lnTo>
                  <a:lnTo>
                    <a:pt x="2419" y="706"/>
                  </a:lnTo>
                  <a:lnTo>
                    <a:pt x="2419" y="705"/>
                  </a:lnTo>
                  <a:lnTo>
                    <a:pt x="2417" y="705"/>
                  </a:lnTo>
                  <a:lnTo>
                    <a:pt x="2416" y="705"/>
                  </a:lnTo>
                  <a:lnTo>
                    <a:pt x="2413" y="705"/>
                  </a:lnTo>
                  <a:lnTo>
                    <a:pt x="2412" y="705"/>
                  </a:lnTo>
                  <a:lnTo>
                    <a:pt x="2408" y="705"/>
                  </a:lnTo>
                  <a:lnTo>
                    <a:pt x="2407" y="705"/>
                  </a:lnTo>
                  <a:lnTo>
                    <a:pt x="2407" y="703"/>
                  </a:lnTo>
                  <a:lnTo>
                    <a:pt x="2406" y="703"/>
                  </a:lnTo>
                  <a:lnTo>
                    <a:pt x="2405" y="703"/>
                  </a:lnTo>
                  <a:lnTo>
                    <a:pt x="2405" y="703"/>
                  </a:lnTo>
                  <a:lnTo>
                    <a:pt x="2403" y="703"/>
                  </a:lnTo>
                  <a:lnTo>
                    <a:pt x="2403" y="703"/>
                  </a:lnTo>
                  <a:lnTo>
                    <a:pt x="2399" y="703"/>
                  </a:lnTo>
                  <a:lnTo>
                    <a:pt x="2398" y="702"/>
                  </a:lnTo>
                  <a:lnTo>
                    <a:pt x="2398" y="702"/>
                  </a:lnTo>
                  <a:lnTo>
                    <a:pt x="2398" y="702"/>
                  </a:lnTo>
                  <a:lnTo>
                    <a:pt x="2398" y="702"/>
                  </a:lnTo>
                  <a:lnTo>
                    <a:pt x="2397" y="702"/>
                  </a:lnTo>
                  <a:lnTo>
                    <a:pt x="2397" y="702"/>
                  </a:lnTo>
                  <a:lnTo>
                    <a:pt x="2396" y="702"/>
                  </a:lnTo>
                  <a:lnTo>
                    <a:pt x="2396" y="702"/>
                  </a:lnTo>
                  <a:lnTo>
                    <a:pt x="2396" y="702"/>
                  </a:lnTo>
                  <a:lnTo>
                    <a:pt x="2396" y="702"/>
                  </a:lnTo>
                  <a:lnTo>
                    <a:pt x="2394" y="702"/>
                  </a:lnTo>
                  <a:lnTo>
                    <a:pt x="2394" y="701"/>
                  </a:lnTo>
                  <a:lnTo>
                    <a:pt x="2394" y="701"/>
                  </a:lnTo>
                  <a:lnTo>
                    <a:pt x="2394" y="701"/>
                  </a:lnTo>
                  <a:lnTo>
                    <a:pt x="2394" y="701"/>
                  </a:lnTo>
                  <a:lnTo>
                    <a:pt x="2394" y="701"/>
                  </a:lnTo>
                  <a:lnTo>
                    <a:pt x="2394" y="701"/>
                  </a:lnTo>
                  <a:lnTo>
                    <a:pt x="2394" y="702"/>
                  </a:lnTo>
                  <a:lnTo>
                    <a:pt x="2393" y="702"/>
                  </a:lnTo>
                  <a:lnTo>
                    <a:pt x="2393" y="702"/>
                  </a:lnTo>
                  <a:lnTo>
                    <a:pt x="2393" y="702"/>
                  </a:lnTo>
                  <a:lnTo>
                    <a:pt x="2393" y="702"/>
                  </a:lnTo>
                  <a:lnTo>
                    <a:pt x="2391" y="702"/>
                  </a:lnTo>
                  <a:lnTo>
                    <a:pt x="2391" y="703"/>
                  </a:lnTo>
                  <a:lnTo>
                    <a:pt x="2390" y="703"/>
                  </a:lnTo>
                  <a:lnTo>
                    <a:pt x="2389" y="702"/>
                  </a:lnTo>
                  <a:lnTo>
                    <a:pt x="2389" y="702"/>
                  </a:lnTo>
                  <a:lnTo>
                    <a:pt x="2389" y="702"/>
                  </a:lnTo>
                  <a:lnTo>
                    <a:pt x="2389" y="703"/>
                  </a:lnTo>
                  <a:lnTo>
                    <a:pt x="2389" y="703"/>
                  </a:lnTo>
                  <a:lnTo>
                    <a:pt x="2388" y="703"/>
                  </a:lnTo>
                  <a:lnTo>
                    <a:pt x="2388" y="703"/>
                  </a:lnTo>
                  <a:lnTo>
                    <a:pt x="2388" y="703"/>
                  </a:lnTo>
                  <a:lnTo>
                    <a:pt x="2388" y="705"/>
                  </a:lnTo>
                  <a:lnTo>
                    <a:pt x="2388" y="705"/>
                  </a:lnTo>
                  <a:lnTo>
                    <a:pt x="2388" y="705"/>
                  </a:lnTo>
                  <a:lnTo>
                    <a:pt x="2388" y="705"/>
                  </a:lnTo>
                  <a:lnTo>
                    <a:pt x="2388" y="705"/>
                  </a:lnTo>
                  <a:lnTo>
                    <a:pt x="2387" y="705"/>
                  </a:lnTo>
                  <a:lnTo>
                    <a:pt x="2387" y="705"/>
                  </a:lnTo>
                  <a:lnTo>
                    <a:pt x="2387" y="706"/>
                  </a:lnTo>
                  <a:lnTo>
                    <a:pt x="2387" y="706"/>
                  </a:lnTo>
                  <a:lnTo>
                    <a:pt x="2387" y="706"/>
                  </a:lnTo>
                  <a:lnTo>
                    <a:pt x="2387" y="706"/>
                  </a:lnTo>
                  <a:lnTo>
                    <a:pt x="2387" y="706"/>
                  </a:lnTo>
                  <a:lnTo>
                    <a:pt x="2387" y="707"/>
                  </a:lnTo>
                  <a:lnTo>
                    <a:pt x="2387" y="707"/>
                  </a:lnTo>
                  <a:lnTo>
                    <a:pt x="2387" y="707"/>
                  </a:lnTo>
                  <a:lnTo>
                    <a:pt x="2387" y="708"/>
                  </a:lnTo>
                  <a:lnTo>
                    <a:pt x="2387" y="708"/>
                  </a:lnTo>
                  <a:lnTo>
                    <a:pt x="2387" y="708"/>
                  </a:lnTo>
                  <a:lnTo>
                    <a:pt x="2387" y="708"/>
                  </a:lnTo>
                  <a:lnTo>
                    <a:pt x="2386" y="708"/>
                  </a:lnTo>
                  <a:lnTo>
                    <a:pt x="2386" y="708"/>
                  </a:lnTo>
                  <a:lnTo>
                    <a:pt x="2386" y="708"/>
                  </a:lnTo>
                  <a:lnTo>
                    <a:pt x="2386" y="708"/>
                  </a:lnTo>
                  <a:lnTo>
                    <a:pt x="2385" y="708"/>
                  </a:lnTo>
                  <a:lnTo>
                    <a:pt x="2385" y="708"/>
                  </a:lnTo>
                  <a:lnTo>
                    <a:pt x="2385" y="709"/>
                  </a:lnTo>
                  <a:lnTo>
                    <a:pt x="2385" y="709"/>
                  </a:lnTo>
                  <a:lnTo>
                    <a:pt x="2385" y="709"/>
                  </a:lnTo>
                  <a:lnTo>
                    <a:pt x="2383" y="709"/>
                  </a:lnTo>
                  <a:lnTo>
                    <a:pt x="2383" y="709"/>
                  </a:lnTo>
                  <a:lnTo>
                    <a:pt x="2383" y="709"/>
                  </a:lnTo>
                  <a:lnTo>
                    <a:pt x="2383" y="709"/>
                  </a:lnTo>
                  <a:lnTo>
                    <a:pt x="2383" y="709"/>
                  </a:lnTo>
                  <a:lnTo>
                    <a:pt x="2383" y="709"/>
                  </a:lnTo>
                  <a:lnTo>
                    <a:pt x="2383" y="709"/>
                  </a:lnTo>
                  <a:lnTo>
                    <a:pt x="2383" y="709"/>
                  </a:lnTo>
                  <a:lnTo>
                    <a:pt x="2383" y="710"/>
                  </a:lnTo>
                  <a:lnTo>
                    <a:pt x="2383" y="710"/>
                  </a:lnTo>
                  <a:lnTo>
                    <a:pt x="2383" y="710"/>
                  </a:lnTo>
                  <a:lnTo>
                    <a:pt x="2386" y="711"/>
                  </a:lnTo>
                  <a:lnTo>
                    <a:pt x="2386" y="712"/>
                  </a:lnTo>
                  <a:lnTo>
                    <a:pt x="2387" y="712"/>
                  </a:lnTo>
                  <a:lnTo>
                    <a:pt x="2387" y="714"/>
                  </a:lnTo>
                  <a:lnTo>
                    <a:pt x="2387" y="714"/>
                  </a:lnTo>
                  <a:lnTo>
                    <a:pt x="2387" y="714"/>
                  </a:lnTo>
                  <a:lnTo>
                    <a:pt x="2387" y="714"/>
                  </a:lnTo>
                  <a:lnTo>
                    <a:pt x="2387" y="714"/>
                  </a:lnTo>
                  <a:lnTo>
                    <a:pt x="2387" y="714"/>
                  </a:lnTo>
                  <a:lnTo>
                    <a:pt x="2387" y="715"/>
                  </a:lnTo>
                  <a:lnTo>
                    <a:pt x="2387" y="715"/>
                  </a:lnTo>
                  <a:lnTo>
                    <a:pt x="2387" y="715"/>
                  </a:lnTo>
                  <a:lnTo>
                    <a:pt x="2389" y="715"/>
                  </a:lnTo>
                  <a:lnTo>
                    <a:pt x="2389" y="715"/>
                  </a:lnTo>
                  <a:lnTo>
                    <a:pt x="2390" y="716"/>
                  </a:lnTo>
                  <a:lnTo>
                    <a:pt x="2390" y="716"/>
                  </a:lnTo>
                  <a:lnTo>
                    <a:pt x="2390" y="716"/>
                  </a:lnTo>
                  <a:lnTo>
                    <a:pt x="2390" y="716"/>
                  </a:lnTo>
                  <a:lnTo>
                    <a:pt x="2391" y="716"/>
                  </a:lnTo>
                  <a:lnTo>
                    <a:pt x="2391" y="717"/>
                  </a:lnTo>
                  <a:lnTo>
                    <a:pt x="2391" y="717"/>
                  </a:lnTo>
                  <a:lnTo>
                    <a:pt x="2390" y="717"/>
                  </a:lnTo>
                  <a:lnTo>
                    <a:pt x="2390" y="717"/>
                  </a:lnTo>
                  <a:lnTo>
                    <a:pt x="2389" y="717"/>
                  </a:lnTo>
                  <a:lnTo>
                    <a:pt x="2389" y="717"/>
                  </a:lnTo>
                  <a:lnTo>
                    <a:pt x="2389" y="717"/>
                  </a:lnTo>
                  <a:lnTo>
                    <a:pt x="2389" y="717"/>
                  </a:lnTo>
                  <a:lnTo>
                    <a:pt x="2389" y="717"/>
                  </a:lnTo>
                  <a:lnTo>
                    <a:pt x="2388" y="717"/>
                  </a:lnTo>
                  <a:lnTo>
                    <a:pt x="2389" y="716"/>
                  </a:lnTo>
                  <a:lnTo>
                    <a:pt x="2389" y="716"/>
                  </a:lnTo>
                  <a:lnTo>
                    <a:pt x="2388" y="716"/>
                  </a:lnTo>
                  <a:lnTo>
                    <a:pt x="2388" y="716"/>
                  </a:lnTo>
                  <a:lnTo>
                    <a:pt x="2387" y="716"/>
                  </a:lnTo>
                  <a:lnTo>
                    <a:pt x="2387" y="717"/>
                  </a:lnTo>
                  <a:lnTo>
                    <a:pt x="2387" y="717"/>
                  </a:lnTo>
                  <a:lnTo>
                    <a:pt x="2387" y="717"/>
                  </a:lnTo>
                  <a:lnTo>
                    <a:pt x="2387" y="717"/>
                  </a:lnTo>
                  <a:lnTo>
                    <a:pt x="2387" y="717"/>
                  </a:lnTo>
                  <a:lnTo>
                    <a:pt x="2387" y="717"/>
                  </a:lnTo>
                  <a:lnTo>
                    <a:pt x="2386" y="717"/>
                  </a:lnTo>
                  <a:lnTo>
                    <a:pt x="2385" y="717"/>
                  </a:lnTo>
                  <a:lnTo>
                    <a:pt x="2385" y="717"/>
                  </a:lnTo>
                  <a:lnTo>
                    <a:pt x="2385" y="717"/>
                  </a:lnTo>
                  <a:lnTo>
                    <a:pt x="2385" y="717"/>
                  </a:lnTo>
                  <a:lnTo>
                    <a:pt x="2383" y="717"/>
                  </a:lnTo>
                  <a:lnTo>
                    <a:pt x="2383" y="717"/>
                  </a:lnTo>
                  <a:lnTo>
                    <a:pt x="2383" y="717"/>
                  </a:lnTo>
                  <a:lnTo>
                    <a:pt x="2383" y="716"/>
                  </a:lnTo>
                  <a:lnTo>
                    <a:pt x="2383" y="716"/>
                  </a:lnTo>
                  <a:lnTo>
                    <a:pt x="2383" y="716"/>
                  </a:lnTo>
                  <a:lnTo>
                    <a:pt x="2382" y="716"/>
                  </a:lnTo>
                  <a:lnTo>
                    <a:pt x="2382" y="716"/>
                  </a:lnTo>
                  <a:lnTo>
                    <a:pt x="2382" y="716"/>
                  </a:lnTo>
                  <a:lnTo>
                    <a:pt x="2382" y="716"/>
                  </a:lnTo>
                  <a:lnTo>
                    <a:pt x="2382" y="716"/>
                  </a:lnTo>
                  <a:lnTo>
                    <a:pt x="2382" y="715"/>
                  </a:lnTo>
                  <a:lnTo>
                    <a:pt x="2382" y="715"/>
                  </a:lnTo>
                  <a:lnTo>
                    <a:pt x="2382" y="715"/>
                  </a:lnTo>
                  <a:lnTo>
                    <a:pt x="2381" y="715"/>
                  </a:lnTo>
                  <a:lnTo>
                    <a:pt x="2381" y="715"/>
                  </a:lnTo>
                  <a:lnTo>
                    <a:pt x="2380" y="715"/>
                  </a:lnTo>
                  <a:lnTo>
                    <a:pt x="2380" y="715"/>
                  </a:lnTo>
                  <a:lnTo>
                    <a:pt x="2380" y="715"/>
                  </a:lnTo>
                  <a:lnTo>
                    <a:pt x="2380" y="715"/>
                  </a:lnTo>
                  <a:lnTo>
                    <a:pt x="2380" y="715"/>
                  </a:lnTo>
                  <a:lnTo>
                    <a:pt x="2379" y="715"/>
                  </a:lnTo>
                  <a:lnTo>
                    <a:pt x="2379" y="715"/>
                  </a:lnTo>
                  <a:lnTo>
                    <a:pt x="2379" y="715"/>
                  </a:lnTo>
                  <a:lnTo>
                    <a:pt x="2379" y="715"/>
                  </a:lnTo>
                  <a:lnTo>
                    <a:pt x="2379" y="715"/>
                  </a:lnTo>
                  <a:lnTo>
                    <a:pt x="2378" y="715"/>
                  </a:lnTo>
                  <a:lnTo>
                    <a:pt x="2378" y="715"/>
                  </a:lnTo>
                  <a:lnTo>
                    <a:pt x="2378" y="715"/>
                  </a:lnTo>
                  <a:lnTo>
                    <a:pt x="2378" y="715"/>
                  </a:lnTo>
                  <a:lnTo>
                    <a:pt x="2377" y="715"/>
                  </a:lnTo>
                  <a:lnTo>
                    <a:pt x="2377" y="715"/>
                  </a:lnTo>
                  <a:lnTo>
                    <a:pt x="2376" y="715"/>
                  </a:lnTo>
                  <a:lnTo>
                    <a:pt x="2376" y="715"/>
                  </a:lnTo>
                  <a:lnTo>
                    <a:pt x="2376" y="715"/>
                  </a:lnTo>
                  <a:lnTo>
                    <a:pt x="2376" y="715"/>
                  </a:lnTo>
                  <a:lnTo>
                    <a:pt x="2374" y="715"/>
                  </a:lnTo>
                  <a:lnTo>
                    <a:pt x="2374" y="715"/>
                  </a:lnTo>
                  <a:lnTo>
                    <a:pt x="2373" y="715"/>
                  </a:lnTo>
                  <a:lnTo>
                    <a:pt x="2373" y="715"/>
                  </a:lnTo>
                  <a:lnTo>
                    <a:pt x="2373" y="715"/>
                  </a:lnTo>
                  <a:lnTo>
                    <a:pt x="2373" y="716"/>
                  </a:lnTo>
                  <a:lnTo>
                    <a:pt x="2373" y="716"/>
                  </a:lnTo>
                  <a:lnTo>
                    <a:pt x="2373" y="716"/>
                  </a:lnTo>
                  <a:lnTo>
                    <a:pt x="2373" y="716"/>
                  </a:lnTo>
                  <a:lnTo>
                    <a:pt x="2373" y="716"/>
                  </a:lnTo>
                  <a:lnTo>
                    <a:pt x="2373" y="716"/>
                  </a:lnTo>
                  <a:lnTo>
                    <a:pt x="2373" y="719"/>
                  </a:lnTo>
                  <a:lnTo>
                    <a:pt x="2373" y="719"/>
                  </a:lnTo>
                  <a:lnTo>
                    <a:pt x="2373" y="719"/>
                  </a:lnTo>
                  <a:lnTo>
                    <a:pt x="2373" y="720"/>
                  </a:lnTo>
                  <a:lnTo>
                    <a:pt x="2374" y="720"/>
                  </a:lnTo>
                  <a:lnTo>
                    <a:pt x="2374" y="720"/>
                  </a:lnTo>
                  <a:lnTo>
                    <a:pt x="2376" y="720"/>
                  </a:lnTo>
                  <a:lnTo>
                    <a:pt x="2376" y="720"/>
                  </a:lnTo>
                  <a:lnTo>
                    <a:pt x="2377" y="720"/>
                  </a:lnTo>
                  <a:lnTo>
                    <a:pt x="2378" y="720"/>
                  </a:lnTo>
                  <a:lnTo>
                    <a:pt x="2379" y="720"/>
                  </a:lnTo>
                  <a:lnTo>
                    <a:pt x="2379" y="722"/>
                  </a:lnTo>
                  <a:lnTo>
                    <a:pt x="2380" y="722"/>
                  </a:lnTo>
                  <a:lnTo>
                    <a:pt x="2380" y="722"/>
                  </a:lnTo>
                  <a:lnTo>
                    <a:pt x="2380" y="722"/>
                  </a:lnTo>
                  <a:lnTo>
                    <a:pt x="2381" y="722"/>
                  </a:lnTo>
                  <a:lnTo>
                    <a:pt x="2381" y="722"/>
                  </a:lnTo>
                  <a:lnTo>
                    <a:pt x="2381" y="722"/>
                  </a:lnTo>
                  <a:lnTo>
                    <a:pt x="2381" y="723"/>
                  </a:lnTo>
                  <a:lnTo>
                    <a:pt x="2381" y="725"/>
                  </a:lnTo>
                  <a:lnTo>
                    <a:pt x="2381" y="725"/>
                  </a:lnTo>
                  <a:lnTo>
                    <a:pt x="2381" y="725"/>
                  </a:lnTo>
                  <a:lnTo>
                    <a:pt x="2382" y="725"/>
                  </a:lnTo>
                  <a:lnTo>
                    <a:pt x="2382" y="726"/>
                  </a:lnTo>
                  <a:lnTo>
                    <a:pt x="2382" y="726"/>
                  </a:lnTo>
                  <a:lnTo>
                    <a:pt x="2382" y="726"/>
                  </a:lnTo>
                  <a:lnTo>
                    <a:pt x="2383" y="726"/>
                  </a:lnTo>
                  <a:lnTo>
                    <a:pt x="2383" y="727"/>
                  </a:lnTo>
                  <a:lnTo>
                    <a:pt x="2383" y="727"/>
                  </a:lnTo>
                  <a:lnTo>
                    <a:pt x="2383" y="727"/>
                  </a:lnTo>
                  <a:lnTo>
                    <a:pt x="2383" y="728"/>
                  </a:lnTo>
                  <a:lnTo>
                    <a:pt x="2383" y="728"/>
                  </a:lnTo>
                  <a:lnTo>
                    <a:pt x="2383" y="729"/>
                  </a:lnTo>
                  <a:lnTo>
                    <a:pt x="2385" y="729"/>
                  </a:lnTo>
                  <a:lnTo>
                    <a:pt x="2385" y="729"/>
                  </a:lnTo>
                  <a:lnTo>
                    <a:pt x="2385" y="729"/>
                  </a:lnTo>
                  <a:lnTo>
                    <a:pt x="2385" y="729"/>
                  </a:lnTo>
                  <a:lnTo>
                    <a:pt x="2385" y="731"/>
                  </a:lnTo>
                  <a:lnTo>
                    <a:pt x="2385" y="731"/>
                  </a:lnTo>
                  <a:lnTo>
                    <a:pt x="2385" y="731"/>
                  </a:lnTo>
                  <a:lnTo>
                    <a:pt x="2385" y="731"/>
                  </a:lnTo>
                  <a:lnTo>
                    <a:pt x="2385" y="732"/>
                  </a:lnTo>
                  <a:lnTo>
                    <a:pt x="2386" y="732"/>
                  </a:lnTo>
                  <a:lnTo>
                    <a:pt x="2386" y="732"/>
                  </a:lnTo>
                  <a:lnTo>
                    <a:pt x="2386" y="732"/>
                  </a:lnTo>
                  <a:lnTo>
                    <a:pt x="2386" y="732"/>
                  </a:lnTo>
                  <a:lnTo>
                    <a:pt x="2387" y="732"/>
                  </a:lnTo>
                  <a:lnTo>
                    <a:pt x="2387" y="733"/>
                  </a:lnTo>
                  <a:lnTo>
                    <a:pt x="2387" y="733"/>
                  </a:lnTo>
                  <a:lnTo>
                    <a:pt x="2387" y="733"/>
                  </a:lnTo>
                  <a:lnTo>
                    <a:pt x="2387" y="733"/>
                  </a:lnTo>
                  <a:lnTo>
                    <a:pt x="2387" y="734"/>
                  </a:lnTo>
                  <a:lnTo>
                    <a:pt x="2388" y="734"/>
                  </a:lnTo>
                  <a:lnTo>
                    <a:pt x="2388" y="734"/>
                  </a:lnTo>
                  <a:lnTo>
                    <a:pt x="2388" y="735"/>
                  </a:lnTo>
                  <a:lnTo>
                    <a:pt x="2388" y="737"/>
                  </a:lnTo>
                  <a:lnTo>
                    <a:pt x="2388" y="737"/>
                  </a:lnTo>
                  <a:lnTo>
                    <a:pt x="2388" y="739"/>
                  </a:lnTo>
                  <a:lnTo>
                    <a:pt x="2387" y="739"/>
                  </a:lnTo>
                  <a:lnTo>
                    <a:pt x="2387" y="739"/>
                  </a:lnTo>
                  <a:lnTo>
                    <a:pt x="2387" y="739"/>
                  </a:lnTo>
                  <a:lnTo>
                    <a:pt x="2387" y="740"/>
                  </a:lnTo>
                  <a:lnTo>
                    <a:pt x="2388" y="740"/>
                  </a:lnTo>
                  <a:lnTo>
                    <a:pt x="2388" y="740"/>
                  </a:lnTo>
                  <a:lnTo>
                    <a:pt x="2390" y="740"/>
                  </a:lnTo>
                  <a:lnTo>
                    <a:pt x="2390" y="740"/>
                  </a:lnTo>
                  <a:lnTo>
                    <a:pt x="2390" y="740"/>
                  </a:lnTo>
                  <a:lnTo>
                    <a:pt x="2390" y="739"/>
                  </a:lnTo>
                  <a:lnTo>
                    <a:pt x="2393" y="739"/>
                  </a:lnTo>
                  <a:lnTo>
                    <a:pt x="2393" y="739"/>
                  </a:lnTo>
                  <a:lnTo>
                    <a:pt x="2393" y="739"/>
                  </a:lnTo>
                  <a:lnTo>
                    <a:pt x="2393" y="739"/>
                  </a:lnTo>
                  <a:lnTo>
                    <a:pt x="2393" y="739"/>
                  </a:lnTo>
                  <a:lnTo>
                    <a:pt x="2393" y="740"/>
                  </a:lnTo>
                  <a:lnTo>
                    <a:pt x="2393" y="740"/>
                  </a:lnTo>
                  <a:lnTo>
                    <a:pt x="2393" y="740"/>
                  </a:lnTo>
                  <a:lnTo>
                    <a:pt x="2393" y="740"/>
                  </a:lnTo>
                  <a:lnTo>
                    <a:pt x="2393" y="741"/>
                  </a:lnTo>
                  <a:lnTo>
                    <a:pt x="2394" y="741"/>
                  </a:lnTo>
                  <a:lnTo>
                    <a:pt x="2394" y="741"/>
                  </a:lnTo>
                  <a:lnTo>
                    <a:pt x="2394" y="742"/>
                  </a:lnTo>
                  <a:lnTo>
                    <a:pt x="2394" y="742"/>
                  </a:lnTo>
                  <a:lnTo>
                    <a:pt x="2394" y="743"/>
                  </a:lnTo>
                  <a:lnTo>
                    <a:pt x="2395" y="743"/>
                  </a:lnTo>
                  <a:lnTo>
                    <a:pt x="2395" y="743"/>
                  </a:lnTo>
                  <a:lnTo>
                    <a:pt x="2395" y="744"/>
                  </a:lnTo>
                  <a:lnTo>
                    <a:pt x="2395" y="744"/>
                  </a:lnTo>
                  <a:lnTo>
                    <a:pt x="2395" y="744"/>
                  </a:lnTo>
                  <a:lnTo>
                    <a:pt x="2395" y="744"/>
                  </a:lnTo>
                  <a:lnTo>
                    <a:pt x="2396" y="744"/>
                  </a:lnTo>
                  <a:lnTo>
                    <a:pt x="2396" y="744"/>
                  </a:lnTo>
                  <a:lnTo>
                    <a:pt x="2397" y="744"/>
                  </a:lnTo>
                  <a:lnTo>
                    <a:pt x="2397" y="744"/>
                  </a:lnTo>
                  <a:lnTo>
                    <a:pt x="2397" y="744"/>
                  </a:lnTo>
                  <a:lnTo>
                    <a:pt x="2398" y="744"/>
                  </a:lnTo>
                  <a:lnTo>
                    <a:pt x="2398" y="744"/>
                  </a:lnTo>
                  <a:lnTo>
                    <a:pt x="2398" y="744"/>
                  </a:lnTo>
                  <a:lnTo>
                    <a:pt x="2399" y="744"/>
                  </a:lnTo>
                  <a:lnTo>
                    <a:pt x="2399" y="744"/>
                  </a:lnTo>
                  <a:lnTo>
                    <a:pt x="2400" y="744"/>
                  </a:lnTo>
                  <a:lnTo>
                    <a:pt x="2400" y="744"/>
                  </a:lnTo>
                  <a:lnTo>
                    <a:pt x="2400" y="745"/>
                  </a:lnTo>
                  <a:lnTo>
                    <a:pt x="2400" y="745"/>
                  </a:lnTo>
                  <a:lnTo>
                    <a:pt x="2400" y="745"/>
                  </a:lnTo>
                  <a:lnTo>
                    <a:pt x="2400" y="745"/>
                  </a:lnTo>
                  <a:lnTo>
                    <a:pt x="2402" y="745"/>
                  </a:lnTo>
                  <a:lnTo>
                    <a:pt x="2402" y="745"/>
                  </a:lnTo>
                  <a:lnTo>
                    <a:pt x="2402" y="745"/>
                  </a:lnTo>
                  <a:lnTo>
                    <a:pt x="2402" y="745"/>
                  </a:lnTo>
                  <a:lnTo>
                    <a:pt x="2403" y="744"/>
                  </a:lnTo>
                  <a:lnTo>
                    <a:pt x="2403" y="744"/>
                  </a:lnTo>
                  <a:lnTo>
                    <a:pt x="2403" y="745"/>
                  </a:lnTo>
                  <a:lnTo>
                    <a:pt x="2404" y="745"/>
                  </a:lnTo>
                  <a:lnTo>
                    <a:pt x="2404" y="745"/>
                  </a:lnTo>
                  <a:lnTo>
                    <a:pt x="2405" y="745"/>
                  </a:lnTo>
                  <a:lnTo>
                    <a:pt x="2405" y="745"/>
                  </a:lnTo>
                  <a:lnTo>
                    <a:pt x="2405" y="745"/>
                  </a:lnTo>
                  <a:lnTo>
                    <a:pt x="2406" y="745"/>
                  </a:lnTo>
                  <a:lnTo>
                    <a:pt x="2406" y="745"/>
                  </a:lnTo>
                  <a:lnTo>
                    <a:pt x="2406" y="746"/>
                  </a:lnTo>
                  <a:lnTo>
                    <a:pt x="2406" y="746"/>
                  </a:lnTo>
                  <a:lnTo>
                    <a:pt x="2406" y="746"/>
                  </a:lnTo>
                  <a:lnTo>
                    <a:pt x="2407" y="746"/>
                  </a:lnTo>
                  <a:lnTo>
                    <a:pt x="2407" y="746"/>
                  </a:lnTo>
                  <a:lnTo>
                    <a:pt x="2407" y="748"/>
                  </a:lnTo>
                  <a:lnTo>
                    <a:pt x="2407" y="749"/>
                  </a:lnTo>
                  <a:lnTo>
                    <a:pt x="2407" y="749"/>
                  </a:lnTo>
                  <a:lnTo>
                    <a:pt x="2406" y="749"/>
                  </a:lnTo>
                  <a:lnTo>
                    <a:pt x="2406" y="749"/>
                  </a:lnTo>
                  <a:lnTo>
                    <a:pt x="2406" y="749"/>
                  </a:lnTo>
                  <a:lnTo>
                    <a:pt x="2406" y="748"/>
                  </a:lnTo>
                  <a:lnTo>
                    <a:pt x="2406" y="748"/>
                  </a:lnTo>
                  <a:lnTo>
                    <a:pt x="2406" y="748"/>
                  </a:lnTo>
                  <a:lnTo>
                    <a:pt x="2406" y="748"/>
                  </a:lnTo>
                  <a:lnTo>
                    <a:pt x="2406" y="748"/>
                  </a:lnTo>
                  <a:lnTo>
                    <a:pt x="2406" y="748"/>
                  </a:lnTo>
                  <a:lnTo>
                    <a:pt x="2406" y="748"/>
                  </a:lnTo>
                  <a:lnTo>
                    <a:pt x="2406" y="749"/>
                  </a:lnTo>
                  <a:lnTo>
                    <a:pt x="2406" y="749"/>
                  </a:lnTo>
                  <a:lnTo>
                    <a:pt x="2406" y="751"/>
                  </a:lnTo>
                  <a:lnTo>
                    <a:pt x="2406" y="751"/>
                  </a:lnTo>
                  <a:lnTo>
                    <a:pt x="2406" y="751"/>
                  </a:lnTo>
                  <a:lnTo>
                    <a:pt x="2406" y="751"/>
                  </a:lnTo>
                  <a:lnTo>
                    <a:pt x="2406" y="752"/>
                  </a:lnTo>
                  <a:lnTo>
                    <a:pt x="2406" y="752"/>
                  </a:lnTo>
                  <a:lnTo>
                    <a:pt x="2405" y="752"/>
                  </a:lnTo>
                  <a:lnTo>
                    <a:pt x="2405" y="753"/>
                  </a:lnTo>
                  <a:lnTo>
                    <a:pt x="2405" y="753"/>
                  </a:lnTo>
                  <a:lnTo>
                    <a:pt x="2405" y="753"/>
                  </a:lnTo>
                  <a:lnTo>
                    <a:pt x="2405" y="753"/>
                  </a:lnTo>
                  <a:lnTo>
                    <a:pt x="2405" y="753"/>
                  </a:lnTo>
                  <a:lnTo>
                    <a:pt x="2405" y="754"/>
                  </a:lnTo>
                  <a:lnTo>
                    <a:pt x="2405" y="754"/>
                  </a:lnTo>
                  <a:lnTo>
                    <a:pt x="2404" y="754"/>
                  </a:lnTo>
                  <a:lnTo>
                    <a:pt x="2404" y="754"/>
                  </a:lnTo>
                  <a:lnTo>
                    <a:pt x="2404" y="754"/>
                  </a:lnTo>
                  <a:lnTo>
                    <a:pt x="2404" y="754"/>
                  </a:lnTo>
                  <a:lnTo>
                    <a:pt x="2404" y="756"/>
                  </a:lnTo>
                  <a:lnTo>
                    <a:pt x="2404" y="756"/>
                  </a:lnTo>
                  <a:lnTo>
                    <a:pt x="2404" y="756"/>
                  </a:lnTo>
                  <a:lnTo>
                    <a:pt x="2404" y="756"/>
                  </a:lnTo>
                  <a:lnTo>
                    <a:pt x="2403" y="756"/>
                  </a:lnTo>
                  <a:lnTo>
                    <a:pt x="2403" y="757"/>
                  </a:lnTo>
                  <a:lnTo>
                    <a:pt x="2403" y="757"/>
                  </a:lnTo>
                  <a:lnTo>
                    <a:pt x="2403" y="757"/>
                  </a:lnTo>
                  <a:lnTo>
                    <a:pt x="2403" y="757"/>
                  </a:lnTo>
                  <a:lnTo>
                    <a:pt x="2403" y="758"/>
                  </a:lnTo>
                  <a:lnTo>
                    <a:pt x="2403" y="758"/>
                  </a:lnTo>
                  <a:lnTo>
                    <a:pt x="2404" y="759"/>
                  </a:lnTo>
                  <a:lnTo>
                    <a:pt x="2404" y="759"/>
                  </a:lnTo>
                  <a:lnTo>
                    <a:pt x="2404" y="759"/>
                  </a:lnTo>
                  <a:lnTo>
                    <a:pt x="2404" y="759"/>
                  </a:lnTo>
                  <a:lnTo>
                    <a:pt x="2404" y="760"/>
                  </a:lnTo>
                  <a:lnTo>
                    <a:pt x="2404" y="760"/>
                  </a:lnTo>
                  <a:lnTo>
                    <a:pt x="2404" y="760"/>
                  </a:lnTo>
                  <a:lnTo>
                    <a:pt x="2404" y="761"/>
                  </a:lnTo>
                  <a:lnTo>
                    <a:pt x="2404" y="761"/>
                  </a:lnTo>
                  <a:lnTo>
                    <a:pt x="2404" y="761"/>
                  </a:lnTo>
                  <a:lnTo>
                    <a:pt x="2403" y="761"/>
                  </a:lnTo>
                  <a:lnTo>
                    <a:pt x="2403" y="762"/>
                  </a:lnTo>
                  <a:lnTo>
                    <a:pt x="2404" y="762"/>
                  </a:lnTo>
                  <a:lnTo>
                    <a:pt x="2404" y="763"/>
                  </a:lnTo>
                  <a:lnTo>
                    <a:pt x="2404" y="763"/>
                  </a:lnTo>
                  <a:lnTo>
                    <a:pt x="2404" y="763"/>
                  </a:lnTo>
                  <a:lnTo>
                    <a:pt x="2405" y="763"/>
                  </a:lnTo>
                  <a:lnTo>
                    <a:pt x="2405" y="763"/>
                  </a:lnTo>
                  <a:lnTo>
                    <a:pt x="2405" y="763"/>
                  </a:lnTo>
                  <a:lnTo>
                    <a:pt x="2405" y="765"/>
                  </a:lnTo>
                  <a:lnTo>
                    <a:pt x="2405" y="765"/>
                  </a:lnTo>
                  <a:lnTo>
                    <a:pt x="2405" y="765"/>
                  </a:lnTo>
                  <a:lnTo>
                    <a:pt x="2405" y="765"/>
                  </a:lnTo>
                  <a:lnTo>
                    <a:pt x="2405" y="766"/>
                  </a:lnTo>
                  <a:lnTo>
                    <a:pt x="2406" y="768"/>
                  </a:lnTo>
                  <a:lnTo>
                    <a:pt x="2407" y="768"/>
                  </a:lnTo>
                  <a:lnTo>
                    <a:pt x="2407" y="768"/>
                  </a:lnTo>
                  <a:lnTo>
                    <a:pt x="2407" y="768"/>
                  </a:lnTo>
                  <a:lnTo>
                    <a:pt x="2407" y="769"/>
                  </a:lnTo>
                  <a:lnTo>
                    <a:pt x="2407" y="769"/>
                  </a:lnTo>
                  <a:lnTo>
                    <a:pt x="2407" y="769"/>
                  </a:lnTo>
                  <a:lnTo>
                    <a:pt x="2407" y="769"/>
                  </a:lnTo>
                  <a:lnTo>
                    <a:pt x="2407" y="769"/>
                  </a:lnTo>
                  <a:lnTo>
                    <a:pt x="2408" y="770"/>
                  </a:lnTo>
                  <a:lnTo>
                    <a:pt x="2408" y="770"/>
                  </a:lnTo>
                  <a:lnTo>
                    <a:pt x="2408" y="770"/>
                  </a:lnTo>
                  <a:lnTo>
                    <a:pt x="2408" y="771"/>
                  </a:lnTo>
                  <a:lnTo>
                    <a:pt x="2408" y="771"/>
                  </a:lnTo>
                  <a:lnTo>
                    <a:pt x="2408" y="772"/>
                  </a:lnTo>
                  <a:lnTo>
                    <a:pt x="2408" y="772"/>
                  </a:lnTo>
                  <a:lnTo>
                    <a:pt x="2410" y="774"/>
                  </a:lnTo>
                  <a:lnTo>
                    <a:pt x="2410" y="774"/>
                  </a:lnTo>
                  <a:lnTo>
                    <a:pt x="2410" y="774"/>
                  </a:lnTo>
                  <a:lnTo>
                    <a:pt x="2410" y="774"/>
                  </a:lnTo>
                  <a:lnTo>
                    <a:pt x="2410" y="774"/>
                  </a:lnTo>
                  <a:lnTo>
                    <a:pt x="2410" y="772"/>
                  </a:lnTo>
                  <a:lnTo>
                    <a:pt x="2410" y="772"/>
                  </a:lnTo>
                  <a:lnTo>
                    <a:pt x="2410" y="772"/>
                  </a:lnTo>
                  <a:lnTo>
                    <a:pt x="2410" y="772"/>
                  </a:lnTo>
                  <a:lnTo>
                    <a:pt x="2410" y="771"/>
                  </a:lnTo>
                  <a:lnTo>
                    <a:pt x="2408" y="771"/>
                  </a:lnTo>
                  <a:lnTo>
                    <a:pt x="2408" y="771"/>
                  </a:lnTo>
                  <a:lnTo>
                    <a:pt x="2408" y="771"/>
                  </a:lnTo>
                  <a:lnTo>
                    <a:pt x="2408" y="769"/>
                  </a:lnTo>
                  <a:lnTo>
                    <a:pt x="2408" y="769"/>
                  </a:lnTo>
                  <a:lnTo>
                    <a:pt x="2408" y="768"/>
                  </a:lnTo>
                  <a:lnTo>
                    <a:pt x="2408" y="768"/>
                  </a:lnTo>
                  <a:lnTo>
                    <a:pt x="2408" y="768"/>
                  </a:lnTo>
                  <a:lnTo>
                    <a:pt x="2408" y="768"/>
                  </a:lnTo>
                  <a:lnTo>
                    <a:pt x="2408" y="767"/>
                  </a:lnTo>
                  <a:lnTo>
                    <a:pt x="2410" y="767"/>
                  </a:lnTo>
                  <a:lnTo>
                    <a:pt x="2410" y="766"/>
                  </a:lnTo>
                  <a:lnTo>
                    <a:pt x="2410" y="766"/>
                  </a:lnTo>
                  <a:lnTo>
                    <a:pt x="2410" y="766"/>
                  </a:lnTo>
                  <a:lnTo>
                    <a:pt x="2410" y="766"/>
                  </a:lnTo>
                  <a:lnTo>
                    <a:pt x="2410" y="766"/>
                  </a:lnTo>
                  <a:lnTo>
                    <a:pt x="2410" y="765"/>
                  </a:lnTo>
                  <a:lnTo>
                    <a:pt x="2410" y="765"/>
                  </a:lnTo>
                  <a:lnTo>
                    <a:pt x="2410" y="763"/>
                  </a:lnTo>
                  <a:lnTo>
                    <a:pt x="2410" y="763"/>
                  </a:lnTo>
                  <a:lnTo>
                    <a:pt x="2410" y="763"/>
                  </a:lnTo>
                  <a:lnTo>
                    <a:pt x="2408" y="763"/>
                  </a:lnTo>
                  <a:lnTo>
                    <a:pt x="2408" y="763"/>
                  </a:lnTo>
                  <a:lnTo>
                    <a:pt x="2408" y="765"/>
                  </a:lnTo>
                  <a:lnTo>
                    <a:pt x="2407" y="765"/>
                  </a:lnTo>
                  <a:lnTo>
                    <a:pt x="2407" y="763"/>
                  </a:lnTo>
                  <a:lnTo>
                    <a:pt x="2408" y="762"/>
                  </a:lnTo>
                  <a:lnTo>
                    <a:pt x="2408" y="762"/>
                  </a:lnTo>
                  <a:lnTo>
                    <a:pt x="2408" y="762"/>
                  </a:lnTo>
                  <a:lnTo>
                    <a:pt x="2408" y="762"/>
                  </a:lnTo>
                  <a:lnTo>
                    <a:pt x="2408" y="761"/>
                  </a:lnTo>
                  <a:lnTo>
                    <a:pt x="2408" y="761"/>
                  </a:lnTo>
                  <a:lnTo>
                    <a:pt x="2410" y="761"/>
                  </a:lnTo>
                  <a:lnTo>
                    <a:pt x="2410" y="761"/>
                  </a:lnTo>
                  <a:lnTo>
                    <a:pt x="2410" y="761"/>
                  </a:lnTo>
                  <a:lnTo>
                    <a:pt x="2410" y="760"/>
                  </a:lnTo>
                  <a:lnTo>
                    <a:pt x="2410" y="760"/>
                  </a:lnTo>
                  <a:lnTo>
                    <a:pt x="2410" y="760"/>
                  </a:lnTo>
                  <a:lnTo>
                    <a:pt x="2410" y="760"/>
                  </a:lnTo>
                  <a:lnTo>
                    <a:pt x="2410" y="760"/>
                  </a:lnTo>
                  <a:lnTo>
                    <a:pt x="2411" y="759"/>
                  </a:lnTo>
                  <a:lnTo>
                    <a:pt x="2411" y="759"/>
                  </a:lnTo>
                  <a:lnTo>
                    <a:pt x="2411" y="759"/>
                  </a:lnTo>
                  <a:lnTo>
                    <a:pt x="2411" y="759"/>
                  </a:lnTo>
                  <a:lnTo>
                    <a:pt x="2411" y="759"/>
                  </a:lnTo>
                  <a:lnTo>
                    <a:pt x="2411" y="758"/>
                  </a:lnTo>
                  <a:lnTo>
                    <a:pt x="2412" y="758"/>
                  </a:lnTo>
                  <a:lnTo>
                    <a:pt x="2412" y="758"/>
                  </a:lnTo>
                  <a:lnTo>
                    <a:pt x="2412" y="758"/>
                  </a:lnTo>
                  <a:lnTo>
                    <a:pt x="2412" y="758"/>
                  </a:lnTo>
                  <a:lnTo>
                    <a:pt x="2412" y="758"/>
                  </a:lnTo>
                  <a:lnTo>
                    <a:pt x="2412" y="757"/>
                  </a:lnTo>
                  <a:lnTo>
                    <a:pt x="2413" y="757"/>
                  </a:lnTo>
                  <a:lnTo>
                    <a:pt x="2413" y="757"/>
                  </a:lnTo>
                  <a:lnTo>
                    <a:pt x="2413" y="757"/>
                  </a:lnTo>
                  <a:lnTo>
                    <a:pt x="2414" y="757"/>
                  </a:lnTo>
                  <a:lnTo>
                    <a:pt x="2414" y="757"/>
                  </a:lnTo>
                  <a:lnTo>
                    <a:pt x="2414" y="758"/>
                  </a:lnTo>
                  <a:lnTo>
                    <a:pt x="2415" y="758"/>
                  </a:lnTo>
                  <a:lnTo>
                    <a:pt x="2415" y="757"/>
                  </a:lnTo>
                  <a:lnTo>
                    <a:pt x="2416" y="757"/>
                  </a:lnTo>
                  <a:lnTo>
                    <a:pt x="2416" y="757"/>
                  </a:lnTo>
                  <a:lnTo>
                    <a:pt x="2419" y="757"/>
                  </a:lnTo>
                  <a:lnTo>
                    <a:pt x="2419" y="757"/>
                  </a:lnTo>
                  <a:lnTo>
                    <a:pt x="2419" y="757"/>
                  </a:lnTo>
                  <a:lnTo>
                    <a:pt x="2420" y="757"/>
                  </a:lnTo>
                  <a:lnTo>
                    <a:pt x="2420" y="757"/>
                  </a:lnTo>
                  <a:lnTo>
                    <a:pt x="2420" y="757"/>
                  </a:lnTo>
                  <a:lnTo>
                    <a:pt x="2422" y="757"/>
                  </a:lnTo>
                  <a:lnTo>
                    <a:pt x="2422" y="757"/>
                  </a:lnTo>
                  <a:lnTo>
                    <a:pt x="2422" y="757"/>
                  </a:lnTo>
                  <a:lnTo>
                    <a:pt x="2422" y="757"/>
                  </a:lnTo>
                  <a:lnTo>
                    <a:pt x="2423" y="757"/>
                  </a:lnTo>
                  <a:lnTo>
                    <a:pt x="2423" y="757"/>
                  </a:lnTo>
                  <a:lnTo>
                    <a:pt x="2423" y="757"/>
                  </a:lnTo>
                  <a:lnTo>
                    <a:pt x="2423" y="758"/>
                  </a:lnTo>
                  <a:lnTo>
                    <a:pt x="2423" y="758"/>
                  </a:lnTo>
                  <a:lnTo>
                    <a:pt x="2423" y="758"/>
                  </a:lnTo>
                  <a:lnTo>
                    <a:pt x="2423" y="759"/>
                  </a:lnTo>
                  <a:lnTo>
                    <a:pt x="2423" y="759"/>
                  </a:lnTo>
                  <a:lnTo>
                    <a:pt x="2423" y="760"/>
                  </a:lnTo>
                  <a:lnTo>
                    <a:pt x="2423" y="760"/>
                  </a:lnTo>
                  <a:lnTo>
                    <a:pt x="2424" y="761"/>
                  </a:lnTo>
                  <a:lnTo>
                    <a:pt x="2424" y="761"/>
                  </a:lnTo>
                  <a:lnTo>
                    <a:pt x="2424" y="761"/>
                  </a:lnTo>
                  <a:lnTo>
                    <a:pt x="2424" y="761"/>
                  </a:lnTo>
                  <a:lnTo>
                    <a:pt x="2424" y="762"/>
                  </a:lnTo>
                  <a:lnTo>
                    <a:pt x="2424" y="762"/>
                  </a:lnTo>
                  <a:lnTo>
                    <a:pt x="2424" y="762"/>
                  </a:lnTo>
                  <a:lnTo>
                    <a:pt x="2424" y="766"/>
                  </a:lnTo>
                  <a:lnTo>
                    <a:pt x="2425" y="766"/>
                  </a:lnTo>
                  <a:lnTo>
                    <a:pt x="2425" y="767"/>
                  </a:lnTo>
                  <a:lnTo>
                    <a:pt x="2425" y="767"/>
                  </a:lnTo>
                  <a:lnTo>
                    <a:pt x="2425" y="767"/>
                  </a:lnTo>
                  <a:lnTo>
                    <a:pt x="2425" y="767"/>
                  </a:lnTo>
                  <a:lnTo>
                    <a:pt x="2425" y="767"/>
                  </a:lnTo>
                  <a:lnTo>
                    <a:pt x="2425" y="767"/>
                  </a:lnTo>
                  <a:lnTo>
                    <a:pt x="2427" y="768"/>
                  </a:lnTo>
                  <a:lnTo>
                    <a:pt x="2427" y="768"/>
                  </a:lnTo>
                  <a:lnTo>
                    <a:pt x="2427" y="768"/>
                  </a:lnTo>
                  <a:lnTo>
                    <a:pt x="2427" y="768"/>
                  </a:lnTo>
                  <a:lnTo>
                    <a:pt x="2428" y="768"/>
                  </a:lnTo>
                  <a:lnTo>
                    <a:pt x="2428" y="768"/>
                  </a:lnTo>
                  <a:lnTo>
                    <a:pt x="2428" y="769"/>
                  </a:lnTo>
                  <a:lnTo>
                    <a:pt x="2428" y="769"/>
                  </a:lnTo>
                  <a:lnTo>
                    <a:pt x="2428" y="769"/>
                  </a:lnTo>
                  <a:lnTo>
                    <a:pt x="2428" y="769"/>
                  </a:lnTo>
                  <a:lnTo>
                    <a:pt x="2429" y="769"/>
                  </a:lnTo>
                  <a:lnTo>
                    <a:pt x="2429" y="769"/>
                  </a:lnTo>
                  <a:lnTo>
                    <a:pt x="2429" y="769"/>
                  </a:lnTo>
                  <a:lnTo>
                    <a:pt x="2429" y="770"/>
                  </a:lnTo>
                  <a:lnTo>
                    <a:pt x="2430" y="770"/>
                  </a:lnTo>
                  <a:lnTo>
                    <a:pt x="2430" y="770"/>
                  </a:lnTo>
                  <a:lnTo>
                    <a:pt x="2430" y="770"/>
                  </a:lnTo>
                  <a:lnTo>
                    <a:pt x="2431" y="770"/>
                  </a:lnTo>
                  <a:lnTo>
                    <a:pt x="2431" y="770"/>
                  </a:lnTo>
                  <a:lnTo>
                    <a:pt x="2431" y="770"/>
                  </a:lnTo>
                  <a:lnTo>
                    <a:pt x="2432" y="771"/>
                  </a:lnTo>
                  <a:lnTo>
                    <a:pt x="2432" y="771"/>
                  </a:lnTo>
                  <a:lnTo>
                    <a:pt x="2432" y="771"/>
                  </a:lnTo>
                  <a:lnTo>
                    <a:pt x="2432" y="771"/>
                  </a:lnTo>
                  <a:lnTo>
                    <a:pt x="2432" y="771"/>
                  </a:lnTo>
                  <a:lnTo>
                    <a:pt x="2432" y="772"/>
                  </a:lnTo>
                  <a:lnTo>
                    <a:pt x="2433" y="772"/>
                  </a:lnTo>
                  <a:lnTo>
                    <a:pt x="2433" y="772"/>
                  </a:lnTo>
                  <a:lnTo>
                    <a:pt x="2433" y="772"/>
                  </a:lnTo>
                  <a:lnTo>
                    <a:pt x="2433" y="772"/>
                  </a:lnTo>
                  <a:lnTo>
                    <a:pt x="2434" y="774"/>
                  </a:lnTo>
                  <a:lnTo>
                    <a:pt x="2434" y="774"/>
                  </a:lnTo>
                  <a:lnTo>
                    <a:pt x="2434" y="774"/>
                  </a:lnTo>
                  <a:lnTo>
                    <a:pt x="2434" y="774"/>
                  </a:lnTo>
                  <a:lnTo>
                    <a:pt x="2434" y="774"/>
                  </a:lnTo>
                  <a:lnTo>
                    <a:pt x="2434" y="774"/>
                  </a:lnTo>
                  <a:lnTo>
                    <a:pt x="2434" y="774"/>
                  </a:lnTo>
                  <a:lnTo>
                    <a:pt x="2434" y="774"/>
                  </a:lnTo>
                  <a:lnTo>
                    <a:pt x="2434" y="774"/>
                  </a:lnTo>
                  <a:lnTo>
                    <a:pt x="2434" y="774"/>
                  </a:lnTo>
                  <a:lnTo>
                    <a:pt x="2434" y="774"/>
                  </a:lnTo>
                  <a:lnTo>
                    <a:pt x="2434" y="775"/>
                  </a:lnTo>
                  <a:lnTo>
                    <a:pt x="2434" y="775"/>
                  </a:lnTo>
                  <a:lnTo>
                    <a:pt x="2434" y="775"/>
                  </a:lnTo>
                  <a:lnTo>
                    <a:pt x="2434" y="775"/>
                  </a:lnTo>
                  <a:lnTo>
                    <a:pt x="2434" y="776"/>
                  </a:lnTo>
                  <a:close/>
                  <a:moveTo>
                    <a:pt x="2516" y="714"/>
                  </a:moveTo>
                  <a:lnTo>
                    <a:pt x="2516" y="714"/>
                  </a:lnTo>
                  <a:lnTo>
                    <a:pt x="2516" y="714"/>
                  </a:lnTo>
                  <a:lnTo>
                    <a:pt x="2516" y="714"/>
                  </a:lnTo>
                  <a:lnTo>
                    <a:pt x="2515" y="715"/>
                  </a:lnTo>
                  <a:lnTo>
                    <a:pt x="2515" y="715"/>
                  </a:lnTo>
                  <a:lnTo>
                    <a:pt x="2514" y="715"/>
                  </a:lnTo>
                  <a:lnTo>
                    <a:pt x="2514" y="715"/>
                  </a:lnTo>
                  <a:lnTo>
                    <a:pt x="2514" y="716"/>
                  </a:lnTo>
                  <a:lnTo>
                    <a:pt x="2514" y="716"/>
                  </a:lnTo>
                  <a:lnTo>
                    <a:pt x="2514" y="717"/>
                  </a:lnTo>
                  <a:lnTo>
                    <a:pt x="2514" y="718"/>
                  </a:lnTo>
                  <a:lnTo>
                    <a:pt x="2514" y="718"/>
                  </a:lnTo>
                  <a:lnTo>
                    <a:pt x="2513" y="718"/>
                  </a:lnTo>
                  <a:lnTo>
                    <a:pt x="2513" y="719"/>
                  </a:lnTo>
                  <a:lnTo>
                    <a:pt x="2511" y="719"/>
                  </a:lnTo>
                  <a:lnTo>
                    <a:pt x="2510" y="719"/>
                  </a:lnTo>
                  <a:lnTo>
                    <a:pt x="2510" y="719"/>
                  </a:lnTo>
                  <a:lnTo>
                    <a:pt x="2510" y="720"/>
                  </a:lnTo>
                  <a:lnTo>
                    <a:pt x="2510" y="720"/>
                  </a:lnTo>
                  <a:lnTo>
                    <a:pt x="2510" y="722"/>
                  </a:lnTo>
                  <a:lnTo>
                    <a:pt x="2509" y="723"/>
                  </a:lnTo>
                  <a:lnTo>
                    <a:pt x="2509" y="723"/>
                  </a:lnTo>
                  <a:lnTo>
                    <a:pt x="2508" y="723"/>
                  </a:lnTo>
                  <a:lnTo>
                    <a:pt x="2508" y="724"/>
                  </a:lnTo>
                  <a:lnTo>
                    <a:pt x="2507" y="724"/>
                  </a:lnTo>
                  <a:lnTo>
                    <a:pt x="2506" y="724"/>
                  </a:lnTo>
                  <a:lnTo>
                    <a:pt x="2505" y="724"/>
                  </a:lnTo>
                  <a:lnTo>
                    <a:pt x="2504" y="724"/>
                  </a:lnTo>
                  <a:lnTo>
                    <a:pt x="2504" y="724"/>
                  </a:lnTo>
                  <a:lnTo>
                    <a:pt x="2502" y="724"/>
                  </a:lnTo>
                  <a:lnTo>
                    <a:pt x="2502" y="724"/>
                  </a:lnTo>
                  <a:lnTo>
                    <a:pt x="2500" y="724"/>
                  </a:lnTo>
                  <a:lnTo>
                    <a:pt x="2500" y="724"/>
                  </a:lnTo>
                  <a:lnTo>
                    <a:pt x="2500" y="724"/>
                  </a:lnTo>
                  <a:lnTo>
                    <a:pt x="2499" y="724"/>
                  </a:lnTo>
                  <a:lnTo>
                    <a:pt x="2499" y="724"/>
                  </a:lnTo>
                  <a:lnTo>
                    <a:pt x="2497" y="724"/>
                  </a:lnTo>
                  <a:lnTo>
                    <a:pt x="2496" y="724"/>
                  </a:lnTo>
                  <a:lnTo>
                    <a:pt x="2496" y="724"/>
                  </a:lnTo>
                  <a:lnTo>
                    <a:pt x="2496" y="725"/>
                  </a:lnTo>
                  <a:lnTo>
                    <a:pt x="2496" y="725"/>
                  </a:lnTo>
                  <a:lnTo>
                    <a:pt x="2496" y="726"/>
                  </a:lnTo>
                  <a:lnTo>
                    <a:pt x="2494" y="725"/>
                  </a:lnTo>
                  <a:lnTo>
                    <a:pt x="2494" y="724"/>
                  </a:lnTo>
                  <a:lnTo>
                    <a:pt x="2496" y="724"/>
                  </a:lnTo>
                  <a:lnTo>
                    <a:pt x="2494" y="724"/>
                  </a:lnTo>
                  <a:lnTo>
                    <a:pt x="2494" y="724"/>
                  </a:lnTo>
                  <a:lnTo>
                    <a:pt x="2494" y="723"/>
                  </a:lnTo>
                  <a:lnTo>
                    <a:pt x="2493" y="723"/>
                  </a:lnTo>
                  <a:lnTo>
                    <a:pt x="2493" y="723"/>
                  </a:lnTo>
                  <a:lnTo>
                    <a:pt x="2493" y="722"/>
                  </a:lnTo>
                  <a:lnTo>
                    <a:pt x="2493" y="720"/>
                  </a:lnTo>
                  <a:lnTo>
                    <a:pt x="2493" y="720"/>
                  </a:lnTo>
                  <a:lnTo>
                    <a:pt x="2493" y="719"/>
                  </a:lnTo>
                  <a:lnTo>
                    <a:pt x="2492" y="719"/>
                  </a:lnTo>
                  <a:lnTo>
                    <a:pt x="2492" y="719"/>
                  </a:lnTo>
                  <a:lnTo>
                    <a:pt x="2491" y="719"/>
                  </a:lnTo>
                  <a:lnTo>
                    <a:pt x="2491" y="719"/>
                  </a:lnTo>
                  <a:lnTo>
                    <a:pt x="2490" y="720"/>
                  </a:lnTo>
                  <a:lnTo>
                    <a:pt x="2488" y="720"/>
                  </a:lnTo>
                  <a:lnTo>
                    <a:pt x="2487" y="719"/>
                  </a:lnTo>
                  <a:lnTo>
                    <a:pt x="2485" y="719"/>
                  </a:lnTo>
                  <a:lnTo>
                    <a:pt x="2484" y="719"/>
                  </a:lnTo>
                  <a:lnTo>
                    <a:pt x="2483" y="719"/>
                  </a:lnTo>
                  <a:lnTo>
                    <a:pt x="2483" y="719"/>
                  </a:lnTo>
                  <a:lnTo>
                    <a:pt x="2483" y="718"/>
                  </a:lnTo>
                  <a:lnTo>
                    <a:pt x="2482" y="718"/>
                  </a:lnTo>
                  <a:lnTo>
                    <a:pt x="2482" y="716"/>
                  </a:lnTo>
                  <a:lnTo>
                    <a:pt x="2483" y="715"/>
                  </a:lnTo>
                  <a:lnTo>
                    <a:pt x="2483" y="715"/>
                  </a:lnTo>
                  <a:lnTo>
                    <a:pt x="2483" y="715"/>
                  </a:lnTo>
                  <a:lnTo>
                    <a:pt x="2483" y="715"/>
                  </a:lnTo>
                  <a:lnTo>
                    <a:pt x="2483" y="714"/>
                  </a:lnTo>
                  <a:lnTo>
                    <a:pt x="2483" y="714"/>
                  </a:lnTo>
                  <a:lnTo>
                    <a:pt x="2483" y="712"/>
                  </a:lnTo>
                  <a:lnTo>
                    <a:pt x="2482" y="712"/>
                  </a:lnTo>
                  <a:lnTo>
                    <a:pt x="2482" y="711"/>
                  </a:lnTo>
                  <a:lnTo>
                    <a:pt x="2482" y="710"/>
                  </a:lnTo>
                  <a:lnTo>
                    <a:pt x="2482" y="710"/>
                  </a:lnTo>
                  <a:lnTo>
                    <a:pt x="2482" y="709"/>
                  </a:lnTo>
                  <a:lnTo>
                    <a:pt x="2483" y="709"/>
                  </a:lnTo>
                  <a:lnTo>
                    <a:pt x="2483" y="708"/>
                  </a:lnTo>
                  <a:lnTo>
                    <a:pt x="2483" y="708"/>
                  </a:lnTo>
                  <a:lnTo>
                    <a:pt x="2483" y="707"/>
                  </a:lnTo>
                  <a:lnTo>
                    <a:pt x="2483" y="707"/>
                  </a:lnTo>
                  <a:lnTo>
                    <a:pt x="2483" y="706"/>
                  </a:lnTo>
                  <a:lnTo>
                    <a:pt x="2484" y="706"/>
                  </a:lnTo>
                  <a:lnTo>
                    <a:pt x="2484" y="705"/>
                  </a:lnTo>
                  <a:lnTo>
                    <a:pt x="2484" y="705"/>
                  </a:lnTo>
                  <a:lnTo>
                    <a:pt x="2484" y="703"/>
                  </a:lnTo>
                  <a:lnTo>
                    <a:pt x="2484" y="703"/>
                  </a:lnTo>
                  <a:lnTo>
                    <a:pt x="2484" y="703"/>
                  </a:lnTo>
                  <a:lnTo>
                    <a:pt x="2485" y="702"/>
                  </a:lnTo>
                  <a:lnTo>
                    <a:pt x="2485" y="702"/>
                  </a:lnTo>
                  <a:lnTo>
                    <a:pt x="2485" y="701"/>
                  </a:lnTo>
                  <a:lnTo>
                    <a:pt x="2487" y="701"/>
                  </a:lnTo>
                  <a:lnTo>
                    <a:pt x="2487" y="701"/>
                  </a:lnTo>
                  <a:lnTo>
                    <a:pt x="2487" y="700"/>
                  </a:lnTo>
                  <a:lnTo>
                    <a:pt x="2487" y="700"/>
                  </a:lnTo>
                  <a:lnTo>
                    <a:pt x="2487" y="700"/>
                  </a:lnTo>
                  <a:lnTo>
                    <a:pt x="2487" y="699"/>
                  </a:lnTo>
                  <a:lnTo>
                    <a:pt x="2487" y="699"/>
                  </a:lnTo>
                  <a:lnTo>
                    <a:pt x="2487" y="699"/>
                  </a:lnTo>
                  <a:lnTo>
                    <a:pt x="2488" y="698"/>
                  </a:lnTo>
                  <a:lnTo>
                    <a:pt x="2488" y="698"/>
                  </a:lnTo>
                  <a:lnTo>
                    <a:pt x="2488" y="697"/>
                  </a:lnTo>
                  <a:lnTo>
                    <a:pt x="2488" y="695"/>
                  </a:lnTo>
                  <a:lnTo>
                    <a:pt x="2488" y="694"/>
                  </a:lnTo>
                  <a:lnTo>
                    <a:pt x="2488" y="694"/>
                  </a:lnTo>
                  <a:lnTo>
                    <a:pt x="2489" y="693"/>
                  </a:lnTo>
                  <a:lnTo>
                    <a:pt x="2489" y="693"/>
                  </a:lnTo>
                  <a:lnTo>
                    <a:pt x="2490" y="693"/>
                  </a:lnTo>
                  <a:lnTo>
                    <a:pt x="2490" y="692"/>
                  </a:lnTo>
                  <a:lnTo>
                    <a:pt x="2491" y="692"/>
                  </a:lnTo>
                  <a:lnTo>
                    <a:pt x="2491" y="693"/>
                  </a:lnTo>
                  <a:lnTo>
                    <a:pt x="2492" y="693"/>
                  </a:lnTo>
                  <a:lnTo>
                    <a:pt x="2492" y="692"/>
                  </a:lnTo>
                  <a:lnTo>
                    <a:pt x="2492" y="692"/>
                  </a:lnTo>
                  <a:lnTo>
                    <a:pt x="2492" y="692"/>
                  </a:lnTo>
                  <a:lnTo>
                    <a:pt x="2492" y="692"/>
                  </a:lnTo>
                  <a:lnTo>
                    <a:pt x="2496" y="692"/>
                  </a:lnTo>
                  <a:lnTo>
                    <a:pt x="2496" y="692"/>
                  </a:lnTo>
                  <a:lnTo>
                    <a:pt x="2496" y="691"/>
                  </a:lnTo>
                  <a:lnTo>
                    <a:pt x="2497" y="691"/>
                  </a:lnTo>
                  <a:lnTo>
                    <a:pt x="2497" y="692"/>
                  </a:lnTo>
                  <a:lnTo>
                    <a:pt x="2497" y="692"/>
                  </a:lnTo>
                  <a:lnTo>
                    <a:pt x="2497" y="693"/>
                  </a:lnTo>
                  <a:lnTo>
                    <a:pt x="2497" y="693"/>
                  </a:lnTo>
                  <a:lnTo>
                    <a:pt x="2496" y="693"/>
                  </a:lnTo>
                  <a:lnTo>
                    <a:pt x="2496" y="693"/>
                  </a:lnTo>
                  <a:lnTo>
                    <a:pt x="2496" y="694"/>
                  </a:lnTo>
                  <a:lnTo>
                    <a:pt x="2496" y="695"/>
                  </a:lnTo>
                  <a:lnTo>
                    <a:pt x="2496" y="695"/>
                  </a:lnTo>
                  <a:lnTo>
                    <a:pt x="2497" y="695"/>
                  </a:lnTo>
                  <a:lnTo>
                    <a:pt x="2497" y="695"/>
                  </a:lnTo>
                  <a:lnTo>
                    <a:pt x="2499" y="695"/>
                  </a:lnTo>
                  <a:lnTo>
                    <a:pt x="2499" y="695"/>
                  </a:lnTo>
                  <a:lnTo>
                    <a:pt x="2499" y="695"/>
                  </a:lnTo>
                  <a:lnTo>
                    <a:pt x="2499" y="695"/>
                  </a:lnTo>
                  <a:lnTo>
                    <a:pt x="2499" y="695"/>
                  </a:lnTo>
                  <a:lnTo>
                    <a:pt x="2500" y="695"/>
                  </a:lnTo>
                  <a:lnTo>
                    <a:pt x="2500" y="694"/>
                  </a:lnTo>
                  <a:lnTo>
                    <a:pt x="2500" y="694"/>
                  </a:lnTo>
                  <a:lnTo>
                    <a:pt x="2500" y="695"/>
                  </a:lnTo>
                  <a:lnTo>
                    <a:pt x="2500" y="695"/>
                  </a:lnTo>
                  <a:lnTo>
                    <a:pt x="2500" y="695"/>
                  </a:lnTo>
                  <a:lnTo>
                    <a:pt x="2500" y="694"/>
                  </a:lnTo>
                  <a:lnTo>
                    <a:pt x="2500" y="694"/>
                  </a:lnTo>
                  <a:lnTo>
                    <a:pt x="2501" y="694"/>
                  </a:lnTo>
                  <a:lnTo>
                    <a:pt x="2501" y="693"/>
                  </a:lnTo>
                  <a:lnTo>
                    <a:pt x="2501" y="693"/>
                  </a:lnTo>
                  <a:lnTo>
                    <a:pt x="2501" y="692"/>
                  </a:lnTo>
                  <a:lnTo>
                    <a:pt x="2501" y="692"/>
                  </a:lnTo>
                  <a:lnTo>
                    <a:pt x="2502" y="691"/>
                  </a:lnTo>
                  <a:lnTo>
                    <a:pt x="2501" y="691"/>
                  </a:lnTo>
                  <a:lnTo>
                    <a:pt x="2501" y="691"/>
                  </a:lnTo>
                  <a:lnTo>
                    <a:pt x="2502" y="690"/>
                  </a:lnTo>
                  <a:lnTo>
                    <a:pt x="2501" y="690"/>
                  </a:lnTo>
                  <a:lnTo>
                    <a:pt x="2501" y="689"/>
                  </a:lnTo>
                  <a:lnTo>
                    <a:pt x="2500" y="688"/>
                  </a:lnTo>
                  <a:lnTo>
                    <a:pt x="2500" y="686"/>
                  </a:lnTo>
                  <a:lnTo>
                    <a:pt x="2499" y="686"/>
                  </a:lnTo>
                  <a:lnTo>
                    <a:pt x="2499" y="686"/>
                  </a:lnTo>
                  <a:lnTo>
                    <a:pt x="2500" y="685"/>
                  </a:lnTo>
                  <a:lnTo>
                    <a:pt x="2500" y="686"/>
                  </a:lnTo>
                  <a:lnTo>
                    <a:pt x="2501" y="686"/>
                  </a:lnTo>
                  <a:lnTo>
                    <a:pt x="2502" y="686"/>
                  </a:lnTo>
                  <a:lnTo>
                    <a:pt x="2502" y="686"/>
                  </a:lnTo>
                  <a:lnTo>
                    <a:pt x="2504" y="686"/>
                  </a:lnTo>
                  <a:lnTo>
                    <a:pt x="2504" y="688"/>
                  </a:lnTo>
                  <a:lnTo>
                    <a:pt x="2504" y="688"/>
                  </a:lnTo>
                  <a:lnTo>
                    <a:pt x="2504" y="689"/>
                  </a:lnTo>
                  <a:lnTo>
                    <a:pt x="2504" y="689"/>
                  </a:lnTo>
                  <a:lnTo>
                    <a:pt x="2504" y="690"/>
                  </a:lnTo>
                  <a:lnTo>
                    <a:pt x="2504" y="690"/>
                  </a:lnTo>
                  <a:lnTo>
                    <a:pt x="2504" y="690"/>
                  </a:lnTo>
                  <a:lnTo>
                    <a:pt x="2504" y="691"/>
                  </a:lnTo>
                  <a:lnTo>
                    <a:pt x="2504" y="691"/>
                  </a:lnTo>
                  <a:lnTo>
                    <a:pt x="2505" y="690"/>
                  </a:lnTo>
                  <a:lnTo>
                    <a:pt x="2505" y="690"/>
                  </a:lnTo>
                  <a:lnTo>
                    <a:pt x="2506" y="690"/>
                  </a:lnTo>
                  <a:lnTo>
                    <a:pt x="2506" y="690"/>
                  </a:lnTo>
                  <a:lnTo>
                    <a:pt x="2507" y="690"/>
                  </a:lnTo>
                  <a:lnTo>
                    <a:pt x="2507" y="689"/>
                  </a:lnTo>
                  <a:lnTo>
                    <a:pt x="2508" y="689"/>
                  </a:lnTo>
                  <a:lnTo>
                    <a:pt x="2509" y="690"/>
                  </a:lnTo>
                  <a:lnTo>
                    <a:pt x="2509" y="690"/>
                  </a:lnTo>
                  <a:lnTo>
                    <a:pt x="2510" y="690"/>
                  </a:lnTo>
                  <a:lnTo>
                    <a:pt x="2510" y="690"/>
                  </a:lnTo>
                  <a:lnTo>
                    <a:pt x="2510" y="690"/>
                  </a:lnTo>
                  <a:lnTo>
                    <a:pt x="2510" y="691"/>
                  </a:lnTo>
                  <a:lnTo>
                    <a:pt x="2510" y="691"/>
                  </a:lnTo>
                  <a:lnTo>
                    <a:pt x="2510" y="691"/>
                  </a:lnTo>
                  <a:lnTo>
                    <a:pt x="2510" y="691"/>
                  </a:lnTo>
                  <a:lnTo>
                    <a:pt x="2509" y="691"/>
                  </a:lnTo>
                  <a:lnTo>
                    <a:pt x="2509" y="691"/>
                  </a:lnTo>
                  <a:lnTo>
                    <a:pt x="2509" y="692"/>
                  </a:lnTo>
                  <a:lnTo>
                    <a:pt x="2507" y="692"/>
                  </a:lnTo>
                  <a:lnTo>
                    <a:pt x="2507" y="692"/>
                  </a:lnTo>
                  <a:lnTo>
                    <a:pt x="2507" y="692"/>
                  </a:lnTo>
                  <a:lnTo>
                    <a:pt x="2508" y="692"/>
                  </a:lnTo>
                  <a:lnTo>
                    <a:pt x="2508" y="692"/>
                  </a:lnTo>
                  <a:lnTo>
                    <a:pt x="2510" y="692"/>
                  </a:lnTo>
                  <a:lnTo>
                    <a:pt x="2510" y="693"/>
                  </a:lnTo>
                  <a:lnTo>
                    <a:pt x="2510" y="693"/>
                  </a:lnTo>
                  <a:lnTo>
                    <a:pt x="2511" y="693"/>
                  </a:lnTo>
                  <a:lnTo>
                    <a:pt x="2510" y="693"/>
                  </a:lnTo>
                  <a:lnTo>
                    <a:pt x="2509" y="693"/>
                  </a:lnTo>
                  <a:lnTo>
                    <a:pt x="2509" y="693"/>
                  </a:lnTo>
                  <a:lnTo>
                    <a:pt x="2509" y="693"/>
                  </a:lnTo>
                  <a:lnTo>
                    <a:pt x="2508" y="693"/>
                  </a:lnTo>
                  <a:lnTo>
                    <a:pt x="2508" y="693"/>
                  </a:lnTo>
                  <a:lnTo>
                    <a:pt x="2508" y="694"/>
                  </a:lnTo>
                  <a:lnTo>
                    <a:pt x="2509" y="694"/>
                  </a:lnTo>
                  <a:lnTo>
                    <a:pt x="2509" y="694"/>
                  </a:lnTo>
                  <a:lnTo>
                    <a:pt x="2509" y="694"/>
                  </a:lnTo>
                  <a:lnTo>
                    <a:pt x="2510" y="694"/>
                  </a:lnTo>
                  <a:lnTo>
                    <a:pt x="2510" y="695"/>
                  </a:lnTo>
                  <a:lnTo>
                    <a:pt x="2510" y="695"/>
                  </a:lnTo>
                  <a:lnTo>
                    <a:pt x="2510" y="695"/>
                  </a:lnTo>
                  <a:lnTo>
                    <a:pt x="2511" y="695"/>
                  </a:lnTo>
                  <a:lnTo>
                    <a:pt x="2511" y="697"/>
                  </a:lnTo>
                  <a:lnTo>
                    <a:pt x="2510" y="697"/>
                  </a:lnTo>
                  <a:lnTo>
                    <a:pt x="2510" y="697"/>
                  </a:lnTo>
                  <a:lnTo>
                    <a:pt x="2509" y="697"/>
                  </a:lnTo>
                  <a:lnTo>
                    <a:pt x="2509" y="697"/>
                  </a:lnTo>
                  <a:lnTo>
                    <a:pt x="2508" y="697"/>
                  </a:lnTo>
                  <a:lnTo>
                    <a:pt x="2508" y="695"/>
                  </a:lnTo>
                  <a:lnTo>
                    <a:pt x="2506" y="695"/>
                  </a:lnTo>
                  <a:lnTo>
                    <a:pt x="2505" y="697"/>
                  </a:lnTo>
                  <a:lnTo>
                    <a:pt x="2505" y="697"/>
                  </a:lnTo>
                  <a:lnTo>
                    <a:pt x="2502" y="697"/>
                  </a:lnTo>
                  <a:lnTo>
                    <a:pt x="2502" y="698"/>
                  </a:lnTo>
                  <a:lnTo>
                    <a:pt x="2504" y="698"/>
                  </a:lnTo>
                  <a:lnTo>
                    <a:pt x="2504" y="699"/>
                  </a:lnTo>
                  <a:lnTo>
                    <a:pt x="2505" y="699"/>
                  </a:lnTo>
                  <a:lnTo>
                    <a:pt x="2506" y="698"/>
                  </a:lnTo>
                  <a:lnTo>
                    <a:pt x="2507" y="698"/>
                  </a:lnTo>
                  <a:lnTo>
                    <a:pt x="2507" y="698"/>
                  </a:lnTo>
                  <a:lnTo>
                    <a:pt x="2508" y="698"/>
                  </a:lnTo>
                  <a:lnTo>
                    <a:pt x="2509" y="698"/>
                  </a:lnTo>
                  <a:lnTo>
                    <a:pt x="2509" y="698"/>
                  </a:lnTo>
                  <a:lnTo>
                    <a:pt x="2510" y="698"/>
                  </a:lnTo>
                  <a:lnTo>
                    <a:pt x="2511" y="698"/>
                  </a:lnTo>
                  <a:lnTo>
                    <a:pt x="2511" y="698"/>
                  </a:lnTo>
                  <a:lnTo>
                    <a:pt x="2511" y="699"/>
                  </a:lnTo>
                  <a:lnTo>
                    <a:pt x="2513" y="699"/>
                  </a:lnTo>
                  <a:lnTo>
                    <a:pt x="2513" y="699"/>
                  </a:lnTo>
                  <a:lnTo>
                    <a:pt x="2513" y="699"/>
                  </a:lnTo>
                  <a:lnTo>
                    <a:pt x="2511" y="700"/>
                  </a:lnTo>
                  <a:lnTo>
                    <a:pt x="2511" y="699"/>
                  </a:lnTo>
                  <a:lnTo>
                    <a:pt x="2511" y="700"/>
                  </a:lnTo>
                  <a:lnTo>
                    <a:pt x="2511" y="701"/>
                  </a:lnTo>
                  <a:lnTo>
                    <a:pt x="2513" y="701"/>
                  </a:lnTo>
                  <a:lnTo>
                    <a:pt x="2513" y="702"/>
                  </a:lnTo>
                  <a:lnTo>
                    <a:pt x="2513" y="702"/>
                  </a:lnTo>
                  <a:lnTo>
                    <a:pt x="2513" y="705"/>
                  </a:lnTo>
                  <a:lnTo>
                    <a:pt x="2513" y="705"/>
                  </a:lnTo>
                  <a:lnTo>
                    <a:pt x="2511" y="706"/>
                  </a:lnTo>
                  <a:lnTo>
                    <a:pt x="2511" y="707"/>
                  </a:lnTo>
                  <a:lnTo>
                    <a:pt x="2513" y="708"/>
                  </a:lnTo>
                  <a:lnTo>
                    <a:pt x="2514" y="709"/>
                  </a:lnTo>
                  <a:lnTo>
                    <a:pt x="2514" y="709"/>
                  </a:lnTo>
                  <a:lnTo>
                    <a:pt x="2514" y="709"/>
                  </a:lnTo>
                  <a:lnTo>
                    <a:pt x="2514" y="710"/>
                  </a:lnTo>
                  <a:lnTo>
                    <a:pt x="2515" y="711"/>
                  </a:lnTo>
                  <a:lnTo>
                    <a:pt x="2516" y="711"/>
                  </a:lnTo>
                  <a:lnTo>
                    <a:pt x="2516" y="712"/>
                  </a:lnTo>
                  <a:lnTo>
                    <a:pt x="2516" y="714"/>
                  </a:lnTo>
                  <a:close/>
                  <a:moveTo>
                    <a:pt x="2524" y="685"/>
                  </a:moveTo>
                  <a:lnTo>
                    <a:pt x="2524" y="686"/>
                  </a:lnTo>
                  <a:lnTo>
                    <a:pt x="2523" y="686"/>
                  </a:lnTo>
                  <a:lnTo>
                    <a:pt x="2523" y="688"/>
                  </a:lnTo>
                  <a:lnTo>
                    <a:pt x="2522" y="688"/>
                  </a:lnTo>
                  <a:lnTo>
                    <a:pt x="2522" y="688"/>
                  </a:lnTo>
                  <a:lnTo>
                    <a:pt x="2522" y="688"/>
                  </a:lnTo>
                  <a:lnTo>
                    <a:pt x="2521" y="688"/>
                  </a:lnTo>
                  <a:lnTo>
                    <a:pt x="2519" y="689"/>
                  </a:lnTo>
                  <a:lnTo>
                    <a:pt x="2519" y="689"/>
                  </a:lnTo>
                  <a:lnTo>
                    <a:pt x="2518" y="689"/>
                  </a:lnTo>
                  <a:lnTo>
                    <a:pt x="2518" y="689"/>
                  </a:lnTo>
                  <a:lnTo>
                    <a:pt x="2517" y="689"/>
                  </a:lnTo>
                  <a:lnTo>
                    <a:pt x="2517" y="689"/>
                  </a:lnTo>
                  <a:lnTo>
                    <a:pt x="2517" y="689"/>
                  </a:lnTo>
                  <a:lnTo>
                    <a:pt x="2517" y="689"/>
                  </a:lnTo>
                  <a:lnTo>
                    <a:pt x="2517" y="688"/>
                  </a:lnTo>
                  <a:lnTo>
                    <a:pt x="2517" y="686"/>
                  </a:lnTo>
                  <a:lnTo>
                    <a:pt x="2517" y="686"/>
                  </a:lnTo>
                  <a:lnTo>
                    <a:pt x="2517" y="685"/>
                  </a:lnTo>
                  <a:lnTo>
                    <a:pt x="2517" y="685"/>
                  </a:lnTo>
                  <a:lnTo>
                    <a:pt x="2516" y="684"/>
                  </a:lnTo>
                  <a:lnTo>
                    <a:pt x="2516" y="684"/>
                  </a:lnTo>
                  <a:lnTo>
                    <a:pt x="2516" y="685"/>
                  </a:lnTo>
                  <a:lnTo>
                    <a:pt x="2516" y="685"/>
                  </a:lnTo>
                  <a:lnTo>
                    <a:pt x="2515" y="685"/>
                  </a:lnTo>
                  <a:lnTo>
                    <a:pt x="2515" y="685"/>
                  </a:lnTo>
                  <a:lnTo>
                    <a:pt x="2514" y="685"/>
                  </a:lnTo>
                  <a:lnTo>
                    <a:pt x="2514" y="685"/>
                  </a:lnTo>
                  <a:lnTo>
                    <a:pt x="2513" y="685"/>
                  </a:lnTo>
                  <a:lnTo>
                    <a:pt x="2513" y="685"/>
                  </a:lnTo>
                  <a:lnTo>
                    <a:pt x="2511" y="684"/>
                  </a:lnTo>
                  <a:lnTo>
                    <a:pt x="2511" y="684"/>
                  </a:lnTo>
                  <a:lnTo>
                    <a:pt x="2510" y="684"/>
                  </a:lnTo>
                  <a:lnTo>
                    <a:pt x="2510" y="684"/>
                  </a:lnTo>
                  <a:lnTo>
                    <a:pt x="2510" y="684"/>
                  </a:lnTo>
                  <a:lnTo>
                    <a:pt x="2509" y="684"/>
                  </a:lnTo>
                  <a:lnTo>
                    <a:pt x="2508" y="684"/>
                  </a:lnTo>
                  <a:lnTo>
                    <a:pt x="2507" y="684"/>
                  </a:lnTo>
                  <a:lnTo>
                    <a:pt x="2507" y="684"/>
                  </a:lnTo>
                  <a:lnTo>
                    <a:pt x="2506" y="683"/>
                  </a:lnTo>
                  <a:lnTo>
                    <a:pt x="2506" y="683"/>
                  </a:lnTo>
                  <a:lnTo>
                    <a:pt x="2506" y="682"/>
                  </a:lnTo>
                  <a:lnTo>
                    <a:pt x="2506" y="681"/>
                  </a:lnTo>
                  <a:lnTo>
                    <a:pt x="2507" y="681"/>
                  </a:lnTo>
                  <a:lnTo>
                    <a:pt x="2507" y="681"/>
                  </a:lnTo>
                  <a:lnTo>
                    <a:pt x="2508" y="680"/>
                  </a:lnTo>
                  <a:lnTo>
                    <a:pt x="2509" y="680"/>
                  </a:lnTo>
                  <a:lnTo>
                    <a:pt x="2509" y="680"/>
                  </a:lnTo>
                  <a:lnTo>
                    <a:pt x="2510" y="680"/>
                  </a:lnTo>
                  <a:lnTo>
                    <a:pt x="2511" y="680"/>
                  </a:lnTo>
                  <a:lnTo>
                    <a:pt x="2511" y="680"/>
                  </a:lnTo>
                  <a:lnTo>
                    <a:pt x="2511" y="681"/>
                  </a:lnTo>
                  <a:lnTo>
                    <a:pt x="2511" y="682"/>
                  </a:lnTo>
                  <a:lnTo>
                    <a:pt x="2511" y="682"/>
                  </a:lnTo>
                  <a:lnTo>
                    <a:pt x="2511" y="683"/>
                  </a:lnTo>
                  <a:lnTo>
                    <a:pt x="2513" y="683"/>
                  </a:lnTo>
                  <a:lnTo>
                    <a:pt x="2513" y="682"/>
                  </a:lnTo>
                  <a:lnTo>
                    <a:pt x="2513" y="682"/>
                  </a:lnTo>
                  <a:lnTo>
                    <a:pt x="2513" y="681"/>
                  </a:lnTo>
                  <a:lnTo>
                    <a:pt x="2513" y="681"/>
                  </a:lnTo>
                  <a:lnTo>
                    <a:pt x="2514" y="681"/>
                  </a:lnTo>
                  <a:lnTo>
                    <a:pt x="2514" y="682"/>
                  </a:lnTo>
                  <a:lnTo>
                    <a:pt x="2515" y="681"/>
                  </a:lnTo>
                  <a:lnTo>
                    <a:pt x="2515" y="681"/>
                  </a:lnTo>
                  <a:lnTo>
                    <a:pt x="2516" y="681"/>
                  </a:lnTo>
                  <a:lnTo>
                    <a:pt x="2517" y="680"/>
                  </a:lnTo>
                  <a:lnTo>
                    <a:pt x="2517" y="680"/>
                  </a:lnTo>
                  <a:lnTo>
                    <a:pt x="2516" y="680"/>
                  </a:lnTo>
                  <a:lnTo>
                    <a:pt x="2515" y="678"/>
                  </a:lnTo>
                  <a:lnTo>
                    <a:pt x="2514" y="678"/>
                  </a:lnTo>
                  <a:lnTo>
                    <a:pt x="2514" y="677"/>
                  </a:lnTo>
                  <a:lnTo>
                    <a:pt x="2515" y="677"/>
                  </a:lnTo>
                  <a:lnTo>
                    <a:pt x="2516" y="678"/>
                  </a:lnTo>
                  <a:lnTo>
                    <a:pt x="2516" y="678"/>
                  </a:lnTo>
                  <a:lnTo>
                    <a:pt x="2517" y="678"/>
                  </a:lnTo>
                  <a:lnTo>
                    <a:pt x="2517" y="678"/>
                  </a:lnTo>
                  <a:lnTo>
                    <a:pt x="2517" y="680"/>
                  </a:lnTo>
                  <a:lnTo>
                    <a:pt x="2517" y="680"/>
                  </a:lnTo>
                  <a:lnTo>
                    <a:pt x="2517" y="682"/>
                  </a:lnTo>
                  <a:lnTo>
                    <a:pt x="2517" y="682"/>
                  </a:lnTo>
                  <a:lnTo>
                    <a:pt x="2518" y="683"/>
                  </a:lnTo>
                  <a:lnTo>
                    <a:pt x="2518" y="683"/>
                  </a:lnTo>
                  <a:lnTo>
                    <a:pt x="2518" y="683"/>
                  </a:lnTo>
                  <a:lnTo>
                    <a:pt x="2519" y="683"/>
                  </a:lnTo>
                  <a:lnTo>
                    <a:pt x="2521" y="683"/>
                  </a:lnTo>
                  <a:lnTo>
                    <a:pt x="2522" y="683"/>
                  </a:lnTo>
                  <a:lnTo>
                    <a:pt x="2522" y="683"/>
                  </a:lnTo>
                  <a:lnTo>
                    <a:pt x="2523" y="683"/>
                  </a:lnTo>
                  <a:lnTo>
                    <a:pt x="2523" y="683"/>
                  </a:lnTo>
                  <a:lnTo>
                    <a:pt x="2524" y="683"/>
                  </a:lnTo>
                  <a:lnTo>
                    <a:pt x="2524" y="683"/>
                  </a:lnTo>
                  <a:lnTo>
                    <a:pt x="2524" y="683"/>
                  </a:lnTo>
                  <a:lnTo>
                    <a:pt x="2524" y="685"/>
                  </a:lnTo>
                  <a:close/>
                  <a:moveTo>
                    <a:pt x="2767" y="680"/>
                  </a:moveTo>
                  <a:lnTo>
                    <a:pt x="2767" y="682"/>
                  </a:lnTo>
                  <a:lnTo>
                    <a:pt x="2765" y="684"/>
                  </a:lnTo>
                  <a:lnTo>
                    <a:pt x="2760" y="683"/>
                  </a:lnTo>
                  <a:lnTo>
                    <a:pt x="2754" y="685"/>
                  </a:lnTo>
                  <a:lnTo>
                    <a:pt x="2752" y="683"/>
                  </a:lnTo>
                  <a:lnTo>
                    <a:pt x="2749" y="683"/>
                  </a:lnTo>
                  <a:lnTo>
                    <a:pt x="2744" y="682"/>
                  </a:lnTo>
                  <a:lnTo>
                    <a:pt x="2739" y="683"/>
                  </a:lnTo>
                  <a:lnTo>
                    <a:pt x="2737" y="682"/>
                  </a:lnTo>
                  <a:lnTo>
                    <a:pt x="2731" y="681"/>
                  </a:lnTo>
                  <a:lnTo>
                    <a:pt x="2722" y="682"/>
                  </a:lnTo>
                  <a:lnTo>
                    <a:pt x="2719" y="683"/>
                  </a:lnTo>
                  <a:lnTo>
                    <a:pt x="2718" y="680"/>
                  </a:lnTo>
                  <a:lnTo>
                    <a:pt x="2717" y="683"/>
                  </a:lnTo>
                  <a:lnTo>
                    <a:pt x="2712" y="684"/>
                  </a:lnTo>
                  <a:lnTo>
                    <a:pt x="2710" y="684"/>
                  </a:lnTo>
                  <a:lnTo>
                    <a:pt x="2710" y="686"/>
                  </a:lnTo>
                  <a:lnTo>
                    <a:pt x="2706" y="690"/>
                  </a:lnTo>
                  <a:lnTo>
                    <a:pt x="2704" y="690"/>
                  </a:lnTo>
                  <a:lnTo>
                    <a:pt x="2702" y="692"/>
                  </a:lnTo>
                  <a:lnTo>
                    <a:pt x="2702" y="697"/>
                  </a:lnTo>
                  <a:lnTo>
                    <a:pt x="2698" y="699"/>
                  </a:lnTo>
                  <a:lnTo>
                    <a:pt x="2698" y="701"/>
                  </a:lnTo>
                  <a:lnTo>
                    <a:pt x="2701" y="702"/>
                  </a:lnTo>
                  <a:lnTo>
                    <a:pt x="2700" y="708"/>
                  </a:lnTo>
                  <a:lnTo>
                    <a:pt x="2698" y="708"/>
                  </a:lnTo>
                  <a:lnTo>
                    <a:pt x="2698" y="707"/>
                  </a:lnTo>
                  <a:lnTo>
                    <a:pt x="2697" y="703"/>
                  </a:lnTo>
                  <a:lnTo>
                    <a:pt x="2693" y="699"/>
                  </a:lnTo>
                  <a:lnTo>
                    <a:pt x="2692" y="695"/>
                  </a:lnTo>
                  <a:lnTo>
                    <a:pt x="2693" y="693"/>
                  </a:lnTo>
                  <a:lnTo>
                    <a:pt x="2694" y="691"/>
                  </a:lnTo>
                  <a:lnTo>
                    <a:pt x="2693" y="688"/>
                  </a:lnTo>
                  <a:lnTo>
                    <a:pt x="2695" y="686"/>
                  </a:lnTo>
                  <a:lnTo>
                    <a:pt x="2697" y="685"/>
                  </a:lnTo>
                  <a:lnTo>
                    <a:pt x="2700" y="683"/>
                  </a:lnTo>
                  <a:lnTo>
                    <a:pt x="2702" y="682"/>
                  </a:lnTo>
                  <a:lnTo>
                    <a:pt x="2705" y="681"/>
                  </a:lnTo>
                  <a:lnTo>
                    <a:pt x="2706" y="677"/>
                  </a:lnTo>
                  <a:lnTo>
                    <a:pt x="2711" y="676"/>
                  </a:lnTo>
                  <a:lnTo>
                    <a:pt x="2712" y="677"/>
                  </a:lnTo>
                  <a:lnTo>
                    <a:pt x="2717" y="678"/>
                  </a:lnTo>
                  <a:lnTo>
                    <a:pt x="2722" y="677"/>
                  </a:lnTo>
                  <a:lnTo>
                    <a:pt x="2726" y="677"/>
                  </a:lnTo>
                  <a:lnTo>
                    <a:pt x="2728" y="676"/>
                  </a:lnTo>
                  <a:lnTo>
                    <a:pt x="2730" y="680"/>
                  </a:lnTo>
                  <a:lnTo>
                    <a:pt x="2738" y="680"/>
                  </a:lnTo>
                  <a:lnTo>
                    <a:pt x="2741" y="681"/>
                  </a:lnTo>
                  <a:lnTo>
                    <a:pt x="2744" y="680"/>
                  </a:lnTo>
                  <a:lnTo>
                    <a:pt x="2750" y="678"/>
                  </a:lnTo>
                  <a:lnTo>
                    <a:pt x="2756" y="682"/>
                  </a:lnTo>
                  <a:lnTo>
                    <a:pt x="2762" y="677"/>
                  </a:lnTo>
                  <a:lnTo>
                    <a:pt x="2764" y="680"/>
                  </a:lnTo>
                  <a:lnTo>
                    <a:pt x="2765" y="677"/>
                  </a:lnTo>
                  <a:lnTo>
                    <a:pt x="2769" y="676"/>
                  </a:lnTo>
                  <a:lnTo>
                    <a:pt x="2770" y="680"/>
                  </a:lnTo>
                  <a:lnTo>
                    <a:pt x="2767" y="680"/>
                  </a:lnTo>
                  <a:close/>
                  <a:moveTo>
                    <a:pt x="3189" y="518"/>
                  </a:moveTo>
                  <a:lnTo>
                    <a:pt x="3189" y="520"/>
                  </a:lnTo>
                  <a:lnTo>
                    <a:pt x="3188" y="526"/>
                  </a:lnTo>
                  <a:lnTo>
                    <a:pt x="3188" y="528"/>
                  </a:lnTo>
                  <a:lnTo>
                    <a:pt x="3185" y="534"/>
                  </a:lnTo>
                  <a:lnTo>
                    <a:pt x="3184" y="537"/>
                  </a:lnTo>
                  <a:lnTo>
                    <a:pt x="3184" y="541"/>
                  </a:lnTo>
                  <a:lnTo>
                    <a:pt x="3185" y="545"/>
                  </a:lnTo>
                  <a:lnTo>
                    <a:pt x="3183" y="547"/>
                  </a:lnTo>
                  <a:lnTo>
                    <a:pt x="3181" y="549"/>
                  </a:lnTo>
                  <a:lnTo>
                    <a:pt x="3180" y="553"/>
                  </a:lnTo>
                  <a:lnTo>
                    <a:pt x="3178" y="554"/>
                  </a:lnTo>
                  <a:lnTo>
                    <a:pt x="3178" y="552"/>
                  </a:lnTo>
                  <a:lnTo>
                    <a:pt x="3175" y="551"/>
                  </a:lnTo>
                  <a:lnTo>
                    <a:pt x="3171" y="556"/>
                  </a:lnTo>
                  <a:lnTo>
                    <a:pt x="3174" y="555"/>
                  </a:lnTo>
                  <a:lnTo>
                    <a:pt x="3176" y="556"/>
                  </a:lnTo>
                  <a:lnTo>
                    <a:pt x="3178" y="558"/>
                  </a:lnTo>
                  <a:lnTo>
                    <a:pt x="3174" y="561"/>
                  </a:lnTo>
                  <a:lnTo>
                    <a:pt x="3172" y="561"/>
                  </a:lnTo>
                  <a:lnTo>
                    <a:pt x="3168" y="563"/>
                  </a:lnTo>
                  <a:lnTo>
                    <a:pt x="3167" y="566"/>
                  </a:lnTo>
                  <a:lnTo>
                    <a:pt x="3163" y="570"/>
                  </a:lnTo>
                  <a:lnTo>
                    <a:pt x="3159" y="571"/>
                  </a:lnTo>
                  <a:lnTo>
                    <a:pt x="3157" y="572"/>
                  </a:lnTo>
                  <a:lnTo>
                    <a:pt x="3151" y="574"/>
                  </a:lnTo>
                  <a:lnTo>
                    <a:pt x="3149" y="575"/>
                  </a:lnTo>
                  <a:lnTo>
                    <a:pt x="3147" y="579"/>
                  </a:lnTo>
                  <a:lnTo>
                    <a:pt x="3145" y="578"/>
                  </a:lnTo>
                  <a:lnTo>
                    <a:pt x="3141" y="578"/>
                  </a:lnTo>
                  <a:lnTo>
                    <a:pt x="3140" y="579"/>
                  </a:lnTo>
                  <a:lnTo>
                    <a:pt x="3140" y="580"/>
                  </a:lnTo>
                  <a:lnTo>
                    <a:pt x="3140" y="581"/>
                  </a:lnTo>
                  <a:lnTo>
                    <a:pt x="3137" y="587"/>
                  </a:lnTo>
                  <a:lnTo>
                    <a:pt x="3134" y="589"/>
                  </a:lnTo>
                  <a:lnTo>
                    <a:pt x="3122" y="592"/>
                  </a:lnTo>
                  <a:lnTo>
                    <a:pt x="3120" y="594"/>
                  </a:lnTo>
                  <a:lnTo>
                    <a:pt x="3115" y="594"/>
                  </a:lnTo>
                  <a:lnTo>
                    <a:pt x="3107" y="591"/>
                  </a:lnTo>
                  <a:lnTo>
                    <a:pt x="3110" y="589"/>
                  </a:lnTo>
                  <a:lnTo>
                    <a:pt x="3115" y="588"/>
                  </a:lnTo>
                  <a:lnTo>
                    <a:pt x="3117" y="588"/>
                  </a:lnTo>
                  <a:lnTo>
                    <a:pt x="3120" y="587"/>
                  </a:lnTo>
                  <a:lnTo>
                    <a:pt x="3122" y="587"/>
                  </a:lnTo>
                  <a:lnTo>
                    <a:pt x="3125" y="586"/>
                  </a:lnTo>
                  <a:lnTo>
                    <a:pt x="3131" y="582"/>
                  </a:lnTo>
                  <a:lnTo>
                    <a:pt x="3134" y="577"/>
                  </a:lnTo>
                  <a:lnTo>
                    <a:pt x="3137" y="574"/>
                  </a:lnTo>
                  <a:lnTo>
                    <a:pt x="3142" y="572"/>
                  </a:lnTo>
                  <a:lnTo>
                    <a:pt x="3145" y="570"/>
                  </a:lnTo>
                  <a:lnTo>
                    <a:pt x="3148" y="566"/>
                  </a:lnTo>
                  <a:lnTo>
                    <a:pt x="3148" y="564"/>
                  </a:lnTo>
                  <a:lnTo>
                    <a:pt x="3150" y="562"/>
                  </a:lnTo>
                  <a:lnTo>
                    <a:pt x="3156" y="558"/>
                  </a:lnTo>
                  <a:lnTo>
                    <a:pt x="3161" y="553"/>
                  </a:lnTo>
                  <a:lnTo>
                    <a:pt x="3165" y="549"/>
                  </a:lnTo>
                  <a:lnTo>
                    <a:pt x="3168" y="544"/>
                  </a:lnTo>
                  <a:lnTo>
                    <a:pt x="3171" y="541"/>
                  </a:lnTo>
                  <a:lnTo>
                    <a:pt x="3171" y="539"/>
                  </a:lnTo>
                  <a:lnTo>
                    <a:pt x="3173" y="537"/>
                  </a:lnTo>
                  <a:lnTo>
                    <a:pt x="3174" y="535"/>
                  </a:lnTo>
                  <a:lnTo>
                    <a:pt x="3176" y="529"/>
                  </a:lnTo>
                  <a:lnTo>
                    <a:pt x="3180" y="526"/>
                  </a:lnTo>
                  <a:lnTo>
                    <a:pt x="3180" y="523"/>
                  </a:lnTo>
                  <a:lnTo>
                    <a:pt x="3180" y="520"/>
                  </a:lnTo>
                  <a:lnTo>
                    <a:pt x="3181" y="518"/>
                  </a:lnTo>
                  <a:lnTo>
                    <a:pt x="3185" y="513"/>
                  </a:lnTo>
                  <a:lnTo>
                    <a:pt x="3189" y="514"/>
                  </a:lnTo>
                  <a:lnTo>
                    <a:pt x="3185" y="513"/>
                  </a:lnTo>
                  <a:lnTo>
                    <a:pt x="3189" y="513"/>
                  </a:lnTo>
                  <a:lnTo>
                    <a:pt x="3190" y="514"/>
                  </a:lnTo>
                  <a:lnTo>
                    <a:pt x="3189" y="5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/>
            </a:p>
          </p:txBody>
        </p:sp>
      </p:grpSp>
      <p:sp>
        <p:nvSpPr>
          <p:cNvPr id="243" name="object 3">
            <a:extLst>
              <a:ext uri="{FF2B5EF4-FFF2-40B4-BE49-F238E27FC236}">
                <a16:creationId xmlns:a16="http://schemas.microsoft.com/office/drawing/2014/main" id="{552F46BD-7474-41EC-8ABD-872CBADB6328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  <p:pic>
        <p:nvPicPr>
          <p:cNvPr id="244" name="Graphic 243">
            <a:extLst>
              <a:ext uri="{FF2B5EF4-FFF2-40B4-BE49-F238E27FC236}">
                <a16:creationId xmlns:a16="http://schemas.microsoft.com/office/drawing/2014/main" id="{27E9B34A-E086-4EF4-8966-5A292C0BECD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39084" y="6432376"/>
            <a:ext cx="1311547" cy="228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29099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- Gradient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BC94FF3-C6D0-DA7B-9732-34588BDE308E}"/>
              </a:ext>
            </a:extLst>
          </p:cNvPr>
          <p:cNvSpPr/>
          <p:nvPr userDrawn="1"/>
        </p:nvSpPr>
        <p:spPr>
          <a:xfrm>
            <a:off x="0" y="-1"/>
            <a:ext cx="12192000" cy="6042025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50000">
                <a:schemeClr val="accent3"/>
              </a:gs>
              <a:gs pos="100000">
                <a:schemeClr val="accent4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E0B53A5-8F5D-4E3B-8E80-9A556E44BAB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65000"/>
                  </a:schemeClr>
                </a:solidFill>
              </a:defRPr>
            </a:lvl1pPr>
          </a:lstStyle>
          <a:p>
            <a:fld id="{7F8EB60C-7CC2-49F0-B2EE-C81F067DE04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6E9B4A58-0AD7-43AA-9ED7-20361EDF59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3359" y="2443850"/>
            <a:ext cx="6083397" cy="747897"/>
          </a:xfrm>
        </p:spPr>
        <p:txBody>
          <a:bodyPr wrap="square" bIns="0" anchor="b"/>
          <a:lstStyle>
            <a:lvl1pPr>
              <a:defRPr sz="5400" b="1">
                <a:solidFill>
                  <a:schemeClr val="tx1"/>
                </a:solidFill>
                <a:latin typeface="Arial Nova" panose="020B0504020202020204" pitchFamily="34" charset="0"/>
              </a:defRPr>
            </a:lvl1pPr>
          </a:lstStyle>
          <a:p>
            <a:r>
              <a:rPr lang="en-US"/>
              <a:t>Section title 54 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A6434D6C-8B7C-4C0C-9193-DEF36D3AB96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3359" y="3067904"/>
            <a:ext cx="6083396" cy="695914"/>
          </a:xfrm>
        </p:spPr>
        <p:txBody>
          <a:bodyPr wrap="square" tIns="360000">
            <a:spAutoFit/>
          </a:bodyPr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solidFill>
                  <a:schemeClr val="tx1"/>
                </a:solidFill>
                <a:latin typeface="Arial Nova Light" panose="020B0304020202020204" pitchFamily="34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5pPr>
          </a:lstStyle>
          <a:p>
            <a:pPr lvl="0"/>
            <a:r>
              <a:rPr lang="en-GB"/>
              <a:t>Place subtitle here in 24pt</a:t>
            </a:r>
            <a:endParaRPr lang="en-US"/>
          </a:p>
        </p:txBody>
      </p:sp>
      <p:sp>
        <p:nvSpPr>
          <p:cNvPr id="6" name="object 3">
            <a:extLst>
              <a:ext uri="{FF2B5EF4-FFF2-40B4-BE49-F238E27FC236}">
                <a16:creationId xmlns:a16="http://schemas.microsoft.com/office/drawing/2014/main" id="{92577E07-C658-47A3-92C0-EE288082A78A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5993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orld 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0" name="Slide Number Placeholder 239">
            <a:extLst>
              <a:ext uri="{FF2B5EF4-FFF2-40B4-BE49-F238E27FC236}">
                <a16:creationId xmlns:a16="http://schemas.microsoft.com/office/drawing/2014/main" id="{06F067BA-46E6-44CF-9685-EDAB63375A91}"/>
              </a:ext>
            </a:extLst>
          </p:cNvPr>
          <p:cNvSpPr>
            <a:spLocks noGrp="1"/>
          </p:cNvSpPr>
          <p:nvPr>
            <p:ph type="sldNum" sz="quarter" idx="38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3BBF096-E08A-42F8-B010-95893DF8CB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42" name="Subtitle">
            <a:extLst>
              <a:ext uri="{FF2B5EF4-FFF2-40B4-BE49-F238E27FC236}">
                <a16:creationId xmlns:a16="http://schemas.microsoft.com/office/drawing/2014/main" id="{D744E9BC-0939-4BDE-9A58-F6AA7D2FD59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63600" y="784800"/>
            <a:ext cx="11431413" cy="422405"/>
          </a:xfrm>
          <a:prstGeom prst="rect">
            <a:avLst/>
          </a:prstGeom>
        </p:spPr>
        <p:txBody>
          <a:bodyPr wrap="square" lIns="0" tIns="144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800">
                <a:solidFill>
                  <a:schemeClr val="tx1"/>
                </a:solidFill>
                <a:latin typeface="Arial Nova Light" panose="020B0304020202020204" pitchFamily="34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18 pt, align to the baseline of the title</a:t>
            </a:r>
          </a:p>
        </p:txBody>
      </p:sp>
      <p:grpSp>
        <p:nvGrpSpPr>
          <p:cNvPr id="5" name="World Map" descr="World map">
            <a:extLst>
              <a:ext uri="{FF2B5EF4-FFF2-40B4-BE49-F238E27FC236}">
                <a16:creationId xmlns:a16="http://schemas.microsoft.com/office/drawing/2014/main" id="{40B94006-176E-4431-92B8-C480F62A93B6}"/>
              </a:ext>
            </a:extLst>
          </p:cNvPr>
          <p:cNvGrpSpPr/>
          <p:nvPr userDrawn="1"/>
        </p:nvGrpSpPr>
        <p:grpSpPr>
          <a:xfrm>
            <a:off x="2200386" y="1926779"/>
            <a:ext cx="7788059" cy="3824990"/>
            <a:chOff x="2197101" y="1982788"/>
            <a:chExt cx="7789861" cy="3825875"/>
          </a:xfrm>
          <a:solidFill>
            <a:schemeClr val="tx2">
              <a:lumMod val="40000"/>
              <a:lumOff val="60000"/>
            </a:schemeClr>
          </a:solidFill>
        </p:grpSpPr>
        <p:grpSp>
          <p:nvGrpSpPr>
            <p:cNvPr id="6" name="Group 206">
              <a:extLst>
                <a:ext uri="{FF2B5EF4-FFF2-40B4-BE49-F238E27FC236}">
                  <a16:creationId xmlns:a16="http://schemas.microsoft.com/office/drawing/2014/main" id="{3CD1D97C-D503-48EE-8631-170BE90A045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882900" y="1997075"/>
              <a:ext cx="6932612" cy="3551238"/>
              <a:chOff x="1816" y="1258"/>
              <a:chExt cx="4367" cy="2237"/>
            </a:xfrm>
            <a:grpFill/>
          </p:grpSpPr>
          <p:sp>
            <p:nvSpPr>
              <p:cNvPr id="40" name="Freeform 6">
                <a:extLst>
                  <a:ext uri="{FF2B5EF4-FFF2-40B4-BE49-F238E27FC236}">
                    <a16:creationId xmlns:a16="http://schemas.microsoft.com/office/drawing/2014/main" id="{47D238CD-E39E-45CE-9C6A-2431846B9E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16" y="1905"/>
                <a:ext cx="1" cy="3"/>
              </a:xfrm>
              <a:custGeom>
                <a:avLst/>
                <a:gdLst>
                  <a:gd name="T0" fmla="*/ 0 w 1"/>
                  <a:gd name="T1" fmla="*/ 0 h 3"/>
                  <a:gd name="T2" fmla="*/ 0 w 1"/>
                  <a:gd name="T3" fmla="*/ 0 h 3"/>
                  <a:gd name="T4" fmla="*/ 1 w 1"/>
                  <a:gd name="T5" fmla="*/ 3 h 3"/>
                  <a:gd name="T6" fmla="*/ 0 w 1"/>
                  <a:gd name="T7" fmla="*/ 0 h 3"/>
                  <a:gd name="T8" fmla="*/ 0 w 1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3">
                    <a:moveTo>
                      <a:pt x="0" y="0"/>
                    </a:moveTo>
                    <a:lnTo>
                      <a:pt x="0" y="0"/>
                    </a:lnTo>
                    <a:lnTo>
                      <a:pt x="1" y="3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41" name="Freeform 7">
                <a:extLst>
                  <a:ext uri="{FF2B5EF4-FFF2-40B4-BE49-F238E27FC236}">
                    <a16:creationId xmlns:a16="http://schemas.microsoft.com/office/drawing/2014/main" id="{4AFD66C5-C7E6-40CD-95E8-6D987AFC87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17" y="1903"/>
                <a:ext cx="21" cy="17"/>
              </a:xfrm>
              <a:custGeom>
                <a:avLst/>
                <a:gdLst>
                  <a:gd name="T0" fmla="*/ 9 w 21"/>
                  <a:gd name="T1" fmla="*/ 15 h 17"/>
                  <a:gd name="T2" fmla="*/ 5 w 21"/>
                  <a:gd name="T3" fmla="*/ 13 h 17"/>
                  <a:gd name="T4" fmla="*/ 8 w 21"/>
                  <a:gd name="T5" fmla="*/ 17 h 17"/>
                  <a:gd name="T6" fmla="*/ 10 w 21"/>
                  <a:gd name="T7" fmla="*/ 15 h 17"/>
                  <a:gd name="T8" fmla="*/ 11 w 21"/>
                  <a:gd name="T9" fmla="*/ 13 h 17"/>
                  <a:gd name="T10" fmla="*/ 9 w 21"/>
                  <a:gd name="T11" fmla="*/ 11 h 17"/>
                  <a:gd name="T12" fmla="*/ 11 w 21"/>
                  <a:gd name="T13" fmla="*/ 11 h 17"/>
                  <a:gd name="T14" fmla="*/ 17 w 21"/>
                  <a:gd name="T15" fmla="*/ 13 h 17"/>
                  <a:gd name="T16" fmla="*/ 19 w 21"/>
                  <a:gd name="T17" fmla="*/ 14 h 17"/>
                  <a:gd name="T18" fmla="*/ 21 w 21"/>
                  <a:gd name="T19" fmla="*/ 12 h 17"/>
                  <a:gd name="T20" fmla="*/ 20 w 21"/>
                  <a:gd name="T21" fmla="*/ 10 h 17"/>
                  <a:gd name="T22" fmla="*/ 14 w 21"/>
                  <a:gd name="T23" fmla="*/ 10 h 17"/>
                  <a:gd name="T24" fmla="*/ 12 w 21"/>
                  <a:gd name="T25" fmla="*/ 8 h 17"/>
                  <a:gd name="T26" fmla="*/ 7 w 21"/>
                  <a:gd name="T27" fmla="*/ 4 h 17"/>
                  <a:gd name="T28" fmla="*/ 14 w 21"/>
                  <a:gd name="T29" fmla="*/ 8 h 17"/>
                  <a:gd name="T30" fmla="*/ 18 w 21"/>
                  <a:gd name="T31" fmla="*/ 9 h 17"/>
                  <a:gd name="T32" fmla="*/ 17 w 21"/>
                  <a:gd name="T33" fmla="*/ 5 h 17"/>
                  <a:gd name="T34" fmla="*/ 19 w 21"/>
                  <a:gd name="T35" fmla="*/ 6 h 17"/>
                  <a:gd name="T36" fmla="*/ 20 w 21"/>
                  <a:gd name="T37" fmla="*/ 4 h 17"/>
                  <a:gd name="T38" fmla="*/ 17 w 21"/>
                  <a:gd name="T39" fmla="*/ 2 h 17"/>
                  <a:gd name="T40" fmla="*/ 14 w 21"/>
                  <a:gd name="T41" fmla="*/ 2 h 17"/>
                  <a:gd name="T42" fmla="*/ 9 w 21"/>
                  <a:gd name="T43" fmla="*/ 4 h 17"/>
                  <a:gd name="T44" fmla="*/ 12 w 21"/>
                  <a:gd name="T45" fmla="*/ 2 h 17"/>
                  <a:gd name="T46" fmla="*/ 9 w 21"/>
                  <a:gd name="T47" fmla="*/ 0 h 17"/>
                  <a:gd name="T48" fmla="*/ 4 w 21"/>
                  <a:gd name="T49" fmla="*/ 0 h 17"/>
                  <a:gd name="T50" fmla="*/ 3 w 21"/>
                  <a:gd name="T51" fmla="*/ 2 h 17"/>
                  <a:gd name="T52" fmla="*/ 1 w 21"/>
                  <a:gd name="T53" fmla="*/ 0 h 17"/>
                  <a:gd name="T54" fmla="*/ 0 w 21"/>
                  <a:gd name="T55" fmla="*/ 2 h 17"/>
                  <a:gd name="T56" fmla="*/ 2 w 21"/>
                  <a:gd name="T57" fmla="*/ 5 h 17"/>
                  <a:gd name="T58" fmla="*/ 0 w 21"/>
                  <a:gd name="T59" fmla="*/ 8 h 17"/>
                  <a:gd name="T60" fmla="*/ 2 w 21"/>
                  <a:gd name="T61" fmla="*/ 9 h 17"/>
                  <a:gd name="T62" fmla="*/ 4 w 21"/>
                  <a:gd name="T63" fmla="*/ 12 h 17"/>
                  <a:gd name="T64" fmla="*/ 9 w 21"/>
                  <a:gd name="T65" fmla="*/ 15 h 17"/>
                  <a:gd name="T66" fmla="*/ 9 w 21"/>
                  <a:gd name="T67" fmla="*/ 15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1" h="17">
                    <a:moveTo>
                      <a:pt x="9" y="15"/>
                    </a:moveTo>
                    <a:lnTo>
                      <a:pt x="5" y="13"/>
                    </a:lnTo>
                    <a:lnTo>
                      <a:pt x="8" y="17"/>
                    </a:lnTo>
                    <a:lnTo>
                      <a:pt x="10" y="15"/>
                    </a:lnTo>
                    <a:lnTo>
                      <a:pt x="11" y="13"/>
                    </a:lnTo>
                    <a:lnTo>
                      <a:pt x="9" y="11"/>
                    </a:lnTo>
                    <a:lnTo>
                      <a:pt x="11" y="11"/>
                    </a:lnTo>
                    <a:lnTo>
                      <a:pt x="17" y="13"/>
                    </a:lnTo>
                    <a:lnTo>
                      <a:pt x="19" y="14"/>
                    </a:lnTo>
                    <a:lnTo>
                      <a:pt x="21" y="12"/>
                    </a:lnTo>
                    <a:lnTo>
                      <a:pt x="20" y="10"/>
                    </a:lnTo>
                    <a:lnTo>
                      <a:pt x="14" y="10"/>
                    </a:lnTo>
                    <a:lnTo>
                      <a:pt x="12" y="8"/>
                    </a:lnTo>
                    <a:lnTo>
                      <a:pt x="7" y="4"/>
                    </a:lnTo>
                    <a:lnTo>
                      <a:pt x="14" y="8"/>
                    </a:lnTo>
                    <a:lnTo>
                      <a:pt x="18" y="9"/>
                    </a:lnTo>
                    <a:lnTo>
                      <a:pt x="17" y="5"/>
                    </a:lnTo>
                    <a:lnTo>
                      <a:pt x="19" y="6"/>
                    </a:lnTo>
                    <a:lnTo>
                      <a:pt x="20" y="4"/>
                    </a:lnTo>
                    <a:lnTo>
                      <a:pt x="17" y="2"/>
                    </a:lnTo>
                    <a:lnTo>
                      <a:pt x="14" y="2"/>
                    </a:lnTo>
                    <a:lnTo>
                      <a:pt x="9" y="4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3" y="2"/>
                    </a:lnTo>
                    <a:lnTo>
                      <a:pt x="1" y="0"/>
                    </a:lnTo>
                    <a:lnTo>
                      <a:pt x="0" y="2"/>
                    </a:lnTo>
                    <a:lnTo>
                      <a:pt x="2" y="5"/>
                    </a:lnTo>
                    <a:lnTo>
                      <a:pt x="0" y="8"/>
                    </a:lnTo>
                    <a:lnTo>
                      <a:pt x="2" y="9"/>
                    </a:lnTo>
                    <a:lnTo>
                      <a:pt x="4" y="12"/>
                    </a:lnTo>
                    <a:lnTo>
                      <a:pt x="9" y="15"/>
                    </a:lnTo>
                    <a:lnTo>
                      <a:pt x="9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42" name="Freeform 8">
                <a:extLst>
                  <a:ext uri="{FF2B5EF4-FFF2-40B4-BE49-F238E27FC236}">
                    <a16:creationId xmlns:a16="http://schemas.microsoft.com/office/drawing/2014/main" id="{22537EA4-925F-42CE-8562-95E79AC4CF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28" y="1917"/>
                <a:ext cx="14" cy="24"/>
              </a:xfrm>
              <a:custGeom>
                <a:avLst/>
                <a:gdLst>
                  <a:gd name="T0" fmla="*/ 7 w 14"/>
                  <a:gd name="T1" fmla="*/ 17 h 24"/>
                  <a:gd name="T2" fmla="*/ 9 w 14"/>
                  <a:gd name="T3" fmla="*/ 16 h 24"/>
                  <a:gd name="T4" fmla="*/ 8 w 14"/>
                  <a:gd name="T5" fmla="*/ 18 h 24"/>
                  <a:gd name="T6" fmla="*/ 10 w 14"/>
                  <a:gd name="T7" fmla="*/ 24 h 24"/>
                  <a:gd name="T8" fmla="*/ 14 w 14"/>
                  <a:gd name="T9" fmla="*/ 22 h 24"/>
                  <a:gd name="T10" fmla="*/ 12 w 14"/>
                  <a:gd name="T11" fmla="*/ 18 h 24"/>
                  <a:gd name="T12" fmla="*/ 14 w 14"/>
                  <a:gd name="T13" fmla="*/ 16 h 24"/>
                  <a:gd name="T14" fmla="*/ 10 w 14"/>
                  <a:gd name="T15" fmla="*/ 5 h 24"/>
                  <a:gd name="T16" fmla="*/ 9 w 14"/>
                  <a:gd name="T17" fmla="*/ 3 h 24"/>
                  <a:gd name="T18" fmla="*/ 6 w 14"/>
                  <a:gd name="T19" fmla="*/ 1 h 24"/>
                  <a:gd name="T20" fmla="*/ 3 w 14"/>
                  <a:gd name="T21" fmla="*/ 0 h 24"/>
                  <a:gd name="T22" fmla="*/ 0 w 14"/>
                  <a:gd name="T23" fmla="*/ 1 h 24"/>
                  <a:gd name="T24" fmla="*/ 0 w 14"/>
                  <a:gd name="T25" fmla="*/ 4 h 24"/>
                  <a:gd name="T26" fmla="*/ 2 w 14"/>
                  <a:gd name="T27" fmla="*/ 5 h 24"/>
                  <a:gd name="T28" fmla="*/ 2 w 14"/>
                  <a:gd name="T29" fmla="*/ 7 h 24"/>
                  <a:gd name="T30" fmla="*/ 6 w 14"/>
                  <a:gd name="T31" fmla="*/ 9 h 24"/>
                  <a:gd name="T32" fmla="*/ 2 w 14"/>
                  <a:gd name="T33" fmla="*/ 11 h 24"/>
                  <a:gd name="T34" fmla="*/ 3 w 14"/>
                  <a:gd name="T35" fmla="*/ 14 h 24"/>
                  <a:gd name="T36" fmla="*/ 6 w 14"/>
                  <a:gd name="T37" fmla="*/ 13 h 24"/>
                  <a:gd name="T38" fmla="*/ 6 w 14"/>
                  <a:gd name="T39" fmla="*/ 16 h 24"/>
                  <a:gd name="T40" fmla="*/ 8 w 14"/>
                  <a:gd name="T41" fmla="*/ 14 h 24"/>
                  <a:gd name="T42" fmla="*/ 6 w 14"/>
                  <a:gd name="T43" fmla="*/ 17 h 24"/>
                  <a:gd name="T44" fmla="*/ 7 w 14"/>
                  <a:gd name="T45" fmla="*/ 17 h 24"/>
                  <a:gd name="T46" fmla="*/ 7 w 14"/>
                  <a:gd name="T47" fmla="*/ 17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" h="24">
                    <a:moveTo>
                      <a:pt x="7" y="17"/>
                    </a:moveTo>
                    <a:lnTo>
                      <a:pt x="9" y="16"/>
                    </a:lnTo>
                    <a:lnTo>
                      <a:pt x="8" y="18"/>
                    </a:lnTo>
                    <a:lnTo>
                      <a:pt x="10" y="24"/>
                    </a:lnTo>
                    <a:lnTo>
                      <a:pt x="14" y="22"/>
                    </a:lnTo>
                    <a:lnTo>
                      <a:pt x="12" y="18"/>
                    </a:lnTo>
                    <a:lnTo>
                      <a:pt x="14" y="16"/>
                    </a:lnTo>
                    <a:lnTo>
                      <a:pt x="10" y="5"/>
                    </a:lnTo>
                    <a:lnTo>
                      <a:pt x="9" y="3"/>
                    </a:lnTo>
                    <a:lnTo>
                      <a:pt x="6" y="1"/>
                    </a:lnTo>
                    <a:lnTo>
                      <a:pt x="3" y="0"/>
                    </a:lnTo>
                    <a:lnTo>
                      <a:pt x="0" y="1"/>
                    </a:lnTo>
                    <a:lnTo>
                      <a:pt x="0" y="4"/>
                    </a:lnTo>
                    <a:lnTo>
                      <a:pt x="2" y="5"/>
                    </a:lnTo>
                    <a:lnTo>
                      <a:pt x="2" y="7"/>
                    </a:lnTo>
                    <a:lnTo>
                      <a:pt x="6" y="9"/>
                    </a:lnTo>
                    <a:lnTo>
                      <a:pt x="2" y="11"/>
                    </a:lnTo>
                    <a:lnTo>
                      <a:pt x="3" y="14"/>
                    </a:lnTo>
                    <a:lnTo>
                      <a:pt x="6" y="13"/>
                    </a:lnTo>
                    <a:lnTo>
                      <a:pt x="6" y="16"/>
                    </a:lnTo>
                    <a:lnTo>
                      <a:pt x="8" y="14"/>
                    </a:lnTo>
                    <a:lnTo>
                      <a:pt x="6" y="17"/>
                    </a:lnTo>
                    <a:lnTo>
                      <a:pt x="7" y="17"/>
                    </a:lnTo>
                    <a:lnTo>
                      <a:pt x="7" y="1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43" name="Freeform 9">
                <a:extLst>
                  <a:ext uri="{FF2B5EF4-FFF2-40B4-BE49-F238E27FC236}">
                    <a16:creationId xmlns:a16="http://schemas.microsoft.com/office/drawing/2014/main" id="{E76420E8-2814-41DA-AF0B-93B402EC73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37" y="1899"/>
                <a:ext cx="15" cy="26"/>
              </a:xfrm>
              <a:custGeom>
                <a:avLst/>
                <a:gdLst>
                  <a:gd name="T0" fmla="*/ 5 w 15"/>
                  <a:gd name="T1" fmla="*/ 18 h 26"/>
                  <a:gd name="T2" fmla="*/ 7 w 15"/>
                  <a:gd name="T3" fmla="*/ 17 h 26"/>
                  <a:gd name="T4" fmla="*/ 5 w 15"/>
                  <a:gd name="T5" fmla="*/ 18 h 26"/>
                  <a:gd name="T6" fmla="*/ 7 w 15"/>
                  <a:gd name="T7" fmla="*/ 21 h 26"/>
                  <a:gd name="T8" fmla="*/ 5 w 15"/>
                  <a:gd name="T9" fmla="*/ 22 h 26"/>
                  <a:gd name="T10" fmla="*/ 5 w 15"/>
                  <a:gd name="T11" fmla="*/ 25 h 26"/>
                  <a:gd name="T12" fmla="*/ 7 w 15"/>
                  <a:gd name="T13" fmla="*/ 26 h 26"/>
                  <a:gd name="T14" fmla="*/ 10 w 15"/>
                  <a:gd name="T15" fmla="*/ 24 h 26"/>
                  <a:gd name="T16" fmla="*/ 10 w 15"/>
                  <a:gd name="T17" fmla="*/ 22 h 26"/>
                  <a:gd name="T18" fmla="*/ 14 w 15"/>
                  <a:gd name="T19" fmla="*/ 22 h 26"/>
                  <a:gd name="T20" fmla="*/ 13 w 15"/>
                  <a:gd name="T21" fmla="*/ 19 h 26"/>
                  <a:gd name="T22" fmla="*/ 14 w 15"/>
                  <a:gd name="T23" fmla="*/ 16 h 26"/>
                  <a:gd name="T24" fmla="*/ 9 w 15"/>
                  <a:gd name="T25" fmla="*/ 10 h 26"/>
                  <a:gd name="T26" fmla="*/ 9 w 15"/>
                  <a:gd name="T27" fmla="*/ 8 h 26"/>
                  <a:gd name="T28" fmla="*/ 13 w 15"/>
                  <a:gd name="T29" fmla="*/ 14 h 26"/>
                  <a:gd name="T30" fmla="*/ 15 w 15"/>
                  <a:gd name="T31" fmla="*/ 16 h 26"/>
                  <a:gd name="T32" fmla="*/ 14 w 15"/>
                  <a:gd name="T33" fmla="*/ 12 h 26"/>
                  <a:gd name="T34" fmla="*/ 11 w 15"/>
                  <a:gd name="T35" fmla="*/ 8 h 26"/>
                  <a:gd name="T36" fmla="*/ 10 w 15"/>
                  <a:gd name="T37" fmla="*/ 6 h 26"/>
                  <a:gd name="T38" fmla="*/ 5 w 15"/>
                  <a:gd name="T39" fmla="*/ 5 h 26"/>
                  <a:gd name="T40" fmla="*/ 2 w 15"/>
                  <a:gd name="T41" fmla="*/ 2 h 26"/>
                  <a:gd name="T42" fmla="*/ 0 w 15"/>
                  <a:gd name="T43" fmla="*/ 0 h 26"/>
                  <a:gd name="T44" fmla="*/ 0 w 15"/>
                  <a:gd name="T45" fmla="*/ 2 h 26"/>
                  <a:gd name="T46" fmla="*/ 1 w 15"/>
                  <a:gd name="T47" fmla="*/ 6 h 26"/>
                  <a:gd name="T48" fmla="*/ 2 w 15"/>
                  <a:gd name="T49" fmla="*/ 8 h 26"/>
                  <a:gd name="T50" fmla="*/ 2 w 15"/>
                  <a:gd name="T51" fmla="*/ 14 h 26"/>
                  <a:gd name="T52" fmla="*/ 5 w 15"/>
                  <a:gd name="T53" fmla="*/ 18 h 26"/>
                  <a:gd name="T54" fmla="*/ 5 w 15"/>
                  <a:gd name="T55" fmla="*/ 18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5" h="26">
                    <a:moveTo>
                      <a:pt x="5" y="18"/>
                    </a:moveTo>
                    <a:lnTo>
                      <a:pt x="7" y="17"/>
                    </a:lnTo>
                    <a:lnTo>
                      <a:pt x="5" y="18"/>
                    </a:lnTo>
                    <a:lnTo>
                      <a:pt x="7" y="21"/>
                    </a:lnTo>
                    <a:lnTo>
                      <a:pt x="5" y="22"/>
                    </a:lnTo>
                    <a:lnTo>
                      <a:pt x="5" y="25"/>
                    </a:lnTo>
                    <a:lnTo>
                      <a:pt x="7" y="26"/>
                    </a:lnTo>
                    <a:lnTo>
                      <a:pt x="10" y="24"/>
                    </a:lnTo>
                    <a:lnTo>
                      <a:pt x="10" y="22"/>
                    </a:lnTo>
                    <a:lnTo>
                      <a:pt x="14" y="22"/>
                    </a:lnTo>
                    <a:lnTo>
                      <a:pt x="13" y="19"/>
                    </a:lnTo>
                    <a:lnTo>
                      <a:pt x="14" y="16"/>
                    </a:lnTo>
                    <a:lnTo>
                      <a:pt x="9" y="10"/>
                    </a:lnTo>
                    <a:lnTo>
                      <a:pt x="9" y="8"/>
                    </a:lnTo>
                    <a:lnTo>
                      <a:pt x="13" y="14"/>
                    </a:lnTo>
                    <a:lnTo>
                      <a:pt x="15" y="16"/>
                    </a:lnTo>
                    <a:lnTo>
                      <a:pt x="14" y="12"/>
                    </a:lnTo>
                    <a:lnTo>
                      <a:pt x="11" y="8"/>
                    </a:lnTo>
                    <a:lnTo>
                      <a:pt x="10" y="6"/>
                    </a:lnTo>
                    <a:lnTo>
                      <a:pt x="5" y="5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1" y="6"/>
                    </a:lnTo>
                    <a:lnTo>
                      <a:pt x="2" y="8"/>
                    </a:lnTo>
                    <a:lnTo>
                      <a:pt x="2" y="14"/>
                    </a:lnTo>
                    <a:lnTo>
                      <a:pt x="5" y="18"/>
                    </a:lnTo>
                    <a:lnTo>
                      <a:pt x="5" y="1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44" name="Freeform 10">
                <a:extLst>
                  <a:ext uri="{FF2B5EF4-FFF2-40B4-BE49-F238E27FC236}">
                    <a16:creationId xmlns:a16="http://schemas.microsoft.com/office/drawing/2014/main" id="{C75CCCA9-26A2-4C10-BF3F-DDD7219193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43" y="1900"/>
                <a:ext cx="2" cy="3"/>
              </a:xfrm>
              <a:custGeom>
                <a:avLst/>
                <a:gdLst>
                  <a:gd name="T0" fmla="*/ 0 w 2"/>
                  <a:gd name="T1" fmla="*/ 0 h 3"/>
                  <a:gd name="T2" fmla="*/ 0 w 2"/>
                  <a:gd name="T3" fmla="*/ 3 h 3"/>
                  <a:gd name="T4" fmla="*/ 2 w 2"/>
                  <a:gd name="T5" fmla="*/ 3 h 3"/>
                  <a:gd name="T6" fmla="*/ 0 w 2"/>
                  <a:gd name="T7" fmla="*/ 0 h 3"/>
                  <a:gd name="T8" fmla="*/ 0 w 2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3">
                    <a:moveTo>
                      <a:pt x="0" y="0"/>
                    </a:moveTo>
                    <a:lnTo>
                      <a:pt x="0" y="3"/>
                    </a:lnTo>
                    <a:lnTo>
                      <a:pt x="2" y="3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45" name="Freeform 11">
                <a:extLst>
                  <a:ext uri="{FF2B5EF4-FFF2-40B4-BE49-F238E27FC236}">
                    <a16:creationId xmlns:a16="http://schemas.microsoft.com/office/drawing/2014/main" id="{0E27090A-89E8-4A5F-8B7F-195B15A429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44" y="1929"/>
                <a:ext cx="9" cy="18"/>
              </a:xfrm>
              <a:custGeom>
                <a:avLst/>
                <a:gdLst>
                  <a:gd name="T0" fmla="*/ 3 w 9"/>
                  <a:gd name="T1" fmla="*/ 18 h 18"/>
                  <a:gd name="T2" fmla="*/ 4 w 9"/>
                  <a:gd name="T3" fmla="*/ 12 h 18"/>
                  <a:gd name="T4" fmla="*/ 6 w 9"/>
                  <a:gd name="T5" fmla="*/ 14 h 18"/>
                  <a:gd name="T6" fmla="*/ 7 w 9"/>
                  <a:gd name="T7" fmla="*/ 12 h 18"/>
                  <a:gd name="T8" fmla="*/ 8 w 9"/>
                  <a:gd name="T9" fmla="*/ 6 h 18"/>
                  <a:gd name="T10" fmla="*/ 9 w 9"/>
                  <a:gd name="T11" fmla="*/ 4 h 18"/>
                  <a:gd name="T12" fmla="*/ 6 w 9"/>
                  <a:gd name="T13" fmla="*/ 5 h 18"/>
                  <a:gd name="T14" fmla="*/ 7 w 9"/>
                  <a:gd name="T15" fmla="*/ 2 h 18"/>
                  <a:gd name="T16" fmla="*/ 4 w 9"/>
                  <a:gd name="T17" fmla="*/ 0 h 18"/>
                  <a:gd name="T18" fmla="*/ 1 w 9"/>
                  <a:gd name="T19" fmla="*/ 0 h 18"/>
                  <a:gd name="T20" fmla="*/ 0 w 9"/>
                  <a:gd name="T21" fmla="*/ 3 h 18"/>
                  <a:gd name="T22" fmla="*/ 2 w 9"/>
                  <a:gd name="T23" fmla="*/ 5 h 18"/>
                  <a:gd name="T24" fmla="*/ 4 w 9"/>
                  <a:gd name="T25" fmla="*/ 6 h 18"/>
                  <a:gd name="T26" fmla="*/ 6 w 9"/>
                  <a:gd name="T27" fmla="*/ 9 h 18"/>
                  <a:gd name="T28" fmla="*/ 2 w 9"/>
                  <a:gd name="T29" fmla="*/ 9 h 18"/>
                  <a:gd name="T30" fmla="*/ 3 w 9"/>
                  <a:gd name="T31" fmla="*/ 14 h 18"/>
                  <a:gd name="T32" fmla="*/ 3 w 9"/>
                  <a:gd name="T33" fmla="*/ 18 h 18"/>
                  <a:gd name="T34" fmla="*/ 3 w 9"/>
                  <a:gd name="T35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" h="18">
                    <a:moveTo>
                      <a:pt x="3" y="18"/>
                    </a:moveTo>
                    <a:lnTo>
                      <a:pt x="4" y="12"/>
                    </a:lnTo>
                    <a:lnTo>
                      <a:pt x="6" y="14"/>
                    </a:lnTo>
                    <a:lnTo>
                      <a:pt x="7" y="12"/>
                    </a:lnTo>
                    <a:lnTo>
                      <a:pt x="8" y="6"/>
                    </a:lnTo>
                    <a:lnTo>
                      <a:pt x="9" y="4"/>
                    </a:lnTo>
                    <a:lnTo>
                      <a:pt x="6" y="5"/>
                    </a:lnTo>
                    <a:lnTo>
                      <a:pt x="7" y="2"/>
                    </a:lnTo>
                    <a:lnTo>
                      <a:pt x="4" y="0"/>
                    </a:lnTo>
                    <a:lnTo>
                      <a:pt x="1" y="0"/>
                    </a:lnTo>
                    <a:lnTo>
                      <a:pt x="0" y="3"/>
                    </a:lnTo>
                    <a:lnTo>
                      <a:pt x="2" y="5"/>
                    </a:lnTo>
                    <a:lnTo>
                      <a:pt x="4" y="6"/>
                    </a:lnTo>
                    <a:lnTo>
                      <a:pt x="6" y="9"/>
                    </a:lnTo>
                    <a:lnTo>
                      <a:pt x="2" y="9"/>
                    </a:lnTo>
                    <a:lnTo>
                      <a:pt x="3" y="14"/>
                    </a:lnTo>
                    <a:lnTo>
                      <a:pt x="3" y="18"/>
                    </a:lnTo>
                    <a:lnTo>
                      <a:pt x="3" y="1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46" name="Freeform 12">
                <a:extLst>
                  <a:ext uri="{FF2B5EF4-FFF2-40B4-BE49-F238E27FC236}">
                    <a16:creationId xmlns:a16="http://schemas.microsoft.com/office/drawing/2014/main" id="{85EB06DB-A51E-46B5-8E28-78521A5622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63" y="1938"/>
                <a:ext cx="6" cy="4"/>
              </a:xfrm>
              <a:custGeom>
                <a:avLst/>
                <a:gdLst>
                  <a:gd name="T0" fmla="*/ 5 w 6"/>
                  <a:gd name="T1" fmla="*/ 0 h 4"/>
                  <a:gd name="T2" fmla="*/ 2 w 6"/>
                  <a:gd name="T3" fmla="*/ 0 h 4"/>
                  <a:gd name="T4" fmla="*/ 0 w 6"/>
                  <a:gd name="T5" fmla="*/ 2 h 4"/>
                  <a:gd name="T6" fmla="*/ 2 w 6"/>
                  <a:gd name="T7" fmla="*/ 4 h 4"/>
                  <a:gd name="T8" fmla="*/ 6 w 6"/>
                  <a:gd name="T9" fmla="*/ 2 h 4"/>
                  <a:gd name="T10" fmla="*/ 5 w 6"/>
                  <a:gd name="T11" fmla="*/ 0 h 4"/>
                  <a:gd name="T12" fmla="*/ 5 w 6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4">
                    <a:moveTo>
                      <a:pt x="5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6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47" name="Freeform 13">
                <a:extLst>
                  <a:ext uri="{FF2B5EF4-FFF2-40B4-BE49-F238E27FC236}">
                    <a16:creationId xmlns:a16="http://schemas.microsoft.com/office/drawing/2014/main" id="{6D6CB40F-B1DF-4102-A43E-6F434398FB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65" y="1961"/>
                <a:ext cx="3" cy="4"/>
              </a:xfrm>
              <a:custGeom>
                <a:avLst/>
                <a:gdLst>
                  <a:gd name="T0" fmla="*/ 0 w 3"/>
                  <a:gd name="T1" fmla="*/ 0 h 4"/>
                  <a:gd name="T2" fmla="*/ 0 w 3"/>
                  <a:gd name="T3" fmla="*/ 4 h 4"/>
                  <a:gd name="T4" fmla="*/ 3 w 3"/>
                  <a:gd name="T5" fmla="*/ 4 h 4"/>
                  <a:gd name="T6" fmla="*/ 0 w 3"/>
                  <a:gd name="T7" fmla="*/ 0 h 4"/>
                  <a:gd name="T8" fmla="*/ 0 w 3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4">
                    <a:moveTo>
                      <a:pt x="0" y="0"/>
                    </a:moveTo>
                    <a:lnTo>
                      <a:pt x="0" y="4"/>
                    </a:lnTo>
                    <a:lnTo>
                      <a:pt x="3" y="4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48" name="Freeform 14">
                <a:extLst>
                  <a:ext uri="{FF2B5EF4-FFF2-40B4-BE49-F238E27FC236}">
                    <a16:creationId xmlns:a16="http://schemas.microsoft.com/office/drawing/2014/main" id="{DE1EFA14-6F9E-4472-8318-1C2ACECD0C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68" y="1940"/>
                <a:ext cx="6" cy="7"/>
              </a:xfrm>
              <a:custGeom>
                <a:avLst/>
                <a:gdLst>
                  <a:gd name="T0" fmla="*/ 4 w 6"/>
                  <a:gd name="T1" fmla="*/ 0 h 7"/>
                  <a:gd name="T2" fmla="*/ 2 w 6"/>
                  <a:gd name="T3" fmla="*/ 0 h 7"/>
                  <a:gd name="T4" fmla="*/ 0 w 6"/>
                  <a:gd name="T5" fmla="*/ 2 h 7"/>
                  <a:gd name="T6" fmla="*/ 1 w 6"/>
                  <a:gd name="T7" fmla="*/ 5 h 7"/>
                  <a:gd name="T8" fmla="*/ 4 w 6"/>
                  <a:gd name="T9" fmla="*/ 7 h 7"/>
                  <a:gd name="T10" fmla="*/ 6 w 6"/>
                  <a:gd name="T11" fmla="*/ 6 h 7"/>
                  <a:gd name="T12" fmla="*/ 5 w 6"/>
                  <a:gd name="T13" fmla="*/ 2 h 7"/>
                  <a:gd name="T14" fmla="*/ 2 w 6"/>
                  <a:gd name="T15" fmla="*/ 2 h 7"/>
                  <a:gd name="T16" fmla="*/ 4 w 6"/>
                  <a:gd name="T17" fmla="*/ 0 h 7"/>
                  <a:gd name="T18" fmla="*/ 4 w 6"/>
                  <a:gd name="T1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" h="7">
                    <a:moveTo>
                      <a:pt x="4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1" y="5"/>
                    </a:lnTo>
                    <a:lnTo>
                      <a:pt x="4" y="7"/>
                    </a:lnTo>
                    <a:lnTo>
                      <a:pt x="6" y="6"/>
                    </a:lnTo>
                    <a:lnTo>
                      <a:pt x="5" y="2"/>
                    </a:lnTo>
                    <a:lnTo>
                      <a:pt x="2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49" name="Freeform 15">
                <a:extLst>
                  <a:ext uri="{FF2B5EF4-FFF2-40B4-BE49-F238E27FC236}">
                    <a16:creationId xmlns:a16="http://schemas.microsoft.com/office/drawing/2014/main" id="{E290F6B0-B678-476E-BCD5-5939F882A1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72" y="1937"/>
                <a:ext cx="6" cy="6"/>
              </a:xfrm>
              <a:custGeom>
                <a:avLst/>
                <a:gdLst>
                  <a:gd name="T0" fmla="*/ 0 w 6"/>
                  <a:gd name="T1" fmla="*/ 0 h 6"/>
                  <a:gd name="T2" fmla="*/ 0 w 6"/>
                  <a:gd name="T3" fmla="*/ 4 h 6"/>
                  <a:gd name="T4" fmla="*/ 2 w 6"/>
                  <a:gd name="T5" fmla="*/ 6 h 6"/>
                  <a:gd name="T6" fmla="*/ 6 w 6"/>
                  <a:gd name="T7" fmla="*/ 5 h 6"/>
                  <a:gd name="T8" fmla="*/ 0 w 6"/>
                  <a:gd name="T9" fmla="*/ 0 h 6"/>
                  <a:gd name="T10" fmla="*/ 0 w 6"/>
                  <a:gd name="T11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6">
                    <a:moveTo>
                      <a:pt x="0" y="0"/>
                    </a:moveTo>
                    <a:lnTo>
                      <a:pt x="0" y="4"/>
                    </a:lnTo>
                    <a:lnTo>
                      <a:pt x="2" y="6"/>
                    </a:lnTo>
                    <a:lnTo>
                      <a:pt x="6" y="5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50" name="Freeform 16">
                <a:extLst>
                  <a:ext uri="{FF2B5EF4-FFF2-40B4-BE49-F238E27FC236}">
                    <a16:creationId xmlns:a16="http://schemas.microsoft.com/office/drawing/2014/main" id="{9B50BCF7-6FFD-4B0B-881C-9A73A275DD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79" y="1958"/>
                <a:ext cx="3" cy="5"/>
              </a:xfrm>
              <a:custGeom>
                <a:avLst/>
                <a:gdLst>
                  <a:gd name="T0" fmla="*/ 0 w 3"/>
                  <a:gd name="T1" fmla="*/ 0 h 5"/>
                  <a:gd name="T2" fmla="*/ 0 w 3"/>
                  <a:gd name="T3" fmla="*/ 1 h 5"/>
                  <a:gd name="T4" fmla="*/ 1 w 3"/>
                  <a:gd name="T5" fmla="*/ 5 h 5"/>
                  <a:gd name="T6" fmla="*/ 3 w 3"/>
                  <a:gd name="T7" fmla="*/ 1 h 5"/>
                  <a:gd name="T8" fmla="*/ 0 w 3"/>
                  <a:gd name="T9" fmla="*/ 0 h 5"/>
                  <a:gd name="T10" fmla="*/ 0 w 3"/>
                  <a:gd name="T11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5">
                    <a:moveTo>
                      <a:pt x="0" y="0"/>
                    </a:moveTo>
                    <a:lnTo>
                      <a:pt x="0" y="1"/>
                    </a:lnTo>
                    <a:lnTo>
                      <a:pt x="1" y="5"/>
                    </a:lnTo>
                    <a:lnTo>
                      <a:pt x="3" y="1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51" name="Freeform 17">
                <a:extLst>
                  <a:ext uri="{FF2B5EF4-FFF2-40B4-BE49-F238E27FC236}">
                    <a16:creationId xmlns:a16="http://schemas.microsoft.com/office/drawing/2014/main" id="{E96F29C5-1ABE-4D6B-A381-E8373C231C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80" y="1947"/>
                <a:ext cx="11" cy="13"/>
              </a:xfrm>
              <a:custGeom>
                <a:avLst/>
                <a:gdLst>
                  <a:gd name="T0" fmla="*/ 2 w 11"/>
                  <a:gd name="T1" fmla="*/ 12 h 13"/>
                  <a:gd name="T2" fmla="*/ 4 w 11"/>
                  <a:gd name="T3" fmla="*/ 10 h 13"/>
                  <a:gd name="T4" fmla="*/ 7 w 11"/>
                  <a:gd name="T5" fmla="*/ 10 h 13"/>
                  <a:gd name="T6" fmla="*/ 6 w 11"/>
                  <a:gd name="T7" fmla="*/ 8 h 13"/>
                  <a:gd name="T8" fmla="*/ 7 w 11"/>
                  <a:gd name="T9" fmla="*/ 10 h 13"/>
                  <a:gd name="T10" fmla="*/ 5 w 11"/>
                  <a:gd name="T11" fmla="*/ 12 h 13"/>
                  <a:gd name="T12" fmla="*/ 7 w 11"/>
                  <a:gd name="T13" fmla="*/ 12 h 13"/>
                  <a:gd name="T14" fmla="*/ 10 w 11"/>
                  <a:gd name="T15" fmla="*/ 13 h 13"/>
                  <a:gd name="T16" fmla="*/ 11 w 11"/>
                  <a:gd name="T17" fmla="*/ 5 h 13"/>
                  <a:gd name="T18" fmla="*/ 10 w 11"/>
                  <a:gd name="T19" fmla="*/ 3 h 13"/>
                  <a:gd name="T20" fmla="*/ 7 w 11"/>
                  <a:gd name="T21" fmla="*/ 0 h 13"/>
                  <a:gd name="T22" fmla="*/ 5 w 11"/>
                  <a:gd name="T23" fmla="*/ 1 h 13"/>
                  <a:gd name="T24" fmla="*/ 2 w 11"/>
                  <a:gd name="T25" fmla="*/ 2 h 13"/>
                  <a:gd name="T26" fmla="*/ 2 w 11"/>
                  <a:gd name="T27" fmla="*/ 8 h 13"/>
                  <a:gd name="T28" fmla="*/ 0 w 11"/>
                  <a:gd name="T29" fmla="*/ 11 h 13"/>
                  <a:gd name="T30" fmla="*/ 2 w 11"/>
                  <a:gd name="T31" fmla="*/ 12 h 13"/>
                  <a:gd name="T32" fmla="*/ 2 w 11"/>
                  <a:gd name="T33" fmla="*/ 12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" h="13">
                    <a:moveTo>
                      <a:pt x="2" y="12"/>
                    </a:moveTo>
                    <a:lnTo>
                      <a:pt x="4" y="10"/>
                    </a:lnTo>
                    <a:lnTo>
                      <a:pt x="7" y="10"/>
                    </a:lnTo>
                    <a:lnTo>
                      <a:pt x="6" y="8"/>
                    </a:lnTo>
                    <a:lnTo>
                      <a:pt x="7" y="10"/>
                    </a:lnTo>
                    <a:lnTo>
                      <a:pt x="5" y="12"/>
                    </a:lnTo>
                    <a:lnTo>
                      <a:pt x="7" y="12"/>
                    </a:lnTo>
                    <a:lnTo>
                      <a:pt x="10" y="13"/>
                    </a:lnTo>
                    <a:lnTo>
                      <a:pt x="11" y="5"/>
                    </a:lnTo>
                    <a:lnTo>
                      <a:pt x="10" y="3"/>
                    </a:lnTo>
                    <a:lnTo>
                      <a:pt x="7" y="0"/>
                    </a:lnTo>
                    <a:lnTo>
                      <a:pt x="5" y="1"/>
                    </a:lnTo>
                    <a:lnTo>
                      <a:pt x="2" y="2"/>
                    </a:lnTo>
                    <a:lnTo>
                      <a:pt x="2" y="8"/>
                    </a:lnTo>
                    <a:lnTo>
                      <a:pt x="0" y="11"/>
                    </a:lnTo>
                    <a:lnTo>
                      <a:pt x="2" y="12"/>
                    </a:lnTo>
                    <a:lnTo>
                      <a:pt x="2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52" name="Freeform 18">
                <a:extLst>
                  <a:ext uri="{FF2B5EF4-FFF2-40B4-BE49-F238E27FC236}">
                    <a16:creationId xmlns:a16="http://schemas.microsoft.com/office/drawing/2014/main" id="{43E0AFE0-DF59-426F-98B1-0D89E87802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62" y="1981"/>
                <a:ext cx="19" cy="19"/>
              </a:xfrm>
              <a:custGeom>
                <a:avLst/>
                <a:gdLst>
                  <a:gd name="T0" fmla="*/ 2 w 19"/>
                  <a:gd name="T1" fmla="*/ 11 h 19"/>
                  <a:gd name="T2" fmla="*/ 5 w 19"/>
                  <a:gd name="T3" fmla="*/ 13 h 19"/>
                  <a:gd name="T4" fmla="*/ 7 w 19"/>
                  <a:gd name="T5" fmla="*/ 14 h 19"/>
                  <a:gd name="T6" fmla="*/ 5 w 19"/>
                  <a:gd name="T7" fmla="*/ 16 h 19"/>
                  <a:gd name="T8" fmla="*/ 8 w 19"/>
                  <a:gd name="T9" fmla="*/ 16 h 19"/>
                  <a:gd name="T10" fmla="*/ 8 w 19"/>
                  <a:gd name="T11" fmla="*/ 18 h 19"/>
                  <a:gd name="T12" fmla="*/ 10 w 19"/>
                  <a:gd name="T13" fmla="*/ 19 h 19"/>
                  <a:gd name="T14" fmla="*/ 14 w 19"/>
                  <a:gd name="T15" fmla="*/ 18 h 19"/>
                  <a:gd name="T16" fmla="*/ 16 w 19"/>
                  <a:gd name="T17" fmla="*/ 16 h 19"/>
                  <a:gd name="T18" fmla="*/ 16 w 19"/>
                  <a:gd name="T19" fmla="*/ 10 h 19"/>
                  <a:gd name="T20" fmla="*/ 17 w 19"/>
                  <a:gd name="T21" fmla="*/ 8 h 19"/>
                  <a:gd name="T22" fmla="*/ 18 w 19"/>
                  <a:gd name="T23" fmla="*/ 5 h 19"/>
                  <a:gd name="T24" fmla="*/ 19 w 19"/>
                  <a:gd name="T25" fmla="*/ 2 h 19"/>
                  <a:gd name="T26" fmla="*/ 17 w 19"/>
                  <a:gd name="T27" fmla="*/ 2 h 19"/>
                  <a:gd name="T28" fmla="*/ 15 w 19"/>
                  <a:gd name="T29" fmla="*/ 3 h 19"/>
                  <a:gd name="T30" fmla="*/ 14 w 19"/>
                  <a:gd name="T31" fmla="*/ 5 h 19"/>
                  <a:gd name="T32" fmla="*/ 12 w 19"/>
                  <a:gd name="T33" fmla="*/ 9 h 19"/>
                  <a:gd name="T34" fmla="*/ 10 w 19"/>
                  <a:gd name="T35" fmla="*/ 11 h 19"/>
                  <a:gd name="T36" fmla="*/ 7 w 19"/>
                  <a:gd name="T37" fmla="*/ 10 h 19"/>
                  <a:gd name="T38" fmla="*/ 10 w 19"/>
                  <a:gd name="T39" fmla="*/ 8 h 19"/>
                  <a:gd name="T40" fmla="*/ 12 w 19"/>
                  <a:gd name="T41" fmla="*/ 7 h 19"/>
                  <a:gd name="T42" fmla="*/ 14 w 19"/>
                  <a:gd name="T43" fmla="*/ 4 h 19"/>
                  <a:gd name="T44" fmla="*/ 10 w 19"/>
                  <a:gd name="T45" fmla="*/ 1 h 19"/>
                  <a:gd name="T46" fmla="*/ 8 w 19"/>
                  <a:gd name="T47" fmla="*/ 2 h 19"/>
                  <a:gd name="T48" fmla="*/ 5 w 19"/>
                  <a:gd name="T49" fmla="*/ 1 h 19"/>
                  <a:gd name="T50" fmla="*/ 2 w 19"/>
                  <a:gd name="T51" fmla="*/ 0 h 19"/>
                  <a:gd name="T52" fmla="*/ 0 w 19"/>
                  <a:gd name="T53" fmla="*/ 3 h 19"/>
                  <a:gd name="T54" fmla="*/ 0 w 19"/>
                  <a:gd name="T55" fmla="*/ 5 h 19"/>
                  <a:gd name="T56" fmla="*/ 2 w 19"/>
                  <a:gd name="T57" fmla="*/ 11 h 19"/>
                  <a:gd name="T58" fmla="*/ 2 w 19"/>
                  <a:gd name="T59" fmla="*/ 11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19" h="19">
                    <a:moveTo>
                      <a:pt x="2" y="11"/>
                    </a:moveTo>
                    <a:lnTo>
                      <a:pt x="5" y="13"/>
                    </a:lnTo>
                    <a:lnTo>
                      <a:pt x="7" y="14"/>
                    </a:lnTo>
                    <a:lnTo>
                      <a:pt x="5" y="16"/>
                    </a:lnTo>
                    <a:lnTo>
                      <a:pt x="8" y="16"/>
                    </a:lnTo>
                    <a:lnTo>
                      <a:pt x="8" y="18"/>
                    </a:lnTo>
                    <a:lnTo>
                      <a:pt x="10" y="19"/>
                    </a:lnTo>
                    <a:lnTo>
                      <a:pt x="14" y="18"/>
                    </a:lnTo>
                    <a:lnTo>
                      <a:pt x="16" y="16"/>
                    </a:lnTo>
                    <a:lnTo>
                      <a:pt x="16" y="10"/>
                    </a:lnTo>
                    <a:lnTo>
                      <a:pt x="17" y="8"/>
                    </a:lnTo>
                    <a:lnTo>
                      <a:pt x="18" y="5"/>
                    </a:lnTo>
                    <a:lnTo>
                      <a:pt x="19" y="2"/>
                    </a:lnTo>
                    <a:lnTo>
                      <a:pt x="17" y="2"/>
                    </a:lnTo>
                    <a:lnTo>
                      <a:pt x="15" y="3"/>
                    </a:lnTo>
                    <a:lnTo>
                      <a:pt x="14" y="5"/>
                    </a:lnTo>
                    <a:lnTo>
                      <a:pt x="12" y="9"/>
                    </a:lnTo>
                    <a:lnTo>
                      <a:pt x="10" y="11"/>
                    </a:lnTo>
                    <a:lnTo>
                      <a:pt x="7" y="10"/>
                    </a:lnTo>
                    <a:lnTo>
                      <a:pt x="10" y="8"/>
                    </a:lnTo>
                    <a:lnTo>
                      <a:pt x="12" y="7"/>
                    </a:lnTo>
                    <a:lnTo>
                      <a:pt x="14" y="4"/>
                    </a:lnTo>
                    <a:lnTo>
                      <a:pt x="10" y="1"/>
                    </a:lnTo>
                    <a:lnTo>
                      <a:pt x="8" y="2"/>
                    </a:lnTo>
                    <a:lnTo>
                      <a:pt x="5" y="1"/>
                    </a:lnTo>
                    <a:lnTo>
                      <a:pt x="2" y="0"/>
                    </a:lnTo>
                    <a:lnTo>
                      <a:pt x="0" y="3"/>
                    </a:lnTo>
                    <a:lnTo>
                      <a:pt x="0" y="5"/>
                    </a:lnTo>
                    <a:lnTo>
                      <a:pt x="2" y="11"/>
                    </a:lnTo>
                    <a:lnTo>
                      <a:pt x="2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53" name="Freeform 19">
                <a:extLst>
                  <a:ext uri="{FF2B5EF4-FFF2-40B4-BE49-F238E27FC236}">
                    <a16:creationId xmlns:a16="http://schemas.microsoft.com/office/drawing/2014/main" id="{76220191-31EC-4C2B-B8E7-3B5A4C905D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70" y="1999"/>
                <a:ext cx="20" cy="20"/>
              </a:xfrm>
              <a:custGeom>
                <a:avLst/>
                <a:gdLst>
                  <a:gd name="T0" fmla="*/ 8 w 20"/>
                  <a:gd name="T1" fmla="*/ 4 h 20"/>
                  <a:gd name="T2" fmla="*/ 11 w 20"/>
                  <a:gd name="T3" fmla="*/ 7 h 20"/>
                  <a:gd name="T4" fmla="*/ 11 w 20"/>
                  <a:gd name="T5" fmla="*/ 4 h 20"/>
                  <a:gd name="T6" fmla="*/ 9 w 20"/>
                  <a:gd name="T7" fmla="*/ 3 h 20"/>
                  <a:gd name="T8" fmla="*/ 11 w 20"/>
                  <a:gd name="T9" fmla="*/ 3 h 20"/>
                  <a:gd name="T10" fmla="*/ 10 w 20"/>
                  <a:gd name="T11" fmla="*/ 0 h 20"/>
                  <a:gd name="T12" fmla="*/ 8 w 20"/>
                  <a:gd name="T13" fmla="*/ 0 h 20"/>
                  <a:gd name="T14" fmla="*/ 4 w 20"/>
                  <a:gd name="T15" fmla="*/ 1 h 20"/>
                  <a:gd name="T16" fmla="*/ 0 w 20"/>
                  <a:gd name="T17" fmla="*/ 1 h 20"/>
                  <a:gd name="T18" fmla="*/ 2 w 20"/>
                  <a:gd name="T19" fmla="*/ 3 h 20"/>
                  <a:gd name="T20" fmla="*/ 4 w 20"/>
                  <a:gd name="T21" fmla="*/ 4 h 20"/>
                  <a:gd name="T22" fmla="*/ 2 w 20"/>
                  <a:gd name="T23" fmla="*/ 6 h 20"/>
                  <a:gd name="T24" fmla="*/ 4 w 20"/>
                  <a:gd name="T25" fmla="*/ 8 h 20"/>
                  <a:gd name="T26" fmla="*/ 7 w 20"/>
                  <a:gd name="T27" fmla="*/ 8 h 20"/>
                  <a:gd name="T28" fmla="*/ 8 w 20"/>
                  <a:gd name="T29" fmla="*/ 10 h 20"/>
                  <a:gd name="T30" fmla="*/ 10 w 20"/>
                  <a:gd name="T31" fmla="*/ 13 h 20"/>
                  <a:gd name="T32" fmla="*/ 12 w 20"/>
                  <a:gd name="T33" fmla="*/ 15 h 20"/>
                  <a:gd name="T34" fmla="*/ 15 w 20"/>
                  <a:gd name="T35" fmla="*/ 17 h 20"/>
                  <a:gd name="T36" fmla="*/ 17 w 20"/>
                  <a:gd name="T37" fmla="*/ 20 h 20"/>
                  <a:gd name="T38" fmla="*/ 19 w 20"/>
                  <a:gd name="T39" fmla="*/ 19 h 20"/>
                  <a:gd name="T40" fmla="*/ 20 w 20"/>
                  <a:gd name="T41" fmla="*/ 18 h 20"/>
                  <a:gd name="T42" fmla="*/ 17 w 20"/>
                  <a:gd name="T43" fmla="*/ 17 h 20"/>
                  <a:gd name="T44" fmla="*/ 15 w 20"/>
                  <a:gd name="T45" fmla="*/ 15 h 20"/>
                  <a:gd name="T46" fmla="*/ 12 w 20"/>
                  <a:gd name="T47" fmla="*/ 12 h 20"/>
                  <a:gd name="T48" fmla="*/ 9 w 20"/>
                  <a:gd name="T49" fmla="*/ 7 h 20"/>
                  <a:gd name="T50" fmla="*/ 8 w 20"/>
                  <a:gd name="T51" fmla="*/ 4 h 20"/>
                  <a:gd name="T52" fmla="*/ 9 w 20"/>
                  <a:gd name="T53" fmla="*/ 4 h 20"/>
                  <a:gd name="T54" fmla="*/ 8 w 20"/>
                  <a:gd name="T55" fmla="*/ 4 h 20"/>
                  <a:gd name="T56" fmla="*/ 8 w 20"/>
                  <a:gd name="T57" fmla="*/ 4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0" h="20">
                    <a:moveTo>
                      <a:pt x="8" y="4"/>
                    </a:moveTo>
                    <a:lnTo>
                      <a:pt x="11" y="7"/>
                    </a:lnTo>
                    <a:lnTo>
                      <a:pt x="11" y="4"/>
                    </a:lnTo>
                    <a:lnTo>
                      <a:pt x="9" y="3"/>
                    </a:lnTo>
                    <a:lnTo>
                      <a:pt x="11" y="3"/>
                    </a:lnTo>
                    <a:lnTo>
                      <a:pt x="10" y="0"/>
                    </a:lnTo>
                    <a:lnTo>
                      <a:pt x="8" y="0"/>
                    </a:lnTo>
                    <a:lnTo>
                      <a:pt x="4" y="1"/>
                    </a:lnTo>
                    <a:lnTo>
                      <a:pt x="0" y="1"/>
                    </a:lnTo>
                    <a:lnTo>
                      <a:pt x="2" y="3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4" y="8"/>
                    </a:lnTo>
                    <a:lnTo>
                      <a:pt x="7" y="8"/>
                    </a:lnTo>
                    <a:lnTo>
                      <a:pt x="8" y="10"/>
                    </a:lnTo>
                    <a:lnTo>
                      <a:pt x="10" y="13"/>
                    </a:lnTo>
                    <a:lnTo>
                      <a:pt x="12" y="15"/>
                    </a:lnTo>
                    <a:lnTo>
                      <a:pt x="15" y="17"/>
                    </a:lnTo>
                    <a:lnTo>
                      <a:pt x="17" y="20"/>
                    </a:lnTo>
                    <a:lnTo>
                      <a:pt x="19" y="19"/>
                    </a:lnTo>
                    <a:lnTo>
                      <a:pt x="20" y="18"/>
                    </a:lnTo>
                    <a:lnTo>
                      <a:pt x="17" y="17"/>
                    </a:lnTo>
                    <a:lnTo>
                      <a:pt x="15" y="15"/>
                    </a:lnTo>
                    <a:lnTo>
                      <a:pt x="12" y="12"/>
                    </a:lnTo>
                    <a:lnTo>
                      <a:pt x="9" y="7"/>
                    </a:lnTo>
                    <a:lnTo>
                      <a:pt x="8" y="4"/>
                    </a:lnTo>
                    <a:lnTo>
                      <a:pt x="9" y="4"/>
                    </a:lnTo>
                    <a:lnTo>
                      <a:pt x="8" y="4"/>
                    </a:lnTo>
                    <a:lnTo>
                      <a:pt x="8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54" name="Freeform 20">
                <a:extLst>
                  <a:ext uri="{FF2B5EF4-FFF2-40B4-BE49-F238E27FC236}">
                    <a16:creationId xmlns:a16="http://schemas.microsoft.com/office/drawing/2014/main" id="{5DC77C62-E5D0-43B5-982C-410F70412B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81" y="2008"/>
                <a:ext cx="4" cy="2"/>
              </a:xfrm>
              <a:custGeom>
                <a:avLst/>
                <a:gdLst>
                  <a:gd name="T0" fmla="*/ 4 w 4"/>
                  <a:gd name="T1" fmla="*/ 0 h 2"/>
                  <a:gd name="T2" fmla="*/ 0 w 4"/>
                  <a:gd name="T3" fmla="*/ 0 h 2"/>
                  <a:gd name="T4" fmla="*/ 1 w 4"/>
                  <a:gd name="T5" fmla="*/ 2 h 2"/>
                  <a:gd name="T6" fmla="*/ 4 w 4"/>
                  <a:gd name="T7" fmla="*/ 0 h 2"/>
                  <a:gd name="T8" fmla="*/ 4 w 4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1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55" name="Freeform 21">
                <a:extLst>
                  <a:ext uri="{FF2B5EF4-FFF2-40B4-BE49-F238E27FC236}">
                    <a16:creationId xmlns:a16="http://schemas.microsoft.com/office/drawing/2014/main" id="{E34750DD-A7FF-4B07-80D2-E9B2D4CEEA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98" y="1965"/>
                <a:ext cx="4" cy="4"/>
              </a:xfrm>
              <a:custGeom>
                <a:avLst/>
                <a:gdLst>
                  <a:gd name="T0" fmla="*/ 4 w 4"/>
                  <a:gd name="T1" fmla="*/ 0 h 4"/>
                  <a:gd name="T2" fmla="*/ 0 w 4"/>
                  <a:gd name="T3" fmla="*/ 4 h 4"/>
                  <a:gd name="T4" fmla="*/ 4 w 4"/>
                  <a:gd name="T5" fmla="*/ 3 h 4"/>
                  <a:gd name="T6" fmla="*/ 4 w 4"/>
                  <a:gd name="T7" fmla="*/ 0 h 4"/>
                  <a:gd name="T8" fmla="*/ 4 w 4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4" y="0"/>
                    </a:moveTo>
                    <a:lnTo>
                      <a:pt x="0" y="4"/>
                    </a:lnTo>
                    <a:lnTo>
                      <a:pt x="4" y="3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56" name="Freeform 22">
                <a:extLst>
                  <a:ext uri="{FF2B5EF4-FFF2-40B4-BE49-F238E27FC236}">
                    <a16:creationId xmlns:a16="http://schemas.microsoft.com/office/drawing/2014/main" id="{CE67823D-6072-41FB-84FB-55DBE105A0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51" y="1925"/>
                <a:ext cx="13" cy="13"/>
              </a:xfrm>
              <a:custGeom>
                <a:avLst/>
                <a:gdLst>
                  <a:gd name="T0" fmla="*/ 4 w 13"/>
                  <a:gd name="T1" fmla="*/ 13 h 13"/>
                  <a:gd name="T2" fmla="*/ 3 w 13"/>
                  <a:gd name="T3" fmla="*/ 12 h 13"/>
                  <a:gd name="T4" fmla="*/ 3 w 13"/>
                  <a:gd name="T5" fmla="*/ 6 h 13"/>
                  <a:gd name="T6" fmla="*/ 1 w 13"/>
                  <a:gd name="T7" fmla="*/ 4 h 13"/>
                  <a:gd name="T8" fmla="*/ 0 w 13"/>
                  <a:gd name="T9" fmla="*/ 0 h 13"/>
                  <a:gd name="T10" fmla="*/ 2 w 13"/>
                  <a:gd name="T11" fmla="*/ 0 h 13"/>
                  <a:gd name="T12" fmla="*/ 8 w 13"/>
                  <a:gd name="T13" fmla="*/ 1 h 13"/>
                  <a:gd name="T14" fmla="*/ 10 w 13"/>
                  <a:gd name="T15" fmla="*/ 1 h 13"/>
                  <a:gd name="T16" fmla="*/ 13 w 13"/>
                  <a:gd name="T17" fmla="*/ 4 h 13"/>
                  <a:gd name="T18" fmla="*/ 13 w 13"/>
                  <a:gd name="T19" fmla="*/ 7 h 13"/>
                  <a:gd name="T20" fmla="*/ 12 w 13"/>
                  <a:gd name="T21" fmla="*/ 9 h 13"/>
                  <a:gd name="T22" fmla="*/ 9 w 13"/>
                  <a:gd name="T23" fmla="*/ 7 h 13"/>
                  <a:gd name="T24" fmla="*/ 11 w 13"/>
                  <a:gd name="T25" fmla="*/ 10 h 13"/>
                  <a:gd name="T26" fmla="*/ 10 w 13"/>
                  <a:gd name="T27" fmla="*/ 13 h 13"/>
                  <a:gd name="T28" fmla="*/ 6 w 13"/>
                  <a:gd name="T29" fmla="*/ 12 h 13"/>
                  <a:gd name="T30" fmla="*/ 4 w 13"/>
                  <a:gd name="T31" fmla="*/ 13 h 13"/>
                  <a:gd name="T32" fmla="*/ 4 w 13"/>
                  <a:gd name="T33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3" h="13">
                    <a:moveTo>
                      <a:pt x="4" y="13"/>
                    </a:moveTo>
                    <a:lnTo>
                      <a:pt x="3" y="12"/>
                    </a:lnTo>
                    <a:lnTo>
                      <a:pt x="3" y="6"/>
                    </a:lnTo>
                    <a:lnTo>
                      <a:pt x="1" y="4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8" y="1"/>
                    </a:lnTo>
                    <a:lnTo>
                      <a:pt x="10" y="1"/>
                    </a:lnTo>
                    <a:lnTo>
                      <a:pt x="13" y="4"/>
                    </a:lnTo>
                    <a:lnTo>
                      <a:pt x="13" y="7"/>
                    </a:lnTo>
                    <a:lnTo>
                      <a:pt x="12" y="9"/>
                    </a:lnTo>
                    <a:lnTo>
                      <a:pt x="9" y="7"/>
                    </a:lnTo>
                    <a:lnTo>
                      <a:pt x="11" y="10"/>
                    </a:lnTo>
                    <a:lnTo>
                      <a:pt x="10" y="13"/>
                    </a:lnTo>
                    <a:lnTo>
                      <a:pt x="6" y="12"/>
                    </a:lnTo>
                    <a:lnTo>
                      <a:pt x="4" y="13"/>
                    </a:lnTo>
                    <a:lnTo>
                      <a:pt x="4" y="1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57" name="Freeform 23">
                <a:extLst>
                  <a:ext uri="{FF2B5EF4-FFF2-40B4-BE49-F238E27FC236}">
                    <a16:creationId xmlns:a16="http://schemas.microsoft.com/office/drawing/2014/main" id="{71C2CE1C-316E-422A-9F22-87B79D7857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55" y="1939"/>
                <a:ext cx="23" cy="32"/>
              </a:xfrm>
              <a:custGeom>
                <a:avLst/>
                <a:gdLst>
                  <a:gd name="T0" fmla="*/ 4 w 23"/>
                  <a:gd name="T1" fmla="*/ 4 h 32"/>
                  <a:gd name="T2" fmla="*/ 2 w 23"/>
                  <a:gd name="T3" fmla="*/ 4 h 32"/>
                  <a:gd name="T4" fmla="*/ 0 w 23"/>
                  <a:gd name="T5" fmla="*/ 3 h 32"/>
                  <a:gd name="T6" fmla="*/ 0 w 23"/>
                  <a:gd name="T7" fmla="*/ 0 h 32"/>
                  <a:gd name="T8" fmla="*/ 6 w 23"/>
                  <a:gd name="T9" fmla="*/ 1 h 32"/>
                  <a:gd name="T10" fmla="*/ 8 w 23"/>
                  <a:gd name="T11" fmla="*/ 3 h 32"/>
                  <a:gd name="T12" fmla="*/ 9 w 23"/>
                  <a:gd name="T13" fmla="*/ 7 h 32"/>
                  <a:gd name="T14" fmla="*/ 12 w 23"/>
                  <a:gd name="T15" fmla="*/ 7 h 32"/>
                  <a:gd name="T16" fmla="*/ 15 w 23"/>
                  <a:gd name="T17" fmla="*/ 9 h 32"/>
                  <a:gd name="T18" fmla="*/ 17 w 23"/>
                  <a:gd name="T19" fmla="*/ 15 h 32"/>
                  <a:gd name="T20" fmla="*/ 21 w 23"/>
                  <a:gd name="T21" fmla="*/ 18 h 32"/>
                  <a:gd name="T22" fmla="*/ 15 w 23"/>
                  <a:gd name="T23" fmla="*/ 15 h 32"/>
                  <a:gd name="T24" fmla="*/ 15 w 23"/>
                  <a:gd name="T25" fmla="*/ 17 h 32"/>
                  <a:gd name="T26" fmla="*/ 17 w 23"/>
                  <a:gd name="T27" fmla="*/ 19 h 32"/>
                  <a:gd name="T28" fmla="*/ 21 w 23"/>
                  <a:gd name="T29" fmla="*/ 19 h 32"/>
                  <a:gd name="T30" fmla="*/ 19 w 23"/>
                  <a:gd name="T31" fmla="*/ 22 h 32"/>
                  <a:gd name="T32" fmla="*/ 22 w 23"/>
                  <a:gd name="T33" fmla="*/ 21 h 32"/>
                  <a:gd name="T34" fmla="*/ 22 w 23"/>
                  <a:gd name="T35" fmla="*/ 24 h 32"/>
                  <a:gd name="T36" fmla="*/ 19 w 23"/>
                  <a:gd name="T37" fmla="*/ 26 h 32"/>
                  <a:gd name="T38" fmla="*/ 23 w 23"/>
                  <a:gd name="T39" fmla="*/ 26 h 32"/>
                  <a:gd name="T40" fmla="*/ 23 w 23"/>
                  <a:gd name="T41" fmla="*/ 29 h 32"/>
                  <a:gd name="T42" fmla="*/ 21 w 23"/>
                  <a:gd name="T43" fmla="*/ 32 h 32"/>
                  <a:gd name="T44" fmla="*/ 18 w 23"/>
                  <a:gd name="T45" fmla="*/ 30 h 32"/>
                  <a:gd name="T46" fmla="*/ 17 w 23"/>
                  <a:gd name="T47" fmla="*/ 28 h 32"/>
                  <a:gd name="T48" fmla="*/ 15 w 23"/>
                  <a:gd name="T49" fmla="*/ 26 h 32"/>
                  <a:gd name="T50" fmla="*/ 15 w 23"/>
                  <a:gd name="T51" fmla="*/ 24 h 32"/>
                  <a:gd name="T52" fmla="*/ 13 w 23"/>
                  <a:gd name="T53" fmla="*/ 22 h 32"/>
                  <a:gd name="T54" fmla="*/ 7 w 23"/>
                  <a:gd name="T55" fmla="*/ 19 h 32"/>
                  <a:gd name="T56" fmla="*/ 9 w 23"/>
                  <a:gd name="T57" fmla="*/ 19 h 32"/>
                  <a:gd name="T58" fmla="*/ 7 w 23"/>
                  <a:gd name="T59" fmla="*/ 17 h 32"/>
                  <a:gd name="T60" fmla="*/ 9 w 23"/>
                  <a:gd name="T61" fmla="*/ 13 h 32"/>
                  <a:gd name="T62" fmla="*/ 7 w 23"/>
                  <a:gd name="T63" fmla="*/ 15 h 32"/>
                  <a:gd name="T64" fmla="*/ 4 w 23"/>
                  <a:gd name="T65" fmla="*/ 15 h 32"/>
                  <a:gd name="T66" fmla="*/ 5 w 23"/>
                  <a:gd name="T67" fmla="*/ 12 h 32"/>
                  <a:gd name="T68" fmla="*/ 5 w 23"/>
                  <a:gd name="T69" fmla="*/ 7 h 32"/>
                  <a:gd name="T70" fmla="*/ 4 w 23"/>
                  <a:gd name="T71" fmla="*/ 6 h 32"/>
                  <a:gd name="T72" fmla="*/ 5 w 23"/>
                  <a:gd name="T73" fmla="*/ 4 h 32"/>
                  <a:gd name="T74" fmla="*/ 5 w 23"/>
                  <a:gd name="T75" fmla="*/ 4 h 32"/>
                  <a:gd name="T76" fmla="*/ 4 w 23"/>
                  <a:gd name="T77" fmla="*/ 4 h 32"/>
                  <a:gd name="T78" fmla="*/ 4 w 23"/>
                  <a:gd name="T79" fmla="*/ 4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23" h="32">
                    <a:moveTo>
                      <a:pt x="4" y="4"/>
                    </a:moveTo>
                    <a:lnTo>
                      <a:pt x="2" y="4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6" y="1"/>
                    </a:lnTo>
                    <a:lnTo>
                      <a:pt x="8" y="3"/>
                    </a:lnTo>
                    <a:lnTo>
                      <a:pt x="9" y="7"/>
                    </a:lnTo>
                    <a:lnTo>
                      <a:pt x="12" y="7"/>
                    </a:lnTo>
                    <a:lnTo>
                      <a:pt x="15" y="9"/>
                    </a:lnTo>
                    <a:lnTo>
                      <a:pt x="17" y="15"/>
                    </a:lnTo>
                    <a:lnTo>
                      <a:pt x="21" y="18"/>
                    </a:lnTo>
                    <a:lnTo>
                      <a:pt x="15" y="15"/>
                    </a:lnTo>
                    <a:lnTo>
                      <a:pt x="15" y="17"/>
                    </a:lnTo>
                    <a:lnTo>
                      <a:pt x="17" y="19"/>
                    </a:lnTo>
                    <a:lnTo>
                      <a:pt x="21" y="19"/>
                    </a:lnTo>
                    <a:lnTo>
                      <a:pt x="19" y="22"/>
                    </a:lnTo>
                    <a:lnTo>
                      <a:pt x="22" y="21"/>
                    </a:lnTo>
                    <a:lnTo>
                      <a:pt x="22" y="24"/>
                    </a:lnTo>
                    <a:lnTo>
                      <a:pt x="19" y="26"/>
                    </a:lnTo>
                    <a:lnTo>
                      <a:pt x="23" y="26"/>
                    </a:lnTo>
                    <a:lnTo>
                      <a:pt x="23" y="29"/>
                    </a:lnTo>
                    <a:lnTo>
                      <a:pt x="21" y="32"/>
                    </a:lnTo>
                    <a:lnTo>
                      <a:pt x="18" y="30"/>
                    </a:lnTo>
                    <a:lnTo>
                      <a:pt x="17" y="28"/>
                    </a:lnTo>
                    <a:lnTo>
                      <a:pt x="15" y="26"/>
                    </a:lnTo>
                    <a:lnTo>
                      <a:pt x="15" y="24"/>
                    </a:lnTo>
                    <a:lnTo>
                      <a:pt x="13" y="22"/>
                    </a:lnTo>
                    <a:lnTo>
                      <a:pt x="7" y="19"/>
                    </a:lnTo>
                    <a:lnTo>
                      <a:pt x="9" y="19"/>
                    </a:lnTo>
                    <a:lnTo>
                      <a:pt x="7" y="17"/>
                    </a:lnTo>
                    <a:lnTo>
                      <a:pt x="9" y="13"/>
                    </a:lnTo>
                    <a:lnTo>
                      <a:pt x="7" y="15"/>
                    </a:lnTo>
                    <a:lnTo>
                      <a:pt x="4" y="15"/>
                    </a:lnTo>
                    <a:lnTo>
                      <a:pt x="5" y="12"/>
                    </a:lnTo>
                    <a:lnTo>
                      <a:pt x="5" y="7"/>
                    </a:lnTo>
                    <a:lnTo>
                      <a:pt x="4" y="6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4" y="4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58" name="Freeform 24">
                <a:extLst>
                  <a:ext uri="{FF2B5EF4-FFF2-40B4-BE49-F238E27FC236}">
                    <a16:creationId xmlns:a16="http://schemas.microsoft.com/office/drawing/2014/main" id="{C2DDE26A-A33C-4C80-BD47-4003F72694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54" y="1943"/>
                <a:ext cx="5" cy="5"/>
              </a:xfrm>
              <a:custGeom>
                <a:avLst/>
                <a:gdLst>
                  <a:gd name="T0" fmla="*/ 5 w 5"/>
                  <a:gd name="T1" fmla="*/ 0 h 5"/>
                  <a:gd name="T2" fmla="*/ 5 w 5"/>
                  <a:gd name="T3" fmla="*/ 2 h 5"/>
                  <a:gd name="T4" fmla="*/ 0 w 5"/>
                  <a:gd name="T5" fmla="*/ 5 h 5"/>
                  <a:gd name="T6" fmla="*/ 0 w 5"/>
                  <a:gd name="T7" fmla="*/ 3 h 5"/>
                  <a:gd name="T8" fmla="*/ 2 w 5"/>
                  <a:gd name="T9" fmla="*/ 2 h 5"/>
                  <a:gd name="T10" fmla="*/ 5 w 5"/>
                  <a:gd name="T11" fmla="*/ 0 h 5"/>
                  <a:gd name="T12" fmla="*/ 5 w 5"/>
                  <a:gd name="T13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" h="5">
                    <a:moveTo>
                      <a:pt x="5" y="0"/>
                    </a:moveTo>
                    <a:lnTo>
                      <a:pt x="5" y="2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59" name="Freeform 25">
                <a:extLst>
                  <a:ext uri="{FF2B5EF4-FFF2-40B4-BE49-F238E27FC236}">
                    <a16:creationId xmlns:a16="http://schemas.microsoft.com/office/drawing/2014/main" id="{51484EDF-1464-4163-BC43-EEDBD8C9E1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64" y="1931"/>
                <a:ext cx="5" cy="6"/>
              </a:xfrm>
              <a:custGeom>
                <a:avLst/>
                <a:gdLst>
                  <a:gd name="T0" fmla="*/ 0 w 5"/>
                  <a:gd name="T1" fmla="*/ 0 h 6"/>
                  <a:gd name="T2" fmla="*/ 3 w 5"/>
                  <a:gd name="T3" fmla="*/ 0 h 6"/>
                  <a:gd name="T4" fmla="*/ 5 w 5"/>
                  <a:gd name="T5" fmla="*/ 2 h 6"/>
                  <a:gd name="T6" fmla="*/ 4 w 5"/>
                  <a:gd name="T7" fmla="*/ 6 h 6"/>
                  <a:gd name="T8" fmla="*/ 0 w 5"/>
                  <a:gd name="T9" fmla="*/ 6 h 6"/>
                  <a:gd name="T10" fmla="*/ 0 w 5"/>
                  <a:gd name="T11" fmla="*/ 2 h 6"/>
                  <a:gd name="T12" fmla="*/ 0 w 5"/>
                  <a:gd name="T13" fmla="*/ 0 h 6"/>
                  <a:gd name="T14" fmla="*/ 0 w 5"/>
                  <a:gd name="T1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" h="6">
                    <a:moveTo>
                      <a:pt x="0" y="0"/>
                    </a:moveTo>
                    <a:lnTo>
                      <a:pt x="3" y="0"/>
                    </a:lnTo>
                    <a:lnTo>
                      <a:pt x="5" y="2"/>
                    </a:lnTo>
                    <a:lnTo>
                      <a:pt x="4" y="6"/>
                    </a:lnTo>
                    <a:lnTo>
                      <a:pt x="0" y="6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60" name="Freeform 26">
                <a:extLst>
                  <a:ext uri="{FF2B5EF4-FFF2-40B4-BE49-F238E27FC236}">
                    <a16:creationId xmlns:a16="http://schemas.microsoft.com/office/drawing/2014/main" id="{E5D23695-6669-4D31-A401-1F553A2272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78" y="2002"/>
                <a:ext cx="3" cy="4"/>
              </a:xfrm>
              <a:custGeom>
                <a:avLst/>
                <a:gdLst>
                  <a:gd name="T0" fmla="*/ 0 w 3"/>
                  <a:gd name="T1" fmla="*/ 1 h 4"/>
                  <a:gd name="T2" fmla="*/ 1 w 3"/>
                  <a:gd name="T3" fmla="*/ 1 h 4"/>
                  <a:gd name="T4" fmla="*/ 1 w 3"/>
                  <a:gd name="T5" fmla="*/ 0 h 4"/>
                  <a:gd name="T6" fmla="*/ 3 w 3"/>
                  <a:gd name="T7" fmla="*/ 1 h 4"/>
                  <a:gd name="T8" fmla="*/ 3 w 3"/>
                  <a:gd name="T9" fmla="*/ 4 h 4"/>
                  <a:gd name="T10" fmla="*/ 0 w 3"/>
                  <a:gd name="T11" fmla="*/ 1 h 4"/>
                  <a:gd name="T12" fmla="*/ 0 w 3"/>
                  <a:gd name="T13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4">
                    <a:moveTo>
                      <a:pt x="0" y="1"/>
                    </a:moveTo>
                    <a:lnTo>
                      <a:pt x="1" y="1"/>
                    </a:lnTo>
                    <a:lnTo>
                      <a:pt x="1" y="0"/>
                    </a:lnTo>
                    <a:lnTo>
                      <a:pt x="3" y="1"/>
                    </a:lnTo>
                    <a:lnTo>
                      <a:pt x="3" y="4"/>
                    </a:lnTo>
                    <a:lnTo>
                      <a:pt x="0" y="1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61" name="Rectangle 27">
                <a:extLst>
                  <a:ext uri="{FF2B5EF4-FFF2-40B4-BE49-F238E27FC236}">
                    <a16:creationId xmlns:a16="http://schemas.microsoft.com/office/drawing/2014/main" id="{53227F2E-95AC-488C-8C66-4C8061C08AE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79" y="2002"/>
                <a:ext cx="1" cy="1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62" name="Freeform 28">
                <a:extLst>
                  <a:ext uri="{FF2B5EF4-FFF2-40B4-BE49-F238E27FC236}">
                    <a16:creationId xmlns:a16="http://schemas.microsoft.com/office/drawing/2014/main" id="{5ED9C565-7D1A-4298-842A-509424595A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03" y="1948"/>
                <a:ext cx="1" cy="11"/>
              </a:xfrm>
              <a:custGeom>
                <a:avLst/>
                <a:gdLst>
                  <a:gd name="T0" fmla="*/ 1 w 1"/>
                  <a:gd name="T1" fmla="*/ 0 h 11"/>
                  <a:gd name="T2" fmla="*/ 1 w 1"/>
                  <a:gd name="T3" fmla="*/ 0 h 11"/>
                  <a:gd name="T4" fmla="*/ 0 w 1"/>
                  <a:gd name="T5" fmla="*/ 2 h 11"/>
                  <a:gd name="T6" fmla="*/ 1 w 1"/>
                  <a:gd name="T7" fmla="*/ 11 h 11"/>
                  <a:gd name="T8" fmla="*/ 1 w 1"/>
                  <a:gd name="T9" fmla="*/ 11 h 11"/>
                  <a:gd name="T10" fmla="*/ 1 w 1"/>
                  <a:gd name="T11" fmla="*/ 9 h 11"/>
                  <a:gd name="T12" fmla="*/ 0 w 1"/>
                  <a:gd name="T13" fmla="*/ 6 h 11"/>
                  <a:gd name="T14" fmla="*/ 0 w 1"/>
                  <a:gd name="T15" fmla="*/ 3 h 11"/>
                  <a:gd name="T16" fmla="*/ 1 w 1"/>
                  <a:gd name="T17" fmla="*/ 0 h 11"/>
                  <a:gd name="T18" fmla="*/ 1 w 1"/>
                  <a:gd name="T19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" h="11">
                    <a:moveTo>
                      <a:pt x="1" y="0"/>
                    </a:moveTo>
                    <a:lnTo>
                      <a:pt x="1" y="0"/>
                    </a:lnTo>
                    <a:lnTo>
                      <a:pt x="0" y="2"/>
                    </a:lnTo>
                    <a:lnTo>
                      <a:pt x="1" y="11"/>
                    </a:lnTo>
                    <a:lnTo>
                      <a:pt x="1" y="11"/>
                    </a:lnTo>
                    <a:lnTo>
                      <a:pt x="1" y="9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1" y="0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63" name="Freeform 29">
                <a:extLst>
                  <a:ext uri="{FF2B5EF4-FFF2-40B4-BE49-F238E27FC236}">
                    <a16:creationId xmlns:a16="http://schemas.microsoft.com/office/drawing/2014/main" id="{4E04CC67-B077-4111-8837-71461199B1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05" y="1489"/>
                <a:ext cx="3" cy="0"/>
              </a:xfrm>
              <a:custGeom>
                <a:avLst/>
                <a:gdLst>
                  <a:gd name="T0" fmla="*/ 0 w 3"/>
                  <a:gd name="T1" fmla="*/ 0 w 3"/>
                  <a:gd name="T2" fmla="*/ 3 w 3"/>
                  <a:gd name="T3" fmla="*/ 0 w 3"/>
                  <a:gd name="T4" fmla="*/ 0 w 3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3">
                    <a:moveTo>
                      <a:pt x="0" y="0"/>
                    </a:moveTo>
                    <a:lnTo>
                      <a:pt x="0" y="0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64" name="Freeform 30">
                <a:extLst>
                  <a:ext uri="{FF2B5EF4-FFF2-40B4-BE49-F238E27FC236}">
                    <a16:creationId xmlns:a16="http://schemas.microsoft.com/office/drawing/2014/main" id="{1E2FD237-DEA5-45E9-9DF9-DB05D04EDA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09" y="1427"/>
                <a:ext cx="20" cy="10"/>
              </a:xfrm>
              <a:custGeom>
                <a:avLst/>
                <a:gdLst>
                  <a:gd name="T0" fmla="*/ 10 w 20"/>
                  <a:gd name="T1" fmla="*/ 0 h 10"/>
                  <a:gd name="T2" fmla="*/ 6 w 20"/>
                  <a:gd name="T3" fmla="*/ 1 h 10"/>
                  <a:gd name="T4" fmla="*/ 0 w 20"/>
                  <a:gd name="T5" fmla="*/ 3 h 10"/>
                  <a:gd name="T6" fmla="*/ 2 w 20"/>
                  <a:gd name="T7" fmla="*/ 6 h 10"/>
                  <a:gd name="T8" fmla="*/ 9 w 20"/>
                  <a:gd name="T9" fmla="*/ 10 h 10"/>
                  <a:gd name="T10" fmla="*/ 11 w 20"/>
                  <a:gd name="T11" fmla="*/ 10 h 10"/>
                  <a:gd name="T12" fmla="*/ 17 w 20"/>
                  <a:gd name="T13" fmla="*/ 9 h 10"/>
                  <a:gd name="T14" fmla="*/ 20 w 20"/>
                  <a:gd name="T15" fmla="*/ 7 h 10"/>
                  <a:gd name="T16" fmla="*/ 17 w 20"/>
                  <a:gd name="T17" fmla="*/ 5 h 10"/>
                  <a:gd name="T18" fmla="*/ 15 w 20"/>
                  <a:gd name="T19" fmla="*/ 3 h 10"/>
                  <a:gd name="T20" fmla="*/ 11 w 20"/>
                  <a:gd name="T21" fmla="*/ 2 h 10"/>
                  <a:gd name="T22" fmla="*/ 10 w 20"/>
                  <a:gd name="T23" fmla="*/ 0 h 10"/>
                  <a:gd name="T24" fmla="*/ 10 w 20"/>
                  <a:gd name="T25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0" h="10">
                    <a:moveTo>
                      <a:pt x="10" y="0"/>
                    </a:moveTo>
                    <a:lnTo>
                      <a:pt x="6" y="1"/>
                    </a:lnTo>
                    <a:lnTo>
                      <a:pt x="0" y="3"/>
                    </a:lnTo>
                    <a:lnTo>
                      <a:pt x="2" y="6"/>
                    </a:lnTo>
                    <a:lnTo>
                      <a:pt x="9" y="10"/>
                    </a:lnTo>
                    <a:lnTo>
                      <a:pt x="11" y="10"/>
                    </a:lnTo>
                    <a:lnTo>
                      <a:pt x="17" y="9"/>
                    </a:lnTo>
                    <a:lnTo>
                      <a:pt x="20" y="7"/>
                    </a:lnTo>
                    <a:lnTo>
                      <a:pt x="17" y="5"/>
                    </a:lnTo>
                    <a:lnTo>
                      <a:pt x="15" y="3"/>
                    </a:lnTo>
                    <a:lnTo>
                      <a:pt x="11" y="2"/>
                    </a:lnTo>
                    <a:lnTo>
                      <a:pt x="10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65" name="Freeform 31">
                <a:extLst>
                  <a:ext uri="{FF2B5EF4-FFF2-40B4-BE49-F238E27FC236}">
                    <a16:creationId xmlns:a16="http://schemas.microsoft.com/office/drawing/2014/main" id="{60942DF1-681C-44B7-8C8F-90B668B62B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13" y="1461"/>
                <a:ext cx="17" cy="6"/>
              </a:xfrm>
              <a:custGeom>
                <a:avLst/>
                <a:gdLst>
                  <a:gd name="T0" fmla="*/ 10 w 17"/>
                  <a:gd name="T1" fmla="*/ 6 h 6"/>
                  <a:gd name="T2" fmla="*/ 16 w 17"/>
                  <a:gd name="T3" fmla="*/ 4 h 6"/>
                  <a:gd name="T4" fmla="*/ 17 w 17"/>
                  <a:gd name="T5" fmla="*/ 2 h 6"/>
                  <a:gd name="T6" fmla="*/ 15 w 17"/>
                  <a:gd name="T7" fmla="*/ 1 h 6"/>
                  <a:gd name="T8" fmla="*/ 12 w 17"/>
                  <a:gd name="T9" fmla="*/ 0 h 6"/>
                  <a:gd name="T10" fmla="*/ 10 w 17"/>
                  <a:gd name="T11" fmla="*/ 0 h 6"/>
                  <a:gd name="T12" fmla="*/ 4 w 17"/>
                  <a:gd name="T13" fmla="*/ 1 h 6"/>
                  <a:gd name="T14" fmla="*/ 0 w 17"/>
                  <a:gd name="T15" fmla="*/ 2 h 6"/>
                  <a:gd name="T16" fmla="*/ 2 w 17"/>
                  <a:gd name="T17" fmla="*/ 4 h 6"/>
                  <a:gd name="T18" fmla="*/ 10 w 17"/>
                  <a:gd name="T19" fmla="*/ 6 h 6"/>
                  <a:gd name="T20" fmla="*/ 10 w 17"/>
                  <a:gd name="T21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7" h="6">
                    <a:moveTo>
                      <a:pt x="10" y="6"/>
                    </a:moveTo>
                    <a:lnTo>
                      <a:pt x="16" y="4"/>
                    </a:lnTo>
                    <a:lnTo>
                      <a:pt x="17" y="2"/>
                    </a:lnTo>
                    <a:lnTo>
                      <a:pt x="15" y="1"/>
                    </a:lnTo>
                    <a:lnTo>
                      <a:pt x="12" y="0"/>
                    </a:lnTo>
                    <a:lnTo>
                      <a:pt x="10" y="0"/>
                    </a:lnTo>
                    <a:lnTo>
                      <a:pt x="4" y="1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10" y="6"/>
                    </a:lnTo>
                    <a:lnTo>
                      <a:pt x="10" y="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66" name="Freeform 32">
                <a:extLst>
                  <a:ext uri="{FF2B5EF4-FFF2-40B4-BE49-F238E27FC236}">
                    <a16:creationId xmlns:a16="http://schemas.microsoft.com/office/drawing/2014/main" id="{8C8D218C-67D1-4309-8E49-606ECE51E2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52" y="1468"/>
                <a:ext cx="20" cy="10"/>
              </a:xfrm>
              <a:custGeom>
                <a:avLst/>
                <a:gdLst>
                  <a:gd name="T0" fmla="*/ 6 w 20"/>
                  <a:gd name="T1" fmla="*/ 0 h 10"/>
                  <a:gd name="T2" fmla="*/ 3 w 20"/>
                  <a:gd name="T3" fmla="*/ 0 h 10"/>
                  <a:gd name="T4" fmla="*/ 0 w 20"/>
                  <a:gd name="T5" fmla="*/ 2 h 10"/>
                  <a:gd name="T6" fmla="*/ 1 w 20"/>
                  <a:gd name="T7" fmla="*/ 4 h 10"/>
                  <a:gd name="T8" fmla="*/ 3 w 20"/>
                  <a:gd name="T9" fmla="*/ 7 h 10"/>
                  <a:gd name="T10" fmla="*/ 3 w 20"/>
                  <a:gd name="T11" fmla="*/ 10 h 10"/>
                  <a:gd name="T12" fmla="*/ 9 w 20"/>
                  <a:gd name="T13" fmla="*/ 10 h 10"/>
                  <a:gd name="T14" fmla="*/ 12 w 20"/>
                  <a:gd name="T15" fmla="*/ 10 h 10"/>
                  <a:gd name="T16" fmla="*/ 18 w 20"/>
                  <a:gd name="T17" fmla="*/ 9 h 10"/>
                  <a:gd name="T18" fmla="*/ 20 w 20"/>
                  <a:gd name="T19" fmla="*/ 8 h 10"/>
                  <a:gd name="T20" fmla="*/ 20 w 20"/>
                  <a:gd name="T21" fmla="*/ 5 h 10"/>
                  <a:gd name="T22" fmla="*/ 14 w 20"/>
                  <a:gd name="T23" fmla="*/ 4 h 10"/>
                  <a:gd name="T24" fmla="*/ 12 w 20"/>
                  <a:gd name="T25" fmla="*/ 2 h 10"/>
                  <a:gd name="T26" fmla="*/ 9 w 20"/>
                  <a:gd name="T27" fmla="*/ 0 h 10"/>
                  <a:gd name="T28" fmla="*/ 6 w 20"/>
                  <a:gd name="T29" fmla="*/ 0 h 10"/>
                  <a:gd name="T30" fmla="*/ 6 w 20"/>
                  <a:gd name="T31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0" h="10">
                    <a:moveTo>
                      <a:pt x="6" y="0"/>
                    </a:moveTo>
                    <a:lnTo>
                      <a:pt x="3" y="0"/>
                    </a:lnTo>
                    <a:lnTo>
                      <a:pt x="0" y="2"/>
                    </a:lnTo>
                    <a:lnTo>
                      <a:pt x="1" y="4"/>
                    </a:lnTo>
                    <a:lnTo>
                      <a:pt x="3" y="7"/>
                    </a:lnTo>
                    <a:lnTo>
                      <a:pt x="3" y="10"/>
                    </a:lnTo>
                    <a:lnTo>
                      <a:pt x="9" y="10"/>
                    </a:lnTo>
                    <a:lnTo>
                      <a:pt x="12" y="10"/>
                    </a:lnTo>
                    <a:lnTo>
                      <a:pt x="18" y="9"/>
                    </a:lnTo>
                    <a:lnTo>
                      <a:pt x="20" y="8"/>
                    </a:lnTo>
                    <a:lnTo>
                      <a:pt x="20" y="5"/>
                    </a:lnTo>
                    <a:lnTo>
                      <a:pt x="14" y="4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67" name="Freeform 33">
                <a:extLst>
                  <a:ext uri="{FF2B5EF4-FFF2-40B4-BE49-F238E27FC236}">
                    <a16:creationId xmlns:a16="http://schemas.microsoft.com/office/drawing/2014/main" id="{384BF7A7-81F0-41C4-A6E9-776C8711F7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55" y="1478"/>
                <a:ext cx="25" cy="8"/>
              </a:xfrm>
              <a:custGeom>
                <a:avLst/>
                <a:gdLst>
                  <a:gd name="T0" fmla="*/ 24 w 25"/>
                  <a:gd name="T1" fmla="*/ 0 h 8"/>
                  <a:gd name="T2" fmla="*/ 22 w 25"/>
                  <a:gd name="T3" fmla="*/ 0 h 8"/>
                  <a:gd name="T4" fmla="*/ 18 w 25"/>
                  <a:gd name="T5" fmla="*/ 0 h 8"/>
                  <a:gd name="T6" fmla="*/ 2 w 25"/>
                  <a:gd name="T7" fmla="*/ 2 h 8"/>
                  <a:gd name="T8" fmla="*/ 0 w 25"/>
                  <a:gd name="T9" fmla="*/ 3 h 8"/>
                  <a:gd name="T10" fmla="*/ 0 w 25"/>
                  <a:gd name="T11" fmla="*/ 7 h 8"/>
                  <a:gd name="T12" fmla="*/ 8 w 25"/>
                  <a:gd name="T13" fmla="*/ 8 h 8"/>
                  <a:gd name="T14" fmla="*/ 15 w 25"/>
                  <a:gd name="T15" fmla="*/ 8 h 8"/>
                  <a:gd name="T16" fmla="*/ 19 w 25"/>
                  <a:gd name="T17" fmla="*/ 7 h 8"/>
                  <a:gd name="T18" fmla="*/ 23 w 25"/>
                  <a:gd name="T19" fmla="*/ 6 h 8"/>
                  <a:gd name="T20" fmla="*/ 25 w 25"/>
                  <a:gd name="T21" fmla="*/ 3 h 8"/>
                  <a:gd name="T22" fmla="*/ 24 w 25"/>
                  <a:gd name="T23" fmla="*/ 0 h 8"/>
                  <a:gd name="T24" fmla="*/ 24 w 25"/>
                  <a:gd name="T25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8">
                    <a:moveTo>
                      <a:pt x="24" y="0"/>
                    </a:moveTo>
                    <a:lnTo>
                      <a:pt x="22" y="0"/>
                    </a:lnTo>
                    <a:lnTo>
                      <a:pt x="18" y="0"/>
                    </a:lnTo>
                    <a:lnTo>
                      <a:pt x="2" y="2"/>
                    </a:lnTo>
                    <a:lnTo>
                      <a:pt x="0" y="3"/>
                    </a:lnTo>
                    <a:lnTo>
                      <a:pt x="0" y="7"/>
                    </a:lnTo>
                    <a:lnTo>
                      <a:pt x="8" y="8"/>
                    </a:lnTo>
                    <a:lnTo>
                      <a:pt x="15" y="8"/>
                    </a:lnTo>
                    <a:lnTo>
                      <a:pt x="19" y="7"/>
                    </a:lnTo>
                    <a:lnTo>
                      <a:pt x="23" y="6"/>
                    </a:lnTo>
                    <a:lnTo>
                      <a:pt x="25" y="3"/>
                    </a:lnTo>
                    <a:lnTo>
                      <a:pt x="24" y="0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68" name="Freeform 34">
                <a:extLst>
                  <a:ext uri="{FF2B5EF4-FFF2-40B4-BE49-F238E27FC236}">
                    <a16:creationId xmlns:a16="http://schemas.microsoft.com/office/drawing/2014/main" id="{AC7FFD82-E701-46DC-B52C-C43AFC7F11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63" y="1485"/>
                <a:ext cx="20" cy="4"/>
              </a:xfrm>
              <a:custGeom>
                <a:avLst/>
                <a:gdLst>
                  <a:gd name="T0" fmla="*/ 20 w 20"/>
                  <a:gd name="T1" fmla="*/ 0 h 4"/>
                  <a:gd name="T2" fmla="*/ 15 w 20"/>
                  <a:gd name="T3" fmla="*/ 0 h 4"/>
                  <a:gd name="T4" fmla="*/ 7 w 20"/>
                  <a:gd name="T5" fmla="*/ 1 h 4"/>
                  <a:gd name="T6" fmla="*/ 3 w 20"/>
                  <a:gd name="T7" fmla="*/ 2 h 4"/>
                  <a:gd name="T8" fmla="*/ 0 w 20"/>
                  <a:gd name="T9" fmla="*/ 4 h 4"/>
                  <a:gd name="T10" fmla="*/ 6 w 20"/>
                  <a:gd name="T11" fmla="*/ 4 h 4"/>
                  <a:gd name="T12" fmla="*/ 15 w 20"/>
                  <a:gd name="T13" fmla="*/ 3 h 4"/>
                  <a:gd name="T14" fmla="*/ 17 w 20"/>
                  <a:gd name="T15" fmla="*/ 2 h 4"/>
                  <a:gd name="T16" fmla="*/ 20 w 20"/>
                  <a:gd name="T17" fmla="*/ 0 h 4"/>
                  <a:gd name="T18" fmla="*/ 20 w 20"/>
                  <a:gd name="T1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0" h="4">
                    <a:moveTo>
                      <a:pt x="20" y="0"/>
                    </a:moveTo>
                    <a:lnTo>
                      <a:pt x="15" y="0"/>
                    </a:lnTo>
                    <a:lnTo>
                      <a:pt x="7" y="1"/>
                    </a:lnTo>
                    <a:lnTo>
                      <a:pt x="3" y="2"/>
                    </a:lnTo>
                    <a:lnTo>
                      <a:pt x="0" y="4"/>
                    </a:lnTo>
                    <a:lnTo>
                      <a:pt x="6" y="4"/>
                    </a:lnTo>
                    <a:lnTo>
                      <a:pt x="15" y="3"/>
                    </a:lnTo>
                    <a:lnTo>
                      <a:pt x="17" y="2"/>
                    </a:lnTo>
                    <a:lnTo>
                      <a:pt x="20" y="0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69" name="Freeform 35">
                <a:extLst>
                  <a:ext uri="{FF2B5EF4-FFF2-40B4-BE49-F238E27FC236}">
                    <a16:creationId xmlns:a16="http://schemas.microsoft.com/office/drawing/2014/main" id="{14F03BA5-0CBD-4DB9-AB17-C1E3877977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03" y="1497"/>
                <a:ext cx="9" cy="2"/>
              </a:xfrm>
              <a:custGeom>
                <a:avLst/>
                <a:gdLst>
                  <a:gd name="T0" fmla="*/ 5 w 9"/>
                  <a:gd name="T1" fmla="*/ 2 h 2"/>
                  <a:gd name="T2" fmla="*/ 9 w 9"/>
                  <a:gd name="T3" fmla="*/ 0 h 2"/>
                  <a:gd name="T4" fmla="*/ 3 w 9"/>
                  <a:gd name="T5" fmla="*/ 1 h 2"/>
                  <a:gd name="T6" fmla="*/ 0 w 9"/>
                  <a:gd name="T7" fmla="*/ 2 h 2"/>
                  <a:gd name="T8" fmla="*/ 3 w 9"/>
                  <a:gd name="T9" fmla="*/ 1 h 2"/>
                  <a:gd name="T10" fmla="*/ 5 w 9"/>
                  <a:gd name="T11" fmla="*/ 2 h 2"/>
                  <a:gd name="T12" fmla="*/ 5 w 9"/>
                  <a:gd name="T13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" h="2">
                    <a:moveTo>
                      <a:pt x="5" y="2"/>
                    </a:moveTo>
                    <a:lnTo>
                      <a:pt x="9" y="0"/>
                    </a:lnTo>
                    <a:lnTo>
                      <a:pt x="3" y="1"/>
                    </a:lnTo>
                    <a:lnTo>
                      <a:pt x="0" y="2"/>
                    </a:lnTo>
                    <a:lnTo>
                      <a:pt x="3" y="1"/>
                    </a:lnTo>
                    <a:lnTo>
                      <a:pt x="5" y="2"/>
                    </a:lnTo>
                    <a:lnTo>
                      <a:pt x="5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70" name="Freeform 36">
                <a:extLst>
                  <a:ext uri="{FF2B5EF4-FFF2-40B4-BE49-F238E27FC236}">
                    <a16:creationId xmlns:a16="http://schemas.microsoft.com/office/drawing/2014/main" id="{CB33B236-C9FD-4678-AB0F-B58C0E5790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4" y="1537"/>
                <a:ext cx="74" cy="56"/>
              </a:xfrm>
              <a:custGeom>
                <a:avLst/>
                <a:gdLst>
                  <a:gd name="T0" fmla="*/ 41 w 74"/>
                  <a:gd name="T1" fmla="*/ 2 h 56"/>
                  <a:gd name="T2" fmla="*/ 39 w 74"/>
                  <a:gd name="T3" fmla="*/ 1 h 56"/>
                  <a:gd name="T4" fmla="*/ 33 w 74"/>
                  <a:gd name="T5" fmla="*/ 0 h 56"/>
                  <a:gd name="T6" fmla="*/ 29 w 74"/>
                  <a:gd name="T7" fmla="*/ 0 h 56"/>
                  <a:gd name="T8" fmla="*/ 26 w 74"/>
                  <a:gd name="T9" fmla="*/ 1 h 56"/>
                  <a:gd name="T10" fmla="*/ 22 w 74"/>
                  <a:gd name="T11" fmla="*/ 1 h 56"/>
                  <a:gd name="T12" fmla="*/ 12 w 74"/>
                  <a:gd name="T13" fmla="*/ 2 h 56"/>
                  <a:gd name="T14" fmla="*/ 10 w 74"/>
                  <a:gd name="T15" fmla="*/ 3 h 56"/>
                  <a:gd name="T16" fmla="*/ 7 w 74"/>
                  <a:gd name="T17" fmla="*/ 4 h 56"/>
                  <a:gd name="T18" fmla="*/ 6 w 74"/>
                  <a:gd name="T19" fmla="*/ 7 h 56"/>
                  <a:gd name="T20" fmla="*/ 10 w 74"/>
                  <a:gd name="T21" fmla="*/ 12 h 56"/>
                  <a:gd name="T22" fmla="*/ 14 w 74"/>
                  <a:gd name="T23" fmla="*/ 13 h 56"/>
                  <a:gd name="T24" fmla="*/ 10 w 74"/>
                  <a:gd name="T25" fmla="*/ 13 h 56"/>
                  <a:gd name="T26" fmla="*/ 5 w 74"/>
                  <a:gd name="T27" fmla="*/ 11 h 56"/>
                  <a:gd name="T28" fmla="*/ 2 w 74"/>
                  <a:gd name="T29" fmla="*/ 11 h 56"/>
                  <a:gd name="T30" fmla="*/ 0 w 74"/>
                  <a:gd name="T31" fmla="*/ 13 h 56"/>
                  <a:gd name="T32" fmla="*/ 1 w 74"/>
                  <a:gd name="T33" fmla="*/ 17 h 56"/>
                  <a:gd name="T34" fmla="*/ 0 w 74"/>
                  <a:gd name="T35" fmla="*/ 19 h 56"/>
                  <a:gd name="T36" fmla="*/ 1 w 74"/>
                  <a:gd name="T37" fmla="*/ 25 h 56"/>
                  <a:gd name="T38" fmla="*/ 0 w 74"/>
                  <a:gd name="T39" fmla="*/ 30 h 56"/>
                  <a:gd name="T40" fmla="*/ 0 w 74"/>
                  <a:gd name="T41" fmla="*/ 36 h 56"/>
                  <a:gd name="T42" fmla="*/ 1 w 74"/>
                  <a:gd name="T43" fmla="*/ 38 h 56"/>
                  <a:gd name="T44" fmla="*/ 5 w 74"/>
                  <a:gd name="T45" fmla="*/ 39 h 56"/>
                  <a:gd name="T46" fmla="*/ 6 w 74"/>
                  <a:gd name="T47" fmla="*/ 43 h 56"/>
                  <a:gd name="T48" fmla="*/ 8 w 74"/>
                  <a:gd name="T49" fmla="*/ 45 h 56"/>
                  <a:gd name="T50" fmla="*/ 7 w 74"/>
                  <a:gd name="T51" fmla="*/ 51 h 56"/>
                  <a:gd name="T52" fmla="*/ 10 w 74"/>
                  <a:gd name="T53" fmla="*/ 53 h 56"/>
                  <a:gd name="T54" fmla="*/ 12 w 74"/>
                  <a:gd name="T55" fmla="*/ 53 h 56"/>
                  <a:gd name="T56" fmla="*/ 7 w 74"/>
                  <a:gd name="T57" fmla="*/ 54 h 56"/>
                  <a:gd name="T58" fmla="*/ 7 w 74"/>
                  <a:gd name="T59" fmla="*/ 56 h 56"/>
                  <a:gd name="T60" fmla="*/ 10 w 74"/>
                  <a:gd name="T61" fmla="*/ 56 h 56"/>
                  <a:gd name="T62" fmla="*/ 18 w 74"/>
                  <a:gd name="T63" fmla="*/ 56 h 56"/>
                  <a:gd name="T64" fmla="*/ 20 w 74"/>
                  <a:gd name="T65" fmla="*/ 56 h 56"/>
                  <a:gd name="T66" fmla="*/ 26 w 74"/>
                  <a:gd name="T67" fmla="*/ 49 h 56"/>
                  <a:gd name="T68" fmla="*/ 29 w 74"/>
                  <a:gd name="T69" fmla="*/ 46 h 56"/>
                  <a:gd name="T70" fmla="*/ 31 w 74"/>
                  <a:gd name="T71" fmla="*/ 44 h 56"/>
                  <a:gd name="T72" fmla="*/ 26 w 74"/>
                  <a:gd name="T73" fmla="*/ 38 h 56"/>
                  <a:gd name="T74" fmla="*/ 20 w 74"/>
                  <a:gd name="T75" fmla="*/ 38 h 56"/>
                  <a:gd name="T76" fmla="*/ 24 w 74"/>
                  <a:gd name="T77" fmla="*/ 37 h 56"/>
                  <a:gd name="T78" fmla="*/ 32 w 74"/>
                  <a:gd name="T79" fmla="*/ 36 h 56"/>
                  <a:gd name="T80" fmla="*/ 45 w 74"/>
                  <a:gd name="T81" fmla="*/ 38 h 56"/>
                  <a:gd name="T82" fmla="*/ 49 w 74"/>
                  <a:gd name="T83" fmla="*/ 38 h 56"/>
                  <a:gd name="T84" fmla="*/ 51 w 74"/>
                  <a:gd name="T85" fmla="*/ 36 h 56"/>
                  <a:gd name="T86" fmla="*/ 54 w 74"/>
                  <a:gd name="T87" fmla="*/ 33 h 56"/>
                  <a:gd name="T88" fmla="*/ 58 w 74"/>
                  <a:gd name="T89" fmla="*/ 27 h 56"/>
                  <a:gd name="T90" fmla="*/ 57 w 74"/>
                  <a:gd name="T91" fmla="*/ 25 h 56"/>
                  <a:gd name="T92" fmla="*/ 60 w 74"/>
                  <a:gd name="T93" fmla="*/ 25 h 56"/>
                  <a:gd name="T94" fmla="*/ 62 w 74"/>
                  <a:gd name="T95" fmla="*/ 21 h 56"/>
                  <a:gd name="T96" fmla="*/ 70 w 74"/>
                  <a:gd name="T97" fmla="*/ 13 h 56"/>
                  <a:gd name="T98" fmla="*/ 73 w 74"/>
                  <a:gd name="T99" fmla="*/ 11 h 56"/>
                  <a:gd name="T100" fmla="*/ 74 w 74"/>
                  <a:gd name="T101" fmla="*/ 8 h 56"/>
                  <a:gd name="T102" fmla="*/ 70 w 74"/>
                  <a:gd name="T103" fmla="*/ 5 h 56"/>
                  <a:gd name="T104" fmla="*/ 68 w 74"/>
                  <a:gd name="T105" fmla="*/ 5 h 56"/>
                  <a:gd name="T106" fmla="*/ 57 w 74"/>
                  <a:gd name="T107" fmla="*/ 3 h 56"/>
                  <a:gd name="T108" fmla="*/ 51 w 74"/>
                  <a:gd name="T109" fmla="*/ 4 h 56"/>
                  <a:gd name="T110" fmla="*/ 49 w 74"/>
                  <a:gd name="T111" fmla="*/ 5 h 56"/>
                  <a:gd name="T112" fmla="*/ 45 w 74"/>
                  <a:gd name="T113" fmla="*/ 3 h 56"/>
                  <a:gd name="T114" fmla="*/ 43 w 74"/>
                  <a:gd name="T115" fmla="*/ 2 h 56"/>
                  <a:gd name="T116" fmla="*/ 41 w 74"/>
                  <a:gd name="T117" fmla="*/ 2 h 56"/>
                  <a:gd name="T118" fmla="*/ 41 w 74"/>
                  <a:gd name="T119" fmla="*/ 2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4" h="56">
                    <a:moveTo>
                      <a:pt x="41" y="2"/>
                    </a:moveTo>
                    <a:lnTo>
                      <a:pt x="39" y="1"/>
                    </a:lnTo>
                    <a:lnTo>
                      <a:pt x="33" y="0"/>
                    </a:lnTo>
                    <a:lnTo>
                      <a:pt x="29" y="0"/>
                    </a:lnTo>
                    <a:lnTo>
                      <a:pt x="26" y="1"/>
                    </a:lnTo>
                    <a:lnTo>
                      <a:pt x="22" y="1"/>
                    </a:lnTo>
                    <a:lnTo>
                      <a:pt x="12" y="2"/>
                    </a:lnTo>
                    <a:lnTo>
                      <a:pt x="10" y="3"/>
                    </a:lnTo>
                    <a:lnTo>
                      <a:pt x="7" y="4"/>
                    </a:lnTo>
                    <a:lnTo>
                      <a:pt x="6" y="7"/>
                    </a:lnTo>
                    <a:lnTo>
                      <a:pt x="10" y="12"/>
                    </a:lnTo>
                    <a:lnTo>
                      <a:pt x="14" y="13"/>
                    </a:lnTo>
                    <a:lnTo>
                      <a:pt x="10" y="13"/>
                    </a:lnTo>
                    <a:lnTo>
                      <a:pt x="5" y="11"/>
                    </a:lnTo>
                    <a:lnTo>
                      <a:pt x="2" y="11"/>
                    </a:lnTo>
                    <a:lnTo>
                      <a:pt x="0" y="13"/>
                    </a:lnTo>
                    <a:lnTo>
                      <a:pt x="1" y="17"/>
                    </a:lnTo>
                    <a:lnTo>
                      <a:pt x="0" y="19"/>
                    </a:lnTo>
                    <a:lnTo>
                      <a:pt x="1" y="25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1" y="38"/>
                    </a:lnTo>
                    <a:lnTo>
                      <a:pt x="5" y="39"/>
                    </a:lnTo>
                    <a:lnTo>
                      <a:pt x="6" y="43"/>
                    </a:lnTo>
                    <a:lnTo>
                      <a:pt x="8" y="45"/>
                    </a:lnTo>
                    <a:lnTo>
                      <a:pt x="7" y="51"/>
                    </a:lnTo>
                    <a:lnTo>
                      <a:pt x="10" y="53"/>
                    </a:lnTo>
                    <a:lnTo>
                      <a:pt x="12" y="53"/>
                    </a:lnTo>
                    <a:lnTo>
                      <a:pt x="7" y="54"/>
                    </a:lnTo>
                    <a:lnTo>
                      <a:pt x="7" y="56"/>
                    </a:lnTo>
                    <a:lnTo>
                      <a:pt x="10" y="56"/>
                    </a:lnTo>
                    <a:lnTo>
                      <a:pt x="18" y="56"/>
                    </a:lnTo>
                    <a:lnTo>
                      <a:pt x="20" y="56"/>
                    </a:lnTo>
                    <a:lnTo>
                      <a:pt x="26" y="49"/>
                    </a:lnTo>
                    <a:lnTo>
                      <a:pt x="29" y="46"/>
                    </a:lnTo>
                    <a:lnTo>
                      <a:pt x="31" y="44"/>
                    </a:lnTo>
                    <a:lnTo>
                      <a:pt x="26" y="38"/>
                    </a:lnTo>
                    <a:lnTo>
                      <a:pt x="20" y="38"/>
                    </a:lnTo>
                    <a:lnTo>
                      <a:pt x="24" y="37"/>
                    </a:lnTo>
                    <a:lnTo>
                      <a:pt x="32" y="36"/>
                    </a:lnTo>
                    <a:lnTo>
                      <a:pt x="45" y="38"/>
                    </a:lnTo>
                    <a:lnTo>
                      <a:pt x="49" y="38"/>
                    </a:lnTo>
                    <a:lnTo>
                      <a:pt x="51" y="36"/>
                    </a:lnTo>
                    <a:lnTo>
                      <a:pt x="54" y="33"/>
                    </a:lnTo>
                    <a:lnTo>
                      <a:pt x="58" y="27"/>
                    </a:lnTo>
                    <a:lnTo>
                      <a:pt x="57" y="25"/>
                    </a:lnTo>
                    <a:lnTo>
                      <a:pt x="60" y="25"/>
                    </a:lnTo>
                    <a:lnTo>
                      <a:pt x="62" y="21"/>
                    </a:lnTo>
                    <a:lnTo>
                      <a:pt x="70" y="13"/>
                    </a:lnTo>
                    <a:lnTo>
                      <a:pt x="73" y="11"/>
                    </a:lnTo>
                    <a:lnTo>
                      <a:pt x="74" y="8"/>
                    </a:lnTo>
                    <a:lnTo>
                      <a:pt x="70" y="5"/>
                    </a:lnTo>
                    <a:lnTo>
                      <a:pt x="68" y="5"/>
                    </a:lnTo>
                    <a:lnTo>
                      <a:pt x="57" y="3"/>
                    </a:lnTo>
                    <a:lnTo>
                      <a:pt x="51" y="4"/>
                    </a:lnTo>
                    <a:lnTo>
                      <a:pt x="49" y="5"/>
                    </a:lnTo>
                    <a:lnTo>
                      <a:pt x="45" y="3"/>
                    </a:lnTo>
                    <a:lnTo>
                      <a:pt x="43" y="2"/>
                    </a:lnTo>
                    <a:lnTo>
                      <a:pt x="41" y="2"/>
                    </a:lnTo>
                    <a:lnTo>
                      <a:pt x="41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71" name="Freeform 37">
                <a:extLst>
                  <a:ext uri="{FF2B5EF4-FFF2-40B4-BE49-F238E27FC236}">
                    <a16:creationId xmlns:a16="http://schemas.microsoft.com/office/drawing/2014/main" id="{F8698516-F50F-4015-AFBA-7C8E605717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36" y="1439"/>
                <a:ext cx="21" cy="13"/>
              </a:xfrm>
              <a:custGeom>
                <a:avLst/>
                <a:gdLst>
                  <a:gd name="T0" fmla="*/ 16 w 21"/>
                  <a:gd name="T1" fmla="*/ 3 h 13"/>
                  <a:gd name="T2" fmla="*/ 11 w 21"/>
                  <a:gd name="T3" fmla="*/ 0 h 13"/>
                  <a:gd name="T4" fmla="*/ 7 w 21"/>
                  <a:gd name="T5" fmla="*/ 0 h 13"/>
                  <a:gd name="T6" fmla="*/ 5 w 21"/>
                  <a:gd name="T7" fmla="*/ 0 h 13"/>
                  <a:gd name="T8" fmla="*/ 3 w 21"/>
                  <a:gd name="T9" fmla="*/ 0 h 13"/>
                  <a:gd name="T10" fmla="*/ 0 w 21"/>
                  <a:gd name="T11" fmla="*/ 4 h 13"/>
                  <a:gd name="T12" fmla="*/ 0 w 21"/>
                  <a:gd name="T13" fmla="*/ 6 h 13"/>
                  <a:gd name="T14" fmla="*/ 1 w 21"/>
                  <a:gd name="T15" fmla="*/ 10 h 13"/>
                  <a:gd name="T16" fmla="*/ 5 w 21"/>
                  <a:gd name="T17" fmla="*/ 11 h 13"/>
                  <a:gd name="T18" fmla="*/ 13 w 21"/>
                  <a:gd name="T19" fmla="*/ 13 h 13"/>
                  <a:gd name="T20" fmla="*/ 16 w 21"/>
                  <a:gd name="T21" fmla="*/ 13 h 13"/>
                  <a:gd name="T22" fmla="*/ 18 w 21"/>
                  <a:gd name="T23" fmla="*/ 12 h 13"/>
                  <a:gd name="T24" fmla="*/ 21 w 21"/>
                  <a:gd name="T25" fmla="*/ 8 h 13"/>
                  <a:gd name="T26" fmla="*/ 21 w 21"/>
                  <a:gd name="T27" fmla="*/ 6 h 13"/>
                  <a:gd name="T28" fmla="*/ 16 w 21"/>
                  <a:gd name="T29" fmla="*/ 3 h 13"/>
                  <a:gd name="T30" fmla="*/ 16 w 21"/>
                  <a:gd name="T31" fmla="*/ 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1" h="13">
                    <a:moveTo>
                      <a:pt x="16" y="3"/>
                    </a:moveTo>
                    <a:lnTo>
                      <a:pt x="11" y="0"/>
                    </a:lnTo>
                    <a:lnTo>
                      <a:pt x="7" y="0"/>
                    </a:lnTo>
                    <a:lnTo>
                      <a:pt x="5" y="0"/>
                    </a:lnTo>
                    <a:lnTo>
                      <a:pt x="3" y="0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1" y="10"/>
                    </a:lnTo>
                    <a:lnTo>
                      <a:pt x="5" y="11"/>
                    </a:lnTo>
                    <a:lnTo>
                      <a:pt x="13" y="13"/>
                    </a:lnTo>
                    <a:lnTo>
                      <a:pt x="16" y="13"/>
                    </a:lnTo>
                    <a:lnTo>
                      <a:pt x="18" y="12"/>
                    </a:lnTo>
                    <a:lnTo>
                      <a:pt x="21" y="8"/>
                    </a:lnTo>
                    <a:lnTo>
                      <a:pt x="21" y="6"/>
                    </a:lnTo>
                    <a:lnTo>
                      <a:pt x="16" y="3"/>
                    </a:lnTo>
                    <a:lnTo>
                      <a:pt x="16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72" name="Freeform 38">
                <a:extLst>
                  <a:ext uri="{FF2B5EF4-FFF2-40B4-BE49-F238E27FC236}">
                    <a16:creationId xmlns:a16="http://schemas.microsoft.com/office/drawing/2014/main" id="{13894A76-2F95-4467-9E87-85E452A22D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44" y="1463"/>
                <a:ext cx="13" cy="10"/>
              </a:xfrm>
              <a:custGeom>
                <a:avLst/>
                <a:gdLst>
                  <a:gd name="T0" fmla="*/ 8 w 13"/>
                  <a:gd name="T1" fmla="*/ 10 h 10"/>
                  <a:gd name="T2" fmla="*/ 9 w 13"/>
                  <a:gd name="T3" fmla="*/ 9 h 10"/>
                  <a:gd name="T4" fmla="*/ 13 w 13"/>
                  <a:gd name="T5" fmla="*/ 9 h 10"/>
                  <a:gd name="T6" fmla="*/ 10 w 13"/>
                  <a:gd name="T7" fmla="*/ 7 h 10"/>
                  <a:gd name="T8" fmla="*/ 13 w 13"/>
                  <a:gd name="T9" fmla="*/ 4 h 10"/>
                  <a:gd name="T10" fmla="*/ 12 w 13"/>
                  <a:gd name="T11" fmla="*/ 1 h 10"/>
                  <a:gd name="T12" fmla="*/ 8 w 13"/>
                  <a:gd name="T13" fmla="*/ 0 h 10"/>
                  <a:gd name="T14" fmla="*/ 3 w 13"/>
                  <a:gd name="T15" fmla="*/ 0 h 10"/>
                  <a:gd name="T16" fmla="*/ 0 w 13"/>
                  <a:gd name="T17" fmla="*/ 4 h 10"/>
                  <a:gd name="T18" fmla="*/ 6 w 13"/>
                  <a:gd name="T19" fmla="*/ 9 h 10"/>
                  <a:gd name="T20" fmla="*/ 8 w 13"/>
                  <a:gd name="T21" fmla="*/ 10 h 10"/>
                  <a:gd name="T22" fmla="*/ 8 w 13"/>
                  <a:gd name="T23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3" h="10">
                    <a:moveTo>
                      <a:pt x="8" y="10"/>
                    </a:moveTo>
                    <a:lnTo>
                      <a:pt x="9" y="9"/>
                    </a:lnTo>
                    <a:lnTo>
                      <a:pt x="13" y="9"/>
                    </a:lnTo>
                    <a:lnTo>
                      <a:pt x="10" y="7"/>
                    </a:lnTo>
                    <a:lnTo>
                      <a:pt x="13" y="4"/>
                    </a:lnTo>
                    <a:lnTo>
                      <a:pt x="12" y="1"/>
                    </a:lnTo>
                    <a:lnTo>
                      <a:pt x="8" y="0"/>
                    </a:lnTo>
                    <a:lnTo>
                      <a:pt x="3" y="0"/>
                    </a:lnTo>
                    <a:lnTo>
                      <a:pt x="0" y="4"/>
                    </a:lnTo>
                    <a:lnTo>
                      <a:pt x="6" y="9"/>
                    </a:lnTo>
                    <a:lnTo>
                      <a:pt x="8" y="10"/>
                    </a:lnTo>
                    <a:lnTo>
                      <a:pt x="8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73" name="Freeform 39">
                <a:extLst>
                  <a:ext uri="{FF2B5EF4-FFF2-40B4-BE49-F238E27FC236}">
                    <a16:creationId xmlns:a16="http://schemas.microsoft.com/office/drawing/2014/main" id="{2A1F235F-30D2-4263-9123-30DC6C3568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03" y="1398"/>
                <a:ext cx="14" cy="4"/>
              </a:xfrm>
              <a:custGeom>
                <a:avLst/>
                <a:gdLst>
                  <a:gd name="T0" fmla="*/ 5 w 14"/>
                  <a:gd name="T1" fmla="*/ 0 h 4"/>
                  <a:gd name="T2" fmla="*/ 0 w 14"/>
                  <a:gd name="T3" fmla="*/ 2 h 4"/>
                  <a:gd name="T4" fmla="*/ 0 w 14"/>
                  <a:gd name="T5" fmla="*/ 4 h 4"/>
                  <a:gd name="T6" fmla="*/ 11 w 14"/>
                  <a:gd name="T7" fmla="*/ 2 h 4"/>
                  <a:gd name="T8" fmla="*/ 14 w 14"/>
                  <a:gd name="T9" fmla="*/ 0 h 4"/>
                  <a:gd name="T10" fmla="*/ 8 w 14"/>
                  <a:gd name="T11" fmla="*/ 0 h 4"/>
                  <a:gd name="T12" fmla="*/ 5 w 14"/>
                  <a:gd name="T13" fmla="*/ 0 h 4"/>
                  <a:gd name="T14" fmla="*/ 5 w 14"/>
                  <a:gd name="T15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" h="4">
                    <a:moveTo>
                      <a:pt x="5" y="0"/>
                    </a:moveTo>
                    <a:lnTo>
                      <a:pt x="0" y="2"/>
                    </a:lnTo>
                    <a:lnTo>
                      <a:pt x="0" y="4"/>
                    </a:lnTo>
                    <a:lnTo>
                      <a:pt x="11" y="2"/>
                    </a:lnTo>
                    <a:lnTo>
                      <a:pt x="14" y="0"/>
                    </a:lnTo>
                    <a:lnTo>
                      <a:pt x="8" y="0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74" name="Freeform 40">
                <a:extLst>
                  <a:ext uri="{FF2B5EF4-FFF2-40B4-BE49-F238E27FC236}">
                    <a16:creationId xmlns:a16="http://schemas.microsoft.com/office/drawing/2014/main" id="{3A73ED96-723F-43F7-A967-B6335B2F12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78" y="1542"/>
                <a:ext cx="87" cy="70"/>
              </a:xfrm>
              <a:custGeom>
                <a:avLst/>
                <a:gdLst>
                  <a:gd name="T0" fmla="*/ 87 w 87"/>
                  <a:gd name="T1" fmla="*/ 41 h 70"/>
                  <a:gd name="T2" fmla="*/ 85 w 87"/>
                  <a:gd name="T3" fmla="*/ 33 h 70"/>
                  <a:gd name="T4" fmla="*/ 78 w 87"/>
                  <a:gd name="T5" fmla="*/ 33 h 70"/>
                  <a:gd name="T6" fmla="*/ 74 w 87"/>
                  <a:gd name="T7" fmla="*/ 27 h 70"/>
                  <a:gd name="T8" fmla="*/ 63 w 87"/>
                  <a:gd name="T9" fmla="*/ 25 h 70"/>
                  <a:gd name="T10" fmla="*/ 59 w 87"/>
                  <a:gd name="T11" fmla="*/ 27 h 70"/>
                  <a:gd name="T12" fmla="*/ 74 w 87"/>
                  <a:gd name="T13" fmla="*/ 16 h 70"/>
                  <a:gd name="T14" fmla="*/ 72 w 87"/>
                  <a:gd name="T15" fmla="*/ 11 h 70"/>
                  <a:gd name="T16" fmla="*/ 79 w 87"/>
                  <a:gd name="T17" fmla="*/ 7 h 70"/>
                  <a:gd name="T18" fmla="*/ 65 w 87"/>
                  <a:gd name="T19" fmla="*/ 4 h 70"/>
                  <a:gd name="T20" fmla="*/ 54 w 87"/>
                  <a:gd name="T21" fmla="*/ 6 h 70"/>
                  <a:gd name="T22" fmla="*/ 46 w 87"/>
                  <a:gd name="T23" fmla="*/ 5 h 70"/>
                  <a:gd name="T24" fmla="*/ 37 w 87"/>
                  <a:gd name="T25" fmla="*/ 0 h 70"/>
                  <a:gd name="T26" fmla="*/ 37 w 87"/>
                  <a:gd name="T27" fmla="*/ 5 h 70"/>
                  <a:gd name="T28" fmla="*/ 29 w 87"/>
                  <a:gd name="T29" fmla="*/ 4 h 70"/>
                  <a:gd name="T30" fmla="*/ 22 w 87"/>
                  <a:gd name="T31" fmla="*/ 7 h 70"/>
                  <a:gd name="T32" fmla="*/ 29 w 87"/>
                  <a:gd name="T33" fmla="*/ 13 h 70"/>
                  <a:gd name="T34" fmla="*/ 26 w 87"/>
                  <a:gd name="T35" fmla="*/ 12 h 70"/>
                  <a:gd name="T36" fmla="*/ 18 w 87"/>
                  <a:gd name="T37" fmla="*/ 12 h 70"/>
                  <a:gd name="T38" fmla="*/ 24 w 87"/>
                  <a:gd name="T39" fmla="*/ 19 h 70"/>
                  <a:gd name="T40" fmla="*/ 35 w 87"/>
                  <a:gd name="T41" fmla="*/ 17 h 70"/>
                  <a:gd name="T42" fmla="*/ 37 w 87"/>
                  <a:gd name="T43" fmla="*/ 21 h 70"/>
                  <a:gd name="T44" fmla="*/ 33 w 87"/>
                  <a:gd name="T45" fmla="*/ 22 h 70"/>
                  <a:gd name="T46" fmla="*/ 34 w 87"/>
                  <a:gd name="T47" fmla="*/ 29 h 70"/>
                  <a:gd name="T48" fmla="*/ 33 w 87"/>
                  <a:gd name="T49" fmla="*/ 32 h 70"/>
                  <a:gd name="T50" fmla="*/ 24 w 87"/>
                  <a:gd name="T51" fmla="*/ 33 h 70"/>
                  <a:gd name="T52" fmla="*/ 16 w 87"/>
                  <a:gd name="T53" fmla="*/ 29 h 70"/>
                  <a:gd name="T54" fmla="*/ 10 w 87"/>
                  <a:gd name="T55" fmla="*/ 24 h 70"/>
                  <a:gd name="T56" fmla="*/ 3 w 87"/>
                  <a:gd name="T57" fmla="*/ 25 h 70"/>
                  <a:gd name="T58" fmla="*/ 0 w 87"/>
                  <a:gd name="T59" fmla="*/ 33 h 70"/>
                  <a:gd name="T60" fmla="*/ 11 w 87"/>
                  <a:gd name="T61" fmla="*/ 39 h 70"/>
                  <a:gd name="T62" fmla="*/ 14 w 87"/>
                  <a:gd name="T63" fmla="*/ 45 h 70"/>
                  <a:gd name="T64" fmla="*/ 22 w 87"/>
                  <a:gd name="T65" fmla="*/ 45 h 70"/>
                  <a:gd name="T66" fmla="*/ 29 w 87"/>
                  <a:gd name="T67" fmla="*/ 48 h 70"/>
                  <a:gd name="T68" fmla="*/ 45 w 87"/>
                  <a:gd name="T69" fmla="*/ 62 h 70"/>
                  <a:gd name="T70" fmla="*/ 53 w 87"/>
                  <a:gd name="T71" fmla="*/ 70 h 70"/>
                  <a:gd name="T72" fmla="*/ 61 w 87"/>
                  <a:gd name="T73" fmla="*/ 67 h 70"/>
                  <a:gd name="T74" fmla="*/ 59 w 87"/>
                  <a:gd name="T75" fmla="*/ 59 h 70"/>
                  <a:gd name="T76" fmla="*/ 60 w 87"/>
                  <a:gd name="T77" fmla="*/ 57 h 70"/>
                  <a:gd name="T78" fmla="*/ 70 w 87"/>
                  <a:gd name="T79" fmla="*/ 62 h 70"/>
                  <a:gd name="T80" fmla="*/ 80 w 87"/>
                  <a:gd name="T81" fmla="*/ 56 h 70"/>
                  <a:gd name="T82" fmla="*/ 82 w 87"/>
                  <a:gd name="T83" fmla="*/ 54 h 70"/>
                  <a:gd name="T84" fmla="*/ 86 w 87"/>
                  <a:gd name="T85" fmla="*/ 49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87" h="70">
                    <a:moveTo>
                      <a:pt x="85" y="47"/>
                    </a:moveTo>
                    <a:lnTo>
                      <a:pt x="82" y="44"/>
                    </a:lnTo>
                    <a:lnTo>
                      <a:pt x="87" y="41"/>
                    </a:lnTo>
                    <a:lnTo>
                      <a:pt x="87" y="39"/>
                    </a:lnTo>
                    <a:lnTo>
                      <a:pt x="86" y="36"/>
                    </a:lnTo>
                    <a:lnTo>
                      <a:pt x="85" y="33"/>
                    </a:lnTo>
                    <a:lnTo>
                      <a:pt x="79" y="34"/>
                    </a:lnTo>
                    <a:lnTo>
                      <a:pt x="77" y="36"/>
                    </a:lnTo>
                    <a:lnTo>
                      <a:pt x="78" y="33"/>
                    </a:lnTo>
                    <a:lnTo>
                      <a:pt x="76" y="31"/>
                    </a:lnTo>
                    <a:lnTo>
                      <a:pt x="73" y="30"/>
                    </a:lnTo>
                    <a:lnTo>
                      <a:pt x="74" y="27"/>
                    </a:lnTo>
                    <a:lnTo>
                      <a:pt x="69" y="25"/>
                    </a:lnTo>
                    <a:lnTo>
                      <a:pt x="65" y="24"/>
                    </a:lnTo>
                    <a:lnTo>
                      <a:pt x="63" y="25"/>
                    </a:lnTo>
                    <a:lnTo>
                      <a:pt x="61" y="27"/>
                    </a:lnTo>
                    <a:lnTo>
                      <a:pt x="59" y="30"/>
                    </a:lnTo>
                    <a:lnTo>
                      <a:pt x="59" y="27"/>
                    </a:lnTo>
                    <a:lnTo>
                      <a:pt x="63" y="22"/>
                    </a:lnTo>
                    <a:lnTo>
                      <a:pt x="69" y="17"/>
                    </a:lnTo>
                    <a:lnTo>
                      <a:pt x="74" y="16"/>
                    </a:lnTo>
                    <a:lnTo>
                      <a:pt x="76" y="13"/>
                    </a:lnTo>
                    <a:lnTo>
                      <a:pt x="70" y="14"/>
                    </a:lnTo>
                    <a:lnTo>
                      <a:pt x="72" y="11"/>
                    </a:lnTo>
                    <a:lnTo>
                      <a:pt x="74" y="12"/>
                    </a:lnTo>
                    <a:lnTo>
                      <a:pt x="78" y="10"/>
                    </a:lnTo>
                    <a:lnTo>
                      <a:pt x="79" y="7"/>
                    </a:lnTo>
                    <a:lnTo>
                      <a:pt x="77" y="4"/>
                    </a:lnTo>
                    <a:lnTo>
                      <a:pt x="71" y="3"/>
                    </a:lnTo>
                    <a:lnTo>
                      <a:pt x="65" y="4"/>
                    </a:lnTo>
                    <a:lnTo>
                      <a:pt x="62" y="4"/>
                    </a:lnTo>
                    <a:lnTo>
                      <a:pt x="56" y="5"/>
                    </a:lnTo>
                    <a:lnTo>
                      <a:pt x="54" y="6"/>
                    </a:lnTo>
                    <a:lnTo>
                      <a:pt x="51" y="6"/>
                    </a:lnTo>
                    <a:lnTo>
                      <a:pt x="48" y="7"/>
                    </a:lnTo>
                    <a:lnTo>
                      <a:pt x="46" y="5"/>
                    </a:lnTo>
                    <a:lnTo>
                      <a:pt x="41" y="3"/>
                    </a:lnTo>
                    <a:lnTo>
                      <a:pt x="37" y="0"/>
                    </a:lnTo>
                    <a:lnTo>
                      <a:pt x="37" y="0"/>
                    </a:lnTo>
                    <a:lnTo>
                      <a:pt x="35" y="2"/>
                    </a:lnTo>
                    <a:lnTo>
                      <a:pt x="37" y="4"/>
                    </a:lnTo>
                    <a:lnTo>
                      <a:pt x="37" y="5"/>
                    </a:lnTo>
                    <a:lnTo>
                      <a:pt x="35" y="5"/>
                    </a:lnTo>
                    <a:lnTo>
                      <a:pt x="31" y="4"/>
                    </a:lnTo>
                    <a:lnTo>
                      <a:pt x="29" y="4"/>
                    </a:lnTo>
                    <a:lnTo>
                      <a:pt x="26" y="4"/>
                    </a:lnTo>
                    <a:lnTo>
                      <a:pt x="24" y="5"/>
                    </a:lnTo>
                    <a:lnTo>
                      <a:pt x="22" y="7"/>
                    </a:lnTo>
                    <a:lnTo>
                      <a:pt x="26" y="8"/>
                    </a:lnTo>
                    <a:lnTo>
                      <a:pt x="28" y="10"/>
                    </a:lnTo>
                    <a:lnTo>
                      <a:pt x="29" y="13"/>
                    </a:lnTo>
                    <a:lnTo>
                      <a:pt x="31" y="15"/>
                    </a:lnTo>
                    <a:lnTo>
                      <a:pt x="29" y="14"/>
                    </a:lnTo>
                    <a:lnTo>
                      <a:pt x="26" y="12"/>
                    </a:lnTo>
                    <a:lnTo>
                      <a:pt x="24" y="11"/>
                    </a:lnTo>
                    <a:lnTo>
                      <a:pt x="20" y="10"/>
                    </a:lnTo>
                    <a:lnTo>
                      <a:pt x="18" y="12"/>
                    </a:lnTo>
                    <a:lnTo>
                      <a:pt x="16" y="14"/>
                    </a:lnTo>
                    <a:lnTo>
                      <a:pt x="18" y="15"/>
                    </a:lnTo>
                    <a:lnTo>
                      <a:pt x="24" y="19"/>
                    </a:lnTo>
                    <a:lnTo>
                      <a:pt x="27" y="19"/>
                    </a:lnTo>
                    <a:lnTo>
                      <a:pt x="31" y="17"/>
                    </a:lnTo>
                    <a:lnTo>
                      <a:pt x="35" y="17"/>
                    </a:lnTo>
                    <a:lnTo>
                      <a:pt x="37" y="20"/>
                    </a:lnTo>
                    <a:lnTo>
                      <a:pt x="41" y="20"/>
                    </a:lnTo>
                    <a:lnTo>
                      <a:pt x="37" y="21"/>
                    </a:lnTo>
                    <a:lnTo>
                      <a:pt x="31" y="19"/>
                    </a:lnTo>
                    <a:lnTo>
                      <a:pt x="30" y="21"/>
                    </a:lnTo>
                    <a:lnTo>
                      <a:pt x="33" y="22"/>
                    </a:lnTo>
                    <a:lnTo>
                      <a:pt x="35" y="25"/>
                    </a:lnTo>
                    <a:lnTo>
                      <a:pt x="36" y="28"/>
                    </a:lnTo>
                    <a:lnTo>
                      <a:pt x="34" y="29"/>
                    </a:lnTo>
                    <a:lnTo>
                      <a:pt x="31" y="27"/>
                    </a:lnTo>
                    <a:lnTo>
                      <a:pt x="31" y="29"/>
                    </a:lnTo>
                    <a:lnTo>
                      <a:pt x="33" y="32"/>
                    </a:lnTo>
                    <a:lnTo>
                      <a:pt x="29" y="32"/>
                    </a:lnTo>
                    <a:lnTo>
                      <a:pt x="26" y="32"/>
                    </a:lnTo>
                    <a:lnTo>
                      <a:pt x="24" y="33"/>
                    </a:lnTo>
                    <a:lnTo>
                      <a:pt x="20" y="33"/>
                    </a:lnTo>
                    <a:lnTo>
                      <a:pt x="18" y="31"/>
                    </a:lnTo>
                    <a:lnTo>
                      <a:pt x="16" y="29"/>
                    </a:lnTo>
                    <a:lnTo>
                      <a:pt x="13" y="28"/>
                    </a:lnTo>
                    <a:lnTo>
                      <a:pt x="11" y="24"/>
                    </a:lnTo>
                    <a:lnTo>
                      <a:pt x="10" y="24"/>
                    </a:lnTo>
                    <a:lnTo>
                      <a:pt x="9" y="23"/>
                    </a:lnTo>
                    <a:lnTo>
                      <a:pt x="5" y="24"/>
                    </a:lnTo>
                    <a:lnTo>
                      <a:pt x="3" y="25"/>
                    </a:lnTo>
                    <a:lnTo>
                      <a:pt x="2" y="28"/>
                    </a:lnTo>
                    <a:lnTo>
                      <a:pt x="0" y="30"/>
                    </a:lnTo>
                    <a:lnTo>
                      <a:pt x="0" y="33"/>
                    </a:lnTo>
                    <a:lnTo>
                      <a:pt x="5" y="37"/>
                    </a:lnTo>
                    <a:lnTo>
                      <a:pt x="10" y="39"/>
                    </a:lnTo>
                    <a:lnTo>
                      <a:pt x="11" y="39"/>
                    </a:lnTo>
                    <a:lnTo>
                      <a:pt x="12" y="42"/>
                    </a:lnTo>
                    <a:lnTo>
                      <a:pt x="11" y="42"/>
                    </a:lnTo>
                    <a:lnTo>
                      <a:pt x="14" y="45"/>
                    </a:lnTo>
                    <a:lnTo>
                      <a:pt x="17" y="45"/>
                    </a:lnTo>
                    <a:lnTo>
                      <a:pt x="19" y="44"/>
                    </a:lnTo>
                    <a:lnTo>
                      <a:pt x="22" y="45"/>
                    </a:lnTo>
                    <a:lnTo>
                      <a:pt x="24" y="47"/>
                    </a:lnTo>
                    <a:lnTo>
                      <a:pt x="27" y="47"/>
                    </a:lnTo>
                    <a:lnTo>
                      <a:pt x="29" y="48"/>
                    </a:lnTo>
                    <a:lnTo>
                      <a:pt x="35" y="53"/>
                    </a:lnTo>
                    <a:lnTo>
                      <a:pt x="39" y="57"/>
                    </a:lnTo>
                    <a:lnTo>
                      <a:pt x="45" y="62"/>
                    </a:lnTo>
                    <a:lnTo>
                      <a:pt x="47" y="67"/>
                    </a:lnTo>
                    <a:lnTo>
                      <a:pt x="51" y="67"/>
                    </a:lnTo>
                    <a:lnTo>
                      <a:pt x="53" y="70"/>
                    </a:lnTo>
                    <a:lnTo>
                      <a:pt x="55" y="70"/>
                    </a:lnTo>
                    <a:lnTo>
                      <a:pt x="59" y="70"/>
                    </a:lnTo>
                    <a:lnTo>
                      <a:pt x="61" y="67"/>
                    </a:lnTo>
                    <a:lnTo>
                      <a:pt x="63" y="64"/>
                    </a:lnTo>
                    <a:lnTo>
                      <a:pt x="61" y="62"/>
                    </a:lnTo>
                    <a:lnTo>
                      <a:pt x="59" y="59"/>
                    </a:lnTo>
                    <a:lnTo>
                      <a:pt x="59" y="56"/>
                    </a:lnTo>
                    <a:lnTo>
                      <a:pt x="62" y="55"/>
                    </a:lnTo>
                    <a:lnTo>
                      <a:pt x="60" y="57"/>
                    </a:lnTo>
                    <a:lnTo>
                      <a:pt x="61" y="61"/>
                    </a:lnTo>
                    <a:lnTo>
                      <a:pt x="64" y="61"/>
                    </a:lnTo>
                    <a:lnTo>
                      <a:pt x="70" y="62"/>
                    </a:lnTo>
                    <a:lnTo>
                      <a:pt x="72" y="62"/>
                    </a:lnTo>
                    <a:lnTo>
                      <a:pt x="74" y="61"/>
                    </a:lnTo>
                    <a:lnTo>
                      <a:pt x="80" y="56"/>
                    </a:lnTo>
                    <a:lnTo>
                      <a:pt x="84" y="56"/>
                    </a:lnTo>
                    <a:lnTo>
                      <a:pt x="86" y="54"/>
                    </a:lnTo>
                    <a:lnTo>
                      <a:pt x="82" y="54"/>
                    </a:lnTo>
                    <a:lnTo>
                      <a:pt x="86" y="51"/>
                    </a:lnTo>
                    <a:lnTo>
                      <a:pt x="82" y="51"/>
                    </a:lnTo>
                    <a:lnTo>
                      <a:pt x="86" y="49"/>
                    </a:lnTo>
                    <a:lnTo>
                      <a:pt x="85" y="4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75" name="Freeform 41">
                <a:extLst>
                  <a:ext uri="{FF2B5EF4-FFF2-40B4-BE49-F238E27FC236}">
                    <a16:creationId xmlns:a16="http://schemas.microsoft.com/office/drawing/2014/main" id="{B0B7E97C-0206-42E2-8E9D-1ABCDA87C9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70" y="1487"/>
                <a:ext cx="18" cy="7"/>
              </a:xfrm>
              <a:custGeom>
                <a:avLst/>
                <a:gdLst>
                  <a:gd name="T0" fmla="*/ 18 w 18"/>
                  <a:gd name="T1" fmla="*/ 1 h 7"/>
                  <a:gd name="T2" fmla="*/ 12 w 18"/>
                  <a:gd name="T3" fmla="*/ 2 h 7"/>
                  <a:gd name="T4" fmla="*/ 11 w 18"/>
                  <a:gd name="T5" fmla="*/ 6 h 7"/>
                  <a:gd name="T6" fmla="*/ 5 w 18"/>
                  <a:gd name="T7" fmla="*/ 7 h 7"/>
                  <a:gd name="T8" fmla="*/ 0 w 18"/>
                  <a:gd name="T9" fmla="*/ 7 h 7"/>
                  <a:gd name="T10" fmla="*/ 5 w 18"/>
                  <a:gd name="T11" fmla="*/ 2 h 7"/>
                  <a:gd name="T12" fmla="*/ 8 w 18"/>
                  <a:gd name="T13" fmla="*/ 1 h 7"/>
                  <a:gd name="T14" fmla="*/ 13 w 18"/>
                  <a:gd name="T15" fmla="*/ 0 h 7"/>
                  <a:gd name="T16" fmla="*/ 17 w 18"/>
                  <a:gd name="T17" fmla="*/ 0 h 7"/>
                  <a:gd name="T18" fmla="*/ 18 w 18"/>
                  <a:gd name="T19" fmla="*/ 1 h 7"/>
                  <a:gd name="T20" fmla="*/ 18 w 18"/>
                  <a:gd name="T21" fmla="*/ 1 h 7"/>
                  <a:gd name="T22" fmla="*/ 18 w 18"/>
                  <a:gd name="T23" fmla="*/ 1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8" h="7">
                    <a:moveTo>
                      <a:pt x="18" y="1"/>
                    </a:moveTo>
                    <a:lnTo>
                      <a:pt x="12" y="2"/>
                    </a:lnTo>
                    <a:lnTo>
                      <a:pt x="11" y="6"/>
                    </a:lnTo>
                    <a:lnTo>
                      <a:pt x="5" y="7"/>
                    </a:lnTo>
                    <a:lnTo>
                      <a:pt x="0" y="7"/>
                    </a:lnTo>
                    <a:lnTo>
                      <a:pt x="5" y="2"/>
                    </a:lnTo>
                    <a:lnTo>
                      <a:pt x="8" y="1"/>
                    </a:lnTo>
                    <a:lnTo>
                      <a:pt x="13" y="0"/>
                    </a:lnTo>
                    <a:lnTo>
                      <a:pt x="17" y="0"/>
                    </a:lnTo>
                    <a:lnTo>
                      <a:pt x="18" y="1"/>
                    </a:lnTo>
                    <a:lnTo>
                      <a:pt x="18" y="1"/>
                    </a:lnTo>
                    <a:lnTo>
                      <a:pt x="18" y="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76" name="Freeform 42">
                <a:extLst>
                  <a:ext uri="{FF2B5EF4-FFF2-40B4-BE49-F238E27FC236}">
                    <a16:creationId xmlns:a16="http://schemas.microsoft.com/office/drawing/2014/main" id="{0EAF2E22-830E-42B9-A0AA-94DB685FDC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86" y="1476"/>
                <a:ext cx="2" cy="4"/>
              </a:xfrm>
              <a:custGeom>
                <a:avLst/>
                <a:gdLst>
                  <a:gd name="T0" fmla="*/ 2 w 2"/>
                  <a:gd name="T1" fmla="*/ 4 h 4"/>
                  <a:gd name="T2" fmla="*/ 0 w 2"/>
                  <a:gd name="T3" fmla="*/ 4 h 4"/>
                  <a:gd name="T4" fmla="*/ 1 w 2"/>
                  <a:gd name="T5" fmla="*/ 1 h 4"/>
                  <a:gd name="T6" fmla="*/ 2 w 2"/>
                  <a:gd name="T7" fmla="*/ 0 h 4"/>
                  <a:gd name="T8" fmla="*/ 2 w 2"/>
                  <a:gd name="T9" fmla="*/ 4 h 4"/>
                  <a:gd name="T10" fmla="*/ 2 w 2"/>
                  <a:gd name="T11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4">
                    <a:moveTo>
                      <a:pt x="2" y="4"/>
                    </a:moveTo>
                    <a:lnTo>
                      <a:pt x="0" y="4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2" y="4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77" name="Freeform 43">
                <a:extLst>
                  <a:ext uri="{FF2B5EF4-FFF2-40B4-BE49-F238E27FC236}">
                    <a16:creationId xmlns:a16="http://schemas.microsoft.com/office/drawing/2014/main" id="{E83523CC-0ACA-49B4-9CE3-4B0ED40115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18" y="1737"/>
                <a:ext cx="8" cy="10"/>
              </a:xfrm>
              <a:custGeom>
                <a:avLst/>
                <a:gdLst>
                  <a:gd name="T0" fmla="*/ 3 w 8"/>
                  <a:gd name="T1" fmla="*/ 0 h 10"/>
                  <a:gd name="T2" fmla="*/ 3 w 8"/>
                  <a:gd name="T3" fmla="*/ 0 h 10"/>
                  <a:gd name="T4" fmla="*/ 0 w 8"/>
                  <a:gd name="T5" fmla="*/ 1 h 10"/>
                  <a:gd name="T6" fmla="*/ 1 w 8"/>
                  <a:gd name="T7" fmla="*/ 4 h 10"/>
                  <a:gd name="T8" fmla="*/ 1 w 8"/>
                  <a:gd name="T9" fmla="*/ 7 h 10"/>
                  <a:gd name="T10" fmla="*/ 4 w 8"/>
                  <a:gd name="T11" fmla="*/ 8 h 10"/>
                  <a:gd name="T12" fmla="*/ 6 w 8"/>
                  <a:gd name="T13" fmla="*/ 10 h 10"/>
                  <a:gd name="T14" fmla="*/ 8 w 8"/>
                  <a:gd name="T15" fmla="*/ 9 h 10"/>
                  <a:gd name="T16" fmla="*/ 6 w 8"/>
                  <a:gd name="T17" fmla="*/ 4 h 10"/>
                  <a:gd name="T18" fmla="*/ 3 w 8"/>
                  <a:gd name="T19" fmla="*/ 0 h 10"/>
                  <a:gd name="T20" fmla="*/ 3 w 8"/>
                  <a:gd name="T21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" h="10">
                    <a:moveTo>
                      <a:pt x="3" y="0"/>
                    </a:moveTo>
                    <a:lnTo>
                      <a:pt x="3" y="0"/>
                    </a:lnTo>
                    <a:lnTo>
                      <a:pt x="0" y="1"/>
                    </a:lnTo>
                    <a:lnTo>
                      <a:pt x="1" y="4"/>
                    </a:lnTo>
                    <a:lnTo>
                      <a:pt x="1" y="7"/>
                    </a:lnTo>
                    <a:lnTo>
                      <a:pt x="4" y="8"/>
                    </a:lnTo>
                    <a:lnTo>
                      <a:pt x="6" y="10"/>
                    </a:lnTo>
                    <a:lnTo>
                      <a:pt x="8" y="9"/>
                    </a:lnTo>
                    <a:lnTo>
                      <a:pt x="6" y="4"/>
                    </a:lnTo>
                    <a:lnTo>
                      <a:pt x="3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78" name="Freeform 44">
                <a:extLst>
                  <a:ext uri="{FF2B5EF4-FFF2-40B4-BE49-F238E27FC236}">
                    <a16:creationId xmlns:a16="http://schemas.microsoft.com/office/drawing/2014/main" id="{7D07BD7B-9470-4467-9562-B3A3CEEC7D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35" y="1804"/>
                <a:ext cx="27" cy="17"/>
              </a:xfrm>
              <a:custGeom>
                <a:avLst/>
                <a:gdLst>
                  <a:gd name="T0" fmla="*/ 0 w 27"/>
                  <a:gd name="T1" fmla="*/ 11 h 17"/>
                  <a:gd name="T2" fmla="*/ 3 w 27"/>
                  <a:gd name="T3" fmla="*/ 17 h 17"/>
                  <a:gd name="T4" fmla="*/ 6 w 27"/>
                  <a:gd name="T5" fmla="*/ 17 h 17"/>
                  <a:gd name="T6" fmla="*/ 9 w 27"/>
                  <a:gd name="T7" fmla="*/ 16 h 17"/>
                  <a:gd name="T8" fmla="*/ 11 w 27"/>
                  <a:gd name="T9" fmla="*/ 17 h 17"/>
                  <a:gd name="T10" fmla="*/ 17 w 27"/>
                  <a:gd name="T11" fmla="*/ 15 h 17"/>
                  <a:gd name="T12" fmla="*/ 21 w 27"/>
                  <a:gd name="T13" fmla="*/ 9 h 17"/>
                  <a:gd name="T14" fmla="*/ 25 w 27"/>
                  <a:gd name="T15" fmla="*/ 8 h 17"/>
                  <a:gd name="T16" fmla="*/ 27 w 27"/>
                  <a:gd name="T17" fmla="*/ 7 h 17"/>
                  <a:gd name="T18" fmla="*/ 27 w 27"/>
                  <a:gd name="T19" fmla="*/ 1 h 17"/>
                  <a:gd name="T20" fmla="*/ 25 w 27"/>
                  <a:gd name="T21" fmla="*/ 0 h 17"/>
                  <a:gd name="T22" fmla="*/ 17 w 27"/>
                  <a:gd name="T23" fmla="*/ 1 h 17"/>
                  <a:gd name="T24" fmla="*/ 13 w 27"/>
                  <a:gd name="T25" fmla="*/ 3 h 17"/>
                  <a:gd name="T26" fmla="*/ 11 w 27"/>
                  <a:gd name="T27" fmla="*/ 3 h 17"/>
                  <a:gd name="T28" fmla="*/ 9 w 27"/>
                  <a:gd name="T29" fmla="*/ 2 h 17"/>
                  <a:gd name="T30" fmla="*/ 6 w 27"/>
                  <a:gd name="T31" fmla="*/ 5 h 17"/>
                  <a:gd name="T32" fmla="*/ 4 w 27"/>
                  <a:gd name="T33" fmla="*/ 7 h 17"/>
                  <a:gd name="T34" fmla="*/ 0 w 27"/>
                  <a:gd name="T35" fmla="*/ 11 h 17"/>
                  <a:gd name="T36" fmla="*/ 0 w 27"/>
                  <a:gd name="T37" fmla="*/ 11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7" h="17">
                    <a:moveTo>
                      <a:pt x="0" y="11"/>
                    </a:moveTo>
                    <a:lnTo>
                      <a:pt x="3" y="17"/>
                    </a:lnTo>
                    <a:lnTo>
                      <a:pt x="6" y="17"/>
                    </a:lnTo>
                    <a:lnTo>
                      <a:pt x="9" y="16"/>
                    </a:lnTo>
                    <a:lnTo>
                      <a:pt x="11" y="17"/>
                    </a:lnTo>
                    <a:lnTo>
                      <a:pt x="17" y="15"/>
                    </a:lnTo>
                    <a:lnTo>
                      <a:pt x="21" y="9"/>
                    </a:lnTo>
                    <a:lnTo>
                      <a:pt x="25" y="8"/>
                    </a:lnTo>
                    <a:lnTo>
                      <a:pt x="27" y="7"/>
                    </a:lnTo>
                    <a:lnTo>
                      <a:pt x="27" y="1"/>
                    </a:lnTo>
                    <a:lnTo>
                      <a:pt x="25" y="0"/>
                    </a:lnTo>
                    <a:lnTo>
                      <a:pt x="17" y="1"/>
                    </a:lnTo>
                    <a:lnTo>
                      <a:pt x="13" y="3"/>
                    </a:lnTo>
                    <a:lnTo>
                      <a:pt x="11" y="3"/>
                    </a:lnTo>
                    <a:lnTo>
                      <a:pt x="9" y="2"/>
                    </a:lnTo>
                    <a:lnTo>
                      <a:pt x="6" y="5"/>
                    </a:lnTo>
                    <a:lnTo>
                      <a:pt x="4" y="7"/>
                    </a:lnTo>
                    <a:lnTo>
                      <a:pt x="0" y="11"/>
                    </a:lnTo>
                    <a:lnTo>
                      <a:pt x="0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79" name="Freeform 45">
                <a:extLst>
                  <a:ext uri="{FF2B5EF4-FFF2-40B4-BE49-F238E27FC236}">
                    <a16:creationId xmlns:a16="http://schemas.microsoft.com/office/drawing/2014/main" id="{B8EAFAB0-1EF5-4593-ACC9-D3AAB5DD3C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61" y="1999"/>
                <a:ext cx="19" cy="9"/>
              </a:xfrm>
              <a:custGeom>
                <a:avLst/>
                <a:gdLst>
                  <a:gd name="T0" fmla="*/ 14 w 19"/>
                  <a:gd name="T1" fmla="*/ 1 h 9"/>
                  <a:gd name="T2" fmla="*/ 10 w 19"/>
                  <a:gd name="T3" fmla="*/ 0 h 9"/>
                  <a:gd name="T4" fmla="*/ 2 w 19"/>
                  <a:gd name="T5" fmla="*/ 1 h 9"/>
                  <a:gd name="T6" fmla="*/ 0 w 19"/>
                  <a:gd name="T7" fmla="*/ 3 h 9"/>
                  <a:gd name="T8" fmla="*/ 2 w 19"/>
                  <a:gd name="T9" fmla="*/ 4 h 9"/>
                  <a:gd name="T10" fmla="*/ 11 w 19"/>
                  <a:gd name="T11" fmla="*/ 7 h 9"/>
                  <a:gd name="T12" fmla="*/ 14 w 19"/>
                  <a:gd name="T13" fmla="*/ 8 h 9"/>
                  <a:gd name="T14" fmla="*/ 19 w 19"/>
                  <a:gd name="T15" fmla="*/ 9 h 9"/>
                  <a:gd name="T16" fmla="*/ 18 w 19"/>
                  <a:gd name="T17" fmla="*/ 6 h 9"/>
                  <a:gd name="T18" fmla="*/ 14 w 19"/>
                  <a:gd name="T19" fmla="*/ 1 h 9"/>
                  <a:gd name="T20" fmla="*/ 14 w 19"/>
                  <a:gd name="T21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9" h="9">
                    <a:moveTo>
                      <a:pt x="14" y="1"/>
                    </a:moveTo>
                    <a:lnTo>
                      <a:pt x="10" y="0"/>
                    </a:lnTo>
                    <a:lnTo>
                      <a:pt x="2" y="1"/>
                    </a:lnTo>
                    <a:lnTo>
                      <a:pt x="0" y="3"/>
                    </a:lnTo>
                    <a:lnTo>
                      <a:pt x="2" y="4"/>
                    </a:lnTo>
                    <a:lnTo>
                      <a:pt x="11" y="7"/>
                    </a:lnTo>
                    <a:lnTo>
                      <a:pt x="14" y="8"/>
                    </a:lnTo>
                    <a:lnTo>
                      <a:pt x="19" y="9"/>
                    </a:lnTo>
                    <a:lnTo>
                      <a:pt x="18" y="6"/>
                    </a:lnTo>
                    <a:lnTo>
                      <a:pt x="14" y="1"/>
                    </a:lnTo>
                    <a:lnTo>
                      <a:pt x="14" y="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80" name="Freeform 46">
                <a:extLst>
                  <a:ext uri="{FF2B5EF4-FFF2-40B4-BE49-F238E27FC236}">
                    <a16:creationId xmlns:a16="http://schemas.microsoft.com/office/drawing/2014/main" id="{35C0A3BF-BA3B-4DB7-9001-31A3DD569C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8" y="1648"/>
                <a:ext cx="19" cy="8"/>
              </a:xfrm>
              <a:custGeom>
                <a:avLst/>
                <a:gdLst>
                  <a:gd name="T0" fmla="*/ 11 w 19"/>
                  <a:gd name="T1" fmla="*/ 7 h 8"/>
                  <a:gd name="T2" fmla="*/ 11 w 19"/>
                  <a:gd name="T3" fmla="*/ 4 h 8"/>
                  <a:gd name="T4" fmla="*/ 13 w 19"/>
                  <a:gd name="T5" fmla="*/ 5 h 8"/>
                  <a:gd name="T6" fmla="*/ 17 w 19"/>
                  <a:gd name="T7" fmla="*/ 5 h 8"/>
                  <a:gd name="T8" fmla="*/ 19 w 19"/>
                  <a:gd name="T9" fmla="*/ 3 h 8"/>
                  <a:gd name="T10" fmla="*/ 19 w 19"/>
                  <a:gd name="T11" fmla="*/ 1 h 8"/>
                  <a:gd name="T12" fmla="*/ 16 w 19"/>
                  <a:gd name="T13" fmla="*/ 0 h 8"/>
                  <a:gd name="T14" fmla="*/ 11 w 19"/>
                  <a:gd name="T15" fmla="*/ 2 h 8"/>
                  <a:gd name="T16" fmla="*/ 8 w 19"/>
                  <a:gd name="T17" fmla="*/ 1 h 8"/>
                  <a:gd name="T18" fmla="*/ 6 w 19"/>
                  <a:gd name="T19" fmla="*/ 1 h 8"/>
                  <a:gd name="T20" fmla="*/ 6 w 19"/>
                  <a:gd name="T21" fmla="*/ 3 h 8"/>
                  <a:gd name="T22" fmla="*/ 3 w 19"/>
                  <a:gd name="T23" fmla="*/ 2 h 8"/>
                  <a:gd name="T24" fmla="*/ 0 w 19"/>
                  <a:gd name="T25" fmla="*/ 3 h 8"/>
                  <a:gd name="T26" fmla="*/ 6 w 19"/>
                  <a:gd name="T27" fmla="*/ 4 h 8"/>
                  <a:gd name="T28" fmla="*/ 9 w 19"/>
                  <a:gd name="T29" fmla="*/ 7 h 8"/>
                  <a:gd name="T30" fmla="*/ 11 w 19"/>
                  <a:gd name="T31" fmla="*/ 8 h 8"/>
                  <a:gd name="T32" fmla="*/ 11 w 19"/>
                  <a:gd name="T33" fmla="*/ 7 h 8"/>
                  <a:gd name="T34" fmla="*/ 11 w 19"/>
                  <a:gd name="T35" fmla="*/ 7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9" h="8">
                    <a:moveTo>
                      <a:pt x="11" y="7"/>
                    </a:moveTo>
                    <a:lnTo>
                      <a:pt x="11" y="4"/>
                    </a:lnTo>
                    <a:lnTo>
                      <a:pt x="13" y="5"/>
                    </a:lnTo>
                    <a:lnTo>
                      <a:pt x="17" y="5"/>
                    </a:lnTo>
                    <a:lnTo>
                      <a:pt x="19" y="3"/>
                    </a:lnTo>
                    <a:lnTo>
                      <a:pt x="19" y="1"/>
                    </a:lnTo>
                    <a:lnTo>
                      <a:pt x="16" y="0"/>
                    </a:lnTo>
                    <a:lnTo>
                      <a:pt x="11" y="2"/>
                    </a:lnTo>
                    <a:lnTo>
                      <a:pt x="8" y="1"/>
                    </a:lnTo>
                    <a:lnTo>
                      <a:pt x="6" y="1"/>
                    </a:lnTo>
                    <a:lnTo>
                      <a:pt x="6" y="3"/>
                    </a:lnTo>
                    <a:lnTo>
                      <a:pt x="3" y="2"/>
                    </a:lnTo>
                    <a:lnTo>
                      <a:pt x="0" y="3"/>
                    </a:lnTo>
                    <a:lnTo>
                      <a:pt x="6" y="4"/>
                    </a:lnTo>
                    <a:lnTo>
                      <a:pt x="9" y="7"/>
                    </a:lnTo>
                    <a:lnTo>
                      <a:pt x="11" y="8"/>
                    </a:lnTo>
                    <a:lnTo>
                      <a:pt x="11" y="7"/>
                    </a:lnTo>
                    <a:lnTo>
                      <a:pt x="11" y="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81" name="Freeform 47">
                <a:extLst>
                  <a:ext uri="{FF2B5EF4-FFF2-40B4-BE49-F238E27FC236}">
                    <a16:creationId xmlns:a16="http://schemas.microsoft.com/office/drawing/2014/main" id="{0C813FEA-57B6-408B-9913-C1EEF24DB7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85" y="1817"/>
                <a:ext cx="14" cy="18"/>
              </a:xfrm>
              <a:custGeom>
                <a:avLst/>
                <a:gdLst>
                  <a:gd name="T0" fmla="*/ 4 w 14"/>
                  <a:gd name="T1" fmla="*/ 14 h 18"/>
                  <a:gd name="T2" fmla="*/ 6 w 14"/>
                  <a:gd name="T3" fmla="*/ 18 h 18"/>
                  <a:gd name="T4" fmla="*/ 10 w 14"/>
                  <a:gd name="T5" fmla="*/ 14 h 18"/>
                  <a:gd name="T6" fmla="*/ 12 w 14"/>
                  <a:gd name="T7" fmla="*/ 10 h 18"/>
                  <a:gd name="T8" fmla="*/ 13 w 14"/>
                  <a:gd name="T9" fmla="*/ 6 h 18"/>
                  <a:gd name="T10" fmla="*/ 14 w 14"/>
                  <a:gd name="T11" fmla="*/ 4 h 18"/>
                  <a:gd name="T12" fmla="*/ 12 w 14"/>
                  <a:gd name="T13" fmla="*/ 1 h 18"/>
                  <a:gd name="T14" fmla="*/ 10 w 14"/>
                  <a:gd name="T15" fmla="*/ 0 h 18"/>
                  <a:gd name="T16" fmla="*/ 4 w 14"/>
                  <a:gd name="T17" fmla="*/ 1 h 18"/>
                  <a:gd name="T18" fmla="*/ 1 w 14"/>
                  <a:gd name="T19" fmla="*/ 5 h 18"/>
                  <a:gd name="T20" fmla="*/ 0 w 14"/>
                  <a:gd name="T21" fmla="*/ 7 h 18"/>
                  <a:gd name="T22" fmla="*/ 2 w 14"/>
                  <a:gd name="T23" fmla="*/ 13 h 18"/>
                  <a:gd name="T24" fmla="*/ 4 w 14"/>
                  <a:gd name="T25" fmla="*/ 14 h 18"/>
                  <a:gd name="T26" fmla="*/ 4 w 14"/>
                  <a:gd name="T27" fmla="*/ 14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4" h="18">
                    <a:moveTo>
                      <a:pt x="4" y="14"/>
                    </a:moveTo>
                    <a:lnTo>
                      <a:pt x="6" y="18"/>
                    </a:lnTo>
                    <a:lnTo>
                      <a:pt x="10" y="14"/>
                    </a:lnTo>
                    <a:lnTo>
                      <a:pt x="12" y="10"/>
                    </a:lnTo>
                    <a:lnTo>
                      <a:pt x="13" y="6"/>
                    </a:lnTo>
                    <a:lnTo>
                      <a:pt x="14" y="4"/>
                    </a:lnTo>
                    <a:lnTo>
                      <a:pt x="12" y="1"/>
                    </a:lnTo>
                    <a:lnTo>
                      <a:pt x="10" y="0"/>
                    </a:lnTo>
                    <a:lnTo>
                      <a:pt x="4" y="1"/>
                    </a:lnTo>
                    <a:lnTo>
                      <a:pt x="1" y="5"/>
                    </a:lnTo>
                    <a:lnTo>
                      <a:pt x="0" y="7"/>
                    </a:lnTo>
                    <a:lnTo>
                      <a:pt x="2" y="13"/>
                    </a:lnTo>
                    <a:lnTo>
                      <a:pt x="4" y="14"/>
                    </a:lnTo>
                    <a:lnTo>
                      <a:pt x="4" y="1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82" name="Freeform 48">
                <a:extLst>
                  <a:ext uri="{FF2B5EF4-FFF2-40B4-BE49-F238E27FC236}">
                    <a16:creationId xmlns:a16="http://schemas.microsoft.com/office/drawing/2014/main" id="{16D7E10F-B288-45F1-A84F-AE71E5AA3C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97" y="1659"/>
                <a:ext cx="16" cy="13"/>
              </a:xfrm>
              <a:custGeom>
                <a:avLst/>
                <a:gdLst>
                  <a:gd name="T0" fmla="*/ 13 w 16"/>
                  <a:gd name="T1" fmla="*/ 0 h 13"/>
                  <a:gd name="T2" fmla="*/ 10 w 16"/>
                  <a:gd name="T3" fmla="*/ 0 h 13"/>
                  <a:gd name="T4" fmla="*/ 7 w 16"/>
                  <a:gd name="T5" fmla="*/ 6 h 13"/>
                  <a:gd name="T6" fmla="*/ 4 w 16"/>
                  <a:gd name="T7" fmla="*/ 7 h 13"/>
                  <a:gd name="T8" fmla="*/ 1 w 16"/>
                  <a:gd name="T9" fmla="*/ 9 h 13"/>
                  <a:gd name="T10" fmla="*/ 0 w 16"/>
                  <a:gd name="T11" fmla="*/ 13 h 13"/>
                  <a:gd name="T12" fmla="*/ 4 w 16"/>
                  <a:gd name="T13" fmla="*/ 13 h 13"/>
                  <a:gd name="T14" fmla="*/ 8 w 16"/>
                  <a:gd name="T15" fmla="*/ 10 h 13"/>
                  <a:gd name="T16" fmla="*/ 13 w 16"/>
                  <a:gd name="T17" fmla="*/ 5 h 13"/>
                  <a:gd name="T18" fmla="*/ 16 w 16"/>
                  <a:gd name="T19" fmla="*/ 2 h 13"/>
                  <a:gd name="T20" fmla="*/ 15 w 16"/>
                  <a:gd name="T21" fmla="*/ 0 h 13"/>
                  <a:gd name="T22" fmla="*/ 13 w 16"/>
                  <a:gd name="T23" fmla="*/ 0 h 13"/>
                  <a:gd name="T24" fmla="*/ 13 w 16"/>
                  <a:gd name="T25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6" h="13">
                    <a:moveTo>
                      <a:pt x="13" y="0"/>
                    </a:moveTo>
                    <a:lnTo>
                      <a:pt x="10" y="0"/>
                    </a:lnTo>
                    <a:lnTo>
                      <a:pt x="7" y="6"/>
                    </a:lnTo>
                    <a:lnTo>
                      <a:pt x="4" y="7"/>
                    </a:lnTo>
                    <a:lnTo>
                      <a:pt x="1" y="9"/>
                    </a:lnTo>
                    <a:lnTo>
                      <a:pt x="0" y="13"/>
                    </a:lnTo>
                    <a:lnTo>
                      <a:pt x="4" y="13"/>
                    </a:lnTo>
                    <a:lnTo>
                      <a:pt x="8" y="10"/>
                    </a:lnTo>
                    <a:lnTo>
                      <a:pt x="13" y="5"/>
                    </a:lnTo>
                    <a:lnTo>
                      <a:pt x="16" y="2"/>
                    </a:lnTo>
                    <a:lnTo>
                      <a:pt x="15" y="0"/>
                    </a:lnTo>
                    <a:lnTo>
                      <a:pt x="13" y="0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83" name="Freeform 49">
                <a:extLst>
                  <a:ext uri="{FF2B5EF4-FFF2-40B4-BE49-F238E27FC236}">
                    <a16:creationId xmlns:a16="http://schemas.microsoft.com/office/drawing/2014/main" id="{32AEE333-9439-4C86-B2EB-AF90B9F75A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01" y="1683"/>
                <a:ext cx="3" cy="4"/>
              </a:xfrm>
              <a:custGeom>
                <a:avLst/>
                <a:gdLst>
                  <a:gd name="T0" fmla="*/ 1 w 3"/>
                  <a:gd name="T1" fmla="*/ 0 h 4"/>
                  <a:gd name="T2" fmla="*/ 0 w 3"/>
                  <a:gd name="T3" fmla="*/ 1 h 4"/>
                  <a:gd name="T4" fmla="*/ 0 w 3"/>
                  <a:gd name="T5" fmla="*/ 4 h 4"/>
                  <a:gd name="T6" fmla="*/ 3 w 3"/>
                  <a:gd name="T7" fmla="*/ 3 h 4"/>
                  <a:gd name="T8" fmla="*/ 3 w 3"/>
                  <a:gd name="T9" fmla="*/ 1 h 4"/>
                  <a:gd name="T10" fmla="*/ 1 w 3"/>
                  <a:gd name="T11" fmla="*/ 0 h 4"/>
                  <a:gd name="T12" fmla="*/ 1 w 3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4">
                    <a:moveTo>
                      <a:pt x="1" y="0"/>
                    </a:moveTo>
                    <a:lnTo>
                      <a:pt x="0" y="1"/>
                    </a:lnTo>
                    <a:lnTo>
                      <a:pt x="0" y="4"/>
                    </a:lnTo>
                    <a:lnTo>
                      <a:pt x="3" y="3"/>
                    </a:lnTo>
                    <a:lnTo>
                      <a:pt x="3" y="1"/>
                    </a:lnTo>
                    <a:lnTo>
                      <a:pt x="1" y="0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84" name="Freeform 50">
                <a:extLst>
                  <a:ext uri="{FF2B5EF4-FFF2-40B4-BE49-F238E27FC236}">
                    <a16:creationId xmlns:a16="http://schemas.microsoft.com/office/drawing/2014/main" id="{C6E9FB73-B943-4F95-A82E-6158A07AA3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06" y="1650"/>
                <a:ext cx="12" cy="6"/>
              </a:xfrm>
              <a:custGeom>
                <a:avLst/>
                <a:gdLst>
                  <a:gd name="T0" fmla="*/ 8 w 12"/>
                  <a:gd name="T1" fmla="*/ 0 h 6"/>
                  <a:gd name="T2" fmla="*/ 2 w 12"/>
                  <a:gd name="T3" fmla="*/ 2 h 6"/>
                  <a:gd name="T4" fmla="*/ 0 w 12"/>
                  <a:gd name="T5" fmla="*/ 5 h 6"/>
                  <a:gd name="T6" fmla="*/ 2 w 12"/>
                  <a:gd name="T7" fmla="*/ 6 h 6"/>
                  <a:gd name="T8" fmla="*/ 12 w 12"/>
                  <a:gd name="T9" fmla="*/ 2 h 6"/>
                  <a:gd name="T10" fmla="*/ 8 w 12"/>
                  <a:gd name="T11" fmla="*/ 0 h 6"/>
                  <a:gd name="T12" fmla="*/ 8 w 12"/>
                  <a:gd name="T1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6">
                    <a:moveTo>
                      <a:pt x="8" y="0"/>
                    </a:moveTo>
                    <a:lnTo>
                      <a:pt x="2" y="2"/>
                    </a:lnTo>
                    <a:lnTo>
                      <a:pt x="0" y="5"/>
                    </a:lnTo>
                    <a:lnTo>
                      <a:pt x="2" y="6"/>
                    </a:lnTo>
                    <a:lnTo>
                      <a:pt x="12" y="2"/>
                    </a:lnTo>
                    <a:lnTo>
                      <a:pt x="8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85" name="Freeform 51">
                <a:extLst>
                  <a:ext uri="{FF2B5EF4-FFF2-40B4-BE49-F238E27FC236}">
                    <a16:creationId xmlns:a16="http://schemas.microsoft.com/office/drawing/2014/main" id="{EF7B31E3-3B97-4170-90E8-CC2D83D181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11" y="1793"/>
                <a:ext cx="11" cy="9"/>
              </a:xfrm>
              <a:custGeom>
                <a:avLst/>
                <a:gdLst>
                  <a:gd name="T0" fmla="*/ 2 w 11"/>
                  <a:gd name="T1" fmla="*/ 0 h 9"/>
                  <a:gd name="T2" fmla="*/ 0 w 11"/>
                  <a:gd name="T3" fmla="*/ 1 h 9"/>
                  <a:gd name="T4" fmla="*/ 0 w 11"/>
                  <a:gd name="T5" fmla="*/ 3 h 9"/>
                  <a:gd name="T6" fmla="*/ 5 w 11"/>
                  <a:gd name="T7" fmla="*/ 9 h 9"/>
                  <a:gd name="T8" fmla="*/ 8 w 11"/>
                  <a:gd name="T9" fmla="*/ 9 h 9"/>
                  <a:gd name="T10" fmla="*/ 11 w 11"/>
                  <a:gd name="T11" fmla="*/ 8 h 9"/>
                  <a:gd name="T12" fmla="*/ 11 w 11"/>
                  <a:gd name="T13" fmla="*/ 4 h 9"/>
                  <a:gd name="T14" fmla="*/ 10 w 11"/>
                  <a:gd name="T15" fmla="*/ 2 h 9"/>
                  <a:gd name="T16" fmla="*/ 7 w 11"/>
                  <a:gd name="T17" fmla="*/ 1 h 9"/>
                  <a:gd name="T18" fmla="*/ 4 w 11"/>
                  <a:gd name="T19" fmla="*/ 1 h 9"/>
                  <a:gd name="T20" fmla="*/ 2 w 11"/>
                  <a:gd name="T21" fmla="*/ 0 h 9"/>
                  <a:gd name="T22" fmla="*/ 2 w 11"/>
                  <a:gd name="T23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" h="9">
                    <a:moveTo>
                      <a:pt x="2" y="0"/>
                    </a:moveTo>
                    <a:lnTo>
                      <a:pt x="0" y="1"/>
                    </a:lnTo>
                    <a:lnTo>
                      <a:pt x="0" y="3"/>
                    </a:lnTo>
                    <a:lnTo>
                      <a:pt x="5" y="9"/>
                    </a:lnTo>
                    <a:lnTo>
                      <a:pt x="8" y="9"/>
                    </a:lnTo>
                    <a:lnTo>
                      <a:pt x="11" y="8"/>
                    </a:lnTo>
                    <a:lnTo>
                      <a:pt x="11" y="4"/>
                    </a:lnTo>
                    <a:lnTo>
                      <a:pt x="10" y="2"/>
                    </a:lnTo>
                    <a:lnTo>
                      <a:pt x="7" y="1"/>
                    </a:lnTo>
                    <a:lnTo>
                      <a:pt x="4" y="1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86" name="Freeform 52">
                <a:extLst>
                  <a:ext uri="{FF2B5EF4-FFF2-40B4-BE49-F238E27FC236}">
                    <a16:creationId xmlns:a16="http://schemas.microsoft.com/office/drawing/2014/main" id="{D387E02E-9CF0-4B8A-9946-477BE0A5AF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5" y="1657"/>
                <a:ext cx="10" cy="8"/>
              </a:xfrm>
              <a:custGeom>
                <a:avLst/>
                <a:gdLst>
                  <a:gd name="T0" fmla="*/ 4 w 10"/>
                  <a:gd name="T1" fmla="*/ 0 h 8"/>
                  <a:gd name="T2" fmla="*/ 0 w 10"/>
                  <a:gd name="T3" fmla="*/ 1 h 8"/>
                  <a:gd name="T4" fmla="*/ 0 w 10"/>
                  <a:gd name="T5" fmla="*/ 4 h 8"/>
                  <a:gd name="T6" fmla="*/ 0 w 10"/>
                  <a:gd name="T7" fmla="*/ 7 h 8"/>
                  <a:gd name="T8" fmla="*/ 4 w 10"/>
                  <a:gd name="T9" fmla="*/ 8 h 8"/>
                  <a:gd name="T10" fmla="*/ 6 w 10"/>
                  <a:gd name="T11" fmla="*/ 8 h 8"/>
                  <a:gd name="T12" fmla="*/ 7 w 10"/>
                  <a:gd name="T13" fmla="*/ 6 h 8"/>
                  <a:gd name="T14" fmla="*/ 10 w 10"/>
                  <a:gd name="T15" fmla="*/ 3 h 8"/>
                  <a:gd name="T16" fmla="*/ 10 w 10"/>
                  <a:gd name="T17" fmla="*/ 1 h 8"/>
                  <a:gd name="T18" fmla="*/ 6 w 10"/>
                  <a:gd name="T19" fmla="*/ 1 h 8"/>
                  <a:gd name="T20" fmla="*/ 4 w 10"/>
                  <a:gd name="T21" fmla="*/ 0 h 8"/>
                  <a:gd name="T22" fmla="*/ 4 w 10"/>
                  <a:gd name="T23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" h="8">
                    <a:moveTo>
                      <a:pt x="4" y="0"/>
                    </a:moveTo>
                    <a:lnTo>
                      <a:pt x="0" y="1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7" y="6"/>
                    </a:lnTo>
                    <a:lnTo>
                      <a:pt x="10" y="3"/>
                    </a:lnTo>
                    <a:lnTo>
                      <a:pt x="10" y="1"/>
                    </a:lnTo>
                    <a:lnTo>
                      <a:pt x="6" y="1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87" name="Freeform 53">
                <a:extLst>
                  <a:ext uri="{FF2B5EF4-FFF2-40B4-BE49-F238E27FC236}">
                    <a16:creationId xmlns:a16="http://schemas.microsoft.com/office/drawing/2014/main" id="{D450C346-9E69-4B19-9B2B-CBBD9B0ABC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7" y="1684"/>
                <a:ext cx="30" cy="26"/>
              </a:xfrm>
              <a:custGeom>
                <a:avLst/>
                <a:gdLst>
                  <a:gd name="T0" fmla="*/ 1 w 30"/>
                  <a:gd name="T1" fmla="*/ 22 h 26"/>
                  <a:gd name="T2" fmla="*/ 2 w 30"/>
                  <a:gd name="T3" fmla="*/ 24 h 26"/>
                  <a:gd name="T4" fmla="*/ 4 w 30"/>
                  <a:gd name="T5" fmla="*/ 25 h 26"/>
                  <a:gd name="T6" fmla="*/ 8 w 30"/>
                  <a:gd name="T7" fmla="*/ 26 h 26"/>
                  <a:gd name="T8" fmla="*/ 15 w 30"/>
                  <a:gd name="T9" fmla="*/ 25 h 26"/>
                  <a:gd name="T10" fmla="*/ 18 w 30"/>
                  <a:gd name="T11" fmla="*/ 25 h 26"/>
                  <a:gd name="T12" fmla="*/ 23 w 30"/>
                  <a:gd name="T13" fmla="*/ 23 h 26"/>
                  <a:gd name="T14" fmla="*/ 27 w 30"/>
                  <a:gd name="T15" fmla="*/ 22 h 26"/>
                  <a:gd name="T16" fmla="*/ 29 w 30"/>
                  <a:gd name="T17" fmla="*/ 19 h 26"/>
                  <a:gd name="T18" fmla="*/ 30 w 30"/>
                  <a:gd name="T19" fmla="*/ 16 h 26"/>
                  <a:gd name="T20" fmla="*/ 29 w 30"/>
                  <a:gd name="T21" fmla="*/ 8 h 26"/>
                  <a:gd name="T22" fmla="*/ 30 w 30"/>
                  <a:gd name="T23" fmla="*/ 6 h 26"/>
                  <a:gd name="T24" fmla="*/ 29 w 30"/>
                  <a:gd name="T25" fmla="*/ 2 h 26"/>
                  <a:gd name="T26" fmla="*/ 21 w 30"/>
                  <a:gd name="T27" fmla="*/ 0 h 26"/>
                  <a:gd name="T28" fmla="*/ 18 w 30"/>
                  <a:gd name="T29" fmla="*/ 0 h 26"/>
                  <a:gd name="T30" fmla="*/ 15 w 30"/>
                  <a:gd name="T31" fmla="*/ 1 h 26"/>
                  <a:gd name="T32" fmla="*/ 12 w 30"/>
                  <a:gd name="T33" fmla="*/ 0 h 26"/>
                  <a:gd name="T34" fmla="*/ 8 w 30"/>
                  <a:gd name="T35" fmla="*/ 2 h 26"/>
                  <a:gd name="T36" fmla="*/ 4 w 30"/>
                  <a:gd name="T37" fmla="*/ 5 h 26"/>
                  <a:gd name="T38" fmla="*/ 1 w 30"/>
                  <a:gd name="T39" fmla="*/ 10 h 26"/>
                  <a:gd name="T40" fmla="*/ 0 w 30"/>
                  <a:gd name="T41" fmla="*/ 13 h 26"/>
                  <a:gd name="T42" fmla="*/ 0 w 30"/>
                  <a:gd name="T43" fmla="*/ 15 h 26"/>
                  <a:gd name="T44" fmla="*/ 0 w 30"/>
                  <a:gd name="T45" fmla="*/ 18 h 26"/>
                  <a:gd name="T46" fmla="*/ 0 w 30"/>
                  <a:gd name="T47" fmla="*/ 20 h 26"/>
                  <a:gd name="T48" fmla="*/ 1 w 30"/>
                  <a:gd name="T49" fmla="*/ 22 h 26"/>
                  <a:gd name="T50" fmla="*/ 1 w 30"/>
                  <a:gd name="T51" fmla="*/ 22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" h="26">
                    <a:moveTo>
                      <a:pt x="1" y="22"/>
                    </a:moveTo>
                    <a:lnTo>
                      <a:pt x="2" y="24"/>
                    </a:lnTo>
                    <a:lnTo>
                      <a:pt x="4" y="25"/>
                    </a:lnTo>
                    <a:lnTo>
                      <a:pt x="8" y="26"/>
                    </a:lnTo>
                    <a:lnTo>
                      <a:pt x="15" y="25"/>
                    </a:lnTo>
                    <a:lnTo>
                      <a:pt x="18" y="25"/>
                    </a:lnTo>
                    <a:lnTo>
                      <a:pt x="23" y="23"/>
                    </a:lnTo>
                    <a:lnTo>
                      <a:pt x="27" y="22"/>
                    </a:lnTo>
                    <a:lnTo>
                      <a:pt x="29" y="19"/>
                    </a:lnTo>
                    <a:lnTo>
                      <a:pt x="30" y="16"/>
                    </a:lnTo>
                    <a:lnTo>
                      <a:pt x="29" y="8"/>
                    </a:lnTo>
                    <a:lnTo>
                      <a:pt x="30" y="6"/>
                    </a:lnTo>
                    <a:lnTo>
                      <a:pt x="29" y="2"/>
                    </a:lnTo>
                    <a:lnTo>
                      <a:pt x="21" y="0"/>
                    </a:lnTo>
                    <a:lnTo>
                      <a:pt x="18" y="0"/>
                    </a:lnTo>
                    <a:lnTo>
                      <a:pt x="15" y="1"/>
                    </a:lnTo>
                    <a:lnTo>
                      <a:pt x="12" y="0"/>
                    </a:lnTo>
                    <a:lnTo>
                      <a:pt x="8" y="2"/>
                    </a:lnTo>
                    <a:lnTo>
                      <a:pt x="4" y="5"/>
                    </a:lnTo>
                    <a:lnTo>
                      <a:pt x="1" y="10"/>
                    </a:lnTo>
                    <a:lnTo>
                      <a:pt x="0" y="13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0" y="20"/>
                    </a:lnTo>
                    <a:lnTo>
                      <a:pt x="1" y="22"/>
                    </a:lnTo>
                    <a:lnTo>
                      <a:pt x="1" y="2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88" name="Freeform 54">
                <a:extLst>
                  <a:ext uri="{FF2B5EF4-FFF2-40B4-BE49-F238E27FC236}">
                    <a16:creationId xmlns:a16="http://schemas.microsoft.com/office/drawing/2014/main" id="{3E6F7BFF-AB25-4F53-A6AB-FBBD1A68B4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66" y="1681"/>
                <a:ext cx="4" cy="4"/>
              </a:xfrm>
              <a:custGeom>
                <a:avLst/>
                <a:gdLst>
                  <a:gd name="T0" fmla="*/ 0 w 4"/>
                  <a:gd name="T1" fmla="*/ 0 h 4"/>
                  <a:gd name="T2" fmla="*/ 0 w 4"/>
                  <a:gd name="T3" fmla="*/ 2 h 4"/>
                  <a:gd name="T4" fmla="*/ 4 w 4"/>
                  <a:gd name="T5" fmla="*/ 4 h 4"/>
                  <a:gd name="T6" fmla="*/ 4 w 4"/>
                  <a:gd name="T7" fmla="*/ 2 h 4"/>
                  <a:gd name="T8" fmla="*/ 0 w 4"/>
                  <a:gd name="T9" fmla="*/ 0 h 4"/>
                  <a:gd name="T10" fmla="*/ 0 w 4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4">
                    <a:moveTo>
                      <a:pt x="0" y="0"/>
                    </a:moveTo>
                    <a:lnTo>
                      <a:pt x="0" y="2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89" name="Rectangle 55">
                <a:extLst>
                  <a:ext uri="{FF2B5EF4-FFF2-40B4-BE49-F238E27FC236}">
                    <a16:creationId xmlns:a16="http://schemas.microsoft.com/office/drawing/2014/main" id="{05693B65-5043-4CAA-8F7C-35EC9025601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21" y="1391"/>
                <a:ext cx="1" cy="1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90" name="Freeform 56">
                <a:extLst>
                  <a:ext uri="{FF2B5EF4-FFF2-40B4-BE49-F238E27FC236}">
                    <a16:creationId xmlns:a16="http://schemas.microsoft.com/office/drawing/2014/main" id="{59C07678-88DD-4FC2-BB8E-AB19041FAE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21" y="1331"/>
                <a:ext cx="35" cy="4"/>
              </a:xfrm>
              <a:custGeom>
                <a:avLst/>
                <a:gdLst>
                  <a:gd name="T0" fmla="*/ 0 w 35"/>
                  <a:gd name="T1" fmla="*/ 4 h 4"/>
                  <a:gd name="T2" fmla="*/ 0 w 35"/>
                  <a:gd name="T3" fmla="*/ 3 h 4"/>
                  <a:gd name="T4" fmla="*/ 22 w 35"/>
                  <a:gd name="T5" fmla="*/ 1 h 4"/>
                  <a:gd name="T6" fmla="*/ 30 w 35"/>
                  <a:gd name="T7" fmla="*/ 0 h 4"/>
                  <a:gd name="T8" fmla="*/ 35 w 35"/>
                  <a:gd name="T9" fmla="*/ 0 h 4"/>
                  <a:gd name="T10" fmla="*/ 30 w 35"/>
                  <a:gd name="T11" fmla="*/ 2 h 4"/>
                  <a:gd name="T12" fmla="*/ 24 w 35"/>
                  <a:gd name="T13" fmla="*/ 2 h 4"/>
                  <a:gd name="T14" fmla="*/ 18 w 35"/>
                  <a:gd name="T15" fmla="*/ 3 h 4"/>
                  <a:gd name="T16" fmla="*/ 12 w 35"/>
                  <a:gd name="T17" fmla="*/ 3 h 4"/>
                  <a:gd name="T18" fmla="*/ 4 w 35"/>
                  <a:gd name="T19" fmla="*/ 4 h 4"/>
                  <a:gd name="T20" fmla="*/ 0 w 35"/>
                  <a:gd name="T21" fmla="*/ 4 h 4"/>
                  <a:gd name="T22" fmla="*/ 0 w 35"/>
                  <a:gd name="T23" fmla="*/ 4 h 4"/>
                  <a:gd name="T24" fmla="*/ 0 w 35"/>
                  <a:gd name="T25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5" h="4">
                    <a:moveTo>
                      <a:pt x="0" y="4"/>
                    </a:moveTo>
                    <a:lnTo>
                      <a:pt x="0" y="3"/>
                    </a:lnTo>
                    <a:lnTo>
                      <a:pt x="22" y="1"/>
                    </a:lnTo>
                    <a:lnTo>
                      <a:pt x="30" y="0"/>
                    </a:lnTo>
                    <a:lnTo>
                      <a:pt x="35" y="0"/>
                    </a:lnTo>
                    <a:lnTo>
                      <a:pt x="30" y="2"/>
                    </a:lnTo>
                    <a:lnTo>
                      <a:pt x="24" y="2"/>
                    </a:lnTo>
                    <a:lnTo>
                      <a:pt x="18" y="3"/>
                    </a:lnTo>
                    <a:lnTo>
                      <a:pt x="12" y="3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91" name="Freeform 57">
                <a:extLst>
                  <a:ext uri="{FF2B5EF4-FFF2-40B4-BE49-F238E27FC236}">
                    <a16:creationId xmlns:a16="http://schemas.microsoft.com/office/drawing/2014/main" id="{8871E57A-C87C-4E9E-B570-B39B062485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21" y="1326"/>
                <a:ext cx="3" cy="2"/>
              </a:xfrm>
              <a:custGeom>
                <a:avLst/>
                <a:gdLst>
                  <a:gd name="T0" fmla="*/ 0 w 3"/>
                  <a:gd name="T1" fmla="*/ 2 h 2"/>
                  <a:gd name="T2" fmla="*/ 0 w 3"/>
                  <a:gd name="T3" fmla="*/ 0 h 2"/>
                  <a:gd name="T4" fmla="*/ 0 w 3"/>
                  <a:gd name="T5" fmla="*/ 0 h 2"/>
                  <a:gd name="T6" fmla="*/ 3 w 3"/>
                  <a:gd name="T7" fmla="*/ 2 h 2"/>
                  <a:gd name="T8" fmla="*/ 0 w 3"/>
                  <a:gd name="T9" fmla="*/ 2 h 2"/>
                  <a:gd name="T10" fmla="*/ 0 w 3"/>
                  <a:gd name="T11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2">
                    <a:moveTo>
                      <a:pt x="0" y="2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3" y="2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92" name="Freeform 58">
                <a:extLst>
                  <a:ext uri="{FF2B5EF4-FFF2-40B4-BE49-F238E27FC236}">
                    <a16:creationId xmlns:a16="http://schemas.microsoft.com/office/drawing/2014/main" id="{FB3AD00B-F17B-46D0-B697-2A9F0CF8A5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21" y="1306"/>
                <a:ext cx="0" cy="1"/>
              </a:xfrm>
              <a:custGeom>
                <a:avLst/>
                <a:gdLst>
                  <a:gd name="T0" fmla="*/ 1 h 1"/>
                  <a:gd name="T1" fmla="*/ 0 h 1"/>
                  <a:gd name="T2" fmla="*/ 1 h 1"/>
                  <a:gd name="T3" fmla="*/ 1 h 1"/>
                  <a:gd name="T4" fmla="*/ 1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1">
                    <a:moveTo>
                      <a:pt x="0" y="1"/>
                    </a:move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93" name="Freeform 59">
                <a:extLst>
                  <a:ext uri="{FF2B5EF4-FFF2-40B4-BE49-F238E27FC236}">
                    <a16:creationId xmlns:a16="http://schemas.microsoft.com/office/drawing/2014/main" id="{5836CE95-0722-48D7-90FA-5397E9E2B7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20" y="1305"/>
                <a:ext cx="1" cy="1"/>
              </a:xfrm>
              <a:custGeom>
                <a:avLst/>
                <a:gdLst>
                  <a:gd name="T0" fmla="*/ 1 w 1"/>
                  <a:gd name="T1" fmla="*/ 1 h 1"/>
                  <a:gd name="T2" fmla="*/ 0 w 1"/>
                  <a:gd name="T3" fmla="*/ 0 h 1"/>
                  <a:gd name="T4" fmla="*/ 1 w 1"/>
                  <a:gd name="T5" fmla="*/ 0 h 1"/>
                  <a:gd name="T6" fmla="*/ 1 w 1"/>
                  <a:gd name="T7" fmla="*/ 1 h 1"/>
                  <a:gd name="T8" fmla="*/ 1 w 1"/>
                  <a:gd name="T9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1">
                    <a:moveTo>
                      <a:pt x="1" y="1"/>
                    </a:moveTo>
                    <a:lnTo>
                      <a:pt x="0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94" name="Freeform 60">
                <a:extLst>
                  <a:ext uri="{FF2B5EF4-FFF2-40B4-BE49-F238E27FC236}">
                    <a16:creationId xmlns:a16="http://schemas.microsoft.com/office/drawing/2014/main" id="{F5D52485-CD94-4315-A196-0187B8D897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21" y="1304"/>
                <a:ext cx="3" cy="3"/>
              </a:xfrm>
              <a:custGeom>
                <a:avLst/>
                <a:gdLst>
                  <a:gd name="T0" fmla="*/ 0 w 3"/>
                  <a:gd name="T1" fmla="*/ 1 h 3"/>
                  <a:gd name="T2" fmla="*/ 0 w 3"/>
                  <a:gd name="T3" fmla="*/ 0 h 3"/>
                  <a:gd name="T4" fmla="*/ 0 w 3"/>
                  <a:gd name="T5" fmla="*/ 0 h 3"/>
                  <a:gd name="T6" fmla="*/ 3 w 3"/>
                  <a:gd name="T7" fmla="*/ 1 h 3"/>
                  <a:gd name="T8" fmla="*/ 3 w 3"/>
                  <a:gd name="T9" fmla="*/ 3 h 3"/>
                  <a:gd name="T10" fmla="*/ 1 w 3"/>
                  <a:gd name="T11" fmla="*/ 1 h 3"/>
                  <a:gd name="T12" fmla="*/ 0 w 3"/>
                  <a:gd name="T13" fmla="*/ 1 h 3"/>
                  <a:gd name="T14" fmla="*/ 0 w 3"/>
                  <a:gd name="T15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" h="3">
                    <a:moveTo>
                      <a:pt x="0" y="1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3" y="1"/>
                    </a:lnTo>
                    <a:lnTo>
                      <a:pt x="3" y="3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95" name="Freeform 61">
                <a:extLst>
                  <a:ext uri="{FF2B5EF4-FFF2-40B4-BE49-F238E27FC236}">
                    <a16:creationId xmlns:a16="http://schemas.microsoft.com/office/drawing/2014/main" id="{B2A3A276-92D4-4797-A9C8-3D93477906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64" y="2549"/>
                <a:ext cx="21" cy="8"/>
              </a:xfrm>
              <a:custGeom>
                <a:avLst/>
                <a:gdLst>
                  <a:gd name="T0" fmla="*/ 18 w 21"/>
                  <a:gd name="T1" fmla="*/ 8 h 8"/>
                  <a:gd name="T2" fmla="*/ 19 w 21"/>
                  <a:gd name="T3" fmla="*/ 7 h 8"/>
                  <a:gd name="T4" fmla="*/ 21 w 21"/>
                  <a:gd name="T5" fmla="*/ 5 h 8"/>
                  <a:gd name="T6" fmla="*/ 20 w 21"/>
                  <a:gd name="T7" fmla="*/ 2 h 8"/>
                  <a:gd name="T8" fmla="*/ 18 w 21"/>
                  <a:gd name="T9" fmla="*/ 1 h 8"/>
                  <a:gd name="T10" fmla="*/ 2 w 21"/>
                  <a:gd name="T11" fmla="*/ 0 h 8"/>
                  <a:gd name="T12" fmla="*/ 0 w 21"/>
                  <a:gd name="T13" fmla="*/ 2 h 8"/>
                  <a:gd name="T14" fmla="*/ 2 w 21"/>
                  <a:gd name="T15" fmla="*/ 8 h 8"/>
                  <a:gd name="T16" fmla="*/ 4 w 21"/>
                  <a:gd name="T17" fmla="*/ 8 h 8"/>
                  <a:gd name="T18" fmla="*/ 6 w 21"/>
                  <a:gd name="T19" fmla="*/ 8 h 8"/>
                  <a:gd name="T20" fmla="*/ 12 w 21"/>
                  <a:gd name="T21" fmla="*/ 8 h 8"/>
                  <a:gd name="T22" fmla="*/ 14 w 21"/>
                  <a:gd name="T23" fmla="*/ 8 h 8"/>
                  <a:gd name="T24" fmla="*/ 18 w 21"/>
                  <a:gd name="T25" fmla="*/ 8 h 8"/>
                  <a:gd name="T26" fmla="*/ 18 w 21"/>
                  <a:gd name="T27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1" h="8">
                    <a:moveTo>
                      <a:pt x="18" y="8"/>
                    </a:moveTo>
                    <a:lnTo>
                      <a:pt x="19" y="7"/>
                    </a:lnTo>
                    <a:lnTo>
                      <a:pt x="21" y="5"/>
                    </a:lnTo>
                    <a:lnTo>
                      <a:pt x="20" y="2"/>
                    </a:lnTo>
                    <a:lnTo>
                      <a:pt x="18" y="1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12" y="8"/>
                    </a:lnTo>
                    <a:lnTo>
                      <a:pt x="14" y="8"/>
                    </a:lnTo>
                    <a:lnTo>
                      <a:pt x="18" y="8"/>
                    </a:lnTo>
                    <a:lnTo>
                      <a:pt x="18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96" name="Freeform 62">
                <a:extLst>
                  <a:ext uri="{FF2B5EF4-FFF2-40B4-BE49-F238E27FC236}">
                    <a16:creationId xmlns:a16="http://schemas.microsoft.com/office/drawing/2014/main" id="{E178C496-CC02-49FA-A473-AF8315BC18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2" y="2111"/>
                <a:ext cx="33" cy="17"/>
              </a:xfrm>
              <a:custGeom>
                <a:avLst/>
                <a:gdLst>
                  <a:gd name="T0" fmla="*/ 29 w 33"/>
                  <a:gd name="T1" fmla="*/ 8 h 17"/>
                  <a:gd name="T2" fmla="*/ 18 w 33"/>
                  <a:gd name="T3" fmla="*/ 9 h 17"/>
                  <a:gd name="T4" fmla="*/ 13 w 33"/>
                  <a:gd name="T5" fmla="*/ 7 h 17"/>
                  <a:gd name="T6" fmla="*/ 10 w 33"/>
                  <a:gd name="T7" fmla="*/ 8 h 17"/>
                  <a:gd name="T8" fmla="*/ 7 w 33"/>
                  <a:gd name="T9" fmla="*/ 8 h 17"/>
                  <a:gd name="T10" fmla="*/ 8 w 33"/>
                  <a:gd name="T11" fmla="*/ 6 h 17"/>
                  <a:gd name="T12" fmla="*/ 5 w 33"/>
                  <a:gd name="T13" fmla="*/ 3 h 17"/>
                  <a:gd name="T14" fmla="*/ 7 w 33"/>
                  <a:gd name="T15" fmla="*/ 1 h 17"/>
                  <a:gd name="T16" fmla="*/ 4 w 33"/>
                  <a:gd name="T17" fmla="*/ 0 h 17"/>
                  <a:gd name="T18" fmla="*/ 0 w 33"/>
                  <a:gd name="T19" fmla="*/ 6 h 17"/>
                  <a:gd name="T20" fmla="*/ 4 w 33"/>
                  <a:gd name="T21" fmla="*/ 6 h 17"/>
                  <a:gd name="T22" fmla="*/ 5 w 33"/>
                  <a:gd name="T23" fmla="*/ 9 h 17"/>
                  <a:gd name="T24" fmla="*/ 10 w 33"/>
                  <a:gd name="T25" fmla="*/ 10 h 17"/>
                  <a:gd name="T26" fmla="*/ 10 w 33"/>
                  <a:gd name="T27" fmla="*/ 12 h 17"/>
                  <a:gd name="T28" fmla="*/ 13 w 33"/>
                  <a:gd name="T29" fmla="*/ 14 h 17"/>
                  <a:gd name="T30" fmla="*/ 16 w 33"/>
                  <a:gd name="T31" fmla="*/ 14 h 17"/>
                  <a:gd name="T32" fmla="*/ 18 w 33"/>
                  <a:gd name="T33" fmla="*/ 12 h 17"/>
                  <a:gd name="T34" fmla="*/ 22 w 33"/>
                  <a:gd name="T35" fmla="*/ 14 h 17"/>
                  <a:gd name="T36" fmla="*/ 22 w 33"/>
                  <a:gd name="T37" fmla="*/ 17 h 17"/>
                  <a:gd name="T38" fmla="*/ 24 w 33"/>
                  <a:gd name="T39" fmla="*/ 17 h 17"/>
                  <a:gd name="T40" fmla="*/ 27 w 33"/>
                  <a:gd name="T41" fmla="*/ 17 h 17"/>
                  <a:gd name="T42" fmla="*/ 27 w 33"/>
                  <a:gd name="T43" fmla="*/ 14 h 17"/>
                  <a:gd name="T44" fmla="*/ 29 w 33"/>
                  <a:gd name="T45" fmla="*/ 11 h 17"/>
                  <a:gd name="T46" fmla="*/ 33 w 33"/>
                  <a:gd name="T47" fmla="*/ 9 h 17"/>
                  <a:gd name="T48" fmla="*/ 31 w 33"/>
                  <a:gd name="T49" fmla="*/ 8 h 17"/>
                  <a:gd name="T50" fmla="*/ 29 w 33"/>
                  <a:gd name="T51" fmla="*/ 8 h 17"/>
                  <a:gd name="T52" fmla="*/ 29 w 33"/>
                  <a:gd name="T53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33" h="17">
                    <a:moveTo>
                      <a:pt x="29" y="8"/>
                    </a:moveTo>
                    <a:lnTo>
                      <a:pt x="18" y="9"/>
                    </a:lnTo>
                    <a:lnTo>
                      <a:pt x="13" y="7"/>
                    </a:lnTo>
                    <a:lnTo>
                      <a:pt x="10" y="8"/>
                    </a:lnTo>
                    <a:lnTo>
                      <a:pt x="7" y="8"/>
                    </a:lnTo>
                    <a:lnTo>
                      <a:pt x="8" y="6"/>
                    </a:lnTo>
                    <a:lnTo>
                      <a:pt x="5" y="3"/>
                    </a:lnTo>
                    <a:lnTo>
                      <a:pt x="7" y="1"/>
                    </a:lnTo>
                    <a:lnTo>
                      <a:pt x="4" y="0"/>
                    </a:lnTo>
                    <a:lnTo>
                      <a:pt x="0" y="6"/>
                    </a:lnTo>
                    <a:lnTo>
                      <a:pt x="4" y="6"/>
                    </a:lnTo>
                    <a:lnTo>
                      <a:pt x="5" y="9"/>
                    </a:lnTo>
                    <a:lnTo>
                      <a:pt x="10" y="10"/>
                    </a:lnTo>
                    <a:lnTo>
                      <a:pt x="10" y="12"/>
                    </a:lnTo>
                    <a:lnTo>
                      <a:pt x="13" y="14"/>
                    </a:lnTo>
                    <a:lnTo>
                      <a:pt x="16" y="14"/>
                    </a:lnTo>
                    <a:lnTo>
                      <a:pt x="18" y="12"/>
                    </a:lnTo>
                    <a:lnTo>
                      <a:pt x="22" y="14"/>
                    </a:lnTo>
                    <a:lnTo>
                      <a:pt x="22" y="17"/>
                    </a:lnTo>
                    <a:lnTo>
                      <a:pt x="24" y="17"/>
                    </a:lnTo>
                    <a:lnTo>
                      <a:pt x="27" y="17"/>
                    </a:lnTo>
                    <a:lnTo>
                      <a:pt x="27" y="14"/>
                    </a:lnTo>
                    <a:lnTo>
                      <a:pt x="29" y="11"/>
                    </a:lnTo>
                    <a:lnTo>
                      <a:pt x="33" y="9"/>
                    </a:lnTo>
                    <a:lnTo>
                      <a:pt x="31" y="8"/>
                    </a:lnTo>
                    <a:lnTo>
                      <a:pt x="29" y="8"/>
                    </a:lnTo>
                    <a:lnTo>
                      <a:pt x="29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97" name="Freeform 63">
                <a:extLst>
                  <a:ext uri="{FF2B5EF4-FFF2-40B4-BE49-F238E27FC236}">
                    <a16:creationId xmlns:a16="http://schemas.microsoft.com/office/drawing/2014/main" id="{8C6FF026-562C-46D3-A913-28CE0024F0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32" y="1636"/>
                <a:ext cx="42" cy="27"/>
              </a:xfrm>
              <a:custGeom>
                <a:avLst/>
                <a:gdLst>
                  <a:gd name="T0" fmla="*/ 4 w 42"/>
                  <a:gd name="T1" fmla="*/ 7 h 27"/>
                  <a:gd name="T2" fmla="*/ 10 w 42"/>
                  <a:gd name="T3" fmla="*/ 10 h 27"/>
                  <a:gd name="T4" fmla="*/ 4 w 42"/>
                  <a:gd name="T5" fmla="*/ 8 h 27"/>
                  <a:gd name="T6" fmla="*/ 2 w 42"/>
                  <a:gd name="T7" fmla="*/ 10 h 27"/>
                  <a:gd name="T8" fmla="*/ 0 w 42"/>
                  <a:gd name="T9" fmla="*/ 12 h 27"/>
                  <a:gd name="T10" fmla="*/ 4 w 42"/>
                  <a:gd name="T11" fmla="*/ 13 h 27"/>
                  <a:gd name="T12" fmla="*/ 6 w 42"/>
                  <a:gd name="T13" fmla="*/ 15 h 27"/>
                  <a:gd name="T14" fmla="*/ 4 w 42"/>
                  <a:gd name="T15" fmla="*/ 14 h 27"/>
                  <a:gd name="T16" fmla="*/ 0 w 42"/>
                  <a:gd name="T17" fmla="*/ 16 h 27"/>
                  <a:gd name="T18" fmla="*/ 4 w 42"/>
                  <a:gd name="T19" fmla="*/ 17 h 27"/>
                  <a:gd name="T20" fmla="*/ 6 w 42"/>
                  <a:gd name="T21" fmla="*/ 19 h 27"/>
                  <a:gd name="T22" fmla="*/ 12 w 42"/>
                  <a:gd name="T23" fmla="*/ 19 h 27"/>
                  <a:gd name="T24" fmla="*/ 17 w 42"/>
                  <a:gd name="T25" fmla="*/ 21 h 27"/>
                  <a:gd name="T26" fmla="*/ 20 w 42"/>
                  <a:gd name="T27" fmla="*/ 19 h 27"/>
                  <a:gd name="T28" fmla="*/ 22 w 42"/>
                  <a:gd name="T29" fmla="*/ 21 h 27"/>
                  <a:gd name="T30" fmla="*/ 19 w 42"/>
                  <a:gd name="T31" fmla="*/ 21 h 27"/>
                  <a:gd name="T32" fmla="*/ 16 w 42"/>
                  <a:gd name="T33" fmla="*/ 22 h 27"/>
                  <a:gd name="T34" fmla="*/ 13 w 42"/>
                  <a:gd name="T35" fmla="*/ 21 h 27"/>
                  <a:gd name="T36" fmla="*/ 11 w 42"/>
                  <a:gd name="T37" fmla="*/ 23 h 27"/>
                  <a:gd name="T38" fmla="*/ 13 w 42"/>
                  <a:gd name="T39" fmla="*/ 24 h 27"/>
                  <a:gd name="T40" fmla="*/ 16 w 42"/>
                  <a:gd name="T41" fmla="*/ 25 h 27"/>
                  <a:gd name="T42" fmla="*/ 20 w 42"/>
                  <a:gd name="T43" fmla="*/ 27 h 27"/>
                  <a:gd name="T44" fmla="*/ 37 w 42"/>
                  <a:gd name="T45" fmla="*/ 21 h 27"/>
                  <a:gd name="T46" fmla="*/ 39 w 42"/>
                  <a:gd name="T47" fmla="*/ 20 h 27"/>
                  <a:gd name="T48" fmla="*/ 42 w 42"/>
                  <a:gd name="T49" fmla="*/ 17 h 27"/>
                  <a:gd name="T50" fmla="*/ 41 w 42"/>
                  <a:gd name="T51" fmla="*/ 15 h 27"/>
                  <a:gd name="T52" fmla="*/ 40 w 42"/>
                  <a:gd name="T53" fmla="*/ 12 h 27"/>
                  <a:gd name="T54" fmla="*/ 31 w 42"/>
                  <a:gd name="T55" fmla="*/ 10 h 27"/>
                  <a:gd name="T56" fmla="*/ 29 w 42"/>
                  <a:gd name="T57" fmla="*/ 7 h 27"/>
                  <a:gd name="T58" fmla="*/ 27 w 42"/>
                  <a:gd name="T59" fmla="*/ 5 h 27"/>
                  <a:gd name="T60" fmla="*/ 21 w 42"/>
                  <a:gd name="T61" fmla="*/ 2 h 27"/>
                  <a:gd name="T62" fmla="*/ 10 w 42"/>
                  <a:gd name="T63" fmla="*/ 0 h 27"/>
                  <a:gd name="T64" fmla="*/ 7 w 42"/>
                  <a:gd name="T65" fmla="*/ 0 h 27"/>
                  <a:gd name="T66" fmla="*/ 4 w 42"/>
                  <a:gd name="T67" fmla="*/ 0 h 27"/>
                  <a:gd name="T68" fmla="*/ 2 w 42"/>
                  <a:gd name="T69" fmla="*/ 4 h 27"/>
                  <a:gd name="T70" fmla="*/ 2 w 42"/>
                  <a:gd name="T71" fmla="*/ 6 h 27"/>
                  <a:gd name="T72" fmla="*/ 4 w 42"/>
                  <a:gd name="T73" fmla="*/ 7 h 27"/>
                  <a:gd name="T74" fmla="*/ 4 w 42"/>
                  <a:gd name="T75" fmla="*/ 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42" h="27">
                    <a:moveTo>
                      <a:pt x="4" y="7"/>
                    </a:moveTo>
                    <a:lnTo>
                      <a:pt x="10" y="10"/>
                    </a:lnTo>
                    <a:lnTo>
                      <a:pt x="4" y="8"/>
                    </a:lnTo>
                    <a:lnTo>
                      <a:pt x="2" y="10"/>
                    </a:lnTo>
                    <a:lnTo>
                      <a:pt x="0" y="12"/>
                    </a:lnTo>
                    <a:lnTo>
                      <a:pt x="4" y="13"/>
                    </a:lnTo>
                    <a:lnTo>
                      <a:pt x="6" y="15"/>
                    </a:lnTo>
                    <a:lnTo>
                      <a:pt x="4" y="14"/>
                    </a:lnTo>
                    <a:lnTo>
                      <a:pt x="0" y="16"/>
                    </a:lnTo>
                    <a:lnTo>
                      <a:pt x="4" y="17"/>
                    </a:lnTo>
                    <a:lnTo>
                      <a:pt x="6" y="19"/>
                    </a:lnTo>
                    <a:lnTo>
                      <a:pt x="12" y="19"/>
                    </a:lnTo>
                    <a:lnTo>
                      <a:pt x="17" y="21"/>
                    </a:lnTo>
                    <a:lnTo>
                      <a:pt x="20" y="19"/>
                    </a:lnTo>
                    <a:lnTo>
                      <a:pt x="22" y="21"/>
                    </a:lnTo>
                    <a:lnTo>
                      <a:pt x="19" y="21"/>
                    </a:lnTo>
                    <a:lnTo>
                      <a:pt x="16" y="22"/>
                    </a:lnTo>
                    <a:lnTo>
                      <a:pt x="13" y="21"/>
                    </a:lnTo>
                    <a:lnTo>
                      <a:pt x="11" y="23"/>
                    </a:lnTo>
                    <a:lnTo>
                      <a:pt x="13" y="24"/>
                    </a:lnTo>
                    <a:lnTo>
                      <a:pt x="16" y="25"/>
                    </a:lnTo>
                    <a:lnTo>
                      <a:pt x="20" y="27"/>
                    </a:lnTo>
                    <a:lnTo>
                      <a:pt x="37" y="21"/>
                    </a:lnTo>
                    <a:lnTo>
                      <a:pt x="39" y="20"/>
                    </a:lnTo>
                    <a:lnTo>
                      <a:pt x="42" y="17"/>
                    </a:lnTo>
                    <a:lnTo>
                      <a:pt x="41" y="15"/>
                    </a:lnTo>
                    <a:lnTo>
                      <a:pt x="40" y="12"/>
                    </a:lnTo>
                    <a:lnTo>
                      <a:pt x="31" y="10"/>
                    </a:lnTo>
                    <a:lnTo>
                      <a:pt x="29" y="7"/>
                    </a:lnTo>
                    <a:lnTo>
                      <a:pt x="27" y="5"/>
                    </a:lnTo>
                    <a:lnTo>
                      <a:pt x="21" y="2"/>
                    </a:lnTo>
                    <a:lnTo>
                      <a:pt x="10" y="0"/>
                    </a:lnTo>
                    <a:lnTo>
                      <a:pt x="7" y="0"/>
                    </a:lnTo>
                    <a:lnTo>
                      <a:pt x="4" y="0"/>
                    </a:lnTo>
                    <a:lnTo>
                      <a:pt x="2" y="4"/>
                    </a:lnTo>
                    <a:lnTo>
                      <a:pt x="2" y="6"/>
                    </a:lnTo>
                    <a:lnTo>
                      <a:pt x="4" y="7"/>
                    </a:lnTo>
                    <a:lnTo>
                      <a:pt x="4" y="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98" name="Freeform 64">
                <a:extLst>
                  <a:ext uri="{FF2B5EF4-FFF2-40B4-BE49-F238E27FC236}">
                    <a16:creationId xmlns:a16="http://schemas.microsoft.com/office/drawing/2014/main" id="{8E380526-3F9A-4776-9823-97AB252C26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1" y="2059"/>
                <a:ext cx="39" cy="15"/>
              </a:xfrm>
              <a:custGeom>
                <a:avLst/>
                <a:gdLst>
                  <a:gd name="T0" fmla="*/ 35 w 39"/>
                  <a:gd name="T1" fmla="*/ 10 h 15"/>
                  <a:gd name="T2" fmla="*/ 33 w 39"/>
                  <a:gd name="T3" fmla="*/ 9 h 15"/>
                  <a:gd name="T4" fmla="*/ 27 w 39"/>
                  <a:gd name="T5" fmla="*/ 6 h 15"/>
                  <a:gd name="T6" fmla="*/ 19 w 39"/>
                  <a:gd name="T7" fmla="*/ 2 h 15"/>
                  <a:gd name="T8" fmla="*/ 16 w 39"/>
                  <a:gd name="T9" fmla="*/ 2 h 15"/>
                  <a:gd name="T10" fmla="*/ 14 w 39"/>
                  <a:gd name="T11" fmla="*/ 1 h 15"/>
                  <a:gd name="T12" fmla="*/ 9 w 39"/>
                  <a:gd name="T13" fmla="*/ 1 h 15"/>
                  <a:gd name="T14" fmla="*/ 6 w 39"/>
                  <a:gd name="T15" fmla="*/ 0 h 15"/>
                  <a:gd name="T16" fmla="*/ 0 w 39"/>
                  <a:gd name="T17" fmla="*/ 1 h 15"/>
                  <a:gd name="T18" fmla="*/ 3 w 39"/>
                  <a:gd name="T19" fmla="*/ 2 h 15"/>
                  <a:gd name="T20" fmla="*/ 9 w 39"/>
                  <a:gd name="T21" fmla="*/ 4 h 15"/>
                  <a:gd name="T22" fmla="*/ 11 w 39"/>
                  <a:gd name="T23" fmla="*/ 7 h 15"/>
                  <a:gd name="T24" fmla="*/ 13 w 39"/>
                  <a:gd name="T25" fmla="*/ 9 h 15"/>
                  <a:gd name="T26" fmla="*/ 16 w 39"/>
                  <a:gd name="T27" fmla="*/ 10 h 15"/>
                  <a:gd name="T28" fmla="*/ 24 w 39"/>
                  <a:gd name="T29" fmla="*/ 13 h 15"/>
                  <a:gd name="T30" fmla="*/ 32 w 39"/>
                  <a:gd name="T31" fmla="*/ 15 h 15"/>
                  <a:gd name="T32" fmla="*/ 37 w 39"/>
                  <a:gd name="T33" fmla="*/ 15 h 15"/>
                  <a:gd name="T34" fmla="*/ 39 w 39"/>
                  <a:gd name="T35" fmla="*/ 12 h 15"/>
                  <a:gd name="T36" fmla="*/ 35 w 39"/>
                  <a:gd name="T37" fmla="*/ 1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9" h="15">
                    <a:moveTo>
                      <a:pt x="35" y="10"/>
                    </a:moveTo>
                    <a:lnTo>
                      <a:pt x="33" y="9"/>
                    </a:lnTo>
                    <a:lnTo>
                      <a:pt x="27" y="6"/>
                    </a:lnTo>
                    <a:lnTo>
                      <a:pt x="19" y="2"/>
                    </a:lnTo>
                    <a:lnTo>
                      <a:pt x="16" y="2"/>
                    </a:lnTo>
                    <a:lnTo>
                      <a:pt x="14" y="1"/>
                    </a:lnTo>
                    <a:lnTo>
                      <a:pt x="9" y="1"/>
                    </a:lnTo>
                    <a:lnTo>
                      <a:pt x="6" y="0"/>
                    </a:lnTo>
                    <a:lnTo>
                      <a:pt x="0" y="1"/>
                    </a:lnTo>
                    <a:lnTo>
                      <a:pt x="3" y="2"/>
                    </a:lnTo>
                    <a:lnTo>
                      <a:pt x="9" y="4"/>
                    </a:lnTo>
                    <a:lnTo>
                      <a:pt x="11" y="7"/>
                    </a:lnTo>
                    <a:lnTo>
                      <a:pt x="13" y="9"/>
                    </a:lnTo>
                    <a:lnTo>
                      <a:pt x="16" y="10"/>
                    </a:lnTo>
                    <a:lnTo>
                      <a:pt x="24" y="13"/>
                    </a:lnTo>
                    <a:lnTo>
                      <a:pt x="32" y="15"/>
                    </a:lnTo>
                    <a:lnTo>
                      <a:pt x="37" y="15"/>
                    </a:lnTo>
                    <a:lnTo>
                      <a:pt x="39" y="12"/>
                    </a:lnTo>
                    <a:lnTo>
                      <a:pt x="35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99" name="Freeform 65">
                <a:extLst>
                  <a:ext uri="{FF2B5EF4-FFF2-40B4-BE49-F238E27FC236}">
                    <a16:creationId xmlns:a16="http://schemas.microsoft.com/office/drawing/2014/main" id="{FA4EC948-76CD-40D8-9E15-F1256DAF29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22" y="1274"/>
                <a:ext cx="11" cy="4"/>
              </a:xfrm>
              <a:custGeom>
                <a:avLst/>
                <a:gdLst>
                  <a:gd name="T0" fmla="*/ 1 w 11"/>
                  <a:gd name="T1" fmla="*/ 4 h 4"/>
                  <a:gd name="T2" fmla="*/ 8 w 11"/>
                  <a:gd name="T3" fmla="*/ 4 h 4"/>
                  <a:gd name="T4" fmla="*/ 11 w 11"/>
                  <a:gd name="T5" fmla="*/ 2 h 4"/>
                  <a:gd name="T6" fmla="*/ 9 w 11"/>
                  <a:gd name="T7" fmla="*/ 1 h 4"/>
                  <a:gd name="T8" fmla="*/ 2 w 11"/>
                  <a:gd name="T9" fmla="*/ 0 h 4"/>
                  <a:gd name="T10" fmla="*/ 0 w 11"/>
                  <a:gd name="T11" fmla="*/ 1 h 4"/>
                  <a:gd name="T12" fmla="*/ 1 w 11"/>
                  <a:gd name="T13" fmla="*/ 4 h 4"/>
                  <a:gd name="T14" fmla="*/ 1 w 11"/>
                  <a:gd name="T15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4">
                    <a:moveTo>
                      <a:pt x="1" y="4"/>
                    </a:moveTo>
                    <a:lnTo>
                      <a:pt x="8" y="4"/>
                    </a:lnTo>
                    <a:lnTo>
                      <a:pt x="11" y="2"/>
                    </a:lnTo>
                    <a:lnTo>
                      <a:pt x="9" y="1"/>
                    </a:lnTo>
                    <a:lnTo>
                      <a:pt x="2" y="0"/>
                    </a:lnTo>
                    <a:lnTo>
                      <a:pt x="0" y="1"/>
                    </a:lnTo>
                    <a:lnTo>
                      <a:pt x="1" y="4"/>
                    </a:lnTo>
                    <a:lnTo>
                      <a:pt x="1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00" name="Freeform 66">
                <a:extLst>
                  <a:ext uri="{FF2B5EF4-FFF2-40B4-BE49-F238E27FC236}">
                    <a16:creationId xmlns:a16="http://schemas.microsoft.com/office/drawing/2014/main" id="{A2214696-7645-457F-B97A-5771083B78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32" y="1281"/>
                <a:ext cx="43" cy="21"/>
              </a:xfrm>
              <a:custGeom>
                <a:avLst/>
                <a:gdLst>
                  <a:gd name="T0" fmla="*/ 6 w 43"/>
                  <a:gd name="T1" fmla="*/ 6 h 21"/>
                  <a:gd name="T2" fmla="*/ 11 w 43"/>
                  <a:gd name="T3" fmla="*/ 11 h 21"/>
                  <a:gd name="T4" fmla="*/ 28 w 43"/>
                  <a:gd name="T5" fmla="*/ 16 h 21"/>
                  <a:gd name="T6" fmla="*/ 31 w 43"/>
                  <a:gd name="T7" fmla="*/ 17 h 21"/>
                  <a:gd name="T8" fmla="*/ 34 w 43"/>
                  <a:gd name="T9" fmla="*/ 20 h 21"/>
                  <a:gd name="T10" fmla="*/ 36 w 43"/>
                  <a:gd name="T11" fmla="*/ 21 h 21"/>
                  <a:gd name="T12" fmla="*/ 39 w 43"/>
                  <a:gd name="T13" fmla="*/ 20 h 21"/>
                  <a:gd name="T14" fmla="*/ 36 w 43"/>
                  <a:gd name="T15" fmla="*/ 15 h 21"/>
                  <a:gd name="T16" fmla="*/ 39 w 43"/>
                  <a:gd name="T17" fmla="*/ 13 h 21"/>
                  <a:gd name="T18" fmla="*/ 42 w 43"/>
                  <a:gd name="T19" fmla="*/ 12 h 21"/>
                  <a:gd name="T20" fmla="*/ 43 w 43"/>
                  <a:gd name="T21" fmla="*/ 9 h 21"/>
                  <a:gd name="T22" fmla="*/ 41 w 43"/>
                  <a:gd name="T23" fmla="*/ 8 h 21"/>
                  <a:gd name="T24" fmla="*/ 38 w 43"/>
                  <a:gd name="T25" fmla="*/ 7 h 21"/>
                  <a:gd name="T26" fmla="*/ 35 w 43"/>
                  <a:gd name="T27" fmla="*/ 6 h 21"/>
                  <a:gd name="T28" fmla="*/ 24 w 43"/>
                  <a:gd name="T29" fmla="*/ 2 h 21"/>
                  <a:gd name="T30" fmla="*/ 18 w 43"/>
                  <a:gd name="T31" fmla="*/ 0 h 21"/>
                  <a:gd name="T32" fmla="*/ 13 w 43"/>
                  <a:gd name="T33" fmla="*/ 0 h 21"/>
                  <a:gd name="T34" fmla="*/ 9 w 43"/>
                  <a:gd name="T35" fmla="*/ 1 h 21"/>
                  <a:gd name="T36" fmla="*/ 0 w 43"/>
                  <a:gd name="T37" fmla="*/ 1 h 21"/>
                  <a:gd name="T38" fmla="*/ 6 w 43"/>
                  <a:gd name="T39" fmla="*/ 6 h 21"/>
                  <a:gd name="T40" fmla="*/ 6 w 43"/>
                  <a:gd name="T41" fmla="*/ 6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3" h="21">
                    <a:moveTo>
                      <a:pt x="6" y="6"/>
                    </a:moveTo>
                    <a:lnTo>
                      <a:pt x="11" y="11"/>
                    </a:lnTo>
                    <a:lnTo>
                      <a:pt x="28" y="16"/>
                    </a:lnTo>
                    <a:lnTo>
                      <a:pt x="31" y="17"/>
                    </a:lnTo>
                    <a:lnTo>
                      <a:pt x="34" y="20"/>
                    </a:lnTo>
                    <a:lnTo>
                      <a:pt x="36" y="21"/>
                    </a:lnTo>
                    <a:lnTo>
                      <a:pt x="39" y="20"/>
                    </a:lnTo>
                    <a:lnTo>
                      <a:pt x="36" y="15"/>
                    </a:lnTo>
                    <a:lnTo>
                      <a:pt x="39" y="13"/>
                    </a:lnTo>
                    <a:lnTo>
                      <a:pt x="42" y="12"/>
                    </a:lnTo>
                    <a:lnTo>
                      <a:pt x="43" y="9"/>
                    </a:lnTo>
                    <a:lnTo>
                      <a:pt x="41" y="8"/>
                    </a:lnTo>
                    <a:lnTo>
                      <a:pt x="38" y="7"/>
                    </a:lnTo>
                    <a:lnTo>
                      <a:pt x="35" y="6"/>
                    </a:lnTo>
                    <a:lnTo>
                      <a:pt x="24" y="2"/>
                    </a:lnTo>
                    <a:lnTo>
                      <a:pt x="18" y="0"/>
                    </a:lnTo>
                    <a:lnTo>
                      <a:pt x="13" y="0"/>
                    </a:lnTo>
                    <a:lnTo>
                      <a:pt x="9" y="1"/>
                    </a:lnTo>
                    <a:lnTo>
                      <a:pt x="0" y="1"/>
                    </a:lnTo>
                    <a:lnTo>
                      <a:pt x="6" y="6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01" name="Freeform 67">
                <a:extLst>
                  <a:ext uri="{FF2B5EF4-FFF2-40B4-BE49-F238E27FC236}">
                    <a16:creationId xmlns:a16="http://schemas.microsoft.com/office/drawing/2014/main" id="{085472D6-B955-4D4C-ADE0-869CBCE074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8" y="1264"/>
                <a:ext cx="21" cy="7"/>
              </a:xfrm>
              <a:custGeom>
                <a:avLst/>
                <a:gdLst>
                  <a:gd name="T0" fmla="*/ 21 w 21"/>
                  <a:gd name="T1" fmla="*/ 7 h 7"/>
                  <a:gd name="T2" fmla="*/ 19 w 21"/>
                  <a:gd name="T3" fmla="*/ 6 h 7"/>
                  <a:gd name="T4" fmla="*/ 16 w 21"/>
                  <a:gd name="T5" fmla="*/ 4 h 7"/>
                  <a:gd name="T6" fmla="*/ 13 w 21"/>
                  <a:gd name="T7" fmla="*/ 3 h 7"/>
                  <a:gd name="T8" fmla="*/ 9 w 21"/>
                  <a:gd name="T9" fmla="*/ 2 h 7"/>
                  <a:gd name="T10" fmla="*/ 7 w 21"/>
                  <a:gd name="T11" fmla="*/ 0 h 7"/>
                  <a:gd name="T12" fmla="*/ 4 w 21"/>
                  <a:gd name="T13" fmla="*/ 0 h 7"/>
                  <a:gd name="T14" fmla="*/ 0 w 21"/>
                  <a:gd name="T15" fmla="*/ 1 h 7"/>
                  <a:gd name="T16" fmla="*/ 12 w 21"/>
                  <a:gd name="T17" fmla="*/ 7 h 7"/>
                  <a:gd name="T18" fmla="*/ 21 w 21"/>
                  <a:gd name="T19" fmla="*/ 7 h 7"/>
                  <a:gd name="T20" fmla="*/ 21 w 21"/>
                  <a:gd name="T21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1" h="7">
                    <a:moveTo>
                      <a:pt x="21" y="7"/>
                    </a:moveTo>
                    <a:lnTo>
                      <a:pt x="19" y="6"/>
                    </a:lnTo>
                    <a:lnTo>
                      <a:pt x="16" y="4"/>
                    </a:lnTo>
                    <a:lnTo>
                      <a:pt x="13" y="3"/>
                    </a:lnTo>
                    <a:lnTo>
                      <a:pt x="9" y="2"/>
                    </a:lnTo>
                    <a:lnTo>
                      <a:pt x="7" y="0"/>
                    </a:lnTo>
                    <a:lnTo>
                      <a:pt x="4" y="0"/>
                    </a:lnTo>
                    <a:lnTo>
                      <a:pt x="0" y="1"/>
                    </a:lnTo>
                    <a:lnTo>
                      <a:pt x="12" y="7"/>
                    </a:lnTo>
                    <a:lnTo>
                      <a:pt x="21" y="7"/>
                    </a:lnTo>
                    <a:lnTo>
                      <a:pt x="21" y="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02" name="Freeform 68">
                <a:extLst>
                  <a:ext uri="{FF2B5EF4-FFF2-40B4-BE49-F238E27FC236}">
                    <a16:creationId xmlns:a16="http://schemas.microsoft.com/office/drawing/2014/main" id="{9BE2309F-5AF2-4E5A-9513-BFCD9685A5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28" y="1258"/>
                <a:ext cx="26" cy="8"/>
              </a:xfrm>
              <a:custGeom>
                <a:avLst/>
                <a:gdLst>
                  <a:gd name="T0" fmla="*/ 23 w 26"/>
                  <a:gd name="T1" fmla="*/ 8 h 8"/>
                  <a:gd name="T2" fmla="*/ 24 w 26"/>
                  <a:gd name="T3" fmla="*/ 8 h 8"/>
                  <a:gd name="T4" fmla="*/ 26 w 26"/>
                  <a:gd name="T5" fmla="*/ 8 h 8"/>
                  <a:gd name="T6" fmla="*/ 24 w 26"/>
                  <a:gd name="T7" fmla="*/ 6 h 8"/>
                  <a:gd name="T8" fmla="*/ 17 w 26"/>
                  <a:gd name="T9" fmla="*/ 5 h 8"/>
                  <a:gd name="T10" fmla="*/ 15 w 26"/>
                  <a:gd name="T11" fmla="*/ 5 h 8"/>
                  <a:gd name="T12" fmla="*/ 12 w 26"/>
                  <a:gd name="T13" fmla="*/ 3 h 8"/>
                  <a:gd name="T14" fmla="*/ 3 w 26"/>
                  <a:gd name="T15" fmla="*/ 0 h 8"/>
                  <a:gd name="T16" fmla="*/ 0 w 26"/>
                  <a:gd name="T17" fmla="*/ 4 h 8"/>
                  <a:gd name="T18" fmla="*/ 8 w 26"/>
                  <a:gd name="T19" fmla="*/ 4 h 8"/>
                  <a:gd name="T20" fmla="*/ 12 w 26"/>
                  <a:gd name="T21" fmla="*/ 6 h 8"/>
                  <a:gd name="T22" fmla="*/ 15 w 26"/>
                  <a:gd name="T23" fmla="*/ 7 h 8"/>
                  <a:gd name="T24" fmla="*/ 23 w 26"/>
                  <a:gd name="T25" fmla="*/ 8 h 8"/>
                  <a:gd name="T26" fmla="*/ 23 w 26"/>
                  <a:gd name="T27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6" h="8">
                    <a:moveTo>
                      <a:pt x="23" y="8"/>
                    </a:moveTo>
                    <a:lnTo>
                      <a:pt x="24" y="8"/>
                    </a:lnTo>
                    <a:lnTo>
                      <a:pt x="26" y="8"/>
                    </a:lnTo>
                    <a:lnTo>
                      <a:pt x="24" y="6"/>
                    </a:lnTo>
                    <a:lnTo>
                      <a:pt x="17" y="5"/>
                    </a:lnTo>
                    <a:lnTo>
                      <a:pt x="15" y="5"/>
                    </a:lnTo>
                    <a:lnTo>
                      <a:pt x="12" y="3"/>
                    </a:lnTo>
                    <a:lnTo>
                      <a:pt x="3" y="0"/>
                    </a:lnTo>
                    <a:lnTo>
                      <a:pt x="0" y="4"/>
                    </a:lnTo>
                    <a:lnTo>
                      <a:pt x="8" y="4"/>
                    </a:lnTo>
                    <a:lnTo>
                      <a:pt x="12" y="6"/>
                    </a:lnTo>
                    <a:lnTo>
                      <a:pt x="15" y="7"/>
                    </a:lnTo>
                    <a:lnTo>
                      <a:pt x="23" y="8"/>
                    </a:lnTo>
                    <a:lnTo>
                      <a:pt x="23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03" name="Freeform 69">
                <a:extLst>
                  <a:ext uri="{FF2B5EF4-FFF2-40B4-BE49-F238E27FC236}">
                    <a16:creationId xmlns:a16="http://schemas.microsoft.com/office/drawing/2014/main" id="{52DE0D83-8AC6-4EF8-9F77-DF012902F0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31" y="1264"/>
                <a:ext cx="16" cy="7"/>
              </a:xfrm>
              <a:custGeom>
                <a:avLst/>
                <a:gdLst>
                  <a:gd name="T0" fmla="*/ 11 w 16"/>
                  <a:gd name="T1" fmla="*/ 7 h 7"/>
                  <a:gd name="T2" fmla="*/ 13 w 16"/>
                  <a:gd name="T3" fmla="*/ 6 h 7"/>
                  <a:gd name="T4" fmla="*/ 16 w 16"/>
                  <a:gd name="T5" fmla="*/ 3 h 7"/>
                  <a:gd name="T6" fmla="*/ 9 w 16"/>
                  <a:gd name="T7" fmla="*/ 2 h 7"/>
                  <a:gd name="T8" fmla="*/ 6 w 16"/>
                  <a:gd name="T9" fmla="*/ 1 h 7"/>
                  <a:gd name="T10" fmla="*/ 3 w 16"/>
                  <a:gd name="T11" fmla="*/ 0 h 7"/>
                  <a:gd name="T12" fmla="*/ 0 w 16"/>
                  <a:gd name="T13" fmla="*/ 2 h 7"/>
                  <a:gd name="T14" fmla="*/ 3 w 16"/>
                  <a:gd name="T15" fmla="*/ 3 h 7"/>
                  <a:gd name="T16" fmla="*/ 5 w 16"/>
                  <a:gd name="T17" fmla="*/ 3 h 7"/>
                  <a:gd name="T18" fmla="*/ 9 w 16"/>
                  <a:gd name="T19" fmla="*/ 6 h 7"/>
                  <a:gd name="T20" fmla="*/ 11 w 16"/>
                  <a:gd name="T21" fmla="*/ 7 h 7"/>
                  <a:gd name="T22" fmla="*/ 11 w 16"/>
                  <a:gd name="T23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6" h="7">
                    <a:moveTo>
                      <a:pt x="11" y="7"/>
                    </a:moveTo>
                    <a:lnTo>
                      <a:pt x="13" y="6"/>
                    </a:lnTo>
                    <a:lnTo>
                      <a:pt x="16" y="3"/>
                    </a:lnTo>
                    <a:lnTo>
                      <a:pt x="9" y="2"/>
                    </a:lnTo>
                    <a:lnTo>
                      <a:pt x="6" y="1"/>
                    </a:lnTo>
                    <a:lnTo>
                      <a:pt x="3" y="0"/>
                    </a:lnTo>
                    <a:lnTo>
                      <a:pt x="0" y="2"/>
                    </a:lnTo>
                    <a:lnTo>
                      <a:pt x="3" y="3"/>
                    </a:lnTo>
                    <a:lnTo>
                      <a:pt x="5" y="3"/>
                    </a:lnTo>
                    <a:lnTo>
                      <a:pt x="9" y="6"/>
                    </a:lnTo>
                    <a:lnTo>
                      <a:pt x="11" y="7"/>
                    </a:lnTo>
                    <a:lnTo>
                      <a:pt x="11" y="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04" name="Freeform 70">
                <a:extLst>
                  <a:ext uri="{FF2B5EF4-FFF2-40B4-BE49-F238E27FC236}">
                    <a16:creationId xmlns:a16="http://schemas.microsoft.com/office/drawing/2014/main" id="{288B03A0-BD4B-49AE-852E-E2AC358263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65" y="1297"/>
                <a:ext cx="18" cy="8"/>
              </a:xfrm>
              <a:custGeom>
                <a:avLst/>
                <a:gdLst>
                  <a:gd name="T0" fmla="*/ 0 w 18"/>
                  <a:gd name="T1" fmla="*/ 5 h 8"/>
                  <a:gd name="T2" fmla="*/ 0 w 18"/>
                  <a:gd name="T3" fmla="*/ 0 h 8"/>
                  <a:gd name="T4" fmla="*/ 3 w 18"/>
                  <a:gd name="T5" fmla="*/ 1 h 8"/>
                  <a:gd name="T6" fmla="*/ 6 w 18"/>
                  <a:gd name="T7" fmla="*/ 1 h 8"/>
                  <a:gd name="T8" fmla="*/ 9 w 18"/>
                  <a:gd name="T9" fmla="*/ 2 h 8"/>
                  <a:gd name="T10" fmla="*/ 17 w 18"/>
                  <a:gd name="T11" fmla="*/ 7 h 8"/>
                  <a:gd name="T12" fmla="*/ 18 w 18"/>
                  <a:gd name="T13" fmla="*/ 8 h 8"/>
                  <a:gd name="T14" fmla="*/ 13 w 18"/>
                  <a:gd name="T15" fmla="*/ 8 h 8"/>
                  <a:gd name="T16" fmla="*/ 9 w 18"/>
                  <a:gd name="T17" fmla="*/ 8 h 8"/>
                  <a:gd name="T18" fmla="*/ 0 w 18"/>
                  <a:gd name="T19" fmla="*/ 5 h 8"/>
                  <a:gd name="T20" fmla="*/ 0 w 18"/>
                  <a:gd name="T21" fmla="*/ 5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8" h="8">
                    <a:moveTo>
                      <a:pt x="0" y="5"/>
                    </a:moveTo>
                    <a:lnTo>
                      <a:pt x="0" y="0"/>
                    </a:lnTo>
                    <a:lnTo>
                      <a:pt x="3" y="1"/>
                    </a:lnTo>
                    <a:lnTo>
                      <a:pt x="6" y="1"/>
                    </a:lnTo>
                    <a:lnTo>
                      <a:pt x="9" y="2"/>
                    </a:lnTo>
                    <a:lnTo>
                      <a:pt x="17" y="7"/>
                    </a:lnTo>
                    <a:lnTo>
                      <a:pt x="18" y="8"/>
                    </a:lnTo>
                    <a:lnTo>
                      <a:pt x="13" y="8"/>
                    </a:lnTo>
                    <a:lnTo>
                      <a:pt x="9" y="8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05" name="Freeform 71">
                <a:extLst>
                  <a:ext uri="{FF2B5EF4-FFF2-40B4-BE49-F238E27FC236}">
                    <a16:creationId xmlns:a16="http://schemas.microsoft.com/office/drawing/2014/main" id="{011ED35D-E51C-4D5E-82C0-B821E0AD9F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4" y="1293"/>
                <a:ext cx="11" cy="9"/>
              </a:xfrm>
              <a:custGeom>
                <a:avLst/>
                <a:gdLst>
                  <a:gd name="T0" fmla="*/ 11 w 11"/>
                  <a:gd name="T1" fmla="*/ 9 h 9"/>
                  <a:gd name="T2" fmla="*/ 3 w 11"/>
                  <a:gd name="T3" fmla="*/ 7 h 9"/>
                  <a:gd name="T4" fmla="*/ 1 w 11"/>
                  <a:gd name="T5" fmla="*/ 5 h 9"/>
                  <a:gd name="T6" fmla="*/ 0 w 11"/>
                  <a:gd name="T7" fmla="*/ 3 h 9"/>
                  <a:gd name="T8" fmla="*/ 3 w 11"/>
                  <a:gd name="T9" fmla="*/ 0 h 9"/>
                  <a:gd name="T10" fmla="*/ 7 w 11"/>
                  <a:gd name="T11" fmla="*/ 0 h 9"/>
                  <a:gd name="T12" fmla="*/ 9 w 11"/>
                  <a:gd name="T13" fmla="*/ 0 h 9"/>
                  <a:gd name="T14" fmla="*/ 11 w 11"/>
                  <a:gd name="T15" fmla="*/ 4 h 9"/>
                  <a:gd name="T16" fmla="*/ 11 w 11"/>
                  <a:gd name="T17" fmla="*/ 4 h 9"/>
                  <a:gd name="T18" fmla="*/ 11 w 11"/>
                  <a:gd name="T19" fmla="*/ 9 h 9"/>
                  <a:gd name="T20" fmla="*/ 11 w 11"/>
                  <a:gd name="T21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" h="9">
                    <a:moveTo>
                      <a:pt x="11" y="9"/>
                    </a:moveTo>
                    <a:lnTo>
                      <a:pt x="3" y="7"/>
                    </a:lnTo>
                    <a:lnTo>
                      <a:pt x="1" y="5"/>
                    </a:lnTo>
                    <a:lnTo>
                      <a:pt x="0" y="3"/>
                    </a:lnTo>
                    <a:lnTo>
                      <a:pt x="3" y="0"/>
                    </a:lnTo>
                    <a:lnTo>
                      <a:pt x="7" y="0"/>
                    </a:lnTo>
                    <a:lnTo>
                      <a:pt x="9" y="0"/>
                    </a:lnTo>
                    <a:lnTo>
                      <a:pt x="11" y="4"/>
                    </a:lnTo>
                    <a:lnTo>
                      <a:pt x="11" y="4"/>
                    </a:lnTo>
                    <a:lnTo>
                      <a:pt x="11" y="9"/>
                    </a:lnTo>
                    <a:lnTo>
                      <a:pt x="11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06" name="Freeform 72">
                <a:extLst>
                  <a:ext uri="{FF2B5EF4-FFF2-40B4-BE49-F238E27FC236}">
                    <a16:creationId xmlns:a16="http://schemas.microsoft.com/office/drawing/2014/main" id="{76FD86AE-8D79-4E4B-B45D-D64704ECE7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2" y="1297"/>
                <a:ext cx="15" cy="1"/>
              </a:xfrm>
              <a:custGeom>
                <a:avLst/>
                <a:gdLst>
                  <a:gd name="T0" fmla="*/ 12 w 15"/>
                  <a:gd name="T1" fmla="*/ 1 h 1"/>
                  <a:gd name="T2" fmla="*/ 15 w 15"/>
                  <a:gd name="T3" fmla="*/ 1 h 1"/>
                  <a:gd name="T4" fmla="*/ 6 w 15"/>
                  <a:gd name="T5" fmla="*/ 1 h 1"/>
                  <a:gd name="T6" fmla="*/ 0 w 15"/>
                  <a:gd name="T7" fmla="*/ 1 h 1"/>
                  <a:gd name="T8" fmla="*/ 9 w 15"/>
                  <a:gd name="T9" fmla="*/ 0 h 1"/>
                  <a:gd name="T10" fmla="*/ 12 w 15"/>
                  <a:gd name="T11" fmla="*/ 1 h 1"/>
                  <a:gd name="T12" fmla="*/ 12 w 15"/>
                  <a:gd name="T13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" h="1">
                    <a:moveTo>
                      <a:pt x="12" y="1"/>
                    </a:moveTo>
                    <a:lnTo>
                      <a:pt x="15" y="1"/>
                    </a:lnTo>
                    <a:lnTo>
                      <a:pt x="6" y="1"/>
                    </a:lnTo>
                    <a:lnTo>
                      <a:pt x="0" y="1"/>
                    </a:lnTo>
                    <a:lnTo>
                      <a:pt x="9" y="0"/>
                    </a:lnTo>
                    <a:lnTo>
                      <a:pt x="12" y="1"/>
                    </a:lnTo>
                    <a:lnTo>
                      <a:pt x="12" y="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07" name="Freeform 73">
                <a:extLst>
                  <a:ext uri="{FF2B5EF4-FFF2-40B4-BE49-F238E27FC236}">
                    <a16:creationId xmlns:a16="http://schemas.microsoft.com/office/drawing/2014/main" id="{6E36D2D7-CEE2-4400-90C5-28A1334107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02" y="1617"/>
                <a:ext cx="36" cy="16"/>
              </a:xfrm>
              <a:custGeom>
                <a:avLst/>
                <a:gdLst>
                  <a:gd name="T0" fmla="*/ 31 w 36"/>
                  <a:gd name="T1" fmla="*/ 0 h 16"/>
                  <a:gd name="T2" fmla="*/ 28 w 36"/>
                  <a:gd name="T3" fmla="*/ 1 h 16"/>
                  <a:gd name="T4" fmla="*/ 25 w 36"/>
                  <a:gd name="T5" fmla="*/ 2 h 16"/>
                  <a:gd name="T6" fmla="*/ 22 w 36"/>
                  <a:gd name="T7" fmla="*/ 4 h 16"/>
                  <a:gd name="T8" fmla="*/ 20 w 36"/>
                  <a:gd name="T9" fmla="*/ 5 h 16"/>
                  <a:gd name="T10" fmla="*/ 12 w 36"/>
                  <a:gd name="T11" fmla="*/ 5 h 16"/>
                  <a:gd name="T12" fmla="*/ 9 w 36"/>
                  <a:gd name="T13" fmla="*/ 7 h 16"/>
                  <a:gd name="T14" fmla="*/ 7 w 36"/>
                  <a:gd name="T15" fmla="*/ 8 h 16"/>
                  <a:gd name="T16" fmla="*/ 3 w 36"/>
                  <a:gd name="T17" fmla="*/ 10 h 16"/>
                  <a:gd name="T18" fmla="*/ 1 w 36"/>
                  <a:gd name="T19" fmla="*/ 12 h 16"/>
                  <a:gd name="T20" fmla="*/ 0 w 36"/>
                  <a:gd name="T21" fmla="*/ 14 h 16"/>
                  <a:gd name="T22" fmla="*/ 2 w 36"/>
                  <a:gd name="T23" fmla="*/ 16 h 16"/>
                  <a:gd name="T24" fmla="*/ 11 w 36"/>
                  <a:gd name="T25" fmla="*/ 15 h 16"/>
                  <a:gd name="T26" fmla="*/ 13 w 36"/>
                  <a:gd name="T27" fmla="*/ 14 h 16"/>
                  <a:gd name="T28" fmla="*/ 19 w 36"/>
                  <a:gd name="T29" fmla="*/ 14 h 16"/>
                  <a:gd name="T30" fmla="*/ 21 w 36"/>
                  <a:gd name="T31" fmla="*/ 13 h 16"/>
                  <a:gd name="T32" fmla="*/ 25 w 36"/>
                  <a:gd name="T33" fmla="*/ 13 h 16"/>
                  <a:gd name="T34" fmla="*/ 27 w 36"/>
                  <a:gd name="T35" fmla="*/ 13 h 16"/>
                  <a:gd name="T36" fmla="*/ 29 w 36"/>
                  <a:gd name="T37" fmla="*/ 12 h 16"/>
                  <a:gd name="T38" fmla="*/ 35 w 36"/>
                  <a:gd name="T39" fmla="*/ 10 h 16"/>
                  <a:gd name="T40" fmla="*/ 36 w 36"/>
                  <a:gd name="T41" fmla="*/ 8 h 16"/>
                  <a:gd name="T42" fmla="*/ 35 w 36"/>
                  <a:gd name="T43" fmla="*/ 5 h 16"/>
                  <a:gd name="T44" fmla="*/ 33 w 36"/>
                  <a:gd name="T45" fmla="*/ 2 h 16"/>
                  <a:gd name="T46" fmla="*/ 31 w 36"/>
                  <a:gd name="T47" fmla="*/ 0 h 16"/>
                  <a:gd name="T48" fmla="*/ 31 w 36"/>
                  <a:gd name="T49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36" h="16">
                    <a:moveTo>
                      <a:pt x="31" y="0"/>
                    </a:moveTo>
                    <a:lnTo>
                      <a:pt x="28" y="1"/>
                    </a:lnTo>
                    <a:lnTo>
                      <a:pt x="25" y="2"/>
                    </a:lnTo>
                    <a:lnTo>
                      <a:pt x="22" y="4"/>
                    </a:lnTo>
                    <a:lnTo>
                      <a:pt x="20" y="5"/>
                    </a:lnTo>
                    <a:lnTo>
                      <a:pt x="12" y="5"/>
                    </a:lnTo>
                    <a:lnTo>
                      <a:pt x="9" y="7"/>
                    </a:lnTo>
                    <a:lnTo>
                      <a:pt x="7" y="8"/>
                    </a:lnTo>
                    <a:lnTo>
                      <a:pt x="3" y="10"/>
                    </a:lnTo>
                    <a:lnTo>
                      <a:pt x="1" y="12"/>
                    </a:lnTo>
                    <a:lnTo>
                      <a:pt x="0" y="14"/>
                    </a:lnTo>
                    <a:lnTo>
                      <a:pt x="2" y="16"/>
                    </a:lnTo>
                    <a:lnTo>
                      <a:pt x="11" y="15"/>
                    </a:lnTo>
                    <a:lnTo>
                      <a:pt x="13" y="14"/>
                    </a:lnTo>
                    <a:lnTo>
                      <a:pt x="19" y="14"/>
                    </a:lnTo>
                    <a:lnTo>
                      <a:pt x="21" y="13"/>
                    </a:lnTo>
                    <a:lnTo>
                      <a:pt x="25" y="13"/>
                    </a:lnTo>
                    <a:lnTo>
                      <a:pt x="27" y="13"/>
                    </a:lnTo>
                    <a:lnTo>
                      <a:pt x="29" y="12"/>
                    </a:lnTo>
                    <a:lnTo>
                      <a:pt x="35" y="10"/>
                    </a:lnTo>
                    <a:lnTo>
                      <a:pt x="36" y="8"/>
                    </a:lnTo>
                    <a:lnTo>
                      <a:pt x="35" y="5"/>
                    </a:lnTo>
                    <a:lnTo>
                      <a:pt x="33" y="2"/>
                    </a:lnTo>
                    <a:lnTo>
                      <a:pt x="31" y="0"/>
                    </a:lnTo>
                    <a:lnTo>
                      <a:pt x="3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08" name="Freeform 74">
                <a:extLst>
                  <a:ext uri="{FF2B5EF4-FFF2-40B4-BE49-F238E27FC236}">
                    <a16:creationId xmlns:a16="http://schemas.microsoft.com/office/drawing/2014/main" id="{C7406DA9-2DF5-4E66-AB8F-FED2481AEA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05" y="1622"/>
                <a:ext cx="6" cy="3"/>
              </a:xfrm>
              <a:custGeom>
                <a:avLst/>
                <a:gdLst>
                  <a:gd name="T0" fmla="*/ 6 w 6"/>
                  <a:gd name="T1" fmla="*/ 0 h 3"/>
                  <a:gd name="T2" fmla="*/ 2 w 6"/>
                  <a:gd name="T3" fmla="*/ 0 h 3"/>
                  <a:gd name="T4" fmla="*/ 0 w 6"/>
                  <a:gd name="T5" fmla="*/ 1 h 3"/>
                  <a:gd name="T6" fmla="*/ 0 w 6"/>
                  <a:gd name="T7" fmla="*/ 3 h 3"/>
                  <a:gd name="T8" fmla="*/ 4 w 6"/>
                  <a:gd name="T9" fmla="*/ 2 h 3"/>
                  <a:gd name="T10" fmla="*/ 6 w 6"/>
                  <a:gd name="T11" fmla="*/ 0 h 3"/>
                  <a:gd name="T12" fmla="*/ 6 w 6"/>
                  <a:gd name="T13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2" y="0"/>
                    </a:lnTo>
                    <a:lnTo>
                      <a:pt x="0" y="1"/>
                    </a:lnTo>
                    <a:lnTo>
                      <a:pt x="0" y="3"/>
                    </a:lnTo>
                    <a:lnTo>
                      <a:pt x="4" y="2"/>
                    </a:lnTo>
                    <a:lnTo>
                      <a:pt x="6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09" name="Freeform 75">
                <a:extLst>
                  <a:ext uri="{FF2B5EF4-FFF2-40B4-BE49-F238E27FC236}">
                    <a16:creationId xmlns:a16="http://schemas.microsoft.com/office/drawing/2014/main" id="{D9F434CB-F1B9-4540-B230-ECF629F5B0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24" y="1631"/>
                <a:ext cx="4" cy="1"/>
              </a:xfrm>
              <a:custGeom>
                <a:avLst/>
                <a:gdLst>
                  <a:gd name="T0" fmla="*/ 4 w 4"/>
                  <a:gd name="T1" fmla="*/ 0 h 1"/>
                  <a:gd name="T2" fmla="*/ 3 w 4"/>
                  <a:gd name="T3" fmla="*/ 0 h 1"/>
                  <a:gd name="T4" fmla="*/ 0 w 4"/>
                  <a:gd name="T5" fmla="*/ 1 h 1"/>
                  <a:gd name="T6" fmla="*/ 4 w 4"/>
                  <a:gd name="T7" fmla="*/ 0 h 1"/>
                  <a:gd name="T8" fmla="*/ 4 w 4"/>
                  <a:gd name="T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1">
                    <a:moveTo>
                      <a:pt x="4" y="0"/>
                    </a:moveTo>
                    <a:lnTo>
                      <a:pt x="3" y="0"/>
                    </a:lnTo>
                    <a:lnTo>
                      <a:pt x="0" y="1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10" name="Freeform 76">
                <a:extLst>
                  <a:ext uri="{FF2B5EF4-FFF2-40B4-BE49-F238E27FC236}">
                    <a16:creationId xmlns:a16="http://schemas.microsoft.com/office/drawing/2014/main" id="{5D0F453F-3B7D-4EB9-833E-1778DB4B62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38" y="1571"/>
                <a:ext cx="7" cy="2"/>
              </a:xfrm>
              <a:custGeom>
                <a:avLst/>
                <a:gdLst>
                  <a:gd name="T0" fmla="*/ 7 w 7"/>
                  <a:gd name="T1" fmla="*/ 0 h 2"/>
                  <a:gd name="T2" fmla="*/ 6 w 7"/>
                  <a:gd name="T3" fmla="*/ 0 h 2"/>
                  <a:gd name="T4" fmla="*/ 3 w 7"/>
                  <a:gd name="T5" fmla="*/ 0 h 2"/>
                  <a:gd name="T6" fmla="*/ 0 w 7"/>
                  <a:gd name="T7" fmla="*/ 1 h 2"/>
                  <a:gd name="T8" fmla="*/ 6 w 7"/>
                  <a:gd name="T9" fmla="*/ 2 h 2"/>
                  <a:gd name="T10" fmla="*/ 7 w 7"/>
                  <a:gd name="T11" fmla="*/ 0 h 2"/>
                  <a:gd name="T12" fmla="*/ 7 w 7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" h="2">
                    <a:moveTo>
                      <a:pt x="7" y="0"/>
                    </a:moveTo>
                    <a:lnTo>
                      <a:pt x="6" y="0"/>
                    </a:lnTo>
                    <a:lnTo>
                      <a:pt x="3" y="0"/>
                    </a:lnTo>
                    <a:lnTo>
                      <a:pt x="0" y="1"/>
                    </a:lnTo>
                    <a:lnTo>
                      <a:pt x="6" y="2"/>
                    </a:lnTo>
                    <a:lnTo>
                      <a:pt x="7" y="0"/>
                    </a:lnTo>
                    <a:lnTo>
                      <a:pt x="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11" name="Freeform 77">
                <a:extLst>
                  <a:ext uri="{FF2B5EF4-FFF2-40B4-BE49-F238E27FC236}">
                    <a16:creationId xmlns:a16="http://schemas.microsoft.com/office/drawing/2014/main" id="{1A725826-40EB-4379-84CC-2F2A3B0152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40" y="1557"/>
                <a:ext cx="24" cy="5"/>
              </a:xfrm>
              <a:custGeom>
                <a:avLst/>
                <a:gdLst>
                  <a:gd name="T0" fmla="*/ 2 w 24"/>
                  <a:gd name="T1" fmla="*/ 2 h 5"/>
                  <a:gd name="T2" fmla="*/ 13 w 24"/>
                  <a:gd name="T3" fmla="*/ 4 h 5"/>
                  <a:gd name="T4" fmla="*/ 18 w 24"/>
                  <a:gd name="T5" fmla="*/ 5 h 5"/>
                  <a:gd name="T6" fmla="*/ 22 w 24"/>
                  <a:gd name="T7" fmla="*/ 5 h 5"/>
                  <a:gd name="T8" fmla="*/ 24 w 24"/>
                  <a:gd name="T9" fmla="*/ 4 h 5"/>
                  <a:gd name="T10" fmla="*/ 18 w 24"/>
                  <a:gd name="T11" fmla="*/ 1 h 5"/>
                  <a:gd name="T12" fmla="*/ 10 w 24"/>
                  <a:gd name="T13" fmla="*/ 0 h 5"/>
                  <a:gd name="T14" fmla="*/ 2 w 24"/>
                  <a:gd name="T15" fmla="*/ 0 h 5"/>
                  <a:gd name="T16" fmla="*/ 0 w 24"/>
                  <a:gd name="T17" fmla="*/ 2 h 5"/>
                  <a:gd name="T18" fmla="*/ 2 w 24"/>
                  <a:gd name="T19" fmla="*/ 2 h 5"/>
                  <a:gd name="T20" fmla="*/ 2 w 24"/>
                  <a:gd name="T21" fmla="*/ 2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4" h="5">
                    <a:moveTo>
                      <a:pt x="2" y="2"/>
                    </a:moveTo>
                    <a:lnTo>
                      <a:pt x="13" y="4"/>
                    </a:lnTo>
                    <a:lnTo>
                      <a:pt x="18" y="5"/>
                    </a:lnTo>
                    <a:lnTo>
                      <a:pt x="22" y="5"/>
                    </a:lnTo>
                    <a:lnTo>
                      <a:pt x="24" y="4"/>
                    </a:lnTo>
                    <a:lnTo>
                      <a:pt x="18" y="1"/>
                    </a:lnTo>
                    <a:lnTo>
                      <a:pt x="10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12" name="Freeform 78">
                <a:extLst>
                  <a:ext uri="{FF2B5EF4-FFF2-40B4-BE49-F238E27FC236}">
                    <a16:creationId xmlns:a16="http://schemas.microsoft.com/office/drawing/2014/main" id="{B7912520-033D-425C-B561-0C6D87BF7C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0" y="1566"/>
                <a:ext cx="34" cy="9"/>
              </a:xfrm>
              <a:custGeom>
                <a:avLst/>
                <a:gdLst>
                  <a:gd name="T0" fmla="*/ 34 w 34"/>
                  <a:gd name="T1" fmla="*/ 4 h 9"/>
                  <a:gd name="T2" fmla="*/ 28 w 34"/>
                  <a:gd name="T3" fmla="*/ 1 h 9"/>
                  <a:gd name="T4" fmla="*/ 22 w 34"/>
                  <a:gd name="T5" fmla="*/ 1 h 9"/>
                  <a:gd name="T6" fmla="*/ 20 w 34"/>
                  <a:gd name="T7" fmla="*/ 1 h 9"/>
                  <a:gd name="T8" fmla="*/ 16 w 34"/>
                  <a:gd name="T9" fmla="*/ 0 h 9"/>
                  <a:gd name="T10" fmla="*/ 11 w 34"/>
                  <a:gd name="T11" fmla="*/ 1 h 9"/>
                  <a:gd name="T12" fmla="*/ 3 w 34"/>
                  <a:gd name="T13" fmla="*/ 1 h 9"/>
                  <a:gd name="T14" fmla="*/ 0 w 34"/>
                  <a:gd name="T15" fmla="*/ 5 h 9"/>
                  <a:gd name="T16" fmla="*/ 6 w 34"/>
                  <a:gd name="T17" fmla="*/ 4 h 9"/>
                  <a:gd name="T18" fmla="*/ 12 w 34"/>
                  <a:gd name="T19" fmla="*/ 5 h 9"/>
                  <a:gd name="T20" fmla="*/ 20 w 34"/>
                  <a:gd name="T21" fmla="*/ 6 h 9"/>
                  <a:gd name="T22" fmla="*/ 22 w 34"/>
                  <a:gd name="T23" fmla="*/ 7 h 9"/>
                  <a:gd name="T24" fmla="*/ 24 w 34"/>
                  <a:gd name="T25" fmla="*/ 9 h 9"/>
                  <a:gd name="T26" fmla="*/ 29 w 34"/>
                  <a:gd name="T27" fmla="*/ 9 h 9"/>
                  <a:gd name="T28" fmla="*/ 34 w 34"/>
                  <a:gd name="T29" fmla="*/ 9 h 9"/>
                  <a:gd name="T30" fmla="*/ 32 w 34"/>
                  <a:gd name="T31" fmla="*/ 6 h 9"/>
                  <a:gd name="T32" fmla="*/ 34 w 34"/>
                  <a:gd name="T33" fmla="*/ 4 h 9"/>
                  <a:gd name="T34" fmla="*/ 34 w 34"/>
                  <a:gd name="T35" fmla="*/ 4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4" h="9">
                    <a:moveTo>
                      <a:pt x="34" y="4"/>
                    </a:moveTo>
                    <a:lnTo>
                      <a:pt x="28" y="1"/>
                    </a:lnTo>
                    <a:lnTo>
                      <a:pt x="22" y="1"/>
                    </a:lnTo>
                    <a:lnTo>
                      <a:pt x="20" y="1"/>
                    </a:lnTo>
                    <a:lnTo>
                      <a:pt x="16" y="0"/>
                    </a:lnTo>
                    <a:lnTo>
                      <a:pt x="11" y="1"/>
                    </a:lnTo>
                    <a:lnTo>
                      <a:pt x="3" y="1"/>
                    </a:lnTo>
                    <a:lnTo>
                      <a:pt x="0" y="5"/>
                    </a:lnTo>
                    <a:lnTo>
                      <a:pt x="6" y="4"/>
                    </a:lnTo>
                    <a:lnTo>
                      <a:pt x="12" y="5"/>
                    </a:lnTo>
                    <a:lnTo>
                      <a:pt x="20" y="6"/>
                    </a:lnTo>
                    <a:lnTo>
                      <a:pt x="22" y="7"/>
                    </a:lnTo>
                    <a:lnTo>
                      <a:pt x="24" y="9"/>
                    </a:lnTo>
                    <a:lnTo>
                      <a:pt x="29" y="9"/>
                    </a:lnTo>
                    <a:lnTo>
                      <a:pt x="34" y="9"/>
                    </a:lnTo>
                    <a:lnTo>
                      <a:pt x="32" y="6"/>
                    </a:lnTo>
                    <a:lnTo>
                      <a:pt x="34" y="4"/>
                    </a:lnTo>
                    <a:lnTo>
                      <a:pt x="34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13" name="Freeform 79">
                <a:extLst>
                  <a:ext uri="{FF2B5EF4-FFF2-40B4-BE49-F238E27FC236}">
                    <a16:creationId xmlns:a16="http://schemas.microsoft.com/office/drawing/2014/main" id="{0E807397-F55E-4146-A8D2-1DA2F5B98E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0" y="1571"/>
                <a:ext cx="33" cy="19"/>
              </a:xfrm>
              <a:custGeom>
                <a:avLst/>
                <a:gdLst>
                  <a:gd name="T0" fmla="*/ 26 w 33"/>
                  <a:gd name="T1" fmla="*/ 13 h 19"/>
                  <a:gd name="T2" fmla="*/ 24 w 33"/>
                  <a:gd name="T3" fmla="*/ 13 h 19"/>
                  <a:gd name="T4" fmla="*/ 24 w 33"/>
                  <a:gd name="T5" fmla="*/ 11 h 19"/>
                  <a:gd name="T6" fmla="*/ 26 w 33"/>
                  <a:gd name="T7" fmla="*/ 11 h 19"/>
                  <a:gd name="T8" fmla="*/ 30 w 33"/>
                  <a:gd name="T9" fmla="*/ 11 h 19"/>
                  <a:gd name="T10" fmla="*/ 32 w 33"/>
                  <a:gd name="T11" fmla="*/ 12 h 19"/>
                  <a:gd name="T12" fmla="*/ 33 w 33"/>
                  <a:gd name="T13" fmla="*/ 10 h 19"/>
                  <a:gd name="T14" fmla="*/ 31 w 33"/>
                  <a:gd name="T15" fmla="*/ 10 h 19"/>
                  <a:gd name="T16" fmla="*/ 28 w 33"/>
                  <a:gd name="T17" fmla="*/ 8 h 19"/>
                  <a:gd name="T18" fmla="*/ 25 w 33"/>
                  <a:gd name="T19" fmla="*/ 7 h 19"/>
                  <a:gd name="T20" fmla="*/ 23 w 33"/>
                  <a:gd name="T21" fmla="*/ 5 h 19"/>
                  <a:gd name="T22" fmla="*/ 20 w 33"/>
                  <a:gd name="T23" fmla="*/ 4 h 19"/>
                  <a:gd name="T24" fmla="*/ 17 w 33"/>
                  <a:gd name="T25" fmla="*/ 1 h 19"/>
                  <a:gd name="T26" fmla="*/ 12 w 33"/>
                  <a:gd name="T27" fmla="*/ 1 h 19"/>
                  <a:gd name="T28" fmla="*/ 7 w 33"/>
                  <a:gd name="T29" fmla="*/ 0 h 19"/>
                  <a:gd name="T30" fmla="*/ 2 w 33"/>
                  <a:gd name="T31" fmla="*/ 1 h 19"/>
                  <a:gd name="T32" fmla="*/ 0 w 33"/>
                  <a:gd name="T33" fmla="*/ 3 h 19"/>
                  <a:gd name="T34" fmla="*/ 0 w 33"/>
                  <a:gd name="T35" fmla="*/ 5 h 19"/>
                  <a:gd name="T36" fmla="*/ 3 w 33"/>
                  <a:gd name="T37" fmla="*/ 9 h 19"/>
                  <a:gd name="T38" fmla="*/ 6 w 33"/>
                  <a:gd name="T39" fmla="*/ 9 h 19"/>
                  <a:gd name="T40" fmla="*/ 8 w 33"/>
                  <a:gd name="T41" fmla="*/ 11 h 19"/>
                  <a:gd name="T42" fmla="*/ 16 w 33"/>
                  <a:gd name="T43" fmla="*/ 13 h 19"/>
                  <a:gd name="T44" fmla="*/ 22 w 33"/>
                  <a:gd name="T45" fmla="*/ 17 h 19"/>
                  <a:gd name="T46" fmla="*/ 28 w 33"/>
                  <a:gd name="T47" fmla="*/ 19 h 19"/>
                  <a:gd name="T48" fmla="*/ 30 w 33"/>
                  <a:gd name="T49" fmla="*/ 19 h 19"/>
                  <a:gd name="T50" fmla="*/ 31 w 33"/>
                  <a:gd name="T51" fmla="*/ 17 h 19"/>
                  <a:gd name="T52" fmla="*/ 26 w 33"/>
                  <a:gd name="T53" fmla="*/ 13 h 19"/>
                  <a:gd name="T54" fmla="*/ 26 w 33"/>
                  <a:gd name="T55" fmla="*/ 13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33" h="19">
                    <a:moveTo>
                      <a:pt x="26" y="13"/>
                    </a:moveTo>
                    <a:lnTo>
                      <a:pt x="24" y="13"/>
                    </a:lnTo>
                    <a:lnTo>
                      <a:pt x="24" y="11"/>
                    </a:lnTo>
                    <a:lnTo>
                      <a:pt x="26" y="11"/>
                    </a:lnTo>
                    <a:lnTo>
                      <a:pt x="30" y="11"/>
                    </a:lnTo>
                    <a:lnTo>
                      <a:pt x="32" y="12"/>
                    </a:lnTo>
                    <a:lnTo>
                      <a:pt x="33" y="10"/>
                    </a:lnTo>
                    <a:lnTo>
                      <a:pt x="31" y="10"/>
                    </a:lnTo>
                    <a:lnTo>
                      <a:pt x="28" y="8"/>
                    </a:lnTo>
                    <a:lnTo>
                      <a:pt x="25" y="7"/>
                    </a:lnTo>
                    <a:lnTo>
                      <a:pt x="23" y="5"/>
                    </a:lnTo>
                    <a:lnTo>
                      <a:pt x="20" y="4"/>
                    </a:lnTo>
                    <a:lnTo>
                      <a:pt x="17" y="1"/>
                    </a:lnTo>
                    <a:lnTo>
                      <a:pt x="12" y="1"/>
                    </a:lnTo>
                    <a:lnTo>
                      <a:pt x="7" y="0"/>
                    </a:lnTo>
                    <a:lnTo>
                      <a:pt x="2" y="1"/>
                    </a:lnTo>
                    <a:lnTo>
                      <a:pt x="0" y="3"/>
                    </a:lnTo>
                    <a:lnTo>
                      <a:pt x="0" y="5"/>
                    </a:lnTo>
                    <a:lnTo>
                      <a:pt x="3" y="9"/>
                    </a:lnTo>
                    <a:lnTo>
                      <a:pt x="6" y="9"/>
                    </a:lnTo>
                    <a:lnTo>
                      <a:pt x="8" y="11"/>
                    </a:lnTo>
                    <a:lnTo>
                      <a:pt x="16" y="13"/>
                    </a:lnTo>
                    <a:lnTo>
                      <a:pt x="22" y="17"/>
                    </a:lnTo>
                    <a:lnTo>
                      <a:pt x="28" y="19"/>
                    </a:lnTo>
                    <a:lnTo>
                      <a:pt x="30" y="19"/>
                    </a:lnTo>
                    <a:lnTo>
                      <a:pt x="31" y="17"/>
                    </a:lnTo>
                    <a:lnTo>
                      <a:pt x="26" y="13"/>
                    </a:lnTo>
                    <a:lnTo>
                      <a:pt x="26" y="1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14" name="Freeform 80">
                <a:extLst>
                  <a:ext uri="{FF2B5EF4-FFF2-40B4-BE49-F238E27FC236}">
                    <a16:creationId xmlns:a16="http://schemas.microsoft.com/office/drawing/2014/main" id="{EED43C17-7596-4854-B6E8-CC442970A4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83" y="1529"/>
                <a:ext cx="26" cy="10"/>
              </a:xfrm>
              <a:custGeom>
                <a:avLst/>
                <a:gdLst>
                  <a:gd name="T0" fmla="*/ 15 w 26"/>
                  <a:gd name="T1" fmla="*/ 0 h 10"/>
                  <a:gd name="T2" fmla="*/ 9 w 26"/>
                  <a:gd name="T3" fmla="*/ 0 h 10"/>
                  <a:gd name="T4" fmla="*/ 4 w 26"/>
                  <a:gd name="T5" fmla="*/ 2 h 10"/>
                  <a:gd name="T6" fmla="*/ 0 w 26"/>
                  <a:gd name="T7" fmla="*/ 6 h 10"/>
                  <a:gd name="T8" fmla="*/ 4 w 26"/>
                  <a:gd name="T9" fmla="*/ 8 h 10"/>
                  <a:gd name="T10" fmla="*/ 12 w 26"/>
                  <a:gd name="T11" fmla="*/ 10 h 10"/>
                  <a:gd name="T12" fmla="*/ 23 w 26"/>
                  <a:gd name="T13" fmla="*/ 8 h 10"/>
                  <a:gd name="T14" fmla="*/ 26 w 26"/>
                  <a:gd name="T15" fmla="*/ 7 h 10"/>
                  <a:gd name="T16" fmla="*/ 23 w 26"/>
                  <a:gd name="T17" fmla="*/ 6 h 10"/>
                  <a:gd name="T18" fmla="*/ 22 w 26"/>
                  <a:gd name="T19" fmla="*/ 3 h 10"/>
                  <a:gd name="T20" fmla="*/ 18 w 26"/>
                  <a:gd name="T21" fmla="*/ 1 h 10"/>
                  <a:gd name="T22" fmla="*/ 15 w 26"/>
                  <a:gd name="T23" fmla="*/ 0 h 10"/>
                  <a:gd name="T24" fmla="*/ 15 w 26"/>
                  <a:gd name="T25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6" h="10">
                    <a:moveTo>
                      <a:pt x="15" y="0"/>
                    </a:moveTo>
                    <a:lnTo>
                      <a:pt x="9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4" y="8"/>
                    </a:lnTo>
                    <a:lnTo>
                      <a:pt x="12" y="10"/>
                    </a:lnTo>
                    <a:lnTo>
                      <a:pt x="23" y="8"/>
                    </a:lnTo>
                    <a:lnTo>
                      <a:pt x="26" y="7"/>
                    </a:lnTo>
                    <a:lnTo>
                      <a:pt x="23" y="6"/>
                    </a:lnTo>
                    <a:lnTo>
                      <a:pt x="22" y="3"/>
                    </a:lnTo>
                    <a:lnTo>
                      <a:pt x="18" y="1"/>
                    </a:lnTo>
                    <a:lnTo>
                      <a:pt x="15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15" name="Freeform 81">
                <a:extLst>
                  <a:ext uri="{FF2B5EF4-FFF2-40B4-BE49-F238E27FC236}">
                    <a16:creationId xmlns:a16="http://schemas.microsoft.com/office/drawing/2014/main" id="{0E71C552-842C-4BE9-A6FB-72EC5991F3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3" y="1429"/>
                <a:ext cx="3" cy="3"/>
              </a:xfrm>
              <a:custGeom>
                <a:avLst/>
                <a:gdLst>
                  <a:gd name="T0" fmla="*/ 3 w 3"/>
                  <a:gd name="T1" fmla="*/ 0 h 3"/>
                  <a:gd name="T2" fmla="*/ 0 w 3"/>
                  <a:gd name="T3" fmla="*/ 0 h 3"/>
                  <a:gd name="T4" fmla="*/ 0 w 3"/>
                  <a:gd name="T5" fmla="*/ 3 h 3"/>
                  <a:gd name="T6" fmla="*/ 3 w 3"/>
                  <a:gd name="T7" fmla="*/ 0 h 3"/>
                  <a:gd name="T8" fmla="*/ 3 w 3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3">
                    <a:moveTo>
                      <a:pt x="3" y="0"/>
                    </a:moveTo>
                    <a:lnTo>
                      <a:pt x="0" y="0"/>
                    </a:lnTo>
                    <a:lnTo>
                      <a:pt x="0" y="3"/>
                    </a:lnTo>
                    <a:lnTo>
                      <a:pt x="3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16" name="Freeform 82">
                <a:extLst>
                  <a:ext uri="{FF2B5EF4-FFF2-40B4-BE49-F238E27FC236}">
                    <a16:creationId xmlns:a16="http://schemas.microsoft.com/office/drawing/2014/main" id="{5F0BA4A4-E5D8-42A7-950C-0595827962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0" y="1298"/>
                <a:ext cx="14" cy="10"/>
              </a:xfrm>
              <a:custGeom>
                <a:avLst/>
                <a:gdLst>
                  <a:gd name="T0" fmla="*/ 8 w 14"/>
                  <a:gd name="T1" fmla="*/ 9 h 10"/>
                  <a:gd name="T2" fmla="*/ 12 w 14"/>
                  <a:gd name="T3" fmla="*/ 10 h 10"/>
                  <a:gd name="T4" fmla="*/ 14 w 14"/>
                  <a:gd name="T5" fmla="*/ 9 h 10"/>
                  <a:gd name="T6" fmla="*/ 12 w 14"/>
                  <a:gd name="T7" fmla="*/ 6 h 10"/>
                  <a:gd name="T8" fmla="*/ 9 w 14"/>
                  <a:gd name="T9" fmla="*/ 4 h 10"/>
                  <a:gd name="T10" fmla="*/ 7 w 14"/>
                  <a:gd name="T11" fmla="*/ 1 h 10"/>
                  <a:gd name="T12" fmla="*/ 4 w 14"/>
                  <a:gd name="T13" fmla="*/ 0 h 10"/>
                  <a:gd name="T14" fmla="*/ 0 w 14"/>
                  <a:gd name="T15" fmla="*/ 2 h 10"/>
                  <a:gd name="T16" fmla="*/ 3 w 14"/>
                  <a:gd name="T17" fmla="*/ 4 h 10"/>
                  <a:gd name="T18" fmla="*/ 8 w 14"/>
                  <a:gd name="T19" fmla="*/ 9 h 10"/>
                  <a:gd name="T20" fmla="*/ 8 w 14"/>
                  <a:gd name="T21" fmla="*/ 9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4" h="10">
                    <a:moveTo>
                      <a:pt x="8" y="9"/>
                    </a:moveTo>
                    <a:lnTo>
                      <a:pt x="12" y="10"/>
                    </a:lnTo>
                    <a:lnTo>
                      <a:pt x="14" y="9"/>
                    </a:lnTo>
                    <a:lnTo>
                      <a:pt x="12" y="6"/>
                    </a:lnTo>
                    <a:lnTo>
                      <a:pt x="9" y="4"/>
                    </a:lnTo>
                    <a:lnTo>
                      <a:pt x="7" y="1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3" y="4"/>
                    </a:lnTo>
                    <a:lnTo>
                      <a:pt x="8" y="9"/>
                    </a:lnTo>
                    <a:lnTo>
                      <a:pt x="8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17" name="Freeform 83">
                <a:extLst>
                  <a:ext uri="{FF2B5EF4-FFF2-40B4-BE49-F238E27FC236}">
                    <a16:creationId xmlns:a16="http://schemas.microsoft.com/office/drawing/2014/main" id="{8161EEE9-AFDA-4DCE-8F41-BEA401057C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3" y="1513"/>
                <a:ext cx="11" cy="9"/>
              </a:xfrm>
              <a:custGeom>
                <a:avLst/>
                <a:gdLst>
                  <a:gd name="T0" fmla="*/ 7 w 11"/>
                  <a:gd name="T1" fmla="*/ 3 h 9"/>
                  <a:gd name="T2" fmla="*/ 5 w 11"/>
                  <a:gd name="T3" fmla="*/ 3 h 9"/>
                  <a:gd name="T4" fmla="*/ 7 w 11"/>
                  <a:gd name="T5" fmla="*/ 2 h 9"/>
                  <a:gd name="T6" fmla="*/ 7 w 11"/>
                  <a:gd name="T7" fmla="*/ 1 h 9"/>
                  <a:gd name="T8" fmla="*/ 5 w 11"/>
                  <a:gd name="T9" fmla="*/ 0 h 9"/>
                  <a:gd name="T10" fmla="*/ 2 w 11"/>
                  <a:gd name="T11" fmla="*/ 0 h 9"/>
                  <a:gd name="T12" fmla="*/ 0 w 11"/>
                  <a:gd name="T13" fmla="*/ 2 h 9"/>
                  <a:gd name="T14" fmla="*/ 0 w 11"/>
                  <a:gd name="T15" fmla="*/ 5 h 9"/>
                  <a:gd name="T16" fmla="*/ 0 w 11"/>
                  <a:gd name="T17" fmla="*/ 7 h 9"/>
                  <a:gd name="T18" fmla="*/ 3 w 11"/>
                  <a:gd name="T19" fmla="*/ 9 h 9"/>
                  <a:gd name="T20" fmla="*/ 6 w 11"/>
                  <a:gd name="T21" fmla="*/ 9 h 9"/>
                  <a:gd name="T22" fmla="*/ 7 w 11"/>
                  <a:gd name="T23" fmla="*/ 9 h 9"/>
                  <a:gd name="T24" fmla="*/ 11 w 11"/>
                  <a:gd name="T25" fmla="*/ 7 h 9"/>
                  <a:gd name="T26" fmla="*/ 9 w 11"/>
                  <a:gd name="T27" fmla="*/ 3 h 9"/>
                  <a:gd name="T28" fmla="*/ 7 w 11"/>
                  <a:gd name="T29" fmla="*/ 3 h 9"/>
                  <a:gd name="T30" fmla="*/ 7 w 11"/>
                  <a:gd name="T31" fmla="*/ 3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1" h="9">
                    <a:moveTo>
                      <a:pt x="7" y="3"/>
                    </a:moveTo>
                    <a:lnTo>
                      <a:pt x="5" y="3"/>
                    </a:lnTo>
                    <a:lnTo>
                      <a:pt x="7" y="2"/>
                    </a:lnTo>
                    <a:lnTo>
                      <a:pt x="7" y="1"/>
                    </a:lnTo>
                    <a:lnTo>
                      <a:pt x="5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5"/>
                    </a:lnTo>
                    <a:lnTo>
                      <a:pt x="0" y="7"/>
                    </a:lnTo>
                    <a:lnTo>
                      <a:pt x="3" y="9"/>
                    </a:lnTo>
                    <a:lnTo>
                      <a:pt x="6" y="9"/>
                    </a:lnTo>
                    <a:lnTo>
                      <a:pt x="7" y="9"/>
                    </a:lnTo>
                    <a:lnTo>
                      <a:pt x="11" y="7"/>
                    </a:lnTo>
                    <a:lnTo>
                      <a:pt x="9" y="3"/>
                    </a:lnTo>
                    <a:lnTo>
                      <a:pt x="7" y="3"/>
                    </a:lnTo>
                    <a:lnTo>
                      <a:pt x="7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18" name="Freeform 84">
                <a:extLst>
                  <a:ext uri="{FF2B5EF4-FFF2-40B4-BE49-F238E27FC236}">
                    <a16:creationId xmlns:a16="http://schemas.microsoft.com/office/drawing/2014/main" id="{FC162C67-38BF-4669-A5AC-93F365610A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5" y="1429"/>
                <a:ext cx="15" cy="6"/>
              </a:xfrm>
              <a:custGeom>
                <a:avLst/>
                <a:gdLst>
                  <a:gd name="T0" fmla="*/ 5 w 15"/>
                  <a:gd name="T1" fmla="*/ 0 h 6"/>
                  <a:gd name="T2" fmla="*/ 0 w 15"/>
                  <a:gd name="T3" fmla="*/ 0 h 6"/>
                  <a:gd name="T4" fmla="*/ 3 w 15"/>
                  <a:gd name="T5" fmla="*/ 3 h 6"/>
                  <a:gd name="T6" fmla="*/ 5 w 15"/>
                  <a:gd name="T7" fmla="*/ 4 h 6"/>
                  <a:gd name="T8" fmla="*/ 9 w 15"/>
                  <a:gd name="T9" fmla="*/ 5 h 6"/>
                  <a:gd name="T10" fmla="*/ 13 w 15"/>
                  <a:gd name="T11" fmla="*/ 6 h 6"/>
                  <a:gd name="T12" fmla="*/ 15 w 15"/>
                  <a:gd name="T13" fmla="*/ 4 h 6"/>
                  <a:gd name="T14" fmla="*/ 9 w 15"/>
                  <a:gd name="T15" fmla="*/ 4 h 6"/>
                  <a:gd name="T16" fmla="*/ 5 w 15"/>
                  <a:gd name="T17" fmla="*/ 1 h 6"/>
                  <a:gd name="T18" fmla="*/ 5 w 15"/>
                  <a:gd name="T19" fmla="*/ 0 h 6"/>
                  <a:gd name="T20" fmla="*/ 5 w 15"/>
                  <a:gd name="T21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" h="6">
                    <a:moveTo>
                      <a:pt x="5" y="0"/>
                    </a:moveTo>
                    <a:lnTo>
                      <a:pt x="0" y="0"/>
                    </a:lnTo>
                    <a:lnTo>
                      <a:pt x="3" y="3"/>
                    </a:lnTo>
                    <a:lnTo>
                      <a:pt x="5" y="4"/>
                    </a:lnTo>
                    <a:lnTo>
                      <a:pt x="9" y="5"/>
                    </a:lnTo>
                    <a:lnTo>
                      <a:pt x="13" y="6"/>
                    </a:lnTo>
                    <a:lnTo>
                      <a:pt x="15" y="4"/>
                    </a:lnTo>
                    <a:lnTo>
                      <a:pt x="9" y="4"/>
                    </a:lnTo>
                    <a:lnTo>
                      <a:pt x="5" y="1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19" name="Freeform 85">
                <a:extLst>
                  <a:ext uri="{FF2B5EF4-FFF2-40B4-BE49-F238E27FC236}">
                    <a16:creationId xmlns:a16="http://schemas.microsoft.com/office/drawing/2014/main" id="{AE4C2F7B-F594-45D6-BA3D-B38134A51D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23" y="1310"/>
                <a:ext cx="10" cy="6"/>
              </a:xfrm>
              <a:custGeom>
                <a:avLst/>
                <a:gdLst>
                  <a:gd name="T0" fmla="*/ 8 w 10"/>
                  <a:gd name="T1" fmla="*/ 6 h 6"/>
                  <a:gd name="T2" fmla="*/ 10 w 10"/>
                  <a:gd name="T3" fmla="*/ 4 h 6"/>
                  <a:gd name="T4" fmla="*/ 4 w 10"/>
                  <a:gd name="T5" fmla="*/ 0 h 6"/>
                  <a:gd name="T6" fmla="*/ 2 w 10"/>
                  <a:gd name="T7" fmla="*/ 0 h 6"/>
                  <a:gd name="T8" fmla="*/ 0 w 10"/>
                  <a:gd name="T9" fmla="*/ 1 h 6"/>
                  <a:gd name="T10" fmla="*/ 8 w 10"/>
                  <a:gd name="T11" fmla="*/ 6 h 6"/>
                  <a:gd name="T12" fmla="*/ 8 w 10"/>
                  <a:gd name="T13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6">
                    <a:moveTo>
                      <a:pt x="8" y="6"/>
                    </a:moveTo>
                    <a:lnTo>
                      <a:pt x="10" y="4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1"/>
                    </a:lnTo>
                    <a:lnTo>
                      <a:pt x="8" y="6"/>
                    </a:lnTo>
                    <a:lnTo>
                      <a:pt x="8" y="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20" name="Freeform 86">
                <a:extLst>
                  <a:ext uri="{FF2B5EF4-FFF2-40B4-BE49-F238E27FC236}">
                    <a16:creationId xmlns:a16="http://schemas.microsoft.com/office/drawing/2014/main" id="{00DB7028-B639-43B2-BCE4-ED21E1683A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26" y="1503"/>
                <a:ext cx="22" cy="12"/>
              </a:xfrm>
              <a:custGeom>
                <a:avLst/>
                <a:gdLst>
                  <a:gd name="T0" fmla="*/ 14 w 22"/>
                  <a:gd name="T1" fmla="*/ 0 h 12"/>
                  <a:gd name="T2" fmla="*/ 11 w 22"/>
                  <a:gd name="T3" fmla="*/ 2 h 12"/>
                  <a:gd name="T4" fmla="*/ 8 w 22"/>
                  <a:gd name="T5" fmla="*/ 3 h 12"/>
                  <a:gd name="T6" fmla="*/ 5 w 22"/>
                  <a:gd name="T7" fmla="*/ 1 h 12"/>
                  <a:gd name="T8" fmla="*/ 0 w 22"/>
                  <a:gd name="T9" fmla="*/ 2 h 12"/>
                  <a:gd name="T10" fmla="*/ 1 w 22"/>
                  <a:gd name="T11" fmla="*/ 6 h 12"/>
                  <a:gd name="T12" fmla="*/ 0 w 22"/>
                  <a:gd name="T13" fmla="*/ 11 h 12"/>
                  <a:gd name="T14" fmla="*/ 6 w 22"/>
                  <a:gd name="T15" fmla="*/ 12 h 12"/>
                  <a:gd name="T16" fmla="*/ 8 w 22"/>
                  <a:gd name="T17" fmla="*/ 11 h 12"/>
                  <a:gd name="T18" fmla="*/ 11 w 22"/>
                  <a:gd name="T19" fmla="*/ 11 h 12"/>
                  <a:gd name="T20" fmla="*/ 16 w 22"/>
                  <a:gd name="T21" fmla="*/ 11 h 12"/>
                  <a:gd name="T22" fmla="*/ 20 w 22"/>
                  <a:gd name="T23" fmla="*/ 12 h 12"/>
                  <a:gd name="T24" fmla="*/ 22 w 22"/>
                  <a:gd name="T25" fmla="*/ 10 h 12"/>
                  <a:gd name="T26" fmla="*/ 22 w 22"/>
                  <a:gd name="T27" fmla="*/ 8 h 12"/>
                  <a:gd name="T28" fmla="*/ 20 w 22"/>
                  <a:gd name="T29" fmla="*/ 8 h 12"/>
                  <a:gd name="T30" fmla="*/ 16 w 22"/>
                  <a:gd name="T31" fmla="*/ 9 h 12"/>
                  <a:gd name="T32" fmla="*/ 14 w 22"/>
                  <a:gd name="T33" fmla="*/ 8 h 12"/>
                  <a:gd name="T34" fmla="*/ 13 w 22"/>
                  <a:gd name="T35" fmla="*/ 4 h 12"/>
                  <a:gd name="T36" fmla="*/ 9 w 22"/>
                  <a:gd name="T37" fmla="*/ 6 h 12"/>
                  <a:gd name="T38" fmla="*/ 13 w 22"/>
                  <a:gd name="T39" fmla="*/ 4 h 12"/>
                  <a:gd name="T40" fmla="*/ 15 w 22"/>
                  <a:gd name="T41" fmla="*/ 3 h 12"/>
                  <a:gd name="T42" fmla="*/ 14 w 22"/>
                  <a:gd name="T43" fmla="*/ 0 h 12"/>
                  <a:gd name="T44" fmla="*/ 14 w 22"/>
                  <a:gd name="T4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2" h="12">
                    <a:moveTo>
                      <a:pt x="14" y="0"/>
                    </a:moveTo>
                    <a:lnTo>
                      <a:pt x="11" y="2"/>
                    </a:lnTo>
                    <a:lnTo>
                      <a:pt x="8" y="3"/>
                    </a:lnTo>
                    <a:lnTo>
                      <a:pt x="5" y="1"/>
                    </a:lnTo>
                    <a:lnTo>
                      <a:pt x="0" y="2"/>
                    </a:lnTo>
                    <a:lnTo>
                      <a:pt x="1" y="6"/>
                    </a:lnTo>
                    <a:lnTo>
                      <a:pt x="0" y="11"/>
                    </a:lnTo>
                    <a:lnTo>
                      <a:pt x="6" y="12"/>
                    </a:lnTo>
                    <a:lnTo>
                      <a:pt x="8" y="11"/>
                    </a:lnTo>
                    <a:lnTo>
                      <a:pt x="11" y="11"/>
                    </a:lnTo>
                    <a:lnTo>
                      <a:pt x="16" y="11"/>
                    </a:lnTo>
                    <a:lnTo>
                      <a:pt x="20" y="12"/>
                    </a:lnTo>
                    <a:lnTo>
                      <a:pt x="22" y="10"/>
                    </a:lnTo>
                    <a:lnTo>
                      <a:pt x="22" y="8"/>
                    </a:lnTo>
                    <a:lnTo>
                      <a:pt x="20" y="8"/>
                    </a:lnTo>
                    <a:lnTo>
                      <a:pt x="16" y="9"/>
                    </a:lnTo>
                    <a:lnTo>
                      <a:pt x="14" y="8"/>
                    </a:lnTo>
                    <a:lnTo>
                      <a:pt x="13" y="4"/>
                    </a:lnTo>
                    <a:lnTo>
                      <a:pt x="9" y="6"/>
                    </a:lnTo>
                    <a:lnTo>
                      <a:pt x="13" y="4"/>
                    </a:lnTo>
                    <a:lnTo>
                      <a:pt x="15" y="3"/>
                    </a:lnTo>
                    <a:lnTo>
                      <a:pt x="14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21" name="Freeform 87">
                <a:extLst>
                  <a:ext uri="{FF2B5EF4-FFF2-40B4-BE49-F238E27FC236}">
                    <a16:creationId xmlns:a16="http://schemas.microsoft.com/office/drawing/2014/main" id="{D9DEFA48-8289-4954-A706-330203BA5E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97" y="2207"/>
                <a:ext cx="22" cy="39"/>
              </a:xfrm>
              <a:custGeom>
                <a:avLst/>
                <a:gdLst>
                  <a:gd name="T0" fmla="*/ 4 w 22"/>
                  <a:gd name="T1" fmla="*/ 25 h 39"/>
                  <a:gd name="T2" fmla="*/ 3 w 22"/>
                  <a:gd name="T3" fmla="*/ 25 h 39"/>
                  <a:gd name="T4" fmla="*/ 2 w 22"/>
                  <a:gd name="T5" fmla="*/ 35 h 39"/>
                  <a:gd name="T6" fmla="*/ 5 w 22"/>
                  <a:gd name="T7" fmla="*/ 35 h 39"/>
                  <a:gd name="T8" fmla="*/ 5 w 22"/>
                  <a:gd name="T9" fmla="*/ 39 h 39"/>
                  <a:gd name="T10" fmla="*/ 9 w 22"/>
                  <a:gd name="T11" fmla="*/ 38 h 39"/>
                  <a:gd name="T12" fmla="*/ 11 w 22"/>
                  <a:gd name="T13" fmla="*/ 35 h 39"/>
                  <a:gd name="T14" fmla="*/ 12 w 22"/>
                  <a:gd name="T15" fmla="*/ 33 h 39"/>
                  <a:gd name="T16" fmla="*/ 11 w 22"/>
                  <a:gd name="T17" fmla="*/ 32 h 39"/>
                  <a:gd name="T18" fmla="*/ 12 w 22"/>
                  <a:gd name="T19" fmla="*/ 33 h 39"/>
                  <a:gd name="T20" fmla="*/ 16 w 22"/>
                  <a:gd name="T21" fmla="*/ 33 h 39"/>
                  <a:gd name="T22" fmla="*/ 19 w 22"/>
                  <a:gd name="T23" fmla="*/ 33 h 39"/>
                  <a:gd name="T24" fmla="*/ 20 w 22"/>
                  <a:gd name="T25" fmla="*/ 27 h 39"/>
                  <a:gd name="T26" fmla="*/ 20 w 22"/>
                  <a:gd name="T27" fmla="*/ 21 h 39"/>
                  <a:gd name="T28" fmla="*/ 20 w 22"/>
                  <a:gd name="T29" fmla="*/ 19 h 39"/>
                  <a:gd name="T30" fmla="*/ 19 w 22"/>
                  <a:gd name="T31" fmla="*/ 17 h 39"/>
                  <a:gd name="T32" fmla="*/ 20 w 22"/>
                  <a:gd name="T33" fmla="*/ 14 h 39"/>
                  <a:gd name="T34" fmla="*/ 22 w 22"/>
                  <a:gd name="T35" fmla="*/ 12 h 39"/>
                  <a:gd name="T36" fmla="*/ 19 w 22"/>
                  <a:gd name="T37" fmla="*/ 4 h 39"/>
                  <a:gd name="T38" fmla="*/ 17 w 22"/>
                  <a:gd name="T39" fmla="*/ 1 h 39"/>
                  <a:gd name="T40" fmla="*/ 13 w 22"/>
                  <a:gd name="T41" fmla="*/ 0 h 39"/>
                  <a:gd name="T42" fmla="*/ 11 w 22"/>
                  <a:gd name="T43" fmla="*/ 1 h 39"/>
                  <a:gd name="T44" fmla="*/ 9 w 22"/>
                  <a:gd name="T45" fmla="*/ 5 h 39"/>
                  <a:gd name="T46" fmla="*/ 5 w 22"/>
                  <a:gd name="T47" fmla="*/ 6 h 39"/>
                  <a:gd name="T48" fmla="*/ 3 w 22"/>
                  <a:gd name="T49" fmla="*/ 7 h 39"/>
                  <a:gd name="T50" fmla="*/ 0 w 22"/>
                  <a:gd name="T51" fmla="*/ 5 h 39"/>
                  <a:gd name="T52" fmla="*/ 0 w 22"/>
                  <a:gd name="T53" fmla="*/ 9 h 39"/>
                  <a:gd name="T54" fmla="*/ 2 w 22"/>
                  <a:gd name="T55" fmla="*/ 13 h 39"/>
                  <a:gd name="T56" fmla="*/ 4 w 22"/>
                  <a:gd name="T57" fmla="*/ 15 h 39"/>
                  <a:gd name="T58" fmla="*/ 3 w 22"/>
                  <a:gd name="T59" fmla="*/ 21 h 39"/>
                  <a:gd name="T60" fmla="*/ 4 w 22"/>
                  <a:gd name="T61" fmla="*/ 22 h 39"/>
                  <a:gd name="T62" fmla="*/ 4 w 22"/>
                  <a:gd name="T63" fmla="*/ 25 h 39"/>
                  <a:gd name="T64" fmla="*/ 4 w 22"/>
                  <a:gd name="T65" fmla="*/ 25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2" h="39">
                    <a:moveTo>
                      <a:pt x="4" y="25"/>
                    </a:moveTo>
                    <a:lnTo>
                      <a:pt x="3" y="25"/>
                    </a:lnTo>
                    <a:lnTo>
                      <a:pt x="2" y="35"/>
                    </a:lnTo>
                    <a:lnTo>
                      <a:pt x="5" y="35"/>
                    </a:lnTo>
                    <a:lnTo>
                      <a:pt x="5" y="39"/>
                    </a:lnTo>
                    <a:lnTo>
                      <a:pt x="9" y="38"/>
                    </a:lnTo>
                    <a:lnTo>
                      <a:pt x="11" y="35"/>
                    </a:lnTo>
                    <a:lnTo>
                      <a:pt x="12" y="33"/>
                    </a:lnTo>
                    <a:lnTo>
                      <a:pt x="11" y="32"/>
                    </a:lnTo>
                    <a:lnTo>
                      <a:pt x="12" y="33"/>
                    </a:lnTo>
                    <a:lnTo>
                      <a:pt x="16" y="33"/>
                    </a:lnTo>
                    <a:lnTo>
                      <a:pt x="19" y="33"/>
                    </a:lnTo>
                    <a:lnTo>
                      <a:pt x="20" y="27"/>
                    </a:lnTo>
                    <a:lnTo>
                      <a:pt x="20" y="21"/>
                    </a:lnTo>
                    <a:lnTo>
                      <a:pt x="20" y="19"/>
                    </a:lnTo>
                    <a:lnTo>
                      <a:pt x="19" y="17"/>
                    </a:lnTo>
                    <a:lnTo>
                      <a:pt x="20" y="14"/>
                    </a:lnTo>
                    <a:lnTo>
                      <a:pt x="22" y="12"/>
                    </a:lnTo>
                    <a:lnTo>
                      <a:pt x="19" y="4"/>
                    </a:lnTo>
                    <a:lnTo>
                      <a:pt x="17" y="1"/>
                    </a:lnTo>
                    <a:lnTo>
                      <a:pt x="13" y="0"/>
                    </a:lnTo>
                    <a:lnTo>
                      <a:pt x="11" y="1"/>
                    </a:lnTo>
                    <a:lnTo>
                      <a:pt x="9" y="5"/>
                    </a:lnTo>
                    <a:lnTo>
                      <a:pt x="5" y="6"/>
                    </a:lnTo>
                    <a:lnTo>
                      <a:pt x="3" y="7"/>
                    </a:lnTo>
                    <a:lnTo>
                      <a:pt x="0" y="5"/>
                    </a:lnTo>
                    <a:lnTo>
                      <a:pt x="0" y="9"/>
                    </a:lnTo>
                    <a:lnTo>
                      <a:pt x="2" y="13"/>
                    </a:lnTo>
                    <a:lnTo>
                      <a:pt x="4" y="15"/>
                    </a:lnTo>
                    <a:lnTo>
                      <a:pt x="3" y="21"/>
                    </a:lnTo>
                    <a:lnTo>
                      <a:pt x="4" y="22"/>
                    </a:lnTo>
                    <a:lnTo>
                      <a:pt x="4" y="25"/>
                    </a:lnTo>
                    <a:lnTo>
                      <a:pt x="4" y="2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22" name="Freeform 88">
                <a:extLst>
                  <a:ext uri="{FF2B5EF4-FFF2-40B4-BE49-F238E27FC236}">
                    <a16:creationId xmlns:a16="http://schemas.microsoft.com/office/drawing/2014/main" id="{99A5D240-3D54-4A9A-8D38-760A85DB75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02" y="2178"/>
                <a:ext cx="14" cy="27"/>
              </a:xfrm>
              <a:custGeom>
                <a:avLst/>
                <a:gdLst>
                  <a:gd name="T0" fmla="*/ 0 w 14"/>
                  <a:gd name="T1" fmla="*/ 10 h 27"/>
                  <a:gd name="T2" fmla="*/ 2 w 14"/>
                  <a:gd name="T3" fmla="*/ 12 h 27"/>
                  <a:gd name="T4" fmla="*/ 0 w 14"/>
                  <a:gd name="T5" fmla="*/ 17 h 27"/>
                  <a:gd name="T6" fmla="*/ 3 w 14"/>
                  <a:gd name="T7" fmla="*/ 18 h 27"/>
                  <a:gd name="T8" fmla="*/ 2 w 14"/>
                  <a:gd name="T9" fmla="*/ 21 h 27"/>
                  <a:gd name="T10" fmla="*/ 4 w 14"/>
                  <a:gd name="T11" fmla="*/ 22 h 27"/>
                  <a:gd name="T12" fmla="*/ 5 w 14"/>
                  <a:gd name="T13" fmla="*/ 25 h 27"/>
                  <a:gd name="T14" fmla="*/ 8 w 14"/>
                  <a:gd name="T15" fmla="*/ 27 h 27"/>
                  <a:gd name="T16" fmla="*/ 9 w 14"/>
                  <a:gd name="T17" fmla="*/ 27 h 27"/>
                  <a:gd name="T18" fmla="*/ 12 w 14"/>
                  <a:gd name="T19" fmla="*/ 21 h 27"/>
                  <a:gd name="T20" fmla="*/ 12 w 14"/>
                  <a:gd name="T21" fmla="*/ 18 h 27"/>
                  <a:gd name="T22" fmla="*/ 13 w 14"/>
                  <a:gd name="T23" fmla="*/ 15 h 27"/>
                  <a:gd name="T24" fmla="*/ 14 w 14"/>
                  <a:gd name="T25" fmla="*/ 13 h 27"/>
                  <a:gd name="T26" fmla="*/ 13 w 14"/>
                  <a:gd name="T27" fmla="*/ 8 h 27"/>
                  <a:gd name="T28" fmla="*/ 12 w 14"/>
                  <a:gd name="T29" fmla="*/ 5 h 27"/>
                  <a:gd name="T30" fmla="*/ 13 w 14"/>
                  <a:gd name="T31" fmla="*/ 3 h 27"/>
                  <a:gd name="T32" fmla="*/ 12 w 14"/>
                  <a:gd name="T33" fmla="*/ 0 h 27"/>
                  <a:gd name="T34" fmla="*/ 11 w 14"/>
                  <a:gd name="T35" fmla="*/ 2 h 27"/>
                  <a:gd name="T36" fmla="*/ 9 w 14"/>
                  <a:gd name="T37" fmla="*/ 5 h 27"/>
                  <a:gd name="T38" fmla="*/ 7 w 14"/>
                  <a:gd name="T39" fmla="*/ 4 h 27"/>
                  <a:gd name="T40" fmla="*/ 2 w 14"/>
                  <a:gd name="T41" fmla="*/ 8 h 27"/>
                  <a:gd name="T42" fmla="*/ 0 w 14"/>
                  <a:gd name="T43" fmla="*/ 10 h 27"/>
                  <a:gd name="T44" fmla="*/ 0 w 14"/>
                  <a:gd name="T45" fmla="*/ 1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" h="27">
                    <a:moveTo>
                      <a:pt x="0" y="10"/>
                    </a:moveTo>
                    <a:lnTo>
                      <a:pt x="2" y="12"/>
                    </a:lnTo>
                    <a:lnTo>
                      <a:pt x="0" y="17"/>
                    </a:lnTo>
                    <a:lnTo>
                      <a:pt x="3" y="18"/>
                    </a:lnTo>
                    <a:lnTo>
                      <a:pt x="2" y="21"/>
                    </a:lnTo>
                    <a:lnTo>
                      <a:pt x="4" y="22"/>
                    </a:lnTo>
                    <a:lnTo>
                      <a:pt x="5" y="25"/>
                    </a:lnTo>
                    <a:lnTo>
                      <a:pt x="8" y="27"/>
                    </a:lnTo>
                    <a:lnTo>
                      <a:pt x="9" y="27"/>
                    </a:lnTo>
                    <a:lnTo>
                      <a:pt x="12" y="21"/>
                    </a:lnTo>
                    <a:lnTo>
                      <a:pt x="12" y="18"/>
                    </a:lnTo>
                    <a:lnTo>
                      <a:pt x="13" y="15"/>
                    </a:lnTo>
                    <a:lnTo>
                      <a:pt x="14" y="13"/>
                    </a:lnTo>
                    <a:lnTo>
                      <a:pt x="13" y="8"/>
                    </a:lnTo>
                    <a:lnTo>
                      <a:pt x="12" y="5"/>
                    </a:lnTo>
                    <a:lnTo>
                      <a:pt x="13" y="3"/>
                    </a:lnTo>
                    <a:lnTo>
                      <a:pt x="12" y="0"/>
                    </a:lnTo>
                    <a:lnTo>
                      <a:pt x="11" y="2"/>
                    </a:lnTo>
                    <a:lnTo>
                      <a:pt x="9" y="5"/>
                    </a:lnTo>
                    <a:lnTo>
                      <a:pt x="7" y="4"/>
                    </a:lnTo>
                    <a:lnTo>
                      <a:pt x="2" y="8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23" name="Freeform 89">
                <a:extLst>
                  <a:ext uri="{FF2B5EF4-FFF2-40B4-BE49-F238E27FC236}">
                    <a16:creationId xmlns:a16="http://schemas.microsoft.com/office/drawing/2014/main" id="{41A4B892-96EE-4043-9105-806C0DD242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56" y="2255"/>
                <a:ext cx="42" cy="25"/>
              </a:xfrm>
              <a:custGeom>
                <a:avLst/>
                <a:gdLst>
                  <a:gd name="T0" fmla="*/ 26 w 42"/>
                  <a:gd name="T1" fmla="*/ 20 h 25"/>
                  <a:gd name="T2" fmla="*/ 26 w 42"/>
                  <a:gd name="T3" fmla="*/ 21 h 25"/>
                  <a:gd name="T4" fmla="*/ 29 w 42"/>
                  <a:gd name="T5" fmla="*/ 24 h 25"/>
                  <a:gd name="T6" fmla="*/ 34 w 42"/>
                  <a:gd name="T7" fmla="*/ 25 h 25"/>
                  <a:gd name="T8" fmla="*/ 36 w 42"/>
                  <a:gd name="T9" fmla="*/ 25 h 25"/>
                  <a:gd name="T10" fmla="*/ 36 w 42"/>
                  <a:gd name="T11" fmla="*/ 21 h 25"/>
                  <a:gd name="T12" fmla="*/ 38 w 42"/>
                  <a:gd name="T13" fmla="*/ 19 h 25"/>
                  <a:gd name="T14" fmla="*/ 37 w 42"/>
                  <a:gd name="T15" fmla="*/ 17 h 25"/>
                  <a:gd name="T16" fmla="*/ 36 w 42"/>
                  <a:gd name="T17" fmla="*/ 15 h 25"/>
                  <a:gd name="T18" fmla="*/ 35 w 42"/>
                  <a:gd name="T19" fmla="*/ 12 h 25"/>
                  <a:gd name="T20" fmla="*/ 37 w 42"/>
                  <a:gd name="T21" fmla="*/ 8 h 25"/>
                  <a:gd name="T22" fmla="*/ 42 w 42"/>
                  <a:gd name="T23" fmla="*/ 2 h 25"/>
                  <a:gd name="T24" fmla="*/ 42 w 42"/>
                  <a:gd name="T25" fmla="*/ 0 h 25"/>
                  <a:gd name="T26" fmla="*/ 37 w 42"/>
                  <a:gd name="T27" fmla="*/ 2 h 25"/>
                  <a:gd name="T28" fmla="*/ 31 w 42"/>
                  <a:gd name="T29" fmla="*/ 2 h 25"/>
                  <a:gd name="T30" fmla="*/ 26 w 42"/>
                  <a:gd name="T31" fmla="*/ 4 h 25"/>
                  <a:gd name="T32" fmla="*/ 20 w 42"/>
                  <a:gd name="T33" fmla="*/ 3 h 25"/>
                  <a:gd name="T34" fmla="*/ 17 w 42"/>
                  <a:gd name="T35" fmla="*/ 4 h 25"/>
                  <a:gd name="T36" fmla="*/ 12 w 42"/>
                  <a:gd name="T37" fmla="*/ 1 h 25"/>
                  <a:gd name="T38" fmla="*/ 9 w 42"/>
                  <a:gd name="T39" fmla="*/ 1 h 25"/>
                  <a:gd name="T40" fmla="*/ 6 w 42"/>
                  <a:gd name="T41" fmla="*/ 3 h 25"/>
                  <a:gd name="T42" fmla="*/ 4 w 42"/>
                  <a:gd name="T43" fmla="*/ 3 h 25"/>
                  <a:gd name="T44" fmla="*/ 2 w 42"/>
                  <a:gd name="T45" fmla="*/ 3 h 25"/>
                  <a:gd name="T46" fmla="*/ 0 w 42"/>
                  <a:gd name="T47" fmla="*/ 5 h 25"/>
                  <a:gd name="T48" fmla="*/ 0 w 42"/>
                  <a:gd name="T49" fmla="*/ 9 h 25"/>
                  <a:gd name="T50" fmla="*/ 2 w 42"/>
                  <a:gd name="T51" fmla="*/ 11 h 25"/>
                  <a:gd name="T52" fmla="*/ 5 w 42"/>
                  <a:gd name="T53" fmla="*/ 11 h 25"/>
                  <a:gd name="T54" fmla="*/ 14 w 42"/>
                  <a:gd name="T55" fmla="*/ 16 h 25"/>
                  <a:gd name="T56" fmla="*/ 17 w 42"/>
                  <a:gd name="T57" fmla="*/ 18 h 25"/>
                  <a:gd name="T58" fmla="*/ 20 w 42"/>
                  <a:gd name="T59" fmla="*/ 18 h 25"/>
                  <a:gd name="T60" fmla="*/ 22 w 42"/>
                  <a:gd name="T61" fmla="*/ 18 h 25"/>
                  <a:gd name="T62" fmla="*/ 26 w 42"/>
                  <a:gd name="T63" fmla="*/ 20 h 25"/>
                  <a:gd name="T64" fmla="*/ 26 w 42"/>
                  <a:gd name="T65" fmla="*/ 2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2" h="25">
                    <a:moveTo>
                      <a:pt x="26" y="20"/>
                    </a:moveTo>
                    <a:lnTo>
                      <a:pt x="26" y="21"/>
                    </a:lnTo>
                    <a:lnTo>
                      <a:pt x="29" y="24"/>
                    </a:lnTo>
                    <a:lnTo>
                      <a:pt x="34" y="25"/>
                    </a:lnTo>
                    <a:lnTo>
                      <a:pt x="36" y="25"/>
                    </a:lnTo>
                    <a:lnTo>
                      <a:pt x="36" y="21"/>
                    </a:lnTo>
                    <a:lnTo>
                      <a:pt x="38" y="19"/>
                    </a:lnTo>
                    <a:lnTo>
                      <a:pt x="37" y="17"/>
                    </a:lnTo>
                    <a:lnTo>
                      <a:pt x="36" y="15"/>
                    </a:lnTo>
                    <a:lnTo>
                      <a:pt x="35" y="12"/>
                    </a:lnTo>
                    <a:lnTo>
                      <a:pt x="37" y="8"/>
                    </a:lnTo>
                    <a:lnTo>
                      <a:pt x="42" y="2"/>
                    </a:lnTo>
                    <a:lnTo>
                      <a:pt x="42" y="0"/>
                    </a:lnTo>
                    <a:lnTo>
                      <a:pt x="37" y="2"/>
                    </a:lnTo>
                    <a:lnTo>
                      <a:pt x="31" y="2"/>
                    </a:lnTo>
                    <a:lnTo>
                      <a:pt x="26" y="4"/>
                    </a:lnTo>
                    <a:lnTo>
                      <a:pt x="20" y="3"/>
                    </a:lnTo>
                    <a:lnTo>
                      <a:pt x="17" y="4"/>
                    </a:lnTo>
                    <a:lnTo>
                      <a:pt x="12" y="1"/>
                    </a:lnTo>
                    <a:lnTo>
                      <a:pt x="9" y="1"/>
                    </a:lnTo>
                    <a:lnTo>
                      <a:pt x="6" y="3"/>
                    </a:lnTo>
                    <a:lnTo>
                      <a:pt x="4" y="3"/>
                    </a:lnTo>
                    <a:lnTo>
                      <a:pt x="2" y="3"/>
                    </a:lnTo>
                    <a:lnTo>
                      <a:pt x="0" y="5"/>
                    </a:lnTo>
                    <a:lnTo>
                      <a:pt x="0" y="9"/>
                    </a:lnTo>
                    <a:lnTo>
                      <a:pt x="2" y="11"/>
                    </a:lnTo>
                    <a:lnTo>
                      <a:pt x="5" y="11"/>
                    </a:lnTo>
                    <a:lnTo>
                      <a:pt x="14" y="16"/>
                    </a:lnTo>
                    <a:lnTo>
                      <a:pt x="17" y="18"/>
                    </a:lnTo>
                    <a:lnTo>
                      <a:pt x="20" y="18"/>
                    </a:lnTo>
                    <a:lnTo>
                      <a:pt x="22" y="18"/>
                    </a:lnTo>
                    <a:lnTo>
                      <a:pt x="26" y="20"/>
                    </a:lnTo>
                    <a:lnTo>
                      <a:pt x="26" y="2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24" name="Freeform 90">
                <a:extLst>
                  <a:ext uri="{FF2B5EF4-FFF2-40B4-BE49-F238E27FC236}">
                    <a16:creationId xmlns:a16="http://schemas.microsoft.com/office/drawing/2014/main" id="{452BD31F-462A-461D-8E35-0CC6A970412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542" y="1894"/>
                <a:ext cx="166" cy="164"/>
              </a:xfrm>
              <a:custGeom>
                <a:avLst/>
                <a:gdLst>
                  <a:gd name="T0" fmla="*/ 51 w 166"/>
                  <a:gd name="T1" fmla="*/ 12 h 164"/>
                  <a:gd name="T2" fmla="*/ 52 w 166"/>
                  <a:gd name="T3" fmla="*/ 6 h 164"/>
                  <a:gd name="T4" fmla="*/ 54 w 166"/>
                  <a:gd name="T5" fmla="*/ 20 h 164"/>
                  <a:gd name="T6" fmla="*/ 62 w 166"/>
                  <a:gd name="T7" fmla="*/ 30 h 164"/>
                  <a:gd name="T8" fmla="*/ 56 w 166"/>
                  <a:gd name="T9" fmla="*/ 47 h 164"/>
                  <a:gd name="T10" fmla="*/ 60 w 166"/>
                  <a:gd name="T11" fmla="*/ 45 h 164"/>
                  <a:gd name="T12" fmla="*/ 148 w 166"/>
                  <a:gd name="T13" fmla="*/ 113 h 164"/>
                  <a:gd name="T14" fmla="*/ 134 w 166"/>
                  <a:gd name="T15" fmla="*/ 96 h 164"/>
                  <a:gd name="T16" fmla="*/ 135 w 166"/>
                  <a:gd name="T17" fmla="*/ 81 h 164"/>
                  <a:gd name="T18" fmla="*/ 118 w 166"/>
                  <a:gd name="T19" fmla="*/ 60 h 164"/>
                  <a:gd name="T20" fmla="*/ 90 w 166"/>
                  <a:gd name="T21" fmla="*/ 51 h 164"/>
                  <a:gd name="T22" fmla="*/ 103 w 166"/>
                  <a:gd name="T23" fmla="*/ 44 h 164"/>
                  <a:gd name="T24" fmla="*/ 115 w 166"/>
                  <a:gd name="T25" fmla="*/ 28 h 164"/>
                  <a:gd name="T26" fmla="*/ 90 w 166"/>
                  <a:gd name="T27" fmla="*/ 21 h 164"/>
                  <a:gd name="T28" fmla="*/ 87 w 166"/>
                  <a:gd name="T29" fmla="*/ 14 h 164"/>
                  <a:gd name="T30" fmla="*/ 87 w 166"/>
                  <a:gd name="T31" fmla="*/ 2 h 164"/>
                  <a:gd name="T32" fmla="*/ 69 w 166"/>
                  <a:gd name="T33" fmla="*/ 9 h 164"/>
                  <a:gd name="T34" fmla="*/ 62 w 166"/>
                  <a:gd name="T35" fmla="*/ 23 h 164"/>
                  <a:gd name="T36" fmla="*/ 69 w 166"/>
                  <a:gd name="T37" fmla="*/ 30 h 164"/>
                  <a:gd name="T38" fmla="*/ 59 w 166"/>
                  <a:gd name="T39" fmla="*/ 39 h 164"/>
                  <a:gd name="T40" fmla="*/ 72 w 166"/>
                  <a:gd name="T41" fmla="*/ 39 h 164"/>
                  <a:gd name="T42" fmla="*/ 67 w 166"/>
                  <a:gd name="T43" fmla="*/ 48 h 164"/>
                  <a:gd name="T44" fmla="*/ 68 w 166"/>
                  <a:gd name="T45" fmla="*/ 61 h 164"/>
                  <a:gd name="T46" fmla="*/ 77 w 166"/>
                  <a:gd name="T47" fmla="*/ 49 h 164"/>
                  <a:gd name="T48" fmla="*/ 78 w 166"/>
                  <a:gd name="T49" fmla="*/ 63 h 164"/>
                  <a:gd name="T50" fmla="*/ 76 w 166"/>
                  <a:gd name="T51" fmla="*/ 78 h 164"/>
                  <a:gd name="T52" fmla="*/ 87 w 166"/>
                  <a:gd name="T53" fmla="*/ 75 h 164"/>
                  <a:gd name="T54" fmla="*/ 96 w 166"/>
                  <a:gd name="T55" fmla="*/ 83 h 164"/>
                  <a:gd name="T56" fmla="*/ 103 w 166"/>
                  <a:gd name="T57" fmla="*/ 96 h 164"/>
                  <a:gd name="T58" fmla="*/ 92 w 166"/>
                  <a:gd name="T59" fmla="*/ 104 h 164"/>
                  <a:gd name="T60" fmla="*/ 80 w 166"/>
                  <a:gd name="T61" fmla="*/ 111 h 164"/>
                  <a:gd name="T62" fmla="*/ 87 w 166"/>
                  <a:gd name="T63" fmla="*/ 118 h 164"/>
                  <a:gd name="T64" fmla="*/ 75 w 166"/>
                  <a:gd name="T65" fmla="*/ 133 h 164"/>
                  <a:gd name="T66" fmla="*/ 84 w 166"/>
                  <a:gd name="T67" fmla="*/ 135 h 164"/>
                  <a:gd name="T68" fmla="*/ 103 w 166"/>
                  <a:gd name="T69" fmla="*/ 135 h 164"/>
                  <a:gd name="T70" fmla="*/ 94 w 166"/>
                  <a:gd name="T71" fmla="*/ 141 h 164"/>
                  <a:gd name="T72" fmla="*/ 71 w 166"/>
                  <a:gd name="T73" fmla="*/ 158 h 164"/>
                  <a:gd name="T74" fmla="*/ 77 w 166"/>
                  <a:gd name="T75" fmla="*/ 159 h 164"/>
                  <a:gd name="T76" fmla="*/ 95 w 166"/>
                  <a:gd name="T77" fmla="*/ 151 h 164"/>
                  <a:gd name="T78" fmla="*/ 122 w 166"/>
                  <a:gd name="T79" fmla="*/ 150 h 164"/>
                  <a:gd name="T80" fmla="*/ 155 w 166"/>
                  <a:gd name="T81" fmla="*/ 147 h 164"/>
                  <a:gd name="T82" fmla="*/ 148 w 166"/>
                  <a:gd name="T83" fmla="*/ 138 h 164"/>
                  <a:gd name="T84" fmla="*/ 157 w 166"/>
                  <a:gd name="T85" fmla="*/ 129 h 164"/>
                  <a:gd name="T86" fmla="*/ 68 w 166"/>
                  <a:gd name="T87" fmla="*/ 83 h 164"/>
                  <a:gd name="T88" fmla="*/ 61 w 166"/>
                  <a:gd name="T89" fmla="*/ 70 h 164"/>
                  <a:gd name="T90" fmla="*/ 43 w 166"/>
                  <a:gd name="T91" fmla="*/ 70 h 164"/>
                  <a:gd name="T92" fmla="*/ 38 w 166"/>
                  <a:gd name="T93" fmla="*/ 71 h 164"/>
                  <a:gd name="T94" fmla="*/ 32 w 166"/>
                  <a:gd name="T95" fmla="*/ 79 h 164"/>
                  <a:gd name="T96" fmla="*/ 17 w 166"/>
                  <a:gd name="T97" fmla="*/ 87 h 164"/>
                  <a:gd name="T98" fmla="*/ 7 w 166"/>
                  <a:gd name="T99" fmla="*/ 92 h 164"/>
                  <a:gd name="T100" fmla="*/ 3 w 166"/>
                  <a:gd name="T101" fmla="*/ 99 h 164"/>
                  <a:gd name="T102" fmla="*/ 16 w 166"/>
                  <a:gd name="T103" fmla="*/ 106 h 164"/>
                  <a:gd name="T104" fmla="*/ 23 w 166"/>
                  <a:gd name="T105" fmla="*/ 115 h 164"/>
                  <a:gd name="T106" fmla="*/ 9 w 166"/>
                  <a:gd name="T107" fmla="*/ 125 h 164"/>
                  <a:gd name="T108" fmla="*/ 6 w 166"/>
                  <a:gd name="T109" fmla="*/ 134 h 164"/>
                  <a:gd name="T110" fmla="*/ 27 w 166"/>
                  <a:gd name="T111" fmla="*/ 130 h 164"/>
                  <a:gd name="T112" fmla="*/ 43 w 166"/>
                  <a:gd name="T113" fmla="*/ 125 h 164"/>
                  <a:gd name="T114" fmla="*/ 55 w 166"/>
                  <a:gd name="T115" fmla="*/ 121 h 164"/>
                  <a:gd name="T116" fmla="*/ 59 w 166"/>
                  <a:gd name="T117" fmla="*/ 100 h 164"/>
                  <a:gd name="T118" fmla="*/ 67 w 166"/>
                  <a:gd name="T119" fmla="*/ 83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66" h="164">
                    <a:moveTo>
                      <a:pt x="50" y="15"/>
                    </a:moveTo>
                    <a:lnTo>
                      <a:pt x="49" y="15"/>
                    </a:lnTo>
                    <a:lnTo>
                      <a:pt x="45" y="17"/>
                    </a:lnTo>
                    <a:lnTo>
                      <a:pt x="49" y="18"/>
                    </a:lnTo>
                    <a:lnTo>
                      <a:pt x="50" y="15"/>
                    </a:lnTo>
                    <a:close/>
                    <a:moveTo>
                      <a:pt x="50" y="15"/>
                    </a:moveTo>
                    <a:lnTo>
                      <a:pt x="51" y="14"/>
                    </a:lnTo>
                    <a:lnTo>
                      <a:pt x="51" y="12"/>
                    </a:lnTo>
                    <a:lnTo>
                      <a:pt x="52" y="14"/>
                    </a:lnTo>
                    <a:lnTo>
                      <a:pt x="54" y="14"/>
                    </a:lnTo>
                    <a:lnTo>
                      <a:pt x="54" y="11"/>
                    </a:lnTo>
                    <a:lnTo>
                      <a:pt x="56" y="9"/>
                    </a:lnTo>
                    <a:lnTo>
                      <a:pt x="58" y="6"/>
                    </a:lnTo>
                    <a:lnTo>
                      <a:pt x="58" y="4"/>
                    </a:lnTo>
                    <a:lnTo>
                      <a:pt x="55" y="4"/>
                    </a:lnTo>
                    <a:lnTo>
                      <a:pt x="52" y="6"/>
                    </a:lnTo>
                    <a:lnTo>
                      <a:pt x="50" y="9"/>
                    </a:lnTo>
                    <a:lnTo>
                      <a:pt x="49" y="11"/>
                    </a:lnTo>
                    <a:lnTo>
                      <a:pt x="46" y="9"/>
                    </a:lnTo>
                    <a:lnTo>
                      <a:pt x="45" y="11"/>
                    </a:lnTo>
                    <a:lnTo>
                      <a:pt x="46" y="14"/>
                    </a:lnTo>
                    <a:lnTo>
                      <a:pt x="50" y="15"/>
                    </a:lnTo>
                    <a:close/>
                    <a:moveTo>
                      <a:pt x="58" y="20"/>
                    </a:moveTo>
                    <a:lnTo>
                      <a:pt x="54" y="20"/>
                    </a:lnTo>
                    <a:lnTo>
                      <a:pt x="55" y="23"/>
                    </a:lnTo>
                    <a:lnTo>
                      <a:pt x="53" y="22"/>
                    </a:lnTo>
                    <a:lnTo>
                      <a:pt x="50" y="23"/>
                    </a:lnTo>
                    <a:lnTo>
                      <a:pt x="51" y="26"/>
                    </a:lnTo>
                    <a:lnTo>
                      <a:pt x="54" y="27"/>
                    </a:lnTo>
                    <a:lnTo>
                      <a:pt x="56" y="30"/>
                    </a:lnTo>
                    <a:lnTo>
                      <a:pt x="59" y="30"/>
                    </a:lnTo>
                    <a:lnTo>
                      <a:pt x="62" y="30"/>
                    </a:lnTo>
                    <a:lnTo>
                      <a:pt x="60" y="32"/>
                    </a:lnTo>
                    <a:lnTo>
                      <a:pt x="63" y="30"/>
                    </a:lnTo>
                    <a:lnTo>
                      <a:pt x="64" y="28"/>
                    </a:lnTo>
                    <a:lnTo>
                      <a:pt x="61" y="28"/>
                    </a:lnTo>
                    <a:lnTo>
                      <a:pt x="59" y="26"/>
                    </a:lnTo>
                    <a:lnTo>
                      <a:pt x="59" y="23"/>
                    </a:lnTo>
                    <a:lnTo>
                      <a:pt x="58" y="20"/>
                    </a:lnTo>
                    <a:close/>
                    <a:moveTo>
                      <a:pt x="56" y="47"/>
                    </a:moveTo>
                    <a:lnTo>
                      <a:pt x="61" y="46"/>
                    </a:lnTo>
                    <a:lnTo>
                      <a:pt x="64" y="46"/>
                    </a:lnTo>
                    <a:lnTo>
                      <a:pt x="64" y="43"/>
                    </a:lnTo>
                    <a:lnTo>
                      <a:pt x="61" y="43"/>
                    </a:lnTo>
                    <a:lnTo>
                      <a:pt x="59" y="39"/>
                    </a:lnTo>
                    <a:lnTo>
                      <a:pt x="58" y="43"/>
                    </a:lnTo>
                    <a:lnTo>
                      <a:pt x="60" y="43"/>
                    </a:lnTo>
                    <a:lnTo>
                      <a:pt x="60" y="45"/>
                    </a:lnTo>
                    <a:lnTo>
                      <a:pt x="56" y="47"/>
                    </a:lnTo>
                    <a:close/>
                    <a:moveTo>
                      <a:pt x="166" y="116"/>
                    </a:moveTo>
                    <a:lnTo>
                      <a:pt x="165" y="113"/>
                    </a:lnTo>
                    <a:lnTo>
                      <a:pt x="160" y="111"/>
                    </a:lnTo>
                    <a:lnTo>
                      <a:pt x="155" y="109"/>
                    </a:lnTo>
                    <a:lnTo>
                      <a:pt x="152" y="109"/>
                    </a:lnTo>
                    <a:lnTo>
                      <a:pt x="149" y="111"/>
                    </a:lnTo>
                    <a:lnTo>
                      <a:pt x="148" y="113"/>
                    </a:lnTo>
                    <a:lnTo>
                      <a:pt x="143" y="112"/>
                    </a:lnTo>
                    <a:lnTo>
                      <a:pt x="147" y="106"/>
                    </a:lnTo>
                    <a:lnTo>
                      <a:pt x="147" y="104"/>
                    </a:lnTo>
                    <a:lnTo>
                      <a:pt x="146" y="101"/>
                    </a:lnTo>
                    <a:lnTo>
                      <a:pt x="138" y="96"/>
                    </a:lnTo>
                    <a:lnTo>
                      <a:pt x="136" y="96"/>
                    </a:lnTo>
                    <a:lnTo>
                      <a:pt x="132" y="96"/>
                    </a:lnTo>
                    <a:lnTo>
                      <a:pt x="134" y="96"/>
                    </a:lnTo>
                    <a:lnTo>
                      <a:pt x="137" y="96"/>
                    </a:lnTo>
                    <a:lnTo>
                      <a:pt x="138" y="96"/>
                    </a:lnTo>
                    <a:lnTo>
                      <a:pt x="143" y="97"/>
                    </a:lnTo>
                    <a:lnTo>
                      <a:pt x="145" y="97"/>
                    </a:lnTo>
                    <a:lnTo>
                      <a:pt x="141" y="92"/>
                    </a:lnTo>
                    <a:lnTo>
                      <a:pt x="140" y="90"/>
                    </a:lnTo>
                    <a:lnTo>
                      <a:pt x="140" y="88"/>
                    </a:lnTo>
                    <a:lnTo>
                      <a:pt x="135" y="81"/>
                    </a:lnTo>
                    <a:lnTo>
                      <a:pt x="132" y="80"/>
                    </a:lnTo>
                    <a:lnTo>
                      <a:pt x="127" y="79"/>
                    </a:lnTo>
                    <a:lnTo>
                      <a:pt x="127" y="78"/>
                    </a:lnTo>
                    <a:lnTo>
                      <a:pt x="124" y="75"/>
                    </a:lnTo>
                    <a:lnTo>
                      <a:pt x="123" y="70"/>
                    </a:lnTo>
                    <a:lnTo>
                      <a:pt x="122" y="69"/>
                    </a:lnTo>
                    <a:lnTo>
                      <a:pt x="120" y="61"/>
                    </a:lnTo>
                    <a:lnTo>
                      <a:pt x="118" y="60"/>
                    </a:lnTo>
                    <a:lnTo>
                      <a:pt x="113" y="54"/>
                    </a:lnTo>
                    <a:lnTo>
                      <a:pt x="111" y="53"/>
                    </a:lnTo>
                    <a:lnTo>
                      <a:pt x="107" y="52"/>
                    </a:lnTo>
                    <a:lnTo>
                      <a:pt x="104" y="52"/>
                    </a:lnTo>
                    <a:lnTo>
                      <a:pt x="102" y="53"/>
                    </a:lnTo>
                    <a:lnTo>
                      <a:pt x="94" y="53"/>
                    </a:lnTo>
                    <a:lnTo>
                      <a:pt x="92" y="52"/>
                    </a:lnTo>
                    <a:lnTo>
                      <a:pt x="90" y="51"/>
                    </a:lnTo>
                    <a:lnTo>
                      <a:pt x="92" y="52"/>
                    </a:lnTo>
                    <a:lnTo>
                      <a:pt x="94" y="52"/>
                    </a:lnTo>
                    <a:lnTo>
                      <a:pt x="96" y="52"/>
                    </a:lnTo>
                    <a:lnTo>
                      <a:pt x="98" y="52"/>
                    </a:lnTo>
                    <a:lnTo>
                      <a:pt x="102" y="48"/>
                    </a:lnTo>
                    <a:lnTo>
                      <a:pt x="104" y="48"/>
                    </a:lnTo>
                    <a:lnTo>
                      <a:pt x="105" y="46"/>
                    </a:lnTo>
                    <a:lnTo>
                      <a:pt x="103" y="44"/>
                    </a:lnTo>
                    <a:lnTo>
                      <a:pt x="98" y="46"/>
                    </a:lnTo>
                    <a:lnTo>
                      <a:pt x="97" y="45"/>
                    </a:lnTo>
                    <a:lnTo>
                      <a:pt x="102" y="44"/>
                    </a:lnTo>
                    <a:lnTo>
                      <a:pt x="105" y="44"/>
                    </a:lnTo>
                    <a:lnTo>
                      <a:pt x="107" y="41"/>
                    </a:lnTo>
                    <a:lnTo>
                      <a:pt x="110" y="38"/>
                    </a:lnTo>
                    <a:lnTo>
                      <a:pt x="113" y="35"/>
                    </a:lnTo>
                    <a:lnTo>
                      <a:pt x="115" y="28"/>
                    </a:lnTo>
                    <a:lnTo>
                      <a:pt x="118" y="26"/>
                    </a:lnTo>
                    <a:lnTo>
                      <a:pt x="118" y="22"/>
                    </a:lnTo>
                    <a:lnTo>
                      <a:pt x="117" y="20"/>
                    </a:lnTo>
                    <a:lnTo>
                      <a:pt x="109" y="20"/>
                    </a:lnTo>
                    <a:lnTo>
                      <a:pt x="103" y="19"/>
                    </a:lnTo>
                    <a:lnTo>
                      <a:pt x="101" y="20"/>
                    </a:lnTo>
                    <a:lnTo>
                      <a:pt x="96" y="19"/>
                    </a:lnTo>
                    <a:lnTo>
                      <a:pt x="90" y="21"/>
                    </a:lnTo>
                    <a:lnTo>
                      <a:pt x="87" y="21"/>
                    </a:lnTo>
                    <a:lnTo>
                      <a:pt x="85" y="23"/>
                    </a:lnTo>
                    <a:lnTo>
                      <a:pt x="85" y="20"/>
                    </a:lnTo>
                    <a:lnTo>
                      <a:pt x="88" y="19"/>
                    </a:lnTo>
                    <a:lnTo>
                      <a:pt x="88" y="17"/>
                    </a:lnTo>
                    <a:lnTo>
                      <a:pt x="86" y="17"/>
                    </a:lnTo>
                    <a:lnTo>
                      <a:pt x="84" y="15"/>
                    </a:lnTo>
                    <a:lnTo>
                      <a:pt x="87" y="14"/>
                    </a:lnTo>
                    <a:lnTo>
                      <a:pt x="88" y="14"/>
                    </a:lnTo>
                    <a:lnTo>
                      <a:pt x="100" y="5"/>
                    </a:lnTo>
                    <a:lnTo>
                      <a:pt x="100" y="1"/>
                    </a:lnTo>
                    <a:lnTo>
                      <a:pt x="97" y="0"/>
                    </a:lnTo>
                    <a:lnTo>
                      <a:pt x="94" y="1"/>
                    </a:lnTo>
                    <a:lnTo>
                      <a:pt x="93" y="1"/>
                    </a:lnTo>
                    <a:lnTo>
                      <a:pt x="89" y="2"/>
                    </a:lnTo>
                    <a:lnTo>
                      <a:pt x="87" y="2"/>
                    </a:lnTo>
                    <a:lnTo>
                      <a:pt x="85" y="3"/>
                    </a:lnTo>
                    <a:lnTo>
                      <a:pt x="81" y="3"/>
                    </a:lnTo>
                    <a:lnTo>
                      <a:pt x="77" y="2"/>
                    </a:lnTo>
                    <a:lnTo>
                      <a:pt x="75" y="1"/>
                    </a:lnTo>
                    <a:lnTo>
                      <a:pt x="75" y="4"/>
                    </a:lnTo>
                    <a:lnTo>
                      <a:pt x="72" y="5"/>
                    </a:lnTo>
                    <a:lnTo>
                      <a:pt x="73" y="9"/>
                    </a:lnTo>
                    <a:lnTo>
                      <a:pt x="69" y="9"/>
                    </a:lnTo>
                    <a:lnTo>
                      <a:pt x="70" y="11"/>
                    </a:lnTo>
                    <a:lnTo>
                      <a:pt x="70" y="13"/>
                    </a:lnTo>
                    <a:lnTo>
                      <a:pt x="71" y="17"/>
                    </a:lnTo>
                    <a:lnTo>
                      <a:pt x="66" y="15"/>
                    </a:lnTo>
                    <a:lnTo>
                      <a:pt x="63" y="18"/>
                    </a:lnTo>
                    <a:lnTo>
                      <a:pt x="64" y="21"/>
                    </a:lnTo>
                    <a:lnTo>
                      <a:pt x="64" y="22"/>
                    </a:lnTo>
                    <a:lnTo>
                      <a:pt x="62" y="23"/>
                    </a:lnTo>
                    <a:lnTo>
                      <a:pt x="64" y="26"/>
                    </a:lnTo>
                    <a:lnTo>
                      <a:pt x="67" y="26"/>
                    </a:lnTo>
                    <a:lnTo>
                      <a:pt x="64" y="27"/>
                    </a:lnTo>
                    <a:lnTo>
                      <a:pt x="68" y="27"/>
                    </a:lnTo>
                    <a:lnTo>
                      <a:pt x="68" y="29"/>
                    </a:lnTo>
                    <a:lnTo>
                      <a:pt x="66" y="28"/>
                    </a:lnTo>
                    <a:lnTo>
                      <a:pt x="66" y="30"/>
                    </a:lnTo>
                    <a:lnTo>
                      <a:pt x="69" y="30"/>
                    </a:lnTo>
                    <a:lnTo>
                      <a:pt x="67" y="30"/>
                    </a:lnTo>
                    <a:lnTo>
                      <a:pt x="63" y="31"/>
                    </a:lnTo>
                    <a:lnTo>
                      <a:pt x="67" y="34"/>
                    </a:lnTo>
                    <a:lnTo>
                      <a:pt x="63" y="32"/>
                    </a:lnTo>
                    <a:lnTo>
                      <a:pt x="63" y="35"/>
                    </a:lnTo>
                    <a:lnTo>
                      <a:pt x="62" y="38"/>
                    </a:lnTo>
                    <a:lnTo>
                      <a:pt x="61" y="37"/>
                    </a:lnTo>
                    <a:lnTo>
                      <a:pt x="59" y="39"/>
                    </a:lnTo>
                    <a:lnTo>
                      <a:pt x="63" y="38"/>
                    </a:lnTo>
                    <a:lnTo>
                      <a:pt x="67" y="39"/>
                    </a:lnTo>
                    <a:lnTo>
                      <a:pt x="63" y="39"/>
                    </a:lnTo>
                    <a:lnTo>
                      <a:pt x="62" y="41"/>
                    </a:lnTo>
                    <a:lnTo>
                      <a:pt x="64" y="43"/>
                    </a:lnTo>
                    <a:lnTo>
                      <a:pt x="68" y="41"/>
                    </a:lnTo>
                    <a:lnTo>
                      <a:pt x="72" y="36"/>
                    </a:lnTo>
                    <a:lnTo>
                      <a:pt x="72" y="39"/>
                    </a:lnTo>
                    <a:lnTo>
                      <a:pt x="75" y="38"/>
                    </a:lnTo>
                    <a:lnTo>
                      <a:pt x="70" y="39"/>
                    </a:lnTo>
                    <a:lnTo>
                      <a:pt x="69" y="41"/>
                    </a:lnTo>
                    <a:lnTo>
                      <a:pt x="69" y="44"/>
                    </a:lnTo>
                    <a:lnTo>
                      <a:pt x="71" y="44"/>
                    </a:lnTo>
                    <a:lnTo>
                      <a:pt x="69" y="44"/>
                    </a:lnTo>
                    <a:lnTo>
                      <a:pt x="67" y="46"/>
                    </a:lnTo>
                    <a:lnTo>
                      <a:pt x="67" y="48"/>
                    </a:lnTo>
                    <a:lnTo>
                      <a:pt x="66" y="51"/>
                    </a:lnTo>
                    <a:lnTo>
                      <a:pt x="66" y="55"/>
                    </a:lnTo>
                    <a:lnTo>
                      <a:pt x="66" y="57"/>
                    </a:lnTo>
                    <a:lnTo>
                      <a:pt x="64" y="61"/>
                    </a:lnTo>
                    <a:lnTo>
                      <a:pt x="63" y="65"/>
                    </a:lnTo>
                    <a:lnTo>
                      <a:pt x="64" y="65"/>
                    </a:lnTo>
                    <a:lnTo>
                      <a:pt x="67" y="63"/>
                    </a:lnTo>
                    <a:lnTo>
                      <a:pt x="68" y="61"/>
                    </a:lnTo>
                    <a:lnTo>
                      <a:pt x="69" y="53"/>
                    </a:lnTo>
                    <a:lnTo>
                      <a:pt x="71" y="49"/>
                    </a:lnTo>
                    <a:lnTo>
                      <a:pt x="75" y="48"/>
                    </a:lnTo>
                    <a:lnTo>
                      <a:pt x="70" y="52"/>
                    </a:lnTo>
                    <a:lnTo>
                      <a:pt x="72" y="54"/>
                    </a:lnTo>
                    <a:lnTo>
                      <a:pt x="72" y="53"/>
                    </a:lnTo>
                    <a:lnTo>
                      <a:pt x="75" y="55"/>
                    </a:lnTo>
                    <a:lnTo>
                      <a:pt x="77" y="49"/>
                    </a:lnTo>
                    <a:lnTo>
                      <a:pt x="77" y="52"/>
                    </a:lnTo>
                    <a:lnTo>
                      <a:pt x="80" y="54"/>
                    </a:lnTo>
                    <a:lnTo>
                      <a:pt x="77" y="53"/>
                    </a:lnTo>
                    <a:lnTo>
                      <a:pt x="77" y="53"/>
                    </a:lnTo>
                    <a:lnTo>
                      <a:pt x="76" y="56"/>
                    </a:lnTo>
                    <a:lnTo>
                      <a:pt x="76" y="58"/>
                    </a:lnTo>
                    <a:lnTo>
                      <a:pt x="79" y="61"/>
                    </a:lnTo>
                    <a:lnTo>
                      <a:pt x="78" y="63"/>
                    </a:lnTo>
                    <a:lnTo>
                      <a:pt x="75" y="69"/>
                    </a:lnTo>
                    <a:lnTo>
                      <a:pt x="73" y="72"/>
                    </a:lnTo>
                    <a:lnTo>
                      <a:pt x="75" y="73"/>
                    </a:lnTo>
                    <a:lnTo>
                      <a:pt x="72" y="71"/>
                    </a:lnTo>
                    <a:lnTo>
                      <a:pt x="72" y="71"/>
                    </a:lnTo>
                    <a:lnTo>
                      <a:pt x="72" y="73"/>
                    </a:lnTo>
                    <a:lnTo>
                      <a:pt x="76" y="79"/>
                    </a:lnTo>
                    <a:lnTo>
                      <a:pt x="76" y="78"/>
                    </a:lnTo>
                    <a:lnTo>
                      <a:pt x="75" y="75"/>
                    </a:lnTo>
                    <a:lnTo>
                      <a:pt x="78" y="74"/>
                    </a:lnTo>
                    <a:lnTo>
                      <a:pt x="80" y="77"/>
                    </a:lnTo>
                    <a:lnTo>
                      <a:pt x="83" y="75"/>
                    </a:lnTo>
                    <a:lnTo>
                      <a:pt x="83" y="73"/>
                    </a:lnTo>
                    <a:lnTo>
                      <a:pt x="85" y="74"/>
                    </a:lnTo>
                    <a:lnTo>
                      <a:pt x="87" y="74"/>
                    </a:lnTo>
                    <a:lnTo>
                      <a:pt x="87" y="75"/>
                    </a:lnTo>
                    <a:lnTo>
                      <a:pt x="88" y="75"/>
                    </a:lnTo>
                    <a:lnTo>
                      <a:pt x="94" y="72"/>
                    </a:lnTo>
                    <a:lnTo>
                      <a:pt x="102" y="72"/>
                    </a:lnTo>
                    <a:lnTo>
                      <a:pt x="98" y="73"/>
                    </a:lnTo>
                    <a:lnTo>
                      <a:pt x="96" y="75"/>
                    </a:lnTo>
                    <a:lnTo>
                      <a:pt x="94" y="79"/>
                    </a:lnTo>
                    <a:lnTo>
                      <a:pt x="93" y="81"/>
                    </a:lnTo>
                    <a:lnTo>
                      <a:pt x="96" y="83"/>
                    </a:lnTo>
                    <a:lnTo>
                      <a:pt x="98" y="86"/>
                    </a:lnTo>
                    <a:lnTo>
                      <a:pt x="100" y="89"/>
                    </a:lnTo>
                    <a:lnTo>
                      <a:pt x="101" y="87"/>
                    </a:lnTo>
                    <a:lnTo>
                      <a:pt x="102" y="87"/>
                    </a:lnTo>
                    <a:lnTo>
                      <a:pt x="104" y="87"/>
                    </a:lnTo>
                    <a:lnTo>
                      <a:pt x="103" y="91"/>
                    </a:lnTo>
                    <a:lnTo>
                      <a:pt x="101" y="94"/>
                    </a:lnTo>
                    <a:lnTo>
                      <a:pt x="103" y="96"/>
                    </a:lnTo>
                    <a:lnTo>
                      <a:pt x="102" y="96"/>
                    </a:lnTo>
                    <a:lnTo>
                      <a:pt x="101" y="99"/>
                    </a:lnTo>
                    <a:lnTo>
                      <a:pt x="102" y="101"/>
                    </a:lnTo>
                    <a:lnTo>
                      <a:pt x="101" y="101"/>
                    </a:lnTo>
                    <a:lnTo>
                      <a:pt x="101" y="105"/>
                    </a:lnTo>
                    <a:lnTo>
                      <a:pt x="96" y="103"/>
                    </a:lnTo>
                    <a:lnTo>
                      <a:pt x="94" y="104"/>
                    </a:lnTo>
                    <a:lnTo>
                      <a:pt x="92" y="104"/>
                    </a:lnTo>
                    <a:lnTo>
                      <a:pt x="86" y="105"/>
                    </a:lnTo>
                    <a:lnTo>
                      <a:pt x="86" y="104"/>
                    </a:lnTo>
                    <a:lnTo>
                      <a:pt x="83" y="101"/>
                    </a:lnTo>
                    <a:lnTo>
                      <a:pt x="80" y="104"/>
                    </a:lnTo>
                    <a:lnTo>
                      <a:pt x="83" y="107"/>
                    </a:lnTo>
                    <a:lnTo>
                      <a:pt x="85" y="105"/>
                    </a:lnTo>
                    <a:lnTo>
                      <a:pt x="83" y="108"/>
                    </a:lnTo>
                    <a:lnTo>
                      <a:pt x="80" y="111"/>
                    </a:lnTo>
                    <a:lnTo>
                      <a:pt x="77" y="113"/>
                    </a:lnTo>
                    <a:lnTo>
                      <a:pt x="81" y="113"/>
                    </a:lnTo>
                    <a:lnTo>
                      <a:pt x="84" y="111"/>
                    </a:lnTo>
                    <a:lnTo>
                      <a:pt x="86" y="112"/>
                    </a:lnTo>
                    <a:lnTo>
                      <a:pt x="87" y="114"/>
                    </a:lnTo>
                    <a:lnTo>
                      <a:pt x="87" y="115"/>
                    </a:lnTo>
                    <a:lnTo>
                      <a:pt x="88" y="117"/>
                    </a:lnTo>
                    <a:lnTo>
                      <a:pt x="87" y="118"/>
                    </a:lnTo>
                    <a:lnTo>
                      <a:pt x="86" y="121"/>
                    </a:lnTo>
                    <a:lnTo>
                      <a:pt x="84" y="123"/>
                    </a:lnTo>
                    <a:lnTo>
                      <a:pt x="79" y="126"/>
                    </a:lnTo>
                    <a:lnTo>
                      <a:pt x="73" y="128"/>
                    </a:lnTo>
                    <a:lnTo>
                      <a:pt x="71" y="130"/>
                    </a:lnTo>
                    <a:lnTo>
                      <a:pt x="71" y="132"/>
                    </a:lnTo>
                    <a:lnTo>
                      <a:pt x="76" y="133"/>
                    </a:lnTo>
                    <a:lnTo>
                      <a:pt x="75" y="133"/>
                    </a:lnTo>
                    <a:lnTo>
                      <a:pt x="75" y="134"/>
                    </a:lnTo>
                    <a:lnTo>
                      <a:pt x="78" y="134"/>
                    </a:lnTo>
                    <a:lnTo>
                      <a:pt x="80" y="132"/>
                    </a:lnTo>
                    <a:lnTo>
                      <a:pt x="83" y="131"/>
                    </a:lnTo>
                    <a:lnTo>
                      <a:pt x="84" y="133"/>
                    </a:lnTo>
                    <a:lnTo>
                      <a:pt x="87" y="133"/>
                    </a:lnTo>
                    <a:lnTo>
                      <a:pt x="87" y="134"/>
                    </a:lnTo>
                    <a:lnTo>
                      <a:pt x="84" y="135"/>
                    </a:lnTo>
                    <a:lnTo>
                      <a:pt x="87" y="135"/>
                    </a:lnTo>
                    <a:lnTo>
                      <a:pt x="89" y="134"/>
                    </a:lnTo>
                    <a:lnTo>
                      <a:pt x="92" y="135"/>
                    </a:lnTo>
                    <a:lnTo>
                      <a:pt x="94" y="138"/>
                    </a:lnTo>
                    <a:lnTo>
                      <a:pt x="95" y="139"/>
                    </a:lnTo>
                    <a:lnTo>
                      <a:pt x="98" y="139"/>
                    </a:lnTo>
                    <a:lnTo>
                      <a:pt x="102" y="135"/>
                    </a:lnTo>
                    <a:lnTo>
                      <a:pt x="103" y="135"/>
                    </a:lnTo>
                    <a:lnTo>
                      <a:pt x="105" y="135"/>
                    </a:lnTo>
                    <a:lnTo>
                      <a:pt x="110" y="131"/>
                    </a:lnTo>
                    <a:lnTo>
                      <a:pt x="105" y="137"/>
                    </a:lnTo>
                    <a:lnTo>
                      <a:pt x="104" y="138"/>
                    </a:lnTo>
                    <a:lnTo>
                      <a:pt x="102" y="140"/>
                    </a:lnTo>
                    <a:lnTo>
                      <a:pt x="102" y="142"/>
                    </a:lnTo>
                    <a:lnTo>
                      <a:pt x="97" y="142"/>
                    </a:lnTo>
                    <a:lnTo>
                      <a:pt x="94" y="141"/>
                    </a:lnTo>
                    <a:lnTo>
                      <a:pt x="88" y="142"/>
                    </a:lnTo>
                    <a:lnTo>
                      <a:pt x="84" y="146"/>
                    </a:lnTo>
                    <a:lnTo>
                      <a:pt x="81" y="146"/>
                    </a:lnTo>
                    <a:lnTo>
                      <a:pt x="79" y="150"/>
                    </a:lnTo>
                    <a:lnTo>
                      <a:pt x="77" y="152"/>
                    </a:lnTo>
                    <a:lnTo>
                      <a:pt x="75" y="154"/>
                    </a:lnTo>
                    <a:lnTo>
                      <a:pt x="73" y="155"/>
                    </a:lnTo>
                    <a:lnTo>
                      <a:pt x="71" y="158"/>
                    </a:lnTo>
                    <a:lnTo>
                      <a:pt x="69" y="159"/>
                    </a:lnTo>
                    <a:lnTo>
                      <a:pt x="67" y="160"/>
                    </a:lnTo>
                    <a:lnTo>
                      <a:pt x="66" y="163"/>
                    </a:lnTo>
                    <a:lnTo>
                      <a:pt x="68" y="161"/>
                    </a:lnTo>
                    <a:lnTo>
                      <a:pt x="71" y="164"/>
                    </a:lnTo>
                    <a:lnTo>
                      <a:pt x="72" y="164"/>
                    </a:lnTo>
                    <a:lnTo>
                      <a:pt x="75" y="161"/>
                    </a:lnTo>
                    <a:lnTo>
                      <a:pt x="77" y="159"/>
                    </a:lnTo>
                    <a:lnTo>
                      <a:pt x="79" y="158"/>
                    </a:lnTo>
                    <a:lnTo>
                      <a:pt x="83" y="157"/>
                    </a:lnTo>
                    <a:lnTo>
                      <a:pt x="85" y="157"/>
                    </a:lnTo>
                    <a:lnTo>
                      <a:pt x="85" y="156"/>
                    </a:lnTo>
                    <a:lnTo>
                      <a:pt x="85" y="157"/>
                    </a:lnTo>
                    <a:lnTo>
                      <a:pt x="92" y="159"/>
                    </a:lnTo>
                    <a:lnTo>
                      <a:pt x="95" y="157"/>
                    </a:lnTo>
                    <a:lnTo>
                      <a:pt x="95" y="151"/>
                    </a:lnTo>
                    <a:lnTo>
                      <a:pt x="96" y="152"/>
                    </a:lnTo>
                    <a:lnTo>
                      <a:pt x="100" y="151"/>
                    </a:lnTo>
                    <a:lnTo>
                      <a:pt x="104" y="150"/>
                    </a:lnTo>
                    <a:lnTo>
                      <a:pt x="109" y="152"/>
                    </a:lnTo>
                    <a:lnTo>
                      <a:pt x="112" y="152"/>
                    </a:lnTo>
                    <a:lnTo>
                      <a:pt x="115" y="150"/>
                    </a:lnTo>
                    <a:lnTo>
                      <a:pt x="115" y="151"/>
                    </a:lnTo>
                    <a:lnTo>
                      <a:pt x="122" y="150"/>
                    </a:lnTo>
                    <a:lnTo>
                      <a:pt x="124" y="148"/>
                    </a:lnTo>
                    <a:lnTo>
                      <a:pt x="130" y="148"/>
                    </a:lnTo>
                    <a:lnTo>
                      <a:pt x="131" y="150"/>
                    </a:lnTo>
                    <a:lnTo>
                      <a:pt x="135" y="149"/>
                    </a:lnTo>
                    <a:lnTo>
                      <a:pt x="140" y="149"/>
                    </a:lnTo>
                    <a:lnTo>
                      <a:pt x="146" y="150"/>
                    </a:lnTo>
                    <a:lnTo>
                      <a:pt x="149" y="148"/>
                    </a:lnTo>
                    <a:lnTo>
                      <a:pt x="155" y="147"/>
                    </a:lnTo>
                    <a:lnTo>
                      <a:pt x="156" y="144"/>
                    </a:lnTo>
                    <a:lnTo>
                      <a:pt x="160" y="143"/>
                    </a:lnTo>
                    <a:lnTo>
                      <a:pt x="162" y="141"/>
                    </a:lnTo>
                    <a:lnTo>
                      <a:pt x="161" y="139"/>
                    </a:lnTo>
                    <a:lnTo>
                      <a:pt x="155" y="140"/>
                    </a:lnTo>
                    <a:lnTo>
                      <a:pt x="151" y="138"/>
                    </a:lnTo>
                    <a:lnTo>
                      <a:pt x="151" y="137"/>
                    </a:lnTo>
                    <a:lnTo>
                      <a:pt x="148" y="138"/>
                    </a:lnTo>
                    <a:lnTo>
                      <a:pt x="149" y="137"/>
                    </a:lnTo>
                    <a:lnTo>
                      <a:pt x="154" y="135"/>
                    </a:lnTo>
                    <a:lnTo>
                      <a:pt x="153" y="133"/>
                    </a:lnTo>
                    <a:lnTo>
                      <a:pt x="154" y="132"/>
                    </a:lnTo>
                    <a:lnTo>
                      <a:pt x="156" y="131"/>
                    </a:lnTo>
                    <a:lnTo>
                      <a:pt x="160" y="131"/>
                    </a:lnTo>
                    <a:lnTo>
                      <a:pt x="160" y="129"/>
                    </a:lnTo>
                    <a:lnTo>
                      <a:pt x="157" y="129"/>
                    </a:lnTo>
                    <a:lnTo>
                      <a:pt x="163" y="126"/>
                    </a:lnTo>
                    <a:lnTo>
                      <a:pt x="165" y="124"/>
                    </a:lnTo>
                    <a:lnTo>
                      <a:pt x="166" y="118"/>
                    </a:lnTo>
                    <a:lnTo>
                      <a:pt x="166" y="116"/>
                    </a:lnTo>
                    <a:close/>
                    <a:moveTo>
                      <a:pt x="66" y="82"/>
                    </a:moveTo>
                    <a:lnTo>
                      <a:pt x="67" y="81"/>
                    </a:lnTo>
                    <a:lnTo>
                      <a:pt x="67" y="83"/>
                    </a:lnTo>
                    <a:lnTo>
                      <a:pt x="68" y="83"/>
                    </a:lnTo>
                    <a:lnTo>
                      <a:pt x="68" y="80"/>
                    </a:lnTo>
                    <a:lnTo>
                      <a:pt x="67" y="78"/>
                    </a:lnTo>
                    <a:lnTo>
                      <a:pt x="64" y="78"/>
                    </a:lnTo>
                    <a:lnTo>
                      <a:pt x="62" y="79"/>
                    </a:lnTo>
                    <a:lnTo>
                      <a:pt x="62" y="78"/>
                    </a:lnTo>
                    <a:lnTo>
                      <a:pt x="64" y="75"/>
                    </a:lnTo>
                    <a:lnTo>
                      <a:pt x="61" y="71"/>
                    </a:lnTo>
                    <a:lnTo>
                      <a:pt x="61" y="70"/>
                    </a:lnTo>
                    <a:lnTo>
                      <a:pt x="60" y="70"/>
                    </a:lnTo>
                    <a:lnTo>
                      <a:pt x="59" y="67"/>
                    </a:lnTo>
                    <a:lnTo>
                      <a:pt x="53" y="67"/>
                    </a:lnTo>
                    <a:lnTo>
                      <a:pt x="50" y="69"/>
                    </a:lnTo>
                    <a:lnTo>
                      <a:pt x="47" y="67"/>
                    </a:lnTo>
                    <a:lnTo>
                      <a:pt x="45" y="71"/>
                    </a:lnTo>
                    <a:lnTo>
                      <a:pt x="43" y="71"/>
                    </a:lnTo>
                    <a:lnTo>
                      <a:pt x="43" y="70"/>
                    </a:lnTo>
                    <a:lnTo>
                      <a:pt x="45" y="69"/>
                    </a:lnTo>
                    <a:lnTo>
                      <a:pt x="45" y="66"/>
                    </a:lnTo>
                    <a:lnTo>
                      <a:pt x="42" y="65"/>
                    </a:lnTo>
                    <a:lnTo>
                      <a:pt x="40" y="66"/>
                    </a:lnTo>
                    <a:lnTo>
                      <a:pt x="40" y="66"/>
                    </a:lnTo>
                    <a:lnTo>
                      <a:pt x="41" y="69"/>
                    </a:lnTo>
                    <a:lnTo>
                      <a:pt x="38" y="71"/>
                    </a:lnTo>
                    <a:lnTo>
                      <a:pt x="38" y="71"/>
                    </a:lnTo>
                    <a:lnTo>
                      <a:pt x="37" y="69"/>
                    </a:lnTo>
                    <a:lnTo>
                      <a:pt x="35" y="69"/>
                    </a:lnTo>
                    <a:lnTo>
                      <a:pt x="29" y="69"/>
                    </a:lnTo>
                    <a:lnTo>
                      <a:pt x="27" y="71"/>
                    </a:lnTo>
                    <a:lnTo>
                      <a:pt x="28" y="74"/>
                    </a:lnTo>
                    <a:lnTo>
                      <a:pt x="26" y="75"/>
                    </a:lnTo>
                    <a:lnTo>
                      <a:pt x="24" y="79"/>
                    </a:lnTo>
                    <a:lnTo>
                      <a:pt x="32" y="79"/>
                    </a:lnTo>
                    <a:lnTo>
                      <a:pt x="30" y="81"/>
                    </a:lnTo>
                    <a:lnTo>
                      <a:pt x="29" y="81"/>
                    </a:lnTo>
                    <a:lnTo>
                      <a:pt x="28" y="81"/>
                    </a:lnTo>
                    <a:lnTo>
                      <a:pt x="24" y="83"/>
                    </a:lnTo>
                    <a:lnTo>
                      <a:pt x="26" y="87"/>
                    </a:lnTo>
                    <a:lnTo>
                      <a:pt x="20" y="84"/>
                    </a:lnTo>
                    <a:lnTo>
                      <a:pt x="18" y="88"/>
                    </a:lnTo>
                    <a:lnTo>
                      <a:pt x="17" y="87"/>
                    </a:lnTo>
                    <a:lnTo>
                      <a:pt x="15" y="84"/>
                    </a:lnTo>
                    <a:lnTo>
                      <a:pt x="11" y="84"/>
                    </a:lnTo>
                    <a:lnTo>
                      <a:pt x="9" y="86"/>
                    </a:lnTo>
                    <a:lnTo>
                      <a:pt x="6" y="84"/>
                    </a:lnTo>
                    <a:lnTo>
                      <a:pt x="6" y="87"/>
                    </a:lnTo>
                    <a:lnTo>
                      <a:pt x="7" y="87"/>
                    </a:lnTo>
                    <a:lnTo>
                      <a:pt x="7" y="89"/>
                    </a:lnTo>
                    <a:lnTo>
                      <a:pt x="7" y="92"/>
                    </a:lnTo>
                    <a:lnTo>
                      <a:pt x="9" y="92"/>
                    </a:lnTo>
                    <a:lnTo>
                      <a:pt x="11" y="95"/>
                    </a:lnTo>
                    <a:lnTo>
                      <a:pt x="9" y="95"/>
                    </a:lnTo>
                    <a:lnTo>
                      <a:pt x="7" y="97"/>
                    </a:lnTo>
                    <a:lnTo>
                      <a:pt x="10" y="98"/>
                    </a:lnTo>
                    <a:lnTo>
                      <a:pt x="6" y="98"/>
                    </a:lnTo>
                    <a:lnTo>
                      <a:pt x="6" y="99"/>
                    </a:lnTo>
                    <a:lnTo>
                      <a:pt x="3" y="99"/>
                    </a:lnTo>
                    <a:lnTo>
                      <a:pt x="6" y="101"/>
                    </a:lnTo>
                    <a:lnTo>
                      <a:pt x="9" y="104"/>
                    </a:lnTo>
                    <a:lnTo>
                      <a:pt x="11" y="101"/>
                    </a:lnTo>
                    <a:lnTo>
                      <a:pt x="13" y="105"/>
                    </a:lnTo>
                    <a:lnTo>
                      <a:pt x="18" y="104"/>
                    </a:lnTo>
                    <a:lnTo>
                      <a:pt x="19" y="106"/>
                    </a:lnTo>
                    <a:lnTo>
                      <a:pt x="18" y="107"/>
                    </a:lnTo>
                    <a:lnTo>
                      <a:pt x="16" y="106"/>
                    </a:lnTo>
                    <a:lnTo>
                      <a:pt x="13" y="109"/>
                    </a:lnTo>
                    <a:lnTo>
                      <a:pt x="13" y="112"/>
                    </a:lnTo>
                    <a:lnTo>
                      <a:pt x="8" y="117"/>
                    </a:lnTo>
                    <a:lnTo>
                      <a:pt x="12" y="116"/>
                    </a:lnTo>
                    <a:lnTo>
                      <a:pt x="18" y="116"/>
                    </a:lnTo>
                    <a:lnTo>
                      <a:pt x="20" y="113"/>
                    </a:lnTo>
                    <a:lnTo>
                      <a:pt x="20" y="115"/>
                    </a:lnTo>
                    <a:lnTo>
                      <a:pt x="23" y="115"/>
                    </a:lnTo>
                    <a:lnTo>
                      <a:pt x="20" y="115"/>
                    </a:lnTo>
                    <a:lnTo>
                      <a:pt x="13" y="117"/>
                    </a:lnTo>
                    <a:lnTo>
                      <a:pt x="8" y="121"/>
                    </a:lnTo>
                    <a:lnTo>
                      <a:pt x="9" y="123"/>
                    </a:lnTo>
                    <a:lnTo>
                      <a:pt x="2" y="123"/>
                    </a:lnTo>
                    <a:lnTo>
                      <a:pt x="0" y="125"/>
                    </a:lnTo>
                    <a:lnTo>
                      <a:pt x="6" y="125"/>
                    </a:lnTo>
                    <a:lnTo>
                      <a:pt x="9" y="125"/>
                    </a:lnTo>
                    <a:lnTo>
                      <a:pt x="6" y="126"/>
                    </a:lnTo>
                    <a:lnTo>
                      <a:pt x="2" y="128"/>
                    </a:lnTo>
                    <a:lnTo>
                      <a:pt x="0" y="130"/>
                    </a:lnTo>
                    <a:lnTo>
                      <a:pt x="3" y="131"/>
                    </a:lnTo>
                    <a:lnTo>
                      <a:pt x="6" y="131"/>
                    </a:lnTo>
                    <a:lnTo>
                      <a:pt x="10" y="131"/>
                    </a:lnTo>
                    <a:lnTo>
                      <a:pt x="6" y="133"/>
                    </a:lnTo>
                    <a:lnTo>
                      <a:pt x="6" y="134"/>
                    </a:lnTo>
                    <a:lnTo>
                      <a:pt x="8" y="133"/>
                    </a:lnTo>
                    <a:lnTo>
                      <a:pt x="13" y="133"/>
                    </a:lnTo>
                    <a:lnTo>
                      <a:pt x="8" y="135"/>
                    </a:lnTo>
                    <a:lnTo>
                      <a:pt x="11" y="137"/>
                    </a:lnTo>
                    <a:lnTo>
                      <a:pt x="13" y="135"/>
                    </a:lnTo>
                    <a:lnTo>
                      <a:pt x="16" y="137"/>
                    </a:lnTo>
                    <a:lnTo>
                      <a:pt x="28" y="132"/>
                    </a:lnTo>
                    <a:lnTo>
                      <a:pt x="27" y="130"/>
                    </a:lnTo>
                    <a:lnTo>
                      <a:pt x="29" y="130"/>
                    </a:lnTo>
                    <a:lnTo>
                      <a:pt x="30" y="131"/>
                    </a:lnTo>
                    <a:lnTo>
                      <a:pt x="33" y="131"/>
                    </a:lnTo>
                    <a:lnTo>
                      <a:pt x="35" y="128"/>
                    </a:lnTo>
                    <a:lnTo>
                      <a:pt x="37" y="129"/>
                    </a:lnTo>
                    <a:lnTo>
                      <a:pt x="38" y="125"/>
                    </a:lnTo>
                    <a:lnTo>
                      <a:pt x="40" y="125"/>
                    </a:lnTo>
                    <a:lnTo>
                      <a:pt x="43" y="125"/>
                    </a:lnTo>
                    <a:lnTo>
                      <a:pt x="44" y="125"/>
                    </a:lnTo>
                    <a:lnTo>
                      <a:pt x="46" y="122"/>
                    </a:lnTo>
                    <a:lnTo>
                      <a:pt x="47" y="125"/>
                    </a:lnTo>
                    <a:lnTo>
                      <a:pt x="50" y="123"/>
                    </a:lnTo>
                    <a:lnTo>
                      <a:pt x="53" y="124"/>
                    </a:lnTo>
                    <a:lnTo>
                      <a:pt x="55" y="124"/>
                    </a:lnTo>
                    <a:lnTo>
                      <a:pt x="54" y="121"/>
                    </a:lnTo>
                    <a:lnTo>
                      <a:pt x="55" y="121"/>
                    </a:lnTo>
                    <a:lnTo>
                      <a:pt x="58" y="116"/>
                    </a:lnTo>
                    <a:lnTo>
                      <a:pt x="59" y="113"/>
                    </a:lnTo>
                    <a:lnTo>
                      <a:pt x="60" y="111"/>
                    </a:lnTo>
                    <a:lnTo>
                      <a:pt x="60" y="108"/>
                    </a:lnTo>
                    <a:lnTo>
                      <a:pt x="59" y="105"/>
                    </a:lnTo>
                    <a:lnTo>
                      <a:pt x="58" y="103"/>
                    </a:lnTo>
                    <a:lnTo>
                      <a:pt x="59" y="101"/>
                    </a:lnTo>
                    <a:lnTo>
                      <a:pt x="59" y="100"/>
                    </a:lnTo>
                    <a:lnTo>
                      <a:pt x="59" y="100"/>
                    </a:lnTo>
                    <a:lnTo>
                      <a:pt x="56" y="96"/>
                    </a:lnTo>
                    <a:lnTo>
                      <a:pt x="56" y="94"/>
                    </a:lnTo>
                    <a:lnTo>
                      <a:pt x="55" y="91"/>
                    </a:lnTo>
                    <a:lnTo>
                      <a:pt x="56" y="88"/>
                    </a:lnTo>
                    <a:lnTo>
                      <a:pt x="60" y="89"/>
                    </a:lnTo>
                    <a:lnTo>
                      <a:pt x="62" y="87"/>
                    </a:lnTo>
                    <a:lnTo>
                      <a:pt x="67" y="83"/>
                    </a:lnTo>
                    <a:lnTo>
                      <a:pt x="66" y="8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25" name="Freeform 91">
                <a:extLst>
                  <a:ext uri="{FF2B5EF4-FFF2-40B4-BE49-F238E27FC236}">
                    <a16:creationId xmlns:a16="http://schemas.microsoft.com/office/drawing/2014/main" id="{70597AA3-E3E8-4499-9972-B87FD97F8A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18" y="1954"/>
                <a:ext cx="15" cy="11"/>
              </a:xfrm>
              <a:custGeom>
                <a:avLst/>
                <a:gdLst>
                  <a:gd name="T0" fmla="*/ 4 w 15"/>
                  <a:gd name="T1" fmla="*/ 7 h 11"/>
                  <a:gd name="T2" fmla="*/ 9 w 15"/>
                  <a:gd name="T3" fmla="*/ 11 h 11"/>
                  <a:gd name="T4" fmla="*/ 12 w 15"/>
                  <a:gd name="T5" fmla="*/ 10 h 11"/>
                  <a:gd name="T6" fmla="*/ 14 w 15"/>
                  <a:gd name="T7" fmla="*/ 10 h 11"/>
                  <a:gd name="T8" fmla="*/ 15 w 15"/>
                  <a:gd name="T9" fmla="*/ 9 h 11"/>
                  <a:gd name="T10" fmla="*/ 15 w 15"/>
                  <a:gd name="T11" fmla="*/ 5 h 11"/>
                  <a:gd name="T12" fmla="*/ 12 w 15"/>
                  <a:gd name="T13" fmla="*/ 0 h 11"/>
                  <a:gd name="T14" fmla="*/ 12 w 15"/>
                  <a:gd name="T15" fmla="*/ 2 h 11"/>
                  <a:gd name="T16" fmla="*/ 9 w 15"/>
                  <a:gd name="T17" fmla="*/ 3 h 11"/>
                  <a:gd name="T18" fmla="*/ 9 w 15"/>
                  <a:gd name="T19" fmla="*/ 1 h 11"/>
                  <a:gd name="T20" fmla="*/ 6 w 15"/>
                  <a:gd name="T21" fmla="*/ 0 h 11"/>
                  <a:gd name="T22" fmla="*/ 3 w 15"/>
                  <a:gd name="T23" fmla="*/ 2 h 11"/>
                  <a:gd name="T24" fmla="*/ 0 w 15"/>
                  <a:gd name="T25" fmla="*/ 2 h 11"/>
                  <a:gd name="T26" fmla="*/ 4 w 15"/>
                  <a:gd name="T27" fmla="*/ 9 h 11"/>
                  <a:gd name="T28" fmla="*/ 4 w 15"/>
                  <a:gd name="T29" fmla="*/ 7 h 11"/>
                  <a:gd name="T30" fmla="*/ 4 w 15"/>
                  <a:gd name="T31" fmla="*/ 7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5" h="11">
                    <a:moveTo>
                      <a:pt x="4" y="7"/>
                    </a:moveTo>
                    <a:lnTo>
                      <a:pt x="9" y="11"/>
                    </a:lnTo>
                    <a:lnTo>
                      <a:pt x="12" y="10"/>
                    </a:lnTo>
                    <a:lnTo>
                      <a:pt x="14" y="10"/>
                    </a:lnTo>
                    <a:lnTo>
                      <a:pt x="15" y="9"/>
                    </a:lnTo>
                    <a:lnTo>
                      <a:pt x="15" y="5"/>
                    </a:lnTo>
                    <a:lnTo>
                      <a:pt x="12" y="0"/>
                    </a:lnTo>
                    <a:lnTo>
                      <a:pt x="12" y="2"/>
                    </a:lnTo>
                    <a:lnTo>
                      <a:pt x="9" y="3"/>
                    </a:lnTo>
                    <a:lnTo>
                      <a:pt x="9" y="1"/>
                    </a:lnTo>
                    <a:lnTo>
                      <a:pt x="6" y="0"/>
                    </a:lnTo>
                    <a:lnTo>
                      <a:pt x="3" y="2"/>
                    </a:lnTo>
                    <a:lnTo>
                      <a:pt x="0" y="2"/>
                    </a:lnTo>
                    <a:lnTo>
                      <a:pt x="4" y="9"/>
                    </a:lnTo>
                    <a:lnTo>
                      <a:pt x="4" y="7"/>
                    </a:lnTo>
                    <a:lnTo>
                      <a:pt x="4" y="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26" name="Freeform 92">
                <a:extLst>
                  <a:ext uri="{FF2B5EF4-FFF2-40B4-BE49-F238E27FC236}">
                    <a16:creationId xmlns:a16="http://schemas.microsoft.com/office/drawing/2014/main" id="{EA3EE0C3-36EC-46C4-BF50-A8B2149E9F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4" y="1945"/>
                <a:ext cx="24" cy="28"/>
              </a:xfrm>
              <a:custGeom>
                <a:avLst/>
                <a:gdLst>
                  <a:gd name="T0" fmla="*/ 13 w 24"/>
                  <a:gd name="T1" fmla="*/ 24 h 28"/>
                  <a:gd name="T2" fmla="*/ 11 w 24"/>
                  <a:gd name="T3" fmla="*/ 23 h 28"/>
                  <a:gd name="T4" fmla="*/ 7 w 24"/>
                  <a:gd name="T5" fmla="*/ 23 h 28"/>
                  <a:gd name="T6" fmla="*/ 5 w 24"/>
                  <a:gd name="T7" fmla="*/ 21 h 28"/>
                  <a:gd name="T8" fmla="*/ 2 w 24"/>
                  <a:gd name="T9" fmla="*/ 22 h 28"/>
                  <a:gd name="T10" fmla="*/ 1 w 24"/>
                  <a:gd name="T11" fmla="*/ 24 h 28"/>
                  <a:gd name="T12" fmla="*/ 8 w 24"/>
                  <a:gd name="T13" fmla="*/ 28 h 28"/>
                  <a:gd name="T14" fmla="*/ 10 w 24"/>
                  <a:gd name="T15" fmla="*/ 27 h 28"/>
                  <a:gd name="T16" fmla="*/ 13 w 24"/>
                  <a:gd name="T17" fmla="*/ 24 h 28"/>
                  <a:gd name="T18" fmla="*/ 14 w 24"/>
                  <a:gd name="T19" fmla="*/ 26 h 28"/>
                  <a:gd name="T20" fmla="*/ 14 w 24"/>
                  <a:gd name="T21" fmla="*/ 28 h 28"/>
                  <a:gd name="T22" fmla="*/ 15 w 24"/>
                  <a:gd name="T23" fmla="*/ 28 h 28"/>
                  <a:gd name="T24" fmla="*/ 16 w 24"/>
                  <a:gd name="T25" fmla="*/ 22 h 28"/>
                  <a:gd name="T26" fmla="*/ 14 w 24"/>
                  <a:gd name="T27" fmla="*/ 20 h 28"/>
                  <a:gd name="T28" fmla="*/ 17 w 24"/>
                  <a:gd name="T29" fmla="*/ 21 h 28"/>
                  <a:gd name="T30" fmla="*/ 16 w 24"/>
                  <a:gd name="T31" fmla="*/ 18 h 28"/>
                  <a:gd name="T32" fmla="*/ 18 w 24"/>
                  <a:gd name="T33" fmla="*/ 15 h 28"/>
                  <a:gd name="T34" fmla="*/ 20 w 24"/>
                  <a:gd name="T35" fmla="*/ 15 h 28"/>
                  <a:gd name="T36" fmla="*/ 18 w 24"/>
                  <a:gd name="T37" fmla="*/ 10 h 28"/>
                  <a:gd name="T38" fmla="*/ 22 w 24"/>
                  <a:gd name="T39" fmla="*/ 9 h 28"/>
                  <a:gd name="T40" fmla="*/ 23 w 24"/>
                  <a:gd name="T41" fmla="*/ 6 h 28"/>
                  <a:gd name="T42" fmla="*/ 23 w 24"/>
                  <a:gd name="T43" fmla="*/ 2 h 28"/>
                  <a:gd name="T44" fmla="*/ 24 w 24"/>
                  <a:gd name="T45" fmla="*/ 1 h 28"/>
                  <a:gd name="T46" fmla="*/ 20 w 24"/>
                  <a:gd name="T47" fmla="*/ 0 h 28"/>
                  <a:gd name="T48" fmla="*/ 18 w 24"/>
                  <a:gd name="T49" fmla="*/ 0 h 28"/>
                  <a:gd name="T50" fmla="*/ 15 w 24"/>
                  <a:gd name="T51" fmla="*/ 1 h 28"/>
                  <a:gd name="T52" fmla="*/ 16 w 24"/>
                  <a:gd name="T53" fmla="*/ 5 h 28"/>
                  <a:gd name="T54" fmla="*/ 15 w 24"/>
                  <a:gd name="T55" fmla="*/ 6 h 28"/>
                  <a:gd name="T56" fmla="*/ 15 w 24"/>
                  <a:gd name="T57" fmla="*/ 4 h 28"/>
                  <a:gd name="T58" fmla="*/ 11 w 24"/>
                  <a:gd name="T59" fmla="*/ 7 h 28"/>
                  <a:gd name="T60" fmla="*/ 10 w 24"/>
                  <a:gd name="T61" fmla="*/ 5 h 28"/>
                  <a:gd name="T62" fmla="*/ 11 w 24"/>
                  <a:gd name="T63" fmla="*/ 2 h 28"/>
                  <a:gd name="T64" fmla="*/ 6 w 24"/>
                  <a:gd name="T65" fmla="*/ 2 h 28"/>
                  <a:gd name="T66" fmla="*/ 8 w 24"/>
                  <a:gd name="T67" fmla="*/ 4 h 28"/>
                  <a:gd name="T68" fmla="*/ 6 w 24"/>
                  <a:gd name="T69" fmla="*/ 6 h 28"/>
                  <a:gd name="T70" fmla="*/ 0 w 24"/>
                  <a:gd name="T71" fmla="*/ 6 h 28"/>
                  <a:gd name="T72" fmla="*/ 2 w 24"/>
                  <a:gd name="T73" fmla="*/ 9 h 28"/>
                  <a:gd name="T74" fmla="*/ 4 w 24"/>
                  <a:gd name="T75" fmla="*/ 11 h 28"/>
                  <a:gd name="T76" fmla="*/ 2 w 24"/>
                  <a:gd name="T77" fmla="*/ 14 h 28"/>
                  <a:gd name="T78" fmla="*/ 4 w 24"/>
                  <a:gd name="T79" fmla="*/ 14 h 28"/>
                  <a:gd name="T80" fmla="*/ 6 w 24"/>
                  <a:gd name="T81" fmla="*/ 16 h 28"/>
                  <a:gd name="T82" fmla="*/ 11 w 24"/>
                  <a:gd name="T83" fmla="*/ 16 h 28"/>
                  <a:gd name="T84" fmla="*/ 10 w 24"/>
                  <a:gd name="T85" fmla="*/ 19 h 28"/>
                  <a:gd name="T86" fmla="*/ 14 w 24"/>
                  <a:gd name="T87" fmla="*/ 20 h 28"/>
                  <a:gd name="T88" fmla="*/ 11 w 24"/>
                  <a:gd name="T89" fmla="*/ 23 h 28"/>
                  <a:gd name="T90" fmla="*/ 13 w 24"/>
                  <a:gd name="T91" fmla="*/ 24 h 28"/>
                  <a:gd name="T92" fmla="*/ 13 w 24"/>
                  <a:gd name="T93" fmla="*/ 2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4" h="28">
                    <a:moveTo>
                      <a:pt x="13" y="24"/>
                    </a:moveTo>
                    <a:lnTo>
                      <a:pt x="11" y="23"/>
                    </a:lnTo>
                    <a:lnTo>
                      <a:pt x="7" y="23"/>
                    </a:lnTo>
                    <a:lnTo>
                      <a:pt x="5" y="21"/>
                    </a:lnTo>
                    <a:lnTo>
                      <a:pt x="2" y="22"/>
                    </a:lnTo>
                    <a:lnTo>
                      <a:pt x="1" y="24"/>
                    </a:lnTo>
                    <a:lnTo>
                      <a:pt x="8" y="28"/>
                    </a:lnTo>
                    <a:lnTo>
                      <a:pt x="10" y="27"/>
                    </a:lnTo>
                    <a:lnTo>
                      <a:pt x="13" y="24"/>
                    </a:lnTo>
                    <a:lnTo>
                      <a:pt x="14" y="26"/>
                    </a:lnTo>
                    <a:lnTo>
                      <a:pt x="14" y="28"/>
                    </a:lnTo>
                    <a:lnTo>
                      <a:pt x="15" y="28"/>
                    </a:lnTo>
                    <a:lnTo>
                      <a:pt x="16" y="22"/>
                    </a:lnTo>
                    <a:lnTo>
                      <a:pt x="14" y="20"/>
                    </a:lnTo>
                    <a:lnTo>
                      <a:pt x="17" y="21"/>
                    </a:lnTo>
                    <a:lnTo>
                      <a:pt x="16" y="18"/>
                    </a:lnTo>
                    <a:lnTo>
                      <a:pt x="18" y="15"/>
                    </a:lnTo>
                    <a:lnTo>
                      <a:pt x="20" y="15"/>
                    </a:lnTo>
                    <a:lnTo>
                      <a:pt x="18" y="10"/>
                    </a:lnTo>
                    <a:lnTo>
                      <a:pt x="22" y="9"/>
                    </a:lnTo>
                    <a:lnTo>
                      <a:pt x="23" y="6"/>
                    </a:lnTo>
                    <a:lnTo>
                      <a:pt x="23" y="2"/>
                    </a:lnTo>
                    <a:lnTo>
                      <a:pt x="24" y="1"/>
                    </a:lnTo>
                    <a:lnTo>
                      <a:pt x="20" y="0"/>
                    </a:lnTo>
                    <a:lnTo>
                      <a:pt x="18" y="0"/>
                    </a:lnTo>
                    <a:lnTo>
                      <a:pt x="15" y="1"/>
                    </a:lnTo>
                    <a:lnTo>
                      <a:pt x="16" y="5"/>
                    </a:lnTo>
                    <a:lnTo>
                      <a:pt x="15" y="6"/>
                    </a:lnTo>
                    <a:lnTo>
                      <a:pt x="15" y="4"/>
                    </a:lnTo>
                    <a:lnTo>
                      <a:pt x="11" y="7"/>
                    </a:lnTo>
                    <a:lnTo>
                      <a:pt x="10" y="5"/>
                    </a:lnTo>
                    <a:lnTo>
                      <a:pt x="11" y="2"/>
                    </a:lnTo>
                    <a:lnTo>
                      <a:pt x="6" y="2"/>
                    </a:lnTo>
                    <a:lnTo>
                      <a:pt x="8" y="4"/>
                    </a:lnTo>
                    <a:lnTo>
                      <a:pt x="6" y="6"/>
                    </a:lnTo>
                    <a:lnTo>
                      <a:pt x="0" y="6"/>
                    </a:lnTo>
                    <a:lnTo>
                      <a:pt x="2" y="9"/>
                    </a:lnTo>
                    <a:lnTo>
                      <a:pt x="4" y="11"/>
                    </a:lnTo>
                    <a:lnTo>
                      <a:pt x="2" y="14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11" y="16"/>
                    </a:lnTo>
                    <a:lnTo>
                      <a:pt x="10" y="19"/>
                    </a:lnTo>
                    <a:lnTo>
                      <a:pt x="14" y="20"/>
                    </a:lnTo>
                    <a:lnTo>
                      <a:pt x="11" y="23"/>
                    </a:lnTo>
                    <a:lnTo>
                      <a:pt x="13" y="24"/>
                    </a:lnTo>
                    <a:lnTo>
                      <a:pt x="13" y="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27" name="Freeform 93">
                <a:extLst>
                  <a:ext uri="{FF2B5EF4-FFF2-40B4-BE49-F238E27FC236}">
                    <a16:creationId xmlns:a16="http://schemas.microsoft.com/office/drawing/2014/main" id="{177F0E4E-8EAB-4859-A1E8-6535D6FBFD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33" y="1908"/>
                <a:ext cx="12" cy="21"/>
              </a:xfrm>
              <a:custGeom>
                <a:avLst/>
                <a:gdLst>
                  <a:gd name="T0" fmla="*/ 3 w 12"/>
                  <a:gd name="T1" fmla="*/ 18 h 21"/>
                  <a:gd name="T2" fmla="*/ 3 w 12"/>
                  <a:gd name="T3" fmla="*/ 17 h 21"/>
                  <a:gd name="T4" fmla="*/ 6 w 12"/>
                  <a:gd name="T5" fmla="*/ 15 h 21"/>
                  <a:gd name="T6" fmla="*/ 8 w 12"/>
                  <a:gd name="T7" fmla="*/ 13 h 21"/>
                  <a:gd name="T8" fmla="*/ 9 w 12"/>
                  <a:gd name="T9" fmla="*/ 9 h 21"/>
                  <a:gd name="T10" fmla="*/ 9 w 12"/>
                  <a:gd name="T11" fmla="*/ 5 h 21"/>
                  <a:gd name="T12" fmla="*/ 12 w 12"/>
                  <a:gd name="T13" fmla="*/ 4 h 21"/>
                  <a:gd name="T14" fmla="*/ 12 w 12"/>
                  <a:gd name="T15" fmla="*/ 0 h 21"/>
                  <a:gd name="T16" fmla="*/ 9 w 12"/>
                  <a:gd name="T17" fmla="*/ 3 h 21"/>
                  <a:gd name="T18" fmla="*/ 6 w 12"/>
                  <a:gd name="T19" fmla="*/ 3 h 21"/>
                  <a:gd name="T20" fmla="*/ 4 w 12"/>
                  <a:gd name="T21" fmla="*/ 4 h 21"/>
                  <a:gd name="T22" fmla="*/ 1 w 12"/>
                  <a:gd name="T23" fmla="*/ 7 h 21"/>
                  <a:gd name="T24" fmla="*/ 0 w 12"/>
                  <a:gd name="T25" fmla="*/ 9 h 21"/>
                  <a:gd name="T26" fmla="*/ 1 w 12"/>
                  <a:gd name="T27" fmla="*/ 13 h 21"/>
                  <a:gd name="T28" fmla="*/ 1 w 12"/>
                  <a:gd name="T29" fmla="*/ 15 h 21"/>
                  <a:gd name="T30" fmla="*/ 2 w 12"/>
                  <a:gd name="T31" fmla="*/ 17 h 21"/>
                  <a:gd name="T32" fmla="*/ 1 w 12"/>
                  <a:gd name="T33" fmla="*/ 21 h 21"/>
                  <a:gd name="T34" fmla="*/ 3 w 12"/>
                  <a:gd name="T35" fmla="*/ 18 h 21"/>
                  <a:gd name="T36" fmla="*/ 3 w 12"/>
                  <a:gd name="T37" fmla="*/ 18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2" h="21">
                    <a:moveTo>
                      <a:pt x="3" y="18"/>
                    </a:moveTo>
                    <a:lnTo>
                      <a:pt x="3" y="17"/>
                    </a:lnTo>
                    <a:lnTo>
                      <a:pt x="6" y="15"/>
                    </a:lnTo>
                    <a:lnTo>
                      <a:pt x="8" y="13"/>
                    </a:lnTo>
                    <a:lnTo>
                      <a:pt x="9" y="9"/>
                    </a:lnTo>
                    <a:lnTo>
                      <a:pt x="9" y="5"/>
                    </a:lnTo>
                    <a:lnTo>
                      <a:pt x="12" y="4"/>
                    </a:lnTo>
                    <a:lnTo>
                      <a:pt x="12" y="0"/>
                    </a:lnTo>
                    <a:lnTo>
                      <a:pt x="9" y="3"/>
                    </a:lnTo>
                    <a:lnTo>
                      <a:pt x="6" y="3"/>
                    </a:lnTo>
                    <a:lnTo>
                      <a:pt x="4" y="4"/>
                    </a:lnTo>
                    <a:lnTo>
                      <a:pt x="1" y="7"/>
                    </a:lnTo>
                    <a:lnTo>
                      <a:pt x="0" y="9"/>
                    </a:lnTo>
                    <a:lnTo>
                      <a:pt x="1" y="13"/>
                    </a:lnTo>
                    <a:lnTo>
                      <a:pt x="1" y="15"/>
                    </a:lnTo>
                    <a:lnTo>
                      <a:pt x="2" y="17"/>
                    </a:lnTo>
                    <a:lnTo>
                      <a:pt x="1" y="21"/>
                    </a:lnTo>
                    <a:lnTo>
                      <a:pt x="3" y="18"/>
                    </a:lnTo>
                    <a:lnTo>
                      <a:pt x="3" y="1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28" name="Freeform 94">
                <a:extLst>
                  <a:ext uri="{FF2B5EF4-FFF2-40B4-BE49-F238E27FC236}">
                    <a16:creationId xmlns:a16="http://schemas.microsoft.com/office/drawing/2014/main" id="{2198F8DE-799A-48A3-A081-BA0F82D08E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5" y="1895"/>
                <a:ext cx="18" cy="14"/>
              </a:xfrm>
              <a:custGeom>
                <a:avLst/>
                <a:gdLst>
                  <a:gd name="T0" fmla="*/ 1 w 18"/>
                  <a:gd name="T1" fmla="*/ 14 h 14"/>
                  <a:gd name="T2" fmla="*/ 4 w 18"/>
                  <a:gd name="T3" fmla="*/ 11 h 14"/>
                  <a:gd name="T4" fmla="*/ 4 w 18"/>
                  <a:gd name="T5" fmla="*/ 9 h 14"/>
                  <a:gd name="T6" fmla="*/ 8 w 18"/>
                  <a:gd name="T7" fmla="*/ 8 h 14"/>
                  <a:gd name="T8" fmla="*/ 10 w 18"/>
                  <a:gd name="T9" fmla="*/ 8 h 14"/>
                  <a:gd name="T10" fmla="*/ 16 w 18"/>
                  <a:gd name="T11" fmla="*/ 4 h 14"/>
                  <a:gd name="T12" fmla="*/ 18 w 18"/>
                  <a:gd name="T13" fmla="*/ 3 h 14"/>
                  <a:gd name="T14" fmla="*/ 17 w 18"/>
                  <a:gd name="T15" fmla="*/ 1 h 14"/>
                  <a:gd name="T16" fmla="*/ 13 w 18"/>
                  <a:gd name="T17" fmla="*/ 0 h 14"/>
                  <a:gd name="T18" fmla="*/ 11 w 18"/>
                  <a:gd name="T19" fmla="*/ 1 h 14"/>
                  <a:gd name="T20" fmla="*/ 8 w 18"/>
                  <a:gd name="T21" fmla="*/ 0 h 14"/>
                  <a:gd name="T22" fmla="*/ 5 w 18"/>
                  <a:gd name="T23" fmla="*/ 1 h 14"/>
                  <a:gd name="T24" fmla="*/ 3 w 18"/>
                  <a:gd name="T25" fmla="*/ 2 h 14"/>
                  <a:gd name="T26" fmla="*/ 0 w 18"/>
                  <a:gd name="T27" fmla="*/ 2 h 14"/>
                  <a:gd name="T28" fmla="*/ 1 w 18"/>
                  <a:gd name="T29" fmla="*/ 4 h 14"/>
                  <a:gd name="T30" fmla="*/ 0 w 18"/>
                  <a:gd name="T31" fmla="*/ 8 h 14"/>
                  <a:gd name="T32" fmla="*/ 2 w 18"/>
                  <a:gd name="T33" fmla="*/ 9 h 14"/>
                  <a:gd name="T34" fmla="*/ 1 w 18"/>
                  <a:gd name="T35" fmla="*/ 14 h 14"/>
                  <a:gd name="T36" fmla="*/ 1 w 18"/>
                  <a:gd name="T37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8" h="14">
                    <a:moveTo>
                      <a:pt x="1" y="14"/>
                    </a:moveTo>
                    <a:lnTo>
                      <a:pt x="4" y="11"/>
                    </a:lnTo>
                    <a:lnTo>
                      <a:pt x="4" y="9"/>
                    </a:lnTo>
                    <a:lnTo>
                      <a:pt x="8" y="8"/>
                    </a:lnTo>
                    <a:lnTo>
                      <a:pt x="10" y="8"/>
                    </a:lnTo>
                    <a:lnTo>
                      <a:pt x="16" y="4"/>
                    </a:lnTo>
                    <a:lnTo>
                      <a:pt x="18" y="3"/>
                    </a:lnTo>
                    <a:lnTo>
                      <a:pt x="17" y="1"/>
                    </a:lnTo>
                    <a:lnTo>
                      <a:pt x="13" y="0"/>
                    </a:lnTo>
                    <a:lnTo>
                      <a:pt x="11" y="1"/>
                    </a:lnTo>
                    <a:lnTo>
                      <a:pt x="8" y="0"/>
                    </a:lnTo>
                    <a:lnTo>
                      <a:pt x="5" y="1"/>
                    </a:lnTo>
                    <a:lnTo>
                      <a:pt x="3" y="2"/>
                    </a:lnTo>
                    <a:lnTo>
                      <a:pt x="0" y="2"/>
                    </a:lnTo>
                    <a:lnTo>
                      <a:pt x="1" y="4"/>
                    </a:lnTo>
                    <a:lnTo>
                      <a:pt x="0" y="8"/>
                    </a:lnTo>
                    <a:lnTo>
                      <a:pt x="2" y="9"/>
                    </a:lnTo>
                    <a:lnTo>
                      <a:pt x="1" y="14"/>
                    </a:lnTo>
                    <a:lnTo>
                      <a:pt x="1" y="1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29" name="Freeform 95">
                <a:extLst>
                  <a:ext uri="{FF2B5EF4-FFF2-40B4-BE49-F238E27FC236}">
                    <a16:creationId xmlns:a16="http://schemas.microsoft.com/office/drawing/2014/main" id="{6BA6FA1D-8393-45DF-8AF6-7133BA5CBE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7" y="1886"/>
                <a:ext cx="12" cy="8"/>
              </a:xfrm>
              <a:custGeom>
                <a:avLst/>
                <a:gdLst>
                  <a:gd name="T0" fmla="*/ 8 w 12"/>
                  <a:gd name="T1" fmla="*/ 0 h 8"/>
                  <a:gd name="T2" fmla="*/ 6 w 12"/>
                  <a:gd name="T3" fmla="*/ 2 h 8"/>
                  <a:gd name="T4" fmla="*/ 0 w 12"/>
                  <a:gd name="T5" fmla="*/ 3 h 8"/>
                  <a:gd name="T6" fmla="*/ 6 w 12"/>
                  <a:gd name="T7" fmla="*/ 4 h 8"/>
                  <a:gd name="T8" fmla="*/ 7 w 12"/>
                  <a:gd name="T9" fmla="*/ 8 h 8"/>
                  <a:gd name="T10" fmla="*/ 12 w 12"/>
                  <a:gd name="T11" fmla="*/ 4 h 8"/>
                  <a:gd name="T12" fmla="*/ 10 w 12"/>
                  <a:gd name="T13" fmla="*/ 1 h 8"/>
                  <a:gd name="T14" fmla="*/ 8 w 12"/>
                  <a:gd name="T15" fmla="*/ 0 h 8"/>
                  <a:gd name="T16" fmla="*/ 8 w 12"/>
                  <a:gd name="T17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" h="8">
                    <a:moveTo>
                      <a:pt x="8" y="0"/>
                    </a:moveTo>
                    <a:lnTo>
                      <a:pt x="6" y="2"/>
                    </a:lnTo>
                    <a:lnTo>
                      <a:pt x="0" y="3"/>
                    </a:lnTo>
                    <a:lnTo>
                      <a:pt x="6" y="4"/>
                    </a:lnTo>
                    <a:lnTo>
                      <a:pt x="7" y="8"/>
                    </a:lnTo>
                    <a:lnTo>
                      <a:pt x="12" y="4"/>
                    </a:lnTo>
                    <a:lnTo>
                      <a:pt x="10" y="1"/>
                    </a:lnTo>
                    <a:lnTo>
                      <a:pt x="8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30" name="Freeform 96">
                <a:extLst>
                  <a:ext uri="{FF2B5EF4-FFF2-40B4-BE49-F238E27FC236}">
                    <a16:creationId xmlns:a16="http://schemas.microsoft.com/office/drawing/2014/main" id="{06D9D89C-97A7-45E6-BDC7-DAC1DFE9503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31" y="1352"/>
                <a:ext cx="226" cy="119"/>
              </a:xfrm>
              <a:custGeom>
                <a:avLst/>
                <a:gdLst>
                  <a:gd name="T0" fmla="*/ 130 w 226"/>
                  <a:gd name="T1" fmla="*/ 47 h 119"/>
                  <a:gd name="T2" fmla="*/ 111 w 226"/>
                  <a:gd name="T3" fmla="*/ 39 h 119"/>
                  <a:gd name="T4" fmla="*/ 94 w 226"/>
                  <a:gd name="T5" fmla="*/ 35 h 119"/>
                  <a:gd name="T6" fmla="*/ 84 w 226"/>
                  <a:gd name="T7" fmla="*/ 21 h 119"/>
                  <a:gd name="T8" fmla="*/ 72 w 226"/>
                  <a:gd name="T9" fmla="*/ 19 h 119"/>
                  <a:gd name="T10" fmla="*/ 73 w 226"/>
                  <a:gd name="T11" fmla="*/ 42 h 119"/>
                  <a:gd name="T12" fmla="*/ 54 w 226"/>
                  <a:gd name="T13" fmla="*/ 23 h 119"/>
                  <a:gd name="T14" fmla="*/ 45 w 226"/>
                  <a:gd name="T15" fmla="*/ 35 h 119"/>
                  <a:gd name="T16" fmla="*/ 35 w 226"/>
                  <a:gd name="T17" fmla="*/ 26 h 119"/>
                  <a:gd name="T18" fmla="*/ 28 w 226"/>
                  <a:gd name="T19" fmla="*/ 23 h 119"/>
                  <a:gd name="T20" fmla="*/ 10 w 226"/>
                  <a:gd name="T21" fmla="*/ 23 h 119"/>
                  <a:gd name="T22" fmla="*/ 3 w 226"/>
                  <a:gd name="T23" fmla="*/ 33 h 119"/>
                  <a:gd name="T24" fmla="*/ 19 w 226"/>
                  <a:gd name="T25" fmla="*/ 41 h 119"/>
                  <a:gd name="T26" fmla="*/ 5 w 226"/>
                  <a:gd name="T27" fmla="*/ 48 h 119"/>
                  <a:gd name="T28" fmla="*/ 22 w 226"/>
                  <a:gd name="T29" fmla="*/ 61 h 119"/>
                  <a:gd name="T30" fmla="*/ 33 w 226"/>
                  <a:gd name="T31" fmla="*/ 70 h 119"/>
                  <a:gd name="T32" fmla="*/ 48 w 226"/>
                  <a:gd name="T33" fmla="*/ 63 h 119"/>
                  <a:gd name="T34" fmla="*/ 61 w 226"/>
                  <a:gd name="T35" fmla="*/ 52 h 119"/>
                  <a:gd name="T36" fmla="*/ 76 w 226"/>
                  <a:gd name="T37" fmla="*/ 60 h 119"/>
                  <a:gd name="T38" fmla="*/ 87 w 226"/>
                  <a:gd name="T39" fmla="*/ 65 h 119"/>
                  <a:gd name="T40" fmla="*/ 63 w 226"/>
                  <a:gd name="T41" fmla="*/ 70 h 119"/>
                  <a:gd name="T42" fmla="*/ 38 w 226"/>
                  <a:gd name="T43" fmla="*/ 80 h 119"/>
                  <a:gd name="T44" fmla="*/ 60 w 226"/>
                  <a:gd name="T45" fmla="*/ 83 h 119"/>
                  <a:gd name="T46" fmla="*/ 85 w 226"/>
                  <a:gd name="T47" fmla="*/ 80 h 119"/>
                  <a:gd name="T48" fmla="*/ 70 w 226"/>
                  <a:gd name="T49" fmla="*/ 90 h 119"/>
                  <a:gd name="T50" fmla="*/ 55 w 226"/>
                  <a:gd name="T51" fmla="*/ 91 h 119"/>
                  <a:gd name="T52" fmla="*/ 51 w 226"/>
                  <a:gd name="T53" fmla="*/ 101 h 119"/>
                  <a:gd name="T54" fmla="*/ 79 w 226"/>
                  <a:gd name="T55" fmla="*/ 107 h 119"/>
                  <a:gd name="T56" fmla="*/ 73 w 226"/>
                  <a:gd name="T57" fmla="*/ 113 h 119"/>
                  <a:gd name="T58" fmla="*/ 85 w 226"/>
                  <a:gd name="T59" fmla="*/ 112 h 119"/>
                  <a:gd name="T60" fmla="*/ 101 w 226"/>
                  <a:gd name="T61" fmla="*/ 92 h 119"/>
                  <a:gd name="T62" fmla="*/ 113 w 226"/>
                  <a:gd name="T63" fmla="*/ 69 h 119"/>
                  <a:gd name="T64" fmla="*/ 135 w 226"/>
                  <a:gd name="T65" fmla="*/ 58 h 119"/>
                  <a:gd name="T66" fmla="*/ 200 w 226"/>
                  <a:gd name="T67" fmla="*/ 9 h 119"/>
                  <a:gd name="T68" fmla="*/ 182 w 226"/>
                  <a:gd name="T69" fmla="*/ 7 h 119"/>
                  <a:gd name="T70" fmla="*/ 172 w 226"/>
                  <a:gd name="T71" fmla="*/ 3 h 119"/>
                  <a:gd name="T72" fmla="*/ 161 w 226"/>
                  <a:gd name="T73" fmla="*/ 15 h 119"/>
                  <a:gd name="T74" fmla="*/ 139 w 226"/>
                  <a:gd name="T75" fmla="*/ 9 h 119"/>
                  <a:gd name="T76" fmla="*/ 124 w 226"/>
                  <a:gd name="T77" fmla="*/ 7 h 119"/>
                  <a:gd name="T78" fmla="*/ 118 w 226"/>
                  <a:gd name="T79" fmla="*/ 14 h 119"/>
                  <a:gd name="T80" fmla="*/ 112 w 226"/>
                  <a:gd name="T81" fmla="*/ 15 h 119"/>
                  <a:gd name="T82" fmla="*/ 112 w 226"/>
                  <a:gd name="T83" fmla="*/ 24 h 119"/>
                  <a:gd name="T84" fmla="*/ 156 w 226"/>
                  <a:gd name="T85" fmla="*/ 23 h 119"/>
                  <a:gd name="T86" fmla="*/ 141 w 226"/>
                  <a:gd name="T87" fmla="*/ 29 h 119"/>
                  <a:gd name="T88" fmla="*/ 136 w 226"/>
                  <a:gd name="T89" fmla="*/ 33 h 119"/>
                  <a:gd name="T90" fmla="*/ 166 w 226"/>
                  <a:gd name="T91" fmla="*/ 40 h 119"/>
                  <a:gd name="T92" fmla="*/ 206 w 226"/>
                  <a:gd name="T93" fmla="*/ 34 h 119"/>
                  <a:gd name="T94" fmla="*/ 225 w 226"/>
                  <a:gd name="T95" fmla="*/ 16 h 119"/>
                  <a:gd name="T96" fmla="*/ 157 w 226"/>
                  <a:gd name="T97" fmla="*/ 64 h 119"/>
                  <a:gd name="T98" fmla="*/ 135 w 226"/>
                  <a:gd name="T99" fmla="*/ 65 h 119"/>
                  <a:gd name="T100" fmla="*/ 180 w 226"/>
                  <a:gd name="T101" fmla="*/ 81 h 119"/>
                  <a:gd name="T102" fmla="*/ 167 w 226"/>
                  <a:gd name="T103" fmla="*/ 69 h 119"/>
                  <a:gd name="T104" fmla="*/ 149 w 226"/>
                  <a:gd name="T105" fmla="*/ 81 h 119"/>
                  <a:gd name="T106" fmla="*/ 148 w 226"/>
                  <a:gd name="T107" fmla="*/ 92 h 119"/>
                  <a:gd name="T108" fmla="*/ 166 w 226"/>
                  <a:gd name="T109" fmla="*/ 98 h 119"/>
                  <a:gd name="T110" fmla="*/ 193 w 226"/>
                  <a:gd name="T111" fmla="*/ 85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226" h="119">
                    <a:moveTo>
                      <a:pt x="135" y="58"/>
                    </a:moveTo>
                    <a:lnTo>
                      <a:pt x="138" y="57"/>
                    </a:lnTo>
                    <a:lnTo>
                      <a:pt x="140" y="58"/>
                    </a:lnTo>
                    <a:lnTo>
                      <a:pt x="146" y="57"/>
                    </a:lnTo>
                    <a:lnTo>
                      <a:pt x="148" y="55"/>
                    </a:lnTo>
                    <a:lnTo>
                      <a:pt x="147" y="51"/>
                    </a:lnTo>
                    <a:lnTo>
                      <a:pt x="136" y="49"/>
                    </a:lnTo>
                    <a:lnTo>
                      <a:pt x="130" y="47"/>
                    </a:lnTo>
                    <a:lnTo>
                      <a:pt x="128" y="47"/>
                    </a:lnTo>
                    <a:lnTo>
                      <a:pt x="124" y="42"/>
                    </a:lnTo>
                    <a:lnTo>
                      <a:pt x="119" y="41"/>
                    </a:lnTo>
                    <a:lnTo>
                      <a:pt x="115" y="42"/>
                    </a:lnTo>
                    <a:lnTo>
                      <a:pt x="113" y="42"/>
                    </a:lnTo>
                    <a:lnTo>
                      <a:pt x="111" y="40"/>
                    </a:lnTo>
                    <a:lnTo>
                      <a:pt x="107" y="39"/>
                    </a:lnTo>
                    <a:lnTo>
                      <a:pt x="111" y="39"/>
                    </a:lnTo>
                    <a:lnTo>
                      <a:pt x="111" y="36"/>
                    </a:lnTo>
                    <a:lnTo>
                      <a:pt x="111" y="33"/>
                    </a:lnTo>
                    <a:lnTo>
                      <a:pt x="110" y="31"/>
                    </a:lnTo>
                    <a:lnTo>
                      <a:pt x="104" y="27"/>
                    </a:lnTo>
                    <a:lnTo>
                      <a:pt x="101" y="30"/>
                    </a:lnTo>
                    <a:lnTo>
                      <a:pt x="99" y="32"/>
                    </a:lnTo>
                    <a:lnTo>
                      <a:pt x="97" y="35"/>
                    </a:lnTo>
                    <a:lnTo>
                      <a:pt x="94" y="35"/>
                    </a:lnTo>
                    <a:lnTo>
                      <a:pt x="96" y="33"/>
                    </a:lnTo>
                    <a:lnTo>
                      <a:pt x="94" y="30"/>
                    </a:lnTo>
                    <a:lnTo>
                      <a:pt x="99" y="26"/>
                    </a:lnTo>
                    <a:lnTo>
                      <a:pt x="99" y="24"/>
                    </a:lnTo>
                    <a:lnTo>
                      <a:pt x="94" y="19"/>
                    </a:lnTo>
                    <a:lnTo>
                      <a:pt x="88" y="18"/>
                    </a:lnTo>
                    <a:lnTo>
                      <a:pt x="85" y="17"/>
                    </a:lnTo>
                    <a:lnTo>
                      <a:pt x="84" y="21"/>
                    </a:lnTo>
                    <a:lnTo>
                      <a:pt x="81" y="19"/>
                    </a:lnTo>
                    <a:lnTo>
                      <a:pt x="80" y="16"/>
                    </a:lnTo>
                    <a:lnTo>
                      <a:pt x="78" y="15"/>
                    </a:lnTo>
                    <a:lnTo>
                      <a:pt x="76" y="15"/>
                    </a:lnTo>
                    <a:lnTo>
                      <a:pt x="74" y="17"/>
                    </a:lnTo>
                    <a:lnTo>
                      <a:pt x="74" y="17"/>
                    </a:lnTo>
                    <a:lnTo>
                      <a:pt x="76" y="21"/>
                    </a:lnTo>
                    <a:lnTo>
                      <a:pt x="72" y="19"/>
                    </a:lnTo>
                    <a:lnTo>
                      <a:pt x="70" y="22"/>
                    </a:lnTo>
                    <a:lnTo>
                      <a:pt x="73" y="31"/>
                    </a:lnTo>
                    <a:lnTo>
                      <a:pt x="74" y="36"/>
                    </a:lnTo>
                    <a:lnTo>
                      <a:pt x="80" y="47"/>
                    </a:lnTo>
                    <a:lnTo>
                      <a:pt x="80" y="50"/>
                    </a:lnTo>
                    <a:lnTo>
                      <a:pt x="78" y="48"/>
                    </a:lnTo>
                    <a:lnTo>
                      <a:pt x="77" y="44"/>
                    </a:lnTo>
                    <a:lnTo>
                      <a:pt x="73" y="42"/>
                    </a:lnTo>
                    <a:lnTo>
                      <a:pt x="71" y="41"/>
                    </a:lnTo>
                    <a:lnTo>
                      <a:pt x="70" y="39"/>
                    </a:lnTo>
                    <a:lnTo>
                      <a:pt x="68" y="36"/>
                    </a:lnTo>
                    <a:lnTo>
                      <a:pt x="65" y="31"/>
                    </a:lnTo>
                    <a:lnTo>
                      <a:pt x="65" y="29"/>
                    </a:lnTo>
                    <a:lnTo>
                      <a:pt x="60" y="24"/>
                    </a:lnTo>
                    <a:lnTo>
                      <a:pt x="56" y="23"/>
                    </a:lnTo>
                    <a:lnTo>
                      <a:pt x="54" y="23"/>
                    </a:lnTo>
                    <a:lnTo>
                      <a:pt x="51" y="25"/>
                    </a:lnTo>
                    <a:lnTo>
                      <a:pt x="51" y="29"/>
                    </a:lnTo>
                    <a:lnTo>
                      <a:pt x="48" y="29"/>
                    </a:lnTo>
                    <a:lnTo>
                      <a:pt x="45" y="31"/>
                    </a:lnTo>
                    <a:lnTo>
                      <a:pt x="48" y="36"/>
                    </a:lnTo>
                    <a:lnTo>
                      <a:pt x="48" y="39"/>
                    </a:lnTo>
                    <a:lnTo>
                      <a:pt x="45" y="38"/>
                    </a:lnTo>
                    <a:lnTo>
                      <a:pt x="45" y="35"/>
                    </a:lnTo>
                    <a:lnTo>
                      <a:pt x="42" y="33"/>
                    </a:lnTo>
                    <a:lnTo>
                      <a:pt x="39" y="33"/>
                    </a:lnTo>
                    <a:lnTo>
                      <a:pt x="36" y="32"/>
                    </a:lnTo>
                    <a:lnTo>
                      <a:pt x="38" y="29"/>
                    </a:lnTo>
                    <a:lnTo>
                      <a:pt x="36" y="29"/>
                    </a:lnTo>
                    <a:lnTo>
                      <a:pt x="30" y="30"/>
                    </a:lnTo>
                    <a:lnTo>
                      <a:pt x="27" y="29"/>
                    </a:lnTo>
                    <a:lnTo>
                      <a:pt x="35" y="26"/>
                    </a:lnTo>
                    <a:lnTo>
                      <a:pt x="38" y="25"/>
                    </a:lnTo>
                    <a:lnTo>
                      <a:pt x="40" y="25"/>
                    </a:lnTo>
                    <a:lnTo>
                      <a:pt x="44" y="25"/>
                    </a:lnTo>
                    <a:lnTo>
                      <a:pt x="46" y="24"/>
                    </a:lnTo>
                    <a:lnTo>
                      <a:pt x="45" y="21"/>
                    </a:lnTo>
                    <a:lnTo>
                      <a:pt x="43" y="21"/>
                    </a:lnTo>
                    <a:lnTo>
                      <a:pt x="37" y="21"/>
                    </a:lnTo>
                    <a:lnTo>
                      <a:pt x="28" y="23"/>
                    </a:lnTo>
                    <a:lnTo>
                      <a:pt x="26" y="23"/>
                    </a:lnTo>
                    <a:lnTo>
                      <a:pt x="22" y="22"/>
                    </a:lnTo>
                    <a:lnTo>
                      <a:pt x="21" y="24"/>
                    </a:lnTo>
                    <a:lnTo>
                      <a:pt x="22" y="26"/>
                    </a:lnTo>
                    <a:lnTo>
                      <a:pt x="20" y="26"/>
                    </a:lnTo>
                    <a:lnTo>
                      <a:pt x="18" y="24"/>
                    </a:lnTo>
                    <a:lnTo>
                      <a:pt x="16" y="21"/>
                    </a:lnTo>
                    <a:lnTo>
                      <a:pt x="10" y="23"/>
                    </a:lnTo>
                    <a:lnTo>
                      <a:pt x="8" y="25"/>
                    </a:lnTo>
                    <a:lnTo>
                      <a:pt x="9" y="27"/>
                    </a:lnTo>
                    <a:lnTo>
                      <a:pt x="7" y="27"/>
                    </a:lnTo>
                    <a:lnTo>
                      <a:pt x="3" y="29"/>
                    </a:lnTo>
                    <a:lnTo>
                      <a:pt x="5" y="30"/>
                    </a:lnTo>
                    <a:lnTo>
                      <a:pt x="3" y="30"/>
                    </a:lnTo>
                    <a:lnTo>
                      <a:pt x="0" y="31"/>
                    </a:lnTo>
                    <a:lnTo>
                      <a:pt x="3" y="33"/>
                    </a:lnTo>
                    <a:lnTo>
                      <a:pt x="3" y="35"/>
                    </a:lnTo>
                    <a:lnTo>
                      <a:pt x="7" y="41"/>
                    </a:lnTo>
                    <a:lnTo>
                      <a:pt x="8" y="44"/>
                    </a:lnTo>
                    <a:lnTo>
                      <a:pt x="11" y="43"/>
                    </a:lnTo>
                    <a:lnTo>
                      <a:pt x="13" y="41"/>
                    </a:lnTo>
                    <a:lnTo>
                      <a:pt x="13" y="38"/>
                    </a:lnTo>
                    <a:lnTo>
                      <a:pt x="19" y="38"/>
                    </a:lnTo>
                    <a:lnTo>
                      <a:pt x="19" y="41"/>
                    </a:lnTo>
                    <a:lnTo>
                      <a:pt x="16" y="42"/>
                    </a:lnTo>
                    <a:lnTo>
                      <a:pt x="16" y="46"/>
                    </a:lnTo>
                    <a:lnTo>
                      <a:pt x="18" y="48"/>
                    </a:lnTo>
                    <a:lnTo>
                      <a:pt x="21" y="50"/>
                    </a:lnTo>
                    <a:lnTo>
                      <a:pt x="18" y="50"/>
                    </a:lnTo>
                    <a:lnTo>
                      <a:pt x="16" y="49"/>
                    </a:lnTo>
                    <a:lnTo>
                      <a:pt x="9" y="47"/>
                    </a:lnTo>
                    <a:lnTo>
                      <a:pt x="5" y="48"/>
                    </a:lnTo>
                    <a:lnTo>
                      <a:pt x="9" y="50"/>
                    </a:lnTo>
                    <a:lnTo>
                      <a:pt x="13" y="52"/>
                    </a:lnTo>
                    <a:lnTo>
                      <a:pt x="11" y="52"/>
                    </a:lnTo>
                    <a:lnTo>
                      <a:pt x="11" y="55"/>
                    </a:lnTo>
                    <a:lnTo>
                      <a:pt x="13" y="58"/>
                    </a:lnTo>
                    <a:lnTo>
                      <a:pt x="17" y="59"/>
                    </a:lnTo>
                    <a:lnTo>
                      <a:pt x="19" y="59"/>
                    </a:lnTo>
                    <a:lnTo>
                      <a:pt x="22" y="61"/>
                    </a:lnTo>
                    <a:lnTo>
                      <a:pt x="25" y="61"/>
                    </a:lnTo>
                    <a:lnTo>
                      <a:pt x="31" y="61"/>
                    </a:lnTo>
                    <a:lnTo>
                      <a:pt x="19" y="63"/>
                    </a:lnTo>
                    <a:lnTo>
                      <a:pt x="22" y="65"/>
                    </a:lnTo>
                    <a:lnTo>
                      <a:pt x="25" y="67"/>
                    </a:lnTo>
                    <a:lnTo>
                      <a:pt x="28" y="68"/>
                    </a:lnTo>
                    <a:lnTo>
                      <a:pt x="29" y="72"/>
                    </a:lnTo>
                    <a:lnTo>
                      <a:pt x="33" y="70"/>
                    </a:lnTo>
                    <a:lnTo>
                      <a:pt x="38" y="72"/>
                    </a:lnTo>
                    <a:lnTo>
                      <a:pt x="40" y="69"/>
                    </a:lnTo>
                    <a:lnTo>
                      <a:pt x="44" y="70"/>
                    </a:lnTo>
                    <a:lnTo>
                      <a:pt x="46" y="68"/>
                    </a:lnTo>
                    <a:lnTo>
                      <a:pt x="47" y="66"/>
                    </a:lnTo>
                    <a:lnTo>
                      <a:pt x="50" y="66"/>
                    </a:lnTo>
                    <a:lnTo>
                      <a:pt x="52" y="64"/>
                    </a:lnTo>
                    <a:lnTo>
                      <a:pt x="48" y="63"/>
                    </a:lnTo>
                    <a:lnTo>
                      <a:pt x="51" y="59"/>
                    </a:lnTo>
                    <a:lnTo>
                      <a:pt x="50" y="57"/>
                    </a:lnTo>
                    <a:lnTo>
                      <a:pt x="52" y="56"/>
                    </a:lnTo>
                    <a:lnTo>
                      <a:pt x="55" y="56"/>
                    </a:lnTo>
                    <a:lnTo>
                      <a:pt x="55" y="59"/>
                    </a:lnTo>
                    <a:lnTo>
                      <a:pt x="57" y="58"/>
                    </a:lnTo>
                    <a:lnTo>
                      <a:pt x="60" y="56"/>
                    </a:lnTo>
                    <a:lnTo>
                      <a:pt x="61" y="52"/>
                    </a:lnTo>
                    <a:lnTo>
                      <a:pt x="64" y="52"/>
                    </a:lnTo>
                    <a:lnTo>
                      <a:pt x="64" y="56"/>
                    </a:lnTo>
                    <a:lnTo>
                      <a:pt x="63" y="58"/>
                    </a:lnTo>
                    <a:lnTo>
                      <a:pt x="61" y="60"/>
                    </a:lnTo>
                    <a:lnTo>
                      <a:pt x="62" y="63"/>
                    </a:lnTo>
                    <a:lnTo>
                      <a:pt x="64" y="64"/>
                    </a:lnTo>
                    <a:lnTo>
                      <a:pt x="70" y="63"/>
                    </a:lnTo>
                    <a:lnTo>
                      <a:pt x="76" y="60"/>
                    </a:lnTo>
                    <a:lnTo>
                      <a:pt x="77" y="58"/>
                    </a:lnTo>
                    <a:lnTo>
                      <a:pt x="80" y="57"/>
                    </a:lnTo>
                    <a:lnTo>
                      <a:pt x="80" y="59"/>
                    </a:lnTo>
                    <a:lnTo>
                      <a:pt x="78" y="61"/>
                    </a:lnTo>
                    <a:lnTo>
                      <a:pt x="78" y="64"/>
                    </a:lnTo>
                    <a:lnTo>
                      <a:pt x="81" y="65"/>
                    </a:lnTo>
                    <a:lnTo>
                      <a:pt x="84" y="66"/>
                    </a:lnTo>
                    <a:lnTo>
                      <a:pt x="87" y="65"/>
                    </a:lnTo>
                    <a:lnTo>
                      <a:pt x="89" y="65"/>
                    </a:lnTo>
                    <a:lnTo>
                      <a:pt x="84" y="67"/>
                    </a:lnTo>
                    <a:lnTo>
                      <a:pt x="81" y="67"/>
                    </a:lnTo>
                    <a:lnTo>
                      <a:pt x="72" y="67"/>
                    </a:lnTo>
                    <a:lnTo>
                      <a:pt x="70" y="67"/>
                    </a:lnTo>
                    <a:lnTo>
                      <a:pt x="67" y="68"/>
                    </a:lnTo>
                    <a:lnTo>
                      <a:pt x="67" y="70"/>
                    </a:lnTo>
                    <a:lnTo>
                      <a:pt x="63" y="70"/>
                    </a:lnTo>
                    <a:lnTo>
                      <a:pt x="55" y="74"/>
                    </a:lnTo>
                    <a:lnTo>
                      <a:pt x="50" y="75"/>
                    </a:lnTo>
                    <a:lnTo>
                      <a:pt x="46" y="74"/>
                    </a:lnTo>
                    <a:lnTo>
                      <a:pt x="46" y="77"/>
                    </a:lnTo>
                    <a:lnTo>
                      <a:pt x="44" y="75"/>
                    </a:lnTo>
                    <a:lnTo>
                      <a:pt x="40" y="75"/>
                    </a:lnTo>
                    <a:lnTo>
                      <a:pt x="38" y="77"/>
                    </a:lnTo>
                    <a:lnTo>
                      <a:pt x="38" y="80"/>
                    </a:lnTo>
                    <a:lnTo>
                      <a:pt x="39" y="83"/>
                    </a:lnTo>
                    <a:lnTo>
                      <a:pt x="40" y="85"/>
                    </a:lnTo>
                    <a:lnTo>
                      <a:pt x="43" y="85"/>
                    </a:lnTo>
                    <a:lnTo>
                      <a:pt x="46" y="84"/>
                    </a:lnTo>
                    <a:lnTo>
                      <a:pt x="48" y="84"/>
                    </a:lnTo>
                    <a:lnTo>
                      <a:pt x="52" y="84"/>
                    </a:lnTo>
                    <a:lnTo>
                      <a:pt x="56" y="83"/>
                    </a:lnTo>
                    <a:lnTo>
                      <a:pt x="60" y="83"/>
                    </a:lnTo>
                    <a:lnTo>
                      <a:pt x="62" y="81"/>
                    </a:lnTo>
                    <a:lnTo>
                      <a:pt x="65" y="81"/>
                    </a:lnTo>
                    <a:lnTo>
                      <a:pt x="68" y="82"/>
                    </a:lnTo>
                    <a:lnTo>
                      <a:pt x="71" y="82"/>
                    </a:lnTo>
                    <a:lnTo>
                      <a:pt x="73" y="82"/>
                    </a:lnTo>
                    <a:lnTo>
                      <a:pt x="79" y="82"/>
                    </a:lnTo>
                    <a:lnTo>
                      <a:pt x="82" y="80"/>
                    </a:lnTo>
                    <a:lnTo>
                      <a:pt x="85" y="80"/>
                    </a:lnTo>
                    <a:lnTo>
                      <a:pt x="84" y="82"/>
                    </a:lnTo>
                    <a:lnTo>
                      <a:pt x="86" y="84"/>
                    </a:lnTo>
                    <a:lnTo>
                      <a:pt x="84" y="83"/>
                    </a:lnTo>
                    <a:lnTo>
                      <a:pt x="69" y="84"/>
                    </a:lnTo>
                    <a:lnTo>
                      <a:pt x="61" y="85"/>
                    </a:lnTo>
                    <a:lnTo>
                      <a:pt x="57" y="86"/>
                    </a:lnTo>
                    <a:lnTo>
                      <a:pt x="55" y="87"/>
                    </a:lnTo>
                    <a:lnTo>
                      <a:pt x="70" y="90"/>
                    </a:lnTo>
                    <a:lnTo>
                      <a:pt x="72" y="92"/>
                    </a:lnTo>
                    <a:lnTo>
                      <a:pt x="74" y="93"/>
                    </a:lnTo>
                    <a:lnTo>
                      <a:pt x="72" y="93"/>
                    </a:lnTo>
                    <a:lnTo>
                      <a:pt x="70" y="91"/>
                    </a:lnTo>
                    <a:lnTo>
                      <a:pt x="67" y="91"/>
                    </a:lnTo>
                    <a:lnTo>
                      <a:pt x="64" y="91"/>
                    </a:lnTo>
                    <a:lnTo>
                      <a:pt x="59" y="90"/>
                    </a:lnTo>
                    <a:lnTo>
                      <a:pt x="55" y="91"/>
                    </a:lnTo>
                    <a:lnTo>
                      <a:pt x="53" y="92"/>
                    </a:lnTo>
                    <a:lnTo>
                      <a:pt x="51" y="90"/>
                    </a:lnTo>
                    <a:lnTo>
                      <a:pt x="47" y="90"/>
                    </a:lnTo>
                    <a:lnTo>
                      <a:pt x="45" y="90"/>
                    </a:lnTo>
                    <a:lnTo>
                      <a:pt x="42" y="91"/>
                    </a:lnTo>
                    <a:lnTo>
                      <a:pt x="43" y="94"/>
                    </a:lnTo>
                    <a:lnTo>
                      <a:pt x="47" y="100"/>
                    </a:lnTo>
                    <a:lnTo>
                      <a:pt x="51" y="101"/>
                    </a:lnTo>
                    <a:lnTo>
                      <a:pt x="53" y="101"/>
                    </a:lnTo>
                    <a:lnTo>
                      <a:pt x="56" y="102"/>
                    </a:lnTo>
                    <a:lnTo>
                      <a:pt x="59" y="104"/>
                    </a:lnTo>
                    <a:lnTo>
                      <a:pt x="62" y="106"/>
                    </a:lnTo>
                    <a:lnTo>
                      <a:pt x="68" y="107"/>
                    </a:lnTo>
                    <a:lnTo>
                      <a:pt x="70" y="104"/>
                    </a:lnTo>
                    <a:lnTo>
                      <a:pt x="73" y="106"/>
                    </a:lnTo>
                    <a:lnTo>
                      <a:pt x="79" y="107"/>
                    </a:lnTo>
                    <a:lnTo>
                      <a:pt x="76" y="108"/>
                    </a:lnTo>
                    <a:lnTo>
                      <a:pt x="73" y="107"/>
                    </a:lnTo>
                    <a:lnTo>
                      <a:pt x="70" y="108"/>
                    </a:lnTo>
                    <a:lnTo>
                      <a:pt x="68" y="108"/>
                    </a:lnTo>
                    <a:lnTo>
                      <a:pt x="64" y="110"/>
                    </a:lnTo>
                    <a:lnTo>
                      <a:pt x="68" y="111"/>
                    </a:lnTo>
                    <a:lnTo>
                      <a:pt x="70" y="112"/>
                    </a:lnTo>
                    <a:lnTo>
                      <a:pt x="73" y="113"/>
                    </a:lnTo>
                    <a:lnTo>
                      <a:pt x="76" y="116"/>
                    </a:lnTo>
                    <a:lnTo>
                      <a:pt x="76" y="119"/>
                    </a:lnTo>
                    <a:lnTo>
                      <a:pt x="79" y="118"/>
                    </a:lnTo>
                    <a:lnTo>
                      <a:pt x="81" y="119"/>
                    </a:lnTo>
                    <a:lnTo>
                      <a:pt x="84" y="118"/>
                    </a:lnTo>
                    <a:lnTo>
                      <a:pt x="87" y="116"/>
                    </a:lnTo>
                    <a:lnTo>
                      <a:pt x="87" y="113"/>
                    </a:lnTo>
                    <a:lnTo>
                      <a:pt x="85" y="112"/>
                    </a:lnTo>
                    <a:lnTo>
                      <a:pt x="89" y="108"/>
                    </a:lnTo>
                    <a:lnTo>
                      <a:pt x="87" y="104"/>
                    </a:lnTo>
                    <a:lnTo>
                      <a:pt x="90" y="104"/>
                    </a:lnTo>
                    <a:lnTo>
                      <a:pt x="93" y="99"/>
                    </a:lnTo>
                    <a:lnTo>
                      <a:pt x="94" y="97"/>
                    </a:lnTo>
                    <a:lnTo>
                      <a:pt x="95" y="93"/>
                    </a:lnTo>
                    <a:lnTo>
                      <a:pt x="98" y="92"/>
                    </a:lnTo>
                    <a:lnTo>
                      <a:pt x="101" y="92"/>
                    </a:lnTo>
                    <a:lnTo>
                      <a:pt x="104" y="90"/>
                    </a:lnTo>
                    <a:lnTo>
                      <a:pt x="105" y="84"/>
                    </a:lnTo>
                    <a:lnTo>
                      <a:pt x="105" y="78"/>
                    </a:lnTo>
                    <a:lnTo>
                      <a:pt x="106" y="76"/>
                    </a:lnTo>
                    <a:lnTo>
                      <a:pt x="112" y="76"/>
                    </a:lnTo>
                    <a:lnTo>
                      <a:pt x="114" y="74"/>
                    </a:lnTo>
                    <a:lnTo>
                      <a:pt x="112" y="72"/>
                    </a:lnTo>
                    <a:lnTo>
                      <a:pt x="113" y="69"/>
                    </a:lnTo>
                    <a:lnTo>
                      <a:pt x="114" y="66"/>
                    </a:lnTo>
                    <a:lnTo>
                      <a:pt x="113" y="64"/>
                    </a:lnTo>
                    <a:lnTo>
                      <a:pt x="119" y="63"/>
                    </a:lnTo>
                    <a:lnTo>
                      <a:pt x="121" y="60"/>
                    </a:lnTo>
                    <a:lnTo>
                      <a:pt x="124" y="59"/>
                    </a:lnTo>
                    <a:lnTo>
                      <a:pt x="128" y="59"/>
                    </a:lnTo>
                    <a:lnTo>
                      <a:pt x="132" y="58"/>
                    </a:lnTo>
                    <a:lnTo>
                      <a:pt x="135" y="58"/>
                    </a:lnTo>
                    <a:close/>
                    <a:moveTo>
                      <a:pt x="226" y="14"/>
                    </a:moveTo>
                    <a:lnTo>
                      <a:pt x="224" y="13"/>
                    </a:lnTo>
                    <a:lnTo>
                      <a:pt x="221" y="10"/>
                    </a:lnTo>
                    <a:lnTo>
                      <a:pt x="218" y="10"/>
                    </a:lnTo>
                    <a:lnTo>
                      <a:pt x="209" y="10"/>
                    </a:lnTo>
                    <a:lnTo>
                      <a:pt x="206" y="10"/>
                    </a:lnTo>
                    <a:lnTo>
                      <a:pt x="204" y="9"/>
                    </a:lnTo>
                    <a:lnTo>
                      <a:pt x="200" y="9"/>
                    </a:lnTo>
                    <a:lnTo>
                      <a:pt x="198" y="8"/>
                    </a:lnTo>
                    <a:lnTo>
                      <a:pt x="195" y="8"/>
                    </a:lnTo>
                    <a:lnTo>
                      <a:pt x="193" y="6"/>
                    </a:lnTo>
                    <a:lnTo>
                      <a:pt x="191" y="7"/>
                    </a:lnTo>
                    <a:lnTo>
                      <a:pt x="188" y="5"/>
                    </a:lnTo>
                    <a:lnTo>
                      <a:pt x="185" y="5"/>
                    </a:lnTo>
                    <a:lnTo>
                      <a:pt x="185" y="7"/>
                    </a:lnTo>
                    <a:lnTo>
                      <a:pt x="182" y="7"/>
                    </a:lnTo>
                    <a:lnTo>
                      <a:pt x="180" y="7"/>
                    </a:lnTo>
                    <a:lnTo>
                      <a:pt x="179" y="9"/>
                    </a:lnTo>
                    <a:lnTo>
                      <a:pt x="176" y="13"/>
                    </a:lnTo>
                    <a:lnTo>
                      <a:pt x="171" y="10"/>
                    </a:lnTo>
                    <a:lnTo>
                      <a:pt x="170" y="8"/>
                    </a:lnTo>
                    <a:lnTo>
                      <a:pt x="173" y="7"/>
                    </a:lnTo>
                    <a:lnTo>
                      <a:pt x="172" y="5"/>
                    </a:lnTo>
                    <a:lnTo>
                      <a:pt x="172" y="3"/>
                    </a:lnTo>
                    <a:lnTo>
                      <a:pt x="166" y="0"/>
                    </a:lnTo>
                    <a:lnTo>
                      <a:pt x="165" y="6"/>
                    </a:lnTo>
                    <a:lnTo>
                      <a:pt x="164" y="3"/>
                    </a:lnTo>
                    <a:lnTo>
                      <a:pt x="162" y="3"/>
                    </a:lnTo>
                    <a:lnTo>
                      <a:pt x="159" y="6"/>
                    </a:lnTo>
                    <a:lnTo>
                      <a:pt x="163" y="7"/>
                    </a:lnTo>
                    <a:lnTo>
                      <a:pt x="161" y="13"/>
                    </a:lnTo>
                    <a:lnTo>
                      <a:pt x="161" y="15"/>
                    </a:lnTo>
                    <a:lnTo>
                      <a:pt x="159" y="16"/>
                    </a:lnTo>
                    <a:lnTo>
                      <a:pt x="157" y="16"/>
                    </a:lnTo>
                    <a:lnTo>
                      <a:pt x="156" y="14"/>
                    </a:lnTo>
                    <a:lnTo>
                      <a:pt x="154" y="13"/>
                    </a:lnTo>
                    <a:lnTo>
                      <a:pt x="150" y="13"/>
                    </a:lnTo>
                    <a:lnTo>
                      <a:pt x="153" y="9"/>
                    </a:lnTo>
                    <a:lnTo>
                      <a:pt x="150" y="7"/>
                    </a:lnTo>
                    <a:lnTo>
                      <a:pt x="139" y="9"/>
                    </a:lnTo>
                    <a:lnTo>
                      <a:pt x="138" y="7"/>
                    </a:lnTo>
                    <a:lnTo>
                      <a:pt x="136" y="7"/>
                    </a:lnTo>
                    <a:lnTo>
                      <a:pt x="133" y="5"/>
                    </a:lnTo>
                    <a:lnTo>
                      <a:pt x="130" y="3"/>
                    </a:lnTo>
                    <a:lnTo>
                      <a:pt x="122" y="0"/>
                    </a:lnTo>
                    <a:lnTo>
                      <a:pt x="120" y="4"/>
                    </a:lnTo>
                    <a:lnTo>
                      <a:pt x="125" y="5"/>
                    </a:lnTo>
                    <a:lnTo>
                      <a:pt x="124" y="7"/>
                    </a:lnTo>
                    <a:lnTo>
                      <a:pt x="122" y="9"/>
                    </a:lnTo>
                    <a:lnTo>
                      <a:pt x="119" y="7"/>
                    </a:lnTo>
                    <a:lnTo>
                      <a:pt x="116" y="6"/>
                    </a:lnTo>
                    <a:lnTo>
                      <a:pt x="113" y="6"/>
                    </a:lnTo>
                    <a:lnTo>
                      <a:pt x="114" y="8"/>
                    </a:lnTo>
                    <a:lnTo>
                      <a:pt x="118" y="10"/>
                    </a:lnTo>
                    <a:lnTo>
                      <a:pt x="120" y="10"/>
                    </a:lnTo>
                    <a:lnTo>
                      <a:pt x="118" y="14"/>
                    </a:lnTo>
                    <a:lnTo>
                      <a:pt x="112" y="10"/>
                    </a:lnTo>
                    <a:lnTo>
                      <a:pt x="110" y="10"/>
                    </a:lnTo>
                    <a:lnTo>
                      <a:pt x="101" y="10"/>
                    </a:lnTo>
                    <a:lnTo>
                      <a:pt x="97" y="12"/>
                    </a:lnTo>
                    <a:lnTo>
                      <a:pt x="103" y="14"/>
                    </a:lnTo>
                    <a:lnTo>
                      <a:pt x="106" y="15"/>
                    </a:lnTo>
                    <a:lnTo>
                      <a:pt x="108" y="15"/>
                    </a:lnTo>
                    <a:lnTo>
                      <a:pt x="112" y="15"/>
                    </a:lnTo>
                    <a:lnTo>
                      <a:pt x="111" y="16"/>
                    </a:lnTo>
                    <a:lnTo>
                      <a:pt x="108" y="16"/>
                    </a:lnTo>
                    <a:lnTo>
                      <a:pt x="105" y="18"/>
                    </a:lnTo>
                    <a:lnTo>
                      <a:pt x="103" y="18"/>
                    </a:lnTo>
                    <a:lnTo>
                      <a:pt x="104" y="22"/>
                    </a:lnTo>
                    <a:lnTo>
                      <a:pt x="106" y="23"/>
                    </a:lnTo>
                    <a:lnTo>
                      <a:pt x="110" y="24"/>
                    </a:lnTo>
                    <a:lnTo>
                      <a:pt x="112" y="24"/>
                    </a:lnTo>
                    <a:lnTo>
                      <a:pt x="119" y="24"/>
                    </a:lnTo>
                    <a:lnTo>
                      <a:pt x="121" y="25"/>
                    </a:lnTo>
                    <a:lnTo>
                      <a:pt x="128" y="24"/>
                    </a:lnTo>
                    <a:lnTo>
                      <a:pt x="133" y="23"/>
                    </a:lnTo>
                    <a:lnTo>
                      <a:pt x="141" y="22"/>
                    </a:lnTo>
                    <a:lnTo>
                      <a:pt x="150" y="22"/>
                    </a:lnTo>
                    <a:lnTo>
                      <a:pt x="154" y="24"/>
                    </a:lnTo>
                    <a:lnTo>
                      <a:pt x="156" y="23"/>
                    </a:lnTo>
                    <a:lnTo>
                      <a:pt x="159" y="23"/>
                    </a:lnTo>
                    <a:lnTo>
                      <a:pt x="156" y="24"/>
                    </a:lnTo>
                    <a:lnTo>
                      <a:pt x="154" y="24"/>
                    </a:lnTo>
                    <a:lnTo>
                      <a:pt x="150" y="25"/>
                    </a:lnTo>
                    <a:lnTo>
                      <a:pt x="141" y="25"/>
                    </a:lnTo>
                    <a:lnTo>
                      <a:pt x="136" y="26"/>
                    </a:lnTo>
                    <a:lnTo>
                      <a:pt x="139" y="29"/>
                    </a:lnTo>
                    <a:lnTo>
                      <a:pt x="141" y="29"/>
                    </a:lnTo>
                    <a:lnTo>
                      <a:pt x="133" y="29"/>
                    </a:lnTo>
                    <a:lnTo>
                      <a:pt x="130" y="27"/>
                    </a:lnTo>
                    <a:lnTo>
                      <a:pt x="128" y="27"/>
                    </a:lnTo>
                    <a:lnTo>
                      <a:pt x="124" y="27"/>
                    </a:lnTo>
                    <a:lnTo>
                      <a:pt x="123" y="31"/>
                    </a:lnTo>
                    <a:lnTo>
                      <a:pt x="128" y="32"/>
                    </a:lnTo>
                    <a:lnTo>
                      <a:pt x="130" y="33"/>
                    </a:lnTo>
                    <a:lnTo>
                      <a:pt x="136" y="33"/>
                    </a:lnTo>
                    <a:lnTo>
                      <a:pt x="141" y="35"/>
                    </a:lnTo>
                    <a:lnTo>
                      <a:pt x="147" y="35"/>
                    </a:lnTo>
                    <a:lnTo>
                      <a:pt x="149" y="35"/>
                    </a:lnTo>
                    <a:lnTo>
                      <a:pt x="153" y="35"/>
                    </a:lnTo>
                    <a:lnTo>
                      <a:pt x="158" y="34"/>
                    </a:lnTo>
                    <a:lnTo>
                      <a:pt x="164" y="35"/>
                    </a:lnTo>
                    <a:lnTo>
                      <a:pt x="164" y="38"/>
                    </a:lnTo>
                    <a:lnTo>
                      <a:pt x="166" y="40"/>
                    </a:lnTo>
                    <a:lnTo>
                      <a:pt x="170" y="41"/>
                    </a:lnTo>
                    <a:lnTo>
                      <a:pt x="175" y="41"/>
                    </a:lnTo>
                    <a:lnTo>
                      <a:pt x="181" y="41"/>
                    </a:lnTo>
                    <a:lnTo>
                      <a:pt x="183" y="41"/>
                    </a:lnTo>
                    <a:lnTo>
                      <a:pt x="185" y="38"/>
                    </a:lnTo>
                    <a:lnTo>
                      <a:pt x="195" y="35"/>
                    </a:lnTo>
                    <a:lnTo>
                      <a:pt x="197" y="38"/>
                    </a:lnTo>
                    <a:lnTo>
                      <a:pt x="206" y="34"/>
                    </a:lnTo>
                    <a:lnTo>
                      <a:pt x="208" y="32"/>
                    </a:lnTo>
                    <a:lnTo>
                      <a:pt x="208" y="30"/>
                    </a:lnTo>
                    <a:lnTo>
                      <a:pt x="210" y="27"/>
                    </a:lnTo>
                    <a:lnTo>
                      <a:pt x="216" y="25"/>
                    </a:lnTo>
                    <a:lnTo>
                      <a:pt x="222" y="22"/>
                    </a:lnTo>
                    <a:lnTo>
                      <a:pt x="225" y="21"/>
                    </a:lnTo>
                    <a:lnTo>
                      <a:pt x="226" y="18"/>
                    </a:lnTo>
                    <a:lnTo>
                      <a:pt x="225" y="16"/>
                    </a:lnTo>
                    <a:lnTo>
                      <a:pt x="226" y="14"/>
                    </a:lnTo>
                    <a:close/>
                    <a:moveTo>
                      <a:pt x="139" y="70"/>
                    </a:moveTo>
                    <a:lnTo>
                      <a:pt x="142" y="72"/>
                    </a:lnTo>
                    <a:lnTo>
                      <a:pt x="145" y="70"/>
                    </a:lnTo>
                    <a:lnTo>
                      <a:pt x="150" y="69"/>
                    </a:lnTo>
                    <a:lnTo>
                      <a:pt x="156" y="69"/>
                    </a:lnTo>
                    <a:lnTo>
                      <a:pt x="157" y="67"/>
                    </a:lnTo>
                    <a:lnTo>
                      <a:pt x="157" y="64"/>
                    </a:lnTo>
                    <a:lnTo>
                      <a:pt x="157" y="61"/>
                    </a:lnTo>
                    <a:lnTo>
                      <a:pt x="150" y="59"/>
                    </a:lnTo>
                    <a:lnTo>
                      <a:pt x="148" y="60"/>
                    </a:lnTo>
                    <a:lnTo>
                      <a:pt x="145" y="59"/>
                    </a:lnTo>
                    <a:lnTo>
                      <a:pt x="139" y="60"/>
                    </a:lnTo>
                    <a:lnTo>
                      <a:pt x="131" y="63"/>
                    </a:lnTo>
                    <a:lnTo>
                      <a:pt x="129" y="63"/>
                    </a:lnTo>
                    <a:lnTo>
                      <a:pt x="135" y="65"/>
                    </a:lnTo>
                    <a:lnTo>
                      <a:pt x="135" y="67"/>
                    </a:lnTo>
                    <a:lnTo>
                      <a:pt x="137" y="68"/>
                    </a:lnTo>
                    <a:lnTo>
                      <a:pt x="137" y="70"/>
                    </a:lnTo>
                    <a:lnTo>
                      <a:pt x="139" y="70"/>
                    </a:lnTo>
                    <a:close/>
                    <a:moveTo>
                      <a:pt x="188" y="81"/>
                    </a:moveTo>
                    <a:lnTo>
                      <a:pt x="184" y="81"/>
                    </a:lnTo>
                    <a:lnTo>
                      <a:pt x="182" y="81"/>
                    </a:lnTo>
                    <a:lnTo>
                      <a:pt x="180" y="81"/>
                    </a:lnTo>
                    <a:lnTo>
                      <a:pt x="176" y="81"/>
                    </a:lnTo>
                    <a:lnTo>
                      <a:pt x="174" y="78"/>
                    </a:lnTo>
                    <a:lnTo>
                      <a:pt x="171" y="77"/>
                    </a:lnTo>
                    <a:lnTo>
                      <a:pt x="170" y="75"/>
                    </a:lnTo>
                    <a:lnTo>
                      <a:pt x="172" y="74"/>
                    </a:lnTo>
                    <a:lnTo>
                      <a:pt x="173" y="72"/>
                    </a:lnTo>
                    <a:lnTo>
                      <a:pt x="171" y="70"/>
                    </a:lnTo>
                    <a:lnTo>
                      <a:pt x="167" y="69"/>
                    </a:lnTo>
                    <a:lnTo>
                      <a:pt x="162" y="70"/>
                    </a:lnTo>
                    <a:lnTo>
                      <a:pt x="159" y="72"/>
                    </a:lnTo>
                    <a:lnTo>
                      <a:pt x="154" y="70"/>
                    </a:lnTo>
                    <a:lnTo>
                      <a:pt x="148" y="72"/>
                    </a:lnTo>
                    <a:lnTo>
                      <a:pt x="139" y="74"/>
                    </a:lnTo>
                    <a:lnTo>
                      <a:pt x="142" y="76"/>
                    </a:lnTo>
                    <a:lnTo>
                      <a:pt x="148" y="78"/>
                    </a:lnTo>
                    <a:lnTo>
                      <a:pt x="149" y="81"/>
                    </a:lnTo>
                    <a:lnTo>
                      <a:pt x="146" y="84"/>
                    </a:lnTo>
                    <a:lnTo>
                      <a:pt x="145" y="86"/>
                    </a:lnTo>
                    <a:lnTo>
                      <a:pt x="141" y="90"/>
                    </a:lnTo>
                    <a:lnTo>
                      <a:pt x="139" y="91"/>
                    </a:lnTo>
                    <a:lnTo>
                      <a:pt x="139" y="93"/>
                    </a:lnTo>
                    <a:lnTo>
                      <a:pt x="141" y="93"/>
                    </a:lnTo>
                    <a:lnTo>
                      <a:pt x="145" y="93"/>
                    </a:lnTo>
                    <a:lnTo>
                      <a:pt x="148" y="92"/>
                    </a:lnTo>
                    <a:lnTo>
                      <a:pt x="156" y="92"/>
                    </a:lnTo>
                    <a:lnTo>
                      <a:pt x="158" y="90"/>
                    </a:lnTo>
                    <a:lnTo>
                      <a:pt x="162" y="90"/>
                    </a:lnTo>
                    <a:lnTo>
                      <a:pt x="164" y="90"/>
                    </a:lnTo>
                    <a:lnTo>
                      <a:pt x="162" y="93"/>
                    </a:lnTo>
                    <a:lnTo>
                      <a:pt x="161" y="99"/>
                    </a:lnTo>
                    <a:lnTo>
                      <a:pt x="163" y="99"/>
                    </a:lnTo>
                    <a:lnTo>
                      <a:pt x="166" y="98"/>
                    </a:lnTo>
                    <a:lnTo>
                      <a:pt x="168" y="95"/>
                    </a:lnTo>
                    <a:lnTo>
                      <a:pt x="172" y="94"/>
                    </a:lnTo>
                    <a:lnTo>
                      <a:pt x="174" y="95"/>
                    </a:lnTo>
                    <a:lnTo>
                      <a:pt x="178" y="94"/>
                    </a:lnTo>
                    <a:lnTo>
                      <a:pt x="180" y="92"/>
                    </a:lnTo>
                    <a:lnTo>
                      <a:pt x="184" y="86"/>
                    </a:lnTo>
                    <a:lnTo>
                      <a:pt x="190" y="85"/>
                    </a:lnTo>
                    <a:lnTo>
                      <a:pt x="193" y="85"/>
                    </a:lnTo>
                    <a:lnTo>
                      <a:pt x="190" y="82"/>
                    </a:lnTo>
                    <a:lnTo>
                      <a:pt x="188" y="8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31" name="Freeform 97">
                <a:extLst>
                  <a:ext uri="{FF2B5EF4-FFF2-40B4-BE49-F238E27FC236}">
                    <a16:creationId xmlns:a16="http://schemas.microsoft.com/office/drawing/2014/main" id="{8B390230-6883-44AE-8AB5-BF57980BDD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98" y="1912"/>
                <a:ext cx="32" cy="21"/>
              </a:xfrm>
              <a:custGeom>
                <a:avLst/>
                <a:gdLst>
                  <a:gd name="T0" fmla="*/ 2 w 32"/>
                  <a:gd name="T1" fmla="*/ 21 h 21"/>
                  <a:gd name="T2" fmla="*/ 0 w 32"/>
                  <a:gd name="T3" fmla="*/ 19 h 21"/>
                  <a:gd name="T4" fmla="*/ 1 w 32"/>
                  <a:gd name="T5" fmla="*/ 16 h 21"/>
                  <a:gd name="T6" fmla="*/ 4 w 32"/>
                  <a:gd name="T7" fmla="*/ 13 h 21"/>
                  <a:gd name="T8" fmla="*/ 6 w 32"/>
                  <a:gd name="T9" fmla="*/ 12 h 21"/>
                  <a:gd name="T10" fmla="*/ 8 w 32"/>
                  <a:gd name="T11" fmla="*/ 12 h 21"/>
                  <a:gd name="T12" fmla="*/ 10 w 32"/>
                  <a:gd name="T13" fmla="*/ 12 h 21"/>
                  <a:gd name="T14" fmla="*/ 13 w 32"/>
                  <a:gd name="T15" fmla="*/ 12 h 21"/>
                  <a:gd name="T16" fmla="*/ 16 w 32"/>
                  <a:gd name="T17" fmla="*/ 12 h 21"/>
                  <a:gd name="T18" fmla="*/ 19 w 32"/>
                  <a:gd name="T19" fmla="*/ 9 h 21"/>
                  <a:gd name="T20" fmla="*/ 20 w 32"/>
                  <a:gd name="T21" fmla="*/ 6 h 21"/>
                  <a:gd name="T22" fmla="*/ 24 w 32"/>
                  <a:gd name="T23" fmla="*/ 3 h 21"/>
                  <a:gd name="T24" fmla="*/ 26 w 32"/>
                  <a:gd name="T25" fmla="*/ 3 h 21"/>
                  <a:gd name="T26" fmla="*/ 32 w 32"/>
                  <a:gd name="T27" fmla="*/ 0 h 21"/>
                  <a:gd name="T28" fmla="*/ 29 w 32"/>
                  <a:gd name="T29" fmla="*/ 3 h 21"/>
                  <a:gd name="T30" fmla="*/ 30 w 32"/>
                  <a:gd name="T31" fmla="*/ 5 h 21"/>
                  <a:gd name="T32" fmla="*/ 30 w 32"/>
                  <a:gd name="T33" fmla="*/ 10 h 21"/>
                  <a:gd name="T34" fmla="*/ 29 w 32"/>
                  <a:gd name="T35" fmla="*/ 13 h 21"/>
                  <a:gd name="T36" fmla="*/ 26 w 32"/>
                  <a:gd name="T37" fmla="*/ 14 h 21"/>
                  <a:gd name="T38" fmla="*/ 24 w 32"/>
                  <a:gd name="T39" fmla="*/ 13 h 21"/>
                  <a:gd name="T40" fmla="*/ 24 w 32"/>
                  <a:gd name="T41" fmla="*/ 13 h 21"/>
                  <a:gd name="T42" fmla="*/ 23 w 32"/>
                  <a:gd name="T43" fmla="*/ 13 h 21"/>
                  <a:gd name="T44" fmla="*/ 20 w 32"/>
                  <a:gd name="T45" fmla="*/ 13 h 21"/>
                  <a:gd name="T46" fmla="*/ 13 w 32"/>
                  <a:gd name="T47" fmla="*/ 14 h 21"/>
                  <a:gd name="T48" fmla="*/ 11 w 32"/>
                  <a:gd name="T49" fmla="*/ 13 h 21"/>
                  <a:gd name="T50" fmla="*/ 11 w 32"/>
                  <a:gd name="T51" fmla="*/ 14 h 21"/>
                  <a:gd name="T52" fmla="*/ 6 w 32"/>
                  <a:gd name="T53" fmla="*/ 16 h 21"/>
                  <a:gd name="T54" fmla="*/ 2 w 32"/>
                  <a:gd name="T55" fmla="*/ 21 h 21"/>
                  <a:gd name="T56" fmla="*/ 2 w 32"/>
                  <a:gd name="T57" fmla="*/ 2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2" h="21">
                    <a:moveTo>
                      <a:pt x="2" y="21"/>
                    </a:moveTo>
                    <a:lnTo>
                      <a:pt x="0" y="19"/>
                    </a:lnTo>
                    <a:lnTo>
                      <a:pt x="1" y="16"/>
                    </a:lnTo>
                    <a:lnTo>
                      <a:pt x="4" y="13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10" y="12"/>
                    </a:lnTo>
                    <a:lnTo>
                      <a:pt x="13" y="12"/>
                    </a:lnTo>
                    <a:lnTo>
                      <a:pt x="16" y="12"/>
                    </a:lnTo>
                    <a:lnTo>
                      <a:pt x="19" y="9"/>
                    </a:lnTo>
                    <a:lnTo>
                      <a:pt x="20" y="6"/>
                    </a:lnTo>
                    <a:lnTo>
                      <a:pt x="24" y="3"/>
                    </a:lnTo>
                    <a:lnTo>
                      <a:pt x="26" y="3"/>
                    </a:lnTo>
                    <a:lnTo>
                      <a:pt x="32" y="0"/>
                    </a:lnTo>
                    <a:lnTo>
                      <a:pt x="29" y="3"/>
                    </a:lnTo>
                    <a:lnTo>
                      <a:pt x="30" y="5"/>
                    </a:lnTo>
                    <a:lnTo>
                      <a:pt x="30" y="10"/>
                    </a:lnTo>
                    <a:lnTo>
                      <a:pt x="29" y="13"/>
                    </a:lnTo>
                    <a:lnTo>
                      <a:pt x="26" y="14"/>
                    </a:lnTo>
                    <a:lnTo>
                      <a:pt x="24" y="13"/>
                    </a:lnTo>
                    <a:lnTo>
                      <a:pt x="24" y="13"/>
                    </a:lnTo>
                    <a:lnTo>
                      <a:pt x="23" y="13"/>
                    </a:lnTo>
                    <a:lnTo>
                      <a:pt x="20" y="13"/>
                    </a:lnTo>
                    <a:lnTo>
                      <a:pt x="13" y="14"/>
                    </a:lnTo>
                    <a:lnTo>
                      <a:pt x="11" y="13"/>
                    </a:lnTo>
                    <a:lnTo>
                      <a:pt x="11" y="14"/>
                    </a:lnTo>
                    <a:lnTo>
                      <a:pt x="6" y="16"/>
                    </a:lnTo>
                    <a:lnTo>
                      <a:pt x="2" y="21"/>
                    </a:lnTo>
                    <a:lnTo>
                      <a:pt x="2" y="2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32" name="Freeform 98">
                <a:extLst>
                  <a:ext uri="{FF2B5EF4-FFF2-40B4-BE49-F238E27FC236}">
                    <a16:creationId xmlns:a16="http://schemas.microsoft.com/office/drawing/2014/main" id="{EAB55EFF-F9DE-40A2-AEFB-CE3BA4B8AF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5" y="1966"/>
                <a:ext cx="12" cy="7"/>
              </a:xfrm>
              <a:custGeom>
                <a:avLst/>
                <a:gdLst>
                  <a:gd name="T0" fmla="*/ 12 w 12"/>
                  <a:gd name="T1" fmla="*/ 3 h 7"/>
                  <a:gd name="T2" fmla="*/ 9 w 12"/>
                  <a:gd name="T3" fmla="*/ 6 h 7"/>
                  <a:gd name="T4" fmla="*/ 7 w 12"/>
                  <a:gd name="T5" fmla="*/ 7 h 7"/>
                  <a:gd name="T6" fmla="*/ 0 w 12"/>
                  <a:gd name="T7" fmla="*/ 3 h 7"/>
                  <a:gd name="T8" fmla="*/ 1 w 12"/>
                  <a:gd name="T9" fmla="*/ 1 h 7"/>
                  <a:gd name="T10" fmla="*/ 4 w 12"/>
                  <a:gd name="T11" fmla="*/ 0 h 7"/>
                  <a:gd name="T12" fmla="*/ 6 w 12"/>
                  <a:gd name="T13" fmla="*/ 2 h 7"/>
                  <a:gd name="T14" fmla="*/ 10 w 12"/>
                  <a:gd name="T15" fmla="*/ 2 h 7"/>
                  <a:gd name="T16" fmla="*/ 12 w 12"/>
                  <a:gd name="T17" fmla="*/ 3 h 7"/>
                  <a:gd name="T18" fmla="*/ 12 w 12"/>
                  <a:gd name="T19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" h="7">
                    <a:moveTo>
                      <a:pt x="12" y="3"/>
                    </a:moveTo>
                    <a:lnTo>
                      <a:pt x="9" y="6"/>
                    </a:lnTo>
                    <a:lnTo>
                      <a:pt x="7" y="7"/>
                    </a:lnTo>
                    <a:lnTo>
                      <a:pt x="0" y="3"/>
                    </a:lnTo>
                    <a:lnTo>
                      <a:pt x="1" y="1"/>
                    </a:lnTo>
                    <a:lnTo>
                      <a:pt x="4" y="0"/>
                    </a:lnTo>
                    <a:lnTo>
                      <a:pt x="6" y="2"/>
                    </a:lnTo>
                    <a:lnTo>
                      <a:pt x="10" y="2"/>
                    </a:lnTo>
                    <a:lnTo>
                      <a:pt x="12" y="3"/>
                    </a:lnTo>
                    <a:lnTo>
                      <a:pt x="12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33" name="Freeform 99">
                <a:extLst>
                  <a:ext uri="{FF2B5EF4-FFF2-40B4-BE49-F238E27FC236}">
                    <a16:creationId xmlns:a16="http://schemas.microsoft.com/office/drawing/2014/main" id="{9FE0C78A-1BB4-4481-AB6B-3BF19C488B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07" y="2297"/>
                <a:ext cx="38" cy="10"/>
              </a:xfrm>
              <a:custGeom>
                <a:avLst/>
                <a:gdLst>
                  <a:gd name="T0" fmla="*/ 36 w 38"/>
                  <a:gd name="T1" fmla="*/ 9 h 10"/>
                  <a:gd name="T2" fmla="*/ 36 w 38"/>
                  <a:gd name="T3" fmla="*/ 9 h 10"/>
                  <a:gd name="T4" fmla="*/ 38 w 38"/>
                  <a:gd name="T5" fmla="*/ 8 h 10"/>
                  <a:gd name="T6" fmla="*/ 38 w 38"/>
                  <a:gd name="T7" fmla="*/ 4 h 10"/>
                  <a:gd name="T8" fmla="*/ 36 w 38"/>
                  <a:gd name="T9" fmla="*/ 5 h 10"/>
                  <a:gd name="T10" fmla="*/ 30 w 38"/>
                  <a:gd name="T11" fmla="*/ 6 h 10"/>
                  <a:gd name="T12" fmla="*/ 30 w 38"/>
                  <a:gd name="T13" fmla="*/ 4 h 10"/>
                  <a:gd name="T14" fmla="*/ 26 w 38"/>
                  <a:gd name="T15" fmla="*/ 4 h 10"/>
                  <a:gd name="T16" fmla="*/ 23 w 38"/>
                  <a:gd name="T17" fmla="*/ 4 h 10"/>
                  <a:gd name="T18" fmla="*/ 20 w 38"/>
                  <a:gd name="T19" fmla="*/ 3 h 10"/>
                  <a:gd name="T20" fmla="*/ 16 w 38"/>
                  <a:gd name="T21" fmla="*/ 2 h 10"/>
                  <a:gd name="T22" fmla="*/ 11 w 38"/>
                  <a:gd name="T23" fmla="*/ 4 h 10"/>
                  <a:gd name="T24" fmla="*/ 9 w 38"/>
                  <a:gd name="T25" fmla="*/ 3 h 10"/>
                  <a:gd name="T26" fmla="*/ 8 w 38"/>
                  <a:gd name="T27" fmla="*/ 1 h 10"/>
                  <a:gd name="T28" fmla="*/ 6 w 38"/>
                  <a:gd name="T29" fmla="*/ 1 h 10"/>
                  <a:gd name="T30" fmla="*/ 0 w 38"/>
                  <a:gd name="T31" fmla="*/ 0 h 10"/>
                  <a:gd name="T32" fmla="*/ 0 w 38"/>
                  <a:gd name="T33" fmla="*/ 5 h 10"/>
                  <a:gd name="T34" fmla="*/ 11 w 38"/>
                  <a:gd name="T35" fmla="*/ 6 h 10"/>
                  <a:gd name="T36" fmla="*/ 16 w 38"/>
                  <a:gd name="T37" fmla="*/ 8 h 10"/>
                  <a:gd name="T38" fmla="*/ 16 w 38"/>
                  <a:gd name="T39" fmla="*/ 9 h 10"/>
                  <a:gd name="T40" fmla="*/ 17 w 38"/>
                  <a:gd name="T41" fmla="*/ 10 h 10"/>
                  <a:gd name="T42" fmla="*/ 22 w 38"/>
                  <a:gd name="T43" fmla="*/ 10 h 10"/>
                  <a:gd name="T44" fmla="*/ 25 w 38"/>
                  <a:gd name="T45" fmla="*/ 9 h 10"/>
                  <a:gd name="T46" fmla="*/ 36 w 38"/>
                  <a:gd name="T47" fmla="*/ 9 h 10"/>
                  <a:gd name="T48" fmla="*/ 36 w 38"/>
                  <a:gd name="T49" fmla="*/ 9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38" h="10">
                    <a:moveTo>
                      <a:pt x="36" y="9"/>
                    </a:moveTo>
                    <a:lnTo>
                      <a:pt x="36" y="9"/>
                    </a:lnTo>
                    <a:lnTo>
                      <a:pt x="38" y="8"/>
                    </a:lnTo>
                    <a:lnTo>
                      <a:pt x="38" y="4"/>
                    </a:lnTo>
                    <a:lnTo>
                      <a:pt x="36" y="5"/>
                    </a:lnTo>
                    <a:lnTo>
                      <a:pt x="30" y="6"/>
                    </a:lnTo>
                    <a:lnTo>
                      <a:pt x="30" y="4"/>
                    </a:lnTo>
                    <a:lnTo>
                      <a:pt x="26" y="4"/>
                    </a:lnTo>
                    <a:lnTo>
                      <a:pt x="23" y="4"/>
                    </a:lnTo>
                    <a:lnTo>
                      <a:pt x="20" y="3"/>
                    </a:lnTo>
                    <a:lnTo>
                      <a:pt x="16" y="2"/>
                    </a:lnTo>
                    <a:lnTo>
                      <a:pt x="11" y="4"/>
                    </a:lnTo>
                    <a:lnTo>
                      <a:pt x="9" y="3"/>
                    </a:lnTo>
                    <a:lnTo>
                      <a:pt x="8" y="1"/>
                    </a:lnTo>
                    <a:lnTo>
                      <a:pt x="6" y="1"/>
                    </a:lnTo>
                    <a:lnTo>
                      <a:pt x="0" y="0"/>
                    </a:lnTo>
                    <a:lnTo>
                      <a:pt x="0" y="5"/>
                    </a:lnTo>
                    <a:lnTo>
                      <a:pt x="11" y="6"/>
                    </a:lnTo>
                    <a:lnTo>
                      <a:pt x="16" y="8"/>
                    </a:lnTo>
                    <a:lnTo>
                      <a:pt x="16" y="9"/>
                    </a:lnTo>
                    <a:lnTo>
                      <a:pt x="17" y="10"/>
                    </a:lnTo>
                    <a:lnTo>
                      <a:pt x="22" y="10"/>
                    </a:lnTo>
                    <a:lnTo>
                      <a:pt x="25" y="9"/>
                    </a:lnTo>
                    <a:lnTo>
                      <a:pt x="36" y="9"/>
                    </a:lnTo>
                    <a:lnTo>
                      <a:pt x="36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34" name="Freeform 100">
                <a:extLst>
                  <a:ext uri="{FF2B5EF4-FFF2-40B4-BE49-F238E27FC236}">
                    <a16:creationId xmlns:a16="http://schemas.microsoft.com/office/drawing/2014/main" id="{5CC346E7-6F69-4751-BB71-3A91696734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64" y="2284"/>
                <a:ext cx="7" cy="8"/>
              </a:xfrm>
              <a:custGeom>
                <a:avLst/>
                <a:gdLst>
                  <a:gd name="T0" fmla="*/ 2 w 7"/>
                  <a:gd name="T1" fmla="*/ 7 h 8"/>
                  <a:gd name="T2" fmla="*/ 6 w 7"/>
                  <a:gd name="T3" fmla="*/ 5 h 8"/>
                  <a:gd name="T4" fmla="*/ 7 w 7"/>
                  <a:gd name="T5" fmla="*/ 0 h 8"/>
                  <a:gd name="T6" fmla="*/ 5 w 7"/>
                  <a:gd name="T7" fmla="*/ 0 h 8"/>
                  <a:gd name="T8" fmla="*/ 1 w 7"/>
                  <a:gd name="T9" fmla="*/ 2 h 8"/>
                  <a:gd name="T10" fmla="*/ 0 w 7"/>
                  <a:gd name="T11" fmla="*/ 5 h 8"/>
                  <a:gd name="T12" fmla="*/ 0 w 7"/>
                  <a:gd name="T13" fmla="*/ 8 h 8"/>
                  <a:gd name="T14" fmla="*/ 2 w 7"/>
                  <a:gd name="T15" fmla="*/ 7 h 8"/>
                  <a:gd name="T16" fmla="*/ 2 w 7"/>
                  <a:gd name="T17" fmla="*/ 7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" h="8">
                    <a:moveTo>
                      <a:pt x="2" y="7"/>
                    </a:moveTo>
                    <a:lnTo>
                      <a:pt x="6" y="5"/>
                    </a:lnTo>
                    <a:lnTo>
                      <a:pt x="7" y="0"/>
                    </a:lnTo>
                    <a:lnTo>
                      <a:pt x="5" y="0"/>
                    </a:lnTo>
                    <a:lnTo>
                      <a:pt x="1" y="2"/>
                    </a:lnTo>
                    <a:lnTo>
                      <a:pt x="0" y="5"/>
                    </a:lnTo>
                    <a:lnTo>
                      <a:pt x="0" y="8"/>
                    </a:lnTo>
                    <a:lnTo>
                      <a:pt x="2" y="7"/>
                    </a:lnTo>
                    <a:lnTo>
                      <a:pt x="2" y="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35" name="Freeform 101">
                <a:extLst>
                  <a:ext uri="{FF2B5EF4-FFF2-40B4-BE49-F238E27FC236}">
                    <a16:creationId xmlns:a16="http://schemas.microsoft.com/office/drawing/2014/main" id="{259AB2AE-FC32-446E-AE0F-BDE7EBEC9F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7" y="2296"/>
                <a:ext cx="31" cy="17"/>
              </a:xfrm>
              <a:custGeom>
                <a:avLst/>
                <a:gdLst>
                  <a:gd name="T0" fmla="*/ 3 w 31"/>
                  <a:gd name="T1" fmla="*/ 14 h 17"/>
                  <a:gd name="T2" fmla="*/ 5 w 31"/>
                  <a:gd name="T3" fmla="*/ 15 h 17"/>
                  <a:gd name="T4" fmla="*/ 8 w 31"/>
                  <a:gd name="T5" fmla="*/ 15 h 17"/>
                  <a:gd name="T6" fmla="*/ 10 w 31"/>
                  <a:gd name="T7" fmla="*/ 17 h 17"/>
                  <a:gd name="T8" fmla="*/ 10 w 31"/>
                  <a:gd name="T9" fmla="*/ 15 h 17"/>
                  <a:gd name="T10" fmla="*/ 11 w 31"/>
                  <a:gd name="T11" fmla="*/ 15 h 17"/>
                  <a:gd name="T12" fmla="*/ 13 w 31"/>
                  <a:gd name="T13" fmla="*/ 14 h 17"/>
                  <a:gd name="T14" fmla="*/ 17 w 31"/>
                  <a:gd name="T15" fmla="*/ 13 h 17"/>
                  <a:gd name="T16" fmla="*/ 19 w 31"/>
                  <a:gd name="T17" fmla="*/ 11 h 17"/>
                  <a:gd name="T18" fmla="*/ 22 w 31"/>
                  <a:gd name="T19" fmla="*/ 11 h 17"/>
                  <a:gd name="T20" fmla="*/ 24 w 31"/>
                  <a:gd name="T21" fmla="*/ 10 h 17"/>
                  <a:gd name="T22" fmla="*/ 22 w 31"/>
                  <a:gd name="T23" fmla="*/ 7 h 17"/>
                  <a:gd name="T24" fmla="*/ 23 w 31"/>
                  <a:gd name="T25" fmla="*/ 5 h 17"/>
                  <a:gd name="T26" fmla="*/ 25 w 31"/>
                  <a:gd name="T27" fmla="*/ 3 h 17"/>
                  <a:gd name="T28" fmla="*/ 29 w 31"/>
                  <a:gd name="T29" fmla="*/ 2 h 17"/>
                  <a:gd name="T30" fmla="*/ 31 w 31"/>
                  <a:gd name="T31" fmla="*/ 0 h 17"/>
                  <a:gd name="T32" fmla="*/ 29 w 31"/>
                  <a:gd name="T33" fmla="*/ 1 h 17"/>
                  <a:gd name="T34" fmla="*/ 24 w 31"/>
                  <a:gd name="T35" fmla="*/ 3 h 17"/>
                  <a:gd name="T36" fmla="*/ 19 w 31"/>
                  <a:gd name="T37" fmla="*/ 4 h 17"/>
                  <a:gd name="T38" fmla="*/ 14 w 31"/>
                  <a:gd name="T39" fmla="*/ 5 h 17"/>
                  <a:gd name="T40" fmla="*/ 12 w 31"/>
                  <a:gd name="T41" fmla="*/ 4 h 17"/>
                  <a:gd name="T42" fmla="*/ 8 w 31"/>
                  <a:gd name="T43" fmla="*/ 6 h 17"/>
                  <a:gd name="T44" fmla="*/ 8 w 31"/>
                  <a:gd name="T45" fmla="*/ 7 h 17"/>
                  <a:gd name="T46" fmla="*/ 4 w 31"/>
                  <a:gd name="T47" fmla="*/ 7 h 17"/>
                  <a:gd name="T48" fmla="*/ 0 w 31"/>
                  <a:gd name="T49" fmla="*/ 10 h 17"/>
                  <a:gd name="T50" fmla="*/ 0 w 31"/>
                  <a:gd name="T51" fmla="*/ 12 h 17"/>
                  <a:gd name="T52" fmla="*/ 3 w 31"/>
                  <a:gd name="T53" fmla="*/ 14 h 17"/>
                  <a:gd name="T54" fmla="*/ 3 w 31"/>
                  <a:gd name="T55" fmla="*/ 14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31" h="17">
                    <a:moveTo>
                      <a:pt x="3" y="14"/>
                    </a:moveTo>
                    <a:lnTo>
                      <a:pt x="5" y="15"/>
                    </a:lnTo>
                    <a:lnTo>
                      <a:pt x="8" y="15"/>
                    </a:lnTo>
                    <a:lnTo>
                      <a:pt x="10" y="17"/>
                    </a:lnTo>
                    <a:lnTo>
                      <a:pt x="10" y="15"/>
                    </a:lnTo>
                    <a:lnTo>
                      <a:pt x="11" y="15"/>
                    </a:lnTo>
                    <a:lnTo>
                      <a:pt x="13" y="14"/>
                    </a:lnTo>
                    <a:lnTo>
                      <a:pt x="17" y="13"/>
                    </a:lnTo>
                    <a:lnTo>
                      <a:pt x="19" y="11"/>
                    </a:lnTo>
                    <a:lnTo>
                      <a:pt x="22" y="11"/>
                    </a:lnTo>
                    <a:lnTo>
                      <a:pt x="24" y="10"/>
                    </a:lnTo>
                    <a:lnTo>
                      <a:pt x="22" y="7"/>
                    </a:lnTo>
                    <a:lnTo>
                      <a:pt x="23" y="5"/>
                    </a:lnTo>
                    <a:lnTo>
                      <a:pt x="25" y="3"/>
                    </a:lnTo>
                    <a:lnTo>
                      <a:pt x="29" y="2"/>
                    </a:lnTo>
                    <a:lnTo>
                      <a:pt x="31" y="0"/>
                    </a:lnTo>
                    <a:lnTo>
                      <a:pt x="29" y="1"/>
                    </a:lnTo>
                    <a:lnTo>
                      <a:pt x="24" y="3"/>
                    </a:lnTo>
                    <a:lnTo>
                      <a:pt x="19" y="4"/>
                    </a:lnTo>
                    <a:lnTo>
                      <a:pt x="14" y="5"/>
                    </a:lnTo>
                    <a:lnTo>
                      <a:pt x="12" y="4"/>
                    </a:lnTo>
                    <a:lnTo>
                      <a:pt x="8" y="6"/>
                    </a:lnTo>
                    <a:lnTo>
                      <a:pt x="8" y="7"/>
                    </a:lnTo>
                    <a:lnTo>
                      <a:pt x="4" y="7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3" y="14"/>
                    </a:lnTo>
                    <a:lnTo>
                      <a:pt x="3" y="1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36" name="Freeform 102">
                <a:extLst>
                  <a:ext uri="{FF2B5EF4-FFF2-40B4-BE49-F238E27FC236}">
                    <a16:creationId xmlns:a16="http://schemas.microsoft.com/office/drawing/2014/main" id="{0EB07D70-0670-4C5E-A35D-A2C60B55EA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45" y="1656"/>
                <a:ext cx="29" cy="18"/>
              </a:xfrm>
              <a:custGeom>
                <a:avLst/>
                <a:gdLst>
                  <a:gd name="T0" fmla="*/ 25 w 29"/>
                  <a:gd name="T1" fmla="*/ 10 h 18"/>
                  <a:gd name="T2" fmla="*/ 27 w 29"/>
                  <a:gd name="T3" fmla="*/ 9 h 18"/>
                  <a:gd name="T4" fmla="*/ 26 w 29"/>
                  <a:gd name="T5" fmla="*/ 11 h 18"/>
                  <a:gd name="T6" fmla="*/ 29 w 29"/>
                  <a:gd name="T7" fmla="*/ 9 h 18"/>
                  <a:gd name="T8" fmla="*/ 27 w 29"/>
                  <a:gd name="T9" fmla="*/ 7 h 18"/>
                  <a:gd name="T10" fmla="*/ 25 w 29"/>
                  <a:gd name="T11" fmla="*/ 4 h 18"/>
                  <a:gd name="T12" fmla="*/ 16 w 29"/>
                  <a:gd name="T13" fmla="*/ 1 h 18"/>
                  <a:gd name="T14" fmla="*/ 14 w 29"/>
                  <a:gd name="T15" fmla="*/ 0 h 18"/>
                  <a:gd name="T16" fmla="*/ 10 w 29"/>
                  <a:gd name="T17" fmla="*/ 0 h 18"/>
                  <a:gd name="T18" fmla="*/ 6 w 29"/>
                  <a:gd name="T19" fmla="*/ 1 h 18"/>
                  <a:gd name="T20" fmla="*/ 2 w 29"/>
                  <a:gd name="T21" fmla="*/ 3 h 18"/>
                  <a:gd name="T22" fmla="*/ 1 w 29"/>
                  <a:gd name="T23" fmla="*/ 7 h 18"/>
                  <a:gd name="T24" fmla="*/ 0 w 29"/>
                  <a:gd name="T25" fmla="*/ 12 h 18"/>
                  <a:gd name="T26" fmla="*/ 0 w 29"/>
                  <a:gd name="T27" fmla="*/ 14 h 18"/>
                  <a:gd name="T28" fmla="*/ 6 w 29"/>
                  <a:gd name="T29" fmla="*/ 18 h 18"/>
                  <a:gd name="T30" fmla="*/ 11 w 29"/>
                  <a:gd name="T31" fmla="*/ 18 h 18"/>
                  <a:gd name="T32" fmla="*/ 17 w 29"/>
                  <a:gd name="T33" fmla="*/ 17 h 18"/>
                  <a:gd name="T34" fmla="*/ 19 w 29"/>
                  <a:gd name="T35" fmla="*/ 16 h 18"/>
                  <a:gd name="T36" fmla="*/ 25 w 29"/>
                  <a:gd name="T37" fmla="*/ 10 h 18"/>
                  <a:gd name="T38" fmla="*/ 25 w 29"/>
                  <a:gd name="T39" fmla="*/ 1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9" h="18">
                    <a:moveTo>
                      <a:pt x="25" y="10"/>
                    </a:moveTo>
                    <a:lnTo>
                      <a:pt x="27" y="9"/>
                    </a:lnTo>
                    <a:lnTo>
                      <a:pt x="26" y="11"/>
                    </a:lnTo>
                    <a:lnTo>
                      <a:pt x="29" y="9"/>
                    </a:lnTo>
                    <a:lnTo>
                      <a:pt x="27" y="7"/>
                    </a:lnTo>
                    <a:lnTo>
                      <a:pt x="25" y="4"/>
                    </a:lnTo>
                    <a:lnTo>
                      <a:pt x="16" y="1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6" y="1"/>
                    </a:lnTo>
                    <a:lnTo>
                      <a:pt x="2" y="3"/>
                    </a:lnTo>
                    <a:lnTo>
                      <a:pt x="1" y="7"/>
                    </a:lnTo>
                    <a:lnTo>
                      <a:pt x="0" y="12"/>
                    </a:lnTo>
                    <a:lnTo>
                      <a:pt x="0" y="14"/>
                    </a:lnTo>
                    <a:lnTo>
                      <a:pt x="6" y="18"/>
                    </a:lnTo>
                    <a:lnTo>
                      <a:pt x="11" y="18"/>
                    </a:lnTo>
                    <a:lnTo>
                      <a:pt x="17" y="17"/>
                    </a:lnTo>
                    <a:lnTo>
                      <a:pt x="19" y="16"/>
                    </a:lnTo>
                    <a:lnTo>
                      <a:pt x="25" y="10"/>
                    </a:lnTo>
                    <a:lnTo>
                      <a:pt x="25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37" name="Freeform 103">
                <a:extLst>
                  <a:ext uri="{FF2B5EF4-FFF2-40B4-BE49-F238E27FC236}">
                    <a16:creationId xmlns:a16="http://schemas.microsoft.com/office/drawing/2014/main" id="{A4105272-A0F1-4815-AB68-50EEF73A62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87" y="1632"/>
                <a:ext cx="27" cy="19"/>
              </a:xfrm>
              <a:custGeom>
                <a:avLst/>
                <a:gdLst>
                  <a:gd name="T0" fmla="*/ 22 w 27"/>
                  <a:gd name="T1" fmla="*/ 11 h 19"/>
                  <a:gd name="T2" fmla="*/ 19 w 27"/>
                  <a:gd name="T3" fmla="*/ 9 h 19"/>
                  <a:gd name="T4" fmla="*/ 17 w 27"/>
                  <a:gd name="T5" fmla="*/ 9 h 19"/>
                  <a:gd name="T6" fmla="*/ 13 w 27"/>
                  <a:gd name="T7" fmla="*/ 7 h 19"/>
                  <a:gd name="T8" fmla="*/ 11 w 27"/>
                  <a:gd name="T9" fmla="*/ 4 h 19"/>
                  <a:gd name="T10" fmla="*/ 5 w 27"/>
                  <a:gd name="T11" fmla="*/ 0 h 19"/>
                  <a:gd name="T12" fmla="*/ 3 w 27"/>
                  <a:gd name="T13" fmla="*/ 1 h 19"/>
                  <a:gd name="T14" fmla="*/ 0 w 27"/>
                  <a:gd name="T15" fmla="*/ 3 h 19"/>
                  <a:gd name="T16" fmla="*/ 3 w 27"/>
                  <a:gd name="T17" fmla="*/ 6 h 19"/>
                  <a:gd name="T18" fmla="*/ 0 w 27"/>
                  <a:gd name="T19" fmla="*/ 6 h 19"/>
                  <a:gd name="T20" fmla="*/ 1 w 27"/>
                  <a:gd name="T21" fmla="*/ 10 h 19"/>
                  <a:gd name="T22" fmla="*/ 2 w 27"/>
                  <a:gd name="T23" fmla="*/ 11 h 19"/>
                  <a:gd name="T24" fmla="*/ 6 w 27"/>
                  <a:gd name="T25" fmla="*/ 15 h 19"/>
                  <a:gd name="T26" fmla="*/ 10 w 27"/>
                  <a:gd name="T27" fmla="*/ 15 h 19"/>
                  <a:gd name="T28" fmla="*/ 12 w 27"/>
                  <a:gd name="T29" fmla="*/ 15 h 19"/>
                  <a:gd name="T30" fmla="*/ 13 w 27"/>
                  <a:gd name="T31" fmla="*/ 18 h 19"/>
                  <a:gd name="T32" fmla="*/ 17 w 27"/>
                  <a:gd name="T33" fmla="*/ 19 h 19"/>
                  <a:gd name="T34" fmla="*/ 19 w 27"/>
                  <a:gd name="T35" fmla="*/ 18 h 19"/>
                  <a:gd name="T36" fmla="*/ 22 w 27"/>
                  <a:gd name="T37" fmla="*/ 19 h 19"/>
                  <a:gd name="T38" fmla="*/ 24 w 27"/>
                  <a:gd name="T39" fmla="*/ 18 h 19"/>
                  <a:gd name="T40" fmla="*/ 27 w 27"/>
                  <a:gd name="T41" fmla="*/ 16 h 19"/>
                  <a:gd name="T42" fmla="*/ 26 w 27"/>
                  <a:gd name="T43" fmla="*/ 12 h 19"/>
                  <a:gd name="T44" fmla="*/ 22 w 27"/>
                  <a:gd name="T45" fmla="*/ 11 h 19"/>
                  <a:gd name="T46" fmla="*/ 22 w 27"/>
                  <a:gd name="T47" fmla="*/ 11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7" h="19">
                    <a:moveTo>
                      <a:pt x="22" y="11"/>
                    </a:moveTo>
                    <a:lnTo>
                      <a:pt x="19" y="9"/>
                    </a:lnTo>
                    <a:lnTo>
                      <a:pt x="17" y="9"/>
                    </a:lnTo>
                    <a:lnTo>
                      <a:pt x="13" y="7"/>
                    </a:lnTo>
                    <a:lnTo>
                      <a:pt x="11" y="4"/>
                    </a:lnTo>
                    <a:lnTo>
                      <a:pt x="5" y="0"/>
                    </a:lnTo>
                    <a:lnTo>
                      <a:pt x="3" y="1"/>
                    </a:lnTo>
                    <a:lnTo>
                      <a:pt x="0" y="3"/>
                    </a:lnTo>
                    <a:lnTo>
                      <a:pt x="3" y="6"/>
                    </a:lnTo>
                    <a:lnTo>
                      <a:pt x="0" y="6"/>
                    </a:lnTo>
                    <a:lnTo>
                      <a:pt x="1" y="10"/>
                    </a:lnTo>
                    <a:lnTo>
                      <a:pt x="2" y="11"/>
                    </a:lnTo>
                    <a:lnTo>
                      <a:pt x="6" y="15"/>
                    </a:lnTo>
                    <a:lnTo>
                      <a:pt x="10" y="15"/>
                    </a:lnTo>
                    <a:lnTo>
                      <a:pt x="12" y="15"/>
                    </a:lnTo>
                    <a:lnTo>
                      <a:pt x="13" y="18"/>
                    </a:lnTo>
                    <a:lnTo>
                      <a:pt x="17" y="19"/>
                    </a:lnTo>
                    <a:lnTo>
                      <a:pt x="19" y="18"/>
                    </a:lnTo>
                    <a:lnTo>
                      <a:pt x="22" y="19"/>
                    </a:lnTo>
                    <a:lnTo>
                      <a:pt x="24" y="18"/>
                    </a:lnTo>
                    <a:lnTo>
                      <a:pt x="27" y="16"/>
                    </a:lnTo>
                    <a:lnTo>
                      <a:pt x="26" y="12"/>
                    </a:lnTo>
                    <a:lnTo>
                      <a:pt x="22" y="11"/>
                    </a:lnTo>
                    <a:lnTo>
                      <a:pt x="22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38" name="Freeform 104">
                <a:extLst>
                  <a:ext uri="{FF2B5EF4-FFF2-40B4-BE49-F238E27FC236}">
                    <a16:creationId xmlns:a16="http://schemas.microsoft.com/office/drawing/2014/main" id="{092F285C-63E9-4844-AD24-FAFBEF7359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98" y="2242"/>
                <a:ext cx="23" cy="17"/>
              </a:xfrm>
              <a:custGeom>
                <a:avLst/>
                <a:gdLst>
                  <a:gd name="T0" fmla="*/ 9 w 23"/>
                  <a:gd name="T1" fmla="*/ 9 h 17"/>
                  <a:gd name="T2" fmla="*/ 8 w 23"/>
                  <a:gd name="T3" fmla="*/ 7 h 17"/>
                  <a:gd name="T4" fmla="*/ 6 w 23"/>
                  <a:gd name="T5" fmla="*/ 5 h 17"/>
                  <a:gd name="T6" fmla="*/ 3 w 23"/>
                  <a:gd name="T7" fmla="*/ 4 h 17"/>
                  <a:gd name="T8" fmla="*/ 0 w 23"/>
                  <a:gd name="T9" fmla="*/ 4 h 17"/>
                  <a:gd name="T10" fmla="*/ 3 w 23"/>
                  <a:gd name="T11" fmla="*/ 1 h 17"/>
                  <a:gd name="T12" fmla="*/ 6 w 23"/>
                  <a:gd name="T13" fmla="*/ 0 h 17"/>
                  <a:gd name="T14" fmla="*/ 8 w 23"/>
                  <a:gd name="T15" fmla="*/ 4 h 17"/>
                  <a:gd name="T16" fmla="*/ 11 w 23"/>
                  <a:gd name="T17" fmla="*/ 5 h 17"/>
                  <a:gd name="T18" fmla="*/ 13 w 23"/>
                  <a:gd name="T19" fmla="*/ 6 h 17"/>
                  <a:gd name="T20" fmla="*/ 16 w 23"/>
                  <a:gd name="T21" fmla="*/ 6 h 17"/>
                  <a:gd name="T22" fmla="*/ 18 w 23"/>
                  <a:gd name="T23" fmla="*/ 9 h 17"/>
                  <a:gd name="T24" fmla="*/ 18 w 23"/>
                  <a:gd name="T25" fmla="*/ 12 h 17"/>
                  <a:gd name="T26" fmla="*/ 20 w 23"/>
                  <a:gd name="T27" fmla="*/ 14 h 17"/>
                  <a:gd name="T28" fmla="*/ 22 w 23"/>
                  <a:gd name="T29" fmla="*/ 15 h 17"/>
                  <a:gd name="T30" fmla="*/ 23 w 23"/>
                  <a:gd name="T31" fmla="*/ 17 h 17"/>
                  <a:gd name="T32" fmla="*/ 22 w 23"/>
                  <a:gd name="T33" fmla="*/ 17 h 17"/>
                  <a:gd name="T34" fmla="*/ 20 w 23"/>
                  <a:gd name="T35" fmla="*/ 16 h 17"/>
                  <a:gd name="T36" fmla="*/ 16 w 23"/>
                  <a:gd name="T37" fmla="*/ 12 h 17"/>
                  <a:gd name="T38" fmla="*/ 11 w 23"/>
                  <a:gd name="T39" fmla="*/ 11 h 17"/>
                  <a:gd name="T40" fmla="*/ 9 w 23"/>
                  <a:gd name="T41" fmla="*/ 9 h 17"/>
                  <a:gd name="T42" fmla="*/ 9 w 23"/>
                  <a:gd name="T43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3" h="17">
                    <a:moveTo>
                      <a:pt x="9" y="9"/>
                    </a:moveTo>
                    <a:lnTo>
                      <a:pt x="8" y="7"/>
                    </a:lnTo>
                    <a:lnTo>
                      <a:pt x="6" y="5"/>
                    </a:lnTo>
                    <a:lnTo>
                      <a:pt x="3" y="4"/>
                    </a:lnTo>
                    <a:lnTo>
                      <a:pt x="0" y="4"/>
                    </a:lnTo>
                    <a:lnTo>
                      <a:pt x="3" y="1"/>
                    </a:lnTo>
                    <a:lnTo>
                      <a:pt x="6" y="0"/>
                    </a:lnTo>
                    <a:lnTo>
                      <a:pt x="8" y="4"/>
                    </a:lnTo>
                    <a:lnTo>
                      <a:pt x="11" y="5"/>
                    </a:lnTo>
                    <a:lnTo>
                      <a:pt x="13" y="6"/>
                    </a:lnTo>
                    <a:lnTo>
                      <a:pt x="16" y="6"/>
                    </a:lnTo>
                    <a:lnTo>
                      <a:pt x="18" y="9"/>
                    </a:lnTo>
                    <a:lnTo>
                      <a:pt x="18" y="12"/>
                    </a:lnTo>
                    <a:lnTo>
                      <a:pt x="20" y="14"/>
                    </a:lnTo>
                    <a:lnTo>
                      <a:pt x="22" y="15"/>
                    </a:lnTo>
                    <a:lnTo>
                      <a:pt x="23" y="17"/>
                    </a:lnTo>
                    <a:lnTo>
                      <a:pt x="22" y="17"/>
                    </a:lnTo>
                    <a:lnTo>
                      <a:pt x="20" y="16"/>
                    </a:lnTo>
                    <a:lnTo>
                      <a:pt x="16" y="12"/>
                    </a:lnTo>
                    <a:lnTo>
                      <a:pt x="11" y="11"/>
                    </a:lnTo>
                    <a:lnTo>
                      <a:pt x="9" y="9"/>
                    </a:lnTo>
                    <a:lnTo>
                      <a:pt x="9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39" name="Freeform 105">
                <a:extLst>
                  <a:ext uri="{FF2B5EF4-FFF2-40B4-BE49-F238E27FC236}">
                    <a16:creationId xmlns:a16="http://schemas.microsoft.com/office/drawing/2014/main" id="{D3749DB2-B6CB-4840-BCB6-C0BBFB0E45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31" y="2123"/>
                <a:ext cx="55" cy="31"/>
              </a:xfrm>
              <a:custGeom>
                <a:avLst/>
                <a:gdLst>
                  <a:gd name="T0" fmla="*/ 15 w 55"/>
                  <a:gd name="T1" fmla="*/ 3 h 31"/>
                  <a:gd name="T2" fmla="*/ 15 w 55"/>
                  <a:gd name="T3" fmla="*/ 2 h 31"/>
                  <a:gd name="T4" fmla="*/ 15 w 55"/>
                  <a:gd name="T5" fmla="*/ 2 h 31"/>
                  <a:gd name="T6" fmla="*/ 15 w 55"/>
                  <a:gd name="T7" fmla="*/ 0 h 31"/>
                  <a:gd name="T8" fmla="*/ 15 w 55"/>
                  <a:gd name="T9" fmla="*/ 0 h 31"/>
                  <a:gd name="T10" fmla="*/ 18 w 55"/>
                  <a:gd name="T11" fmla="*/ 3 h 31"/>
                  <a:gd name="T12" fmla="*/ 19 w 55"/>
                  <a:gd name="T13" fmla="*/ 3 h 31"/>
                  <a:gd name="T14" fmla="*/ 21 w 55"/>
                  <a:gd name="T15" fmla="*/ 6 h 31"/>
                  <a:gd name="T16" fmla="*/ 25 w 55"/>
                  <a:gd name="T17" fmla="*/ 5 h 31"/>
                  <a:gd name="T18" fmla="*/ 26 w 55"/>
                  <a:gd name="T19" fmla="*/ 6 h 31"/>
                  <a:gd name="T20" fmla="*/ 27 w 55"/>
                  <a:gd name="T21" fmla="*/ 5 h 31"/>
                  <a:gd name="T22" fmla="*/ 26 w 55"/>
                  <a:gd name="T23" fmla="*/ 8 h 31"/>
                  <a:gd name="T24" fmla="*/ 26 w 55"/>
                  <a:gd name="T25" fmla="*/ 8 h 31"/>
                  <a:gd name="T26" fmla="*/ 28 w 55"/>
                  <a:gd name="T27" fmla="*/ 7 h 31"/>
                  <a:gd name="T28" fmla="*/ 33 w 55"/>
                  <a:gd name="T29" fmla="*/ 11 h 31"/>
                  <a:gd name="T30" fmla="*/ 34 w 55"/>
                  <a:gd name="T31" fmla="*/ 14 h 31"/>
                  <a:gd name="T32" fmla="*/ 36 w 55"/>
                  <a:gd name="T33" fmla="*/ 16 h 31"/>
                  <a:gd name="T34" fmla="*/ 36 w 55"/>
                  <a:gd name="T35" fmla="*/ 14 h 31"/>
                  <a:gd name="T36" fmla="*/ 33 w 55"/>
                  <a:gd name="T37" fmla="*/ 11 h 31"/>
                  <a:gd name="T38" fmla="*/ 32 w 55"/>
                  <a:gd name="T39" fmla="*/ 9 h 31"/>
                  <a:gd name="T40" fmla="*/ 33 w 55"/>
                  <a:gd name="T41" fmla="*/ 9 h 31"/>
                  <a:gd name="T42" fmla="*/ 33 w 55"/>
                  <a:gd name="T43" fmla="*/ 8 h 31"/>
                  <a:gd name="T44" fmla="*/ 33 w 55"/>
                  <a:gd name="T45" fmla="*/ 9 h 31"/>
                  <a:gd name="T46" fmla="*/ 37 w 55"/>
                  <a:gd name="T47" fmla="*/ 15 h 31"/>
                  <a:gd name="T48" fmla="*/ 41 w 55"/>
                  <a:gd name="T49" fmla="*/ 16 h 31"/>
                  <a:gd name="T50" fmla="*/ 45 w 55"/>
                  <a:gd name="T51" fmla="*/ 15 h 31"/>
                  <a:gd name="T52" fmla="*/ 47 w 55"/>
                  <a:gd name="T53" fmla="*/ 15 h 31"/>
                  <a:gd name="T54" fmla="*/ 50 w 55"/>
                  <a:gd name="T55" fmla="*/ 14 h 31"/>
                  <a:gd name="T56" fmla="*/ 53 w 55"/>
                  <a:gd name="T57" fmla="*/ 14 h 31"/>
                  <a:gd name="T58" fmla="*/ 55 w 55"/>
                  <a:gd name="T59" fmla="*/ 15 h 31"/>
                  <a:gd name="T60" fmla="*/ 52 w 55"/>
                  <a:gd name="T61" fmla="*/ 19 h 31"/>
                  <a:gd name="T62" fmla="*/ 52 w 55"/>
                  <a:gd name="T63" fmla="*/ 21 h 31"/>
                  <a:gd name="T64" fmla="*/ 44 w 55"/>
                  <a:gd name="T65" fmla="*/ 22 h 31"/>
                  <a:gd name="T66" fmla="*/ 42 w 55"/>
                  <a:gd name="T67" fmla="*/ 20 h 31"/>
                  <a:gd name="T68" fmla="*/ 38 w 55"/>
                  <a:gd name="T69" fmla="*/ 20 h 31"/>
                  <a:gd name="T70" fmla="*/ 38 w 55"/>
                  <a:gd name="T71" fmla="*/ 22 h 31"/>
                  <a:gd name="T72" fmla="*/ 36 w 55"/>
                  <a:gd name="T73" fmla="*/ 23 h 31"/>
                  <a:gd name="T74" fmla="*/ 34 w 55"/>
                  <a:gd name="T75" fmla="*/ 25 h 31"/>
                  <a:gd name="T76" fmla="*/ 33 w 55"/>
                  <a:gd name="T77" fmla="*/ 24 h 31"/>
                  <a:gd name="T78" fmla="*/ 27 w 55"/>
                  <a:gd name="T79" fmla="*/ 25 h 31"/>
                  <a:gd name="T80" fmla="*/ 25 w 55"/>
                  <a:gd name="T81" fmla="*/ 28 h 31"/>
                  <a:gd name="T82" fmla="*/ 23 w 55"/>
                  <a:gd name="T83" fmla="*/ 30 h 31"/>
                  <a:gd name="T84" fmla="*/ 20 w 55"/>
                  <a:gd name="T85" fmla="*/ 31 h 31"/>
                  <a:gd name="T86" fmla="*/ 15 w 55"/>
                  <a:gd name="T87" fmla="*/ 31 h 31"/>
                  <a:gd name="T88" fmla="*/ 13 w 55"/>
                  <a:gd name="T89" fmla="*/ 30 h 31"/>
                  <a:gd name="T90" fmla="*/ 13 w 55"/>
                  <a:gd name="T91" fmla="*/ 30 h 31"/>
                  <a:gd name="T92" fmla="*/ 10 w 55"/>
                  <a:gd name="T93" fmla="*/ 29 h 31"/>
                  <a:gd name="T94" fmla="*/ 12 w 55"/>
                  <a:gd name="T95" fmla="*/ 28 h 31"/>
                  <a:gd name="T96" fmla="*/ 12 w 55"/>
                  <a:gd name="T97" fmla="*/ 25 h 31"/>
                  <a:gd name="T98" fmla="*/ 15 w 55"/>
                  <a:gd name="T99" fmla="*/ 22 h 31"/>
                  <a:gd name="T100" fmla="*/ 11 w 55"/>
                  <a:gd name="T101" fmla="*/ 19 h 31"/>
                  <a:gd name="T102" fmla="*/ 10 w 55"/>
                  <a:gd name="T103" fmla="*/ 19 h 31"/>
                  <a:gd name="T104" fmla="*/ 7 w 55"/>
                  <a:gd name="T105" fmla="*/ 17 h 31"/>
                  <a:gd name="T106" fmla="*/ 4 w 55"/>
                  <a:gd name="T107" fmla="*/ 15 h 31"/>
                  <a:gd name="T108" fmla="*/ 2 w 55"/>
                  <a:gd name="T109" fmla="*/ 15 h 31"/>
                  <a:gd name="T110" fmla="*/ 0 w 55"/>
                  <a:gd name="T111" fmla="*/ 16 h 31"/>
                  <a:gd name="T112" fmla="*/ 0 w 55"/>
                  <a:gd name="T113" fmla="*/ 13 h 31"/>
                  <a:gd name="T114" fmla="*/ 6 w 55"/>
                  <a:gd name="T115" fmla="*/ 11 h 31"/>
                  <a:gd name="T116" fmla="*/ 13 w 55"/>
                  <a:gd name="T117" fmla="*/ 7 h 31"/>
                  <a:gd name="T118" fmla="*/ 16 w 55"/>
                  <a:gd name="T119" fmla="*/ 6 h 31"/>
                  <a:gd name="T120" fmla="*/ 15 w 55"/>
                  <a:gd name="T121" fmla="*/ 3 h 31"/>
                  <a:gd name="T122" fmla="*/ 15 w 55"/>
                  <a:gd name="T123" fmla="*/ 3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55" h="31">
                    <a:moveTo>
                      <a:pt x="15" y="3"/>
                    </a:moveTo>
                    <a:lnTo>
                      <a:pt x="15" y="2"/>
                    </a:lnTo>
                    <a:lnTo>
                      <a:pt x="15" y="2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18" y="3"/>
                    </a:lnTo>
                    <a:lnTo>
                      <a:pt x="19" y="3"/>
                    </a:lnTo>
                    <a:lnTo>
                      <a:pt x="21" y="6"/>
                    </a:lnTo>
                    <a:lnTo>
                      <a:pt x="25" y="5"/>
                    </a:lnTo>
                    <a:lnTo>
                      <a:pt x="26" y="6"/>
                    </a:lnTo>
                    <a:lnTo>
                      <a:pt x="27" y="5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8" y="7"/>
                    </a:lnTo>
                    <a:lnTo>
                      <a:pt x="33" y="11"/>
                    </a:lnTo>
                    <a:lnTo>
                      <a:pt x="34" y="14"/>
                    </a:lnTo>
                    <a:lnTo>
                      <a:pt x="36" y="16"/>
                    </a:lnTo>
                    <a:lnTo>
                      <a:pt x="36" y="14"/>
                    </a:lnTo>
                    <a:lnTo>
                      <a:pt x="33" y="11"/>
                    </a:lnTo>
                    <a:lnTo>
                      <a:pt x="32" y="9"/>
                    </a:lnTo>
                    <a:lnTo>
                      <a:pt x="33" y="9"/>
                    </a:lnTo>
                    <a:lnTo>
                      <a:pt x="33" y="8"/>
                    </a:lnTo>
                    <a:lnTo>
                      <a:pt x="33" y="9"/>
                    </a:lnTo>
                    <a:lnTo>
                      <a:pt x="37" y="15"/>
                    </a:lnTo>
                    <a:lnTo>
                      <a:pt x="41" y="16"/>
                    </a:lnTo>
                    <a:lnTo>
                      <a:pt x="45" y="15"/>
                    </a:lnTo>
                    <a:lnTo>
                      <a:pt x="47" y="15"/>
                    </a:lnTo>
                    <a:lnTo>
                      <a:pt x="50" y="14"/>
                    </a:lnTo>
                    <a:lnTo>
                      <a:pt x="53" y="14"/>
                    </a:lnTo>
                    <a:lnTo>
                      <a:pt x="55" y="15"/>
                    </a:lnTo>
                    <a:lnTo>
                      <a:pt x="52" y="19"/>
                    </a:lnTo>
                    <a:lnTo>
                      <a:pt x="52" y="21"/>
                    </a:lnTo>
                    <a:lnTo>
                      <a:pt x="44" y="22"/>
                    </a:lnTo>
                    <a:lnTo>
                      <a:pt x="42" y="20"/>
                    </a:lnTo>
                    <a:lnTo>
                      <a:pt x="38" y="20"/>
                    </a:lnTo>
                    <a:lnTo>
                      <a:pt x="38" y="22"/>
                    </a:lnTo>
                    <a:lnTo>
                      <a:pt x="36" y="23"/>
                    </a:lnTo>
                    <a:lnTo>
                      <a:pt x="34" y="25"/>
                    </a:lnTo>
                    <a:lnTo>
                      <a:pt x="33" y="24"/>
                    </a:lnTo>
                    <a:lnTo>
                      <a:pt x="27" y="25"/>
                    </a:lnTo>
                    <a:lnTo>
                      <a:pt x="25" y="28"/>
                    </a:lnTo>
                    <a:lnTo>
                      <a:pt x="23" y="30"/>
                    </a:lnTo>
                    <a:lnTo>
                      <a:pt x="20" y="31"/>
                    </a:lnTo>
                    <a:lnTo>
                      <a:pt x="15" y="31"/>
                    </a:lnTo>
                    <a:lnTo>
                      <a:pt x="13" y="30"/>
                    </a:lnTo>
                    <a:lnTo>
                      <a:pt x="13" y="30"/>
                    </a:lnTo>
                    <a:lnTo>
                      <a:pt x="10" y="29"/>
                    </a:lnTo>
                    <a:lnTo>
                      <a:pt x="12" y="28"/>
                    </a:lnTo>
                    <a:lnTo>
                      <a:pt x="12" y="25"/>
                    </a:lnTo>
                    <a:lnTo>
                      <a:pt x="15" y="22"/>
                    </a:lnTo>
                    <a:lnTo>
                      <a:pt x="11" y="19"/>
                    </a:lnTo>
                    <a:lnTo>
                      <a:pt x="10" y="19"/>
                    </a:lnTo>
                    <a:lnTo>
                      <a:pt x="7" y="17"/>
                    </a:lnTo>
                    <a:lnTo>
                      <a:pt x="4" y="15"/>
                    </a:lnTo>
                    <a:lnTo>
                      <a:pt x="2" y="15"/>
                    </a:lnTo>
                    <a:lnTo>
                      <a:pt x="0" y="16"/>
                    </a:lnTo>
                    <a:lnTo>
                      <a:pt x="0" y="13"/>
                    </a:lnTo>
                    <a:lnTo>
                      <a:pt x="6" y="11"/>
                    </a:lnTo>
                    <a:lnTo>
                      <a:pt x="13" y="7"/>
                    </a:lnTo>
                    <a:lnTo>
                      <a:pt x="16" y="6"/>
                    </a:lnTo>
                    <a:lnTo>
                      <a:pt x="15" y="3"/>
                    </a:lnTo>
                    <a:lnTo>
                      <a:pt x="15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40" name="Freeform 106">
                <a:extLst>
                  <a:ext uri="{FF2B5EF4-FFF2-40B4-BE49-F238E27FC236}">
                    <a16:creationId xmlns:a16="http://schemas.microsoft.com/office/drawing/2014/main" id="{48B48F5D-8AB8-4FCF-AC26-49936CB165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7" y="2972"/>
                <a:ext cx="99" cy="192"/>
              </a:xfrm>
              <a:custGeom>
                <a:avLst/>
                <a:gdLst>
                  <a:gd name="T0" fmla="*/ 0 w 99"/>
                  <a:gd name="T1" fmla="*/ 146 h 192"/>
                  <a:gd name="T2" fmla="*/ 5 w 99"/>
                  <a:gd name="T3" fmla="*/ 156 h 192"/>
                  <a:gd name="T4" fmla="*/ 6 w 99"/>
                  <a:gd name="T5" fmla="*/ 164 h 192"/>
                  <a:gd name="T6" fmla="*/ 10 w 99"/>
                  <a:gd name="T7" fmla="*/ 181 h 192"/>
                  <a:gd name="T8" fmla="*/ 17 w 99"/>
                  <a:gd name="T9" fmla="*/ 188 h 192"/>
                  <a:gd name="T10" fmla="*/ 32 w 99"/>
                  <a:gd name="T11" fmla="*/ 191 h 192"/>
                  <a:gd name="T12" fmla="*/ 48 w 99"/>
                  <a:gd name="T13" fmla="*/ 185 h 192"/>
                  <a:gd name="T14" fmla="*/ 56 w 99"/>
                  <a:gd name="T15" fmla="*/ 176 h 192"/>
                  <a:gd name="T16" fmla="*/ 60 w 99"/>
                  <a:gd name="T17" fmla="*/ 163 h 192"/>
                  <a:gd name="T18" fmla="*/ 68 w 99"/>
                  <a:gd name="T19" fmla="*/ 134 h 192"/>
                  <a:gd name="T20" fmla="*/ 75 w 99"/>
                  <a:gd name="T21" fmla="*/ 111 h 192"/>
                  <a:gd name="T22" fmla="*/ 84 w 99"/>
                  <a:gd name="T23" fmla="*/ 89 h 192"/>
                  <a:gd name="T24" fmla="*/ 85 w 99"/>
                  <a:gd name="T25" fmla="*/ 82 h 192"/>
                  <a:gd name="T26" fmla="*/ 87 w 99"/>
                  <a:gd name="T27" fmla="*/ 68 h 192"/>
                  <a:gd name="T28" fmla="*/ 88 w 99"/>
                  <a:gd name="T29" fmla="*/ 55 h 192"/>
                  <a:gd name="T30" fmla="*/ 89 w 99"/>
                  <a:gd name="T31" fmla="*/ 46 h 192"/>
                  <a:gd name="T32" fmla="*/ 94 w 99"/>
                  <a:gd name="T33" fmla="*/ 54 h 192"/>
                  <a:gd name="T34" fmla="*/ 99 w 99"/>
                  <a:gd name="T35" fmla="*/ 47 h 192"/>
                  <a:gd name="T36" fmla="*/ 95 w 99"/>
                  <a:gd name="T37" fmla="*/ 37 h 192"/>
                  <a:gd name="T38" fmla="*/ 94 w 99"/>
                  <a:gd name="T39" fmla="*/ 28 h 192"/>
                  <a:gd name="T40" fmla="*/ 91 w 99"/>
                  <a:gd name="T41" fmla="*/ 12 h 192"/>
                  <a:gd name="T42" fmla="*/ 86 w 99"/>
                  <a:gd name="T43" fmla="*/ 5 h 192"/>
                  <a:gd name="T44" fmla="*/ 84 w 99"/>
                  <a:gd name="T45" fmla="*/ 0 h 192"/>
                  <a:gd name="T46" fmla="*/ 78 w 99"/>
                  <a:gd name="T47" fmla="*/ 5 h 192"/>
                  <a:gd name="T48" fmla="*/ 78 w 99"/>
                  <a:gd name="T49" fmla="*/ 10 h 192"/>
                  <a:gd name="T50" fmla="*/ 77 w 99"/>
                  <a:gd name="T51" fmla="*/ 17 h 192"/>
                  <a:gd name="T52" fmla="*/ 69 w 99"/>
                  <a:gd name="T53" fmla="*/ 22 h 192"/>
                  <a:gd name="T54" fmla="*/ 63 w 99"/>
                  <a:gd name="T55" fmla="*/ 23 h 192"/>
                  <a:gd name="T56" fmla="*/ 63 w 99"/>
                  <a:gd name="T57" fmla="*/ 30 h 192"/>
                  <a:gd name="T58" fmla="*/ 65 w 99"/>
                  <a:gd name="T59" fmla="*/ 35 h 192"/>
                  <a:gd name="T60" fmla="*/ 61 w 99"/>
                  <a:gd name="T61" fmla="*/ 37 h 192"/>
                  <a:gd name="T62" fmla="*/ 56 w 99"/>
                  <a:gd name="T63" fmla="*/ 38 h 192"/>
                  <a:gd name="T64" fmla="*/ 54 w 99"/>
                  <a:gd name="T65" fmla="*/ 46 h 192"/>
                  <a:gd name="T66" fmla="*/ 52 w 99"/>
                  <a:gd name="T67" fmla="*/ 47 h 192"/>
                  <a:gd name="T68" fmla="*/ 45 w 99"/>
                  <a:gd name="T69" fmla="*/ 47 h 192"/>
                  <a:gd name="T70" fmla="*/ 44 w 99"/>
                  <a:gd name="T71" fmla="*/ 54 h 192"/>
                  <a:gd name="T72" fmla="*/ 42 w 99"/>
                  <a:gd name="T73" fmla="*/ 53 h 192"/>
                  <a:gd name="T74" fmla="*/ 34 w 99"/>
                  <a:gd name="T75" fmla="*/ 52 h 192"/>
                  <a:gd name="T76" fmla="*/ 24 w 99"/>
                  <a:gd name="T77" fmla="*/ 57 h 192"/>
                  <a:gd name="T78" fmla="*/ 16 w 99"/>
                  <a:gd name="T79" fmla="*/ 57 h 192"/>
                  <a:gd name="T80" fmla="*/ 16 w 99"/>
                  <a:gd name="T81" fmla="*/ 65 h 192"/>
                  <a:gd name="T82" fmla="*/ 10 w 99"/>
                  <a:gd name="T83" fmla="*/ 80 h 192"/>
                  <a:gd name="T84" fmla="*/ 14 w 99"/>
                  <a:gd name="T85" fmla="*/ 94 h 192"/>
                  <a:gd name="T86" fmla="*/ 16 w 99"/>
                  <a:gd name="T87" fmla="*/ 102 h 192"/>
                  <a:gd name="T88" fmla="*/ 16 w 99"/>
                  <a:gd name="T89" fmla="*/ 106 h 192"/>
                  <a:gd name="T90" fmla="*/ 17 w 99"/>
                  <a:gd name="T91" fmla="*/ 111 h 192"/>
                  <a:gd name="T92" fmla="*/ 11 w 99"/>
                  <a:gd name="T93" fmla="*/ 121 h 192"/>
                  <a:gd name="T94" fmla="*/ 7 w 99"/>
                  <a:gd name="T95" fmla="*/ 130 h 192"/>
                  <a:gd name="T96" fmla="*/ 3 w 99"/>
                  <a:gd name="T97" fmla="*/ 133 h 192"/>
                  <a:gd name="T98" fmla="*/ 0 w 99"/>
                  <a:gd name="T99" fmla="*/ 141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99" h="192">
                    <a:moveTo>
                      <a:pt x="0" y="141"/>
                    </a:moveTo>
                    <a:lnTo>
                      <a:pt x="0" y="142"/>
                    </a:lnTo>
                    <a:lnTo>
                      <a:pt x="0" y="146"/>
                    </a:lnTo>
                    <a:lnTo>
                      <a:pt x="1" y="150"/>
                    </a:lnTo>
                    <a:lnTo>
                      <a:pt x="2" y="154"/>
                    </a:lnTo>
                    <a:lnTo>
                      <a:pt x="5" y="156"/>
                    </a:lnTo>
                    <a:lnTo>
                      <a:pt x="5" y="158"/>
                    </a:lnTo>
                    <a:lnTo>
                      <a:pt x="7" y="163"/>
                    </a:lnTo>
                    <a:lnTo>
                      <a:pt x="6" y="164"/>
                    </a:lnTo>
                    <a:lnTo>
                      <a:pt x="6" y="173"/>
                    </a:lnTo>
                    <a:lnTo>
                      <a:pt x="9" y="177"/>
                    </a:lnTo>
                    <a:lnTo>
                      <a:pt x="10" y="181"/>
                    </a:lnTo>
                    <a:lnTo>
                      <a:pt x="11" y="184"/>
                    </a:lnTo>
                    <a:lnTo>
                      <a:pt x="14" y="185"/>
                    </a:lnTo>
                    <a:lnTo>
                      <a:pt x="17" y="188"/>
                    </a:lnTo>
                    <a:lnTo>
                      <a:pt x="20" y="188"/>
                    </a:lnTo>
                    <a:lnTo>
                      <a:pt x="26" y="192"/>
                    </a:lnTo>
                    <a:lnTo>
                      <a:pt x="32" y="191"/>
                    </a:lnTo>
                    <a:lnTo>
                      <a:pt x="35" y="189"/>
                    </a:lnTo>
                    <a:lnTo>
                      <a:pt x="41" y="186"/>
                    </a:lnTo>
                    <a:lnTo>
                      <a:pt x="48" y="185"/>
                    </a:lnTo>
                    <a:lnTo>
                      <a:pt x="51" y="184"/>
                    </a:lnTo>
                    <a:lnTo>
                      <a:pt x="53" y="181"/>
                    </a:lnTo>
                    <a:lnTo>
                      <a:pt x="56" y="176"/>
                    </a:lnTo>
                    <a:lnTo>
                      <a:pt x="56" y="173"/>
                    </a:lnTo>
                    <a:lnTo>
                      <a:pt x="59" y="166"/>
                    </a:lnTo>
                    <a:lnTo>
                      <a:pt x="60" y="163"/>
                    </a:lnTo>
                    <a:lnTo>
                      <a:pt x="61" y="157"/>
                    </a:lnTo>
                    <a:lnTo>
                      <a:pt x="65" y="145"/>
                    </a:lnTo>
                    <a:lnTo>
                      <a:pt x="68" y="134"/>
                    </a:lnTo>
                    <a:lnTo>
                      <a:pt x="74" y="116"/>
                    </a:lnTo>
                    <a:lnTo>
                      <a:pt x="76" y="111"/>
                    </a:lnTo>
                    <a:lnTo>
                      <a:pt x="75" y="111"/>
                    </a:lnTo>
                    <a:lnTo>
                      <a:pt x="76" y="111"/>
                    </a:lnTo>
                    <a:lnTo>
                      <a:pt x="79" y="99"/>
                    </a:lnTo>
                    <a:lnTo>
                      <a:pt x="84" y="89"/>
                    </a:lnTo>
                    <a:lnTo>
                      <a:pt x="84" y="86"/>
                    </a:lnTo>
                    <a:lnTo>
                      <a:pt x="85" y="85"/>
                    </a:lnTo>
                    <a:lnTo>
                      <a:pt x="85" y="82"/>
                    </a:lnTo>
                    <a:lnTo>
                      <a:pt x="86" y="80"/>
                    </a:lnTo>
                    <a:lnTo>
                      <a:pt x="85" y="72"/>
                    </a:lnTo>
                    <a:lnTo>
                      <a:pt x="87" y="68"/>
                    </a:lnTo>
                    <a:lnTo>
                      <a:pt x="91" y="62"/>
                    </a:lnTo>
                    <a:lnTo>
                      <a:pt x="91" y="60"/>
                    </a:lnTo>
                    <a:lnTo>
                      <a:pt x="88" y="55"/>
                    </a:lnTo>
                    <a:lnTo>
                      <a:pt x="88" y="52"/>
                    </a:lnTo>
                    <a:lnTo>
                      <a:pt x="87" y="49"/>
                    </a:lnTo>
                    <a:lnTo>
                      <a:pt x="89" y="46"/>
                    </a:lnTo>
                    <a:lnTo>
                      <a:pt x="91" y="48"/>
                    </a:lnTo>
                    <a:lnTo>
                      <a:pt x="93" y="51"/>
                    </a:lnTo>
                    <a:lnTo>
                      <a:pt x="94" y="54"/>
                    </a:lnTo>
                    <a:lnTo>
                      <a:pt x="96" y="53"/>
                    </a:lnTo>
                    <a:lnTo>
                      <a:pt x="97" y="49"/>
                    </a:lnTo>
                    <a:lnTo>
                      <a:pt x="99" y="47"/>
                    </a:lnTo>
                    <a:lnTo>
                      <a:pt x="99" y="44"/>
                    </a:lnTo>
                    <a:lnTo>
                      <a:pt x="96" y="39"/>
                    </a:lnTo>
                    <a:lnTo>
                      <a:pt x="95" y="37"/>
                    </a:lnTo>
                    <a:lnTo>
                      <a:pt x="95" y="34"/>
                    </a:lnTo>
                    <a:lnTo>
                      <a:pt x="95" y="31"/>
                    </a:lnTo>
                    <a:lnTo>
                      <a:pt x="94" y="28"/>
                    </a:lnTo>
                    <a:lnTo>
                      <a:pt x="94" y="23"/>
                    </a:lnTo>
                    <a:lnTo>
                      <a:pt x="92" y="15"/>
                    </a:lnTo>
                    <a:lnTo>
                      <a:pt x="91" y="12"/>
                    </a:lnTo>
                    <a:lnTo>
                      <a:pt x="89" y="10"/>
                    </a:lnTo>
                    <a:lnTo>
                      <a:pt x="87" y="8"/>
                    </a:lnTo>
                    <a:lnTo>
                      <a:pt x="86" y="5"/>
                    </a:lnTo>
                    <a:lnTo>
                      <a:pt x="84" y="2"/>
                    </a:lnTo>
                    <a:lnTo>
                      <a:pt x="82" y="3"/>
                    </a:lnTo>
                    <a:lnTo>
                      <a:pt x="84" y="0"/>
                    </a:lnTo>
                    <a:lnTo>
                      <a:pt x="80" y="0"/>
                    </a:lnTo>
                    <a:lnTo>
                      <a:pt x="80" y="2"/>
                    </a:lnTo>
                    <a:lnTo>
                      <a:pt x="78" y="5"/>
                    </a:lnTo>
                    <a:lnTo>
                      <a:pt x="76" y="4"/>
                    </a:lnTo>
                    <a:lnTo>
                      <a:pt x="77" y="6"/>
                    </a:lnTo>
                    <a:lnTo>
                      <a:pt x="78" y="10"/>
                    </a:lnTo>
                    <a:lnTo>
                      <a:pt x="77" y="12"/>
                    </a:lnTo>
                    <a:lnTo>
                      <a:pt x="77" y="13"/>
                    </a:lnTo>
                    <a:lnTo>
                      <a:pt x="77" y="17"/>
                    </a:lnTo>
                    <a:lnTo>
                      <a:pt x="74" y="19"/>
                    </a:lnTo>
                    <a:lnTo>
                      <a:pt x="71" y="20"/>
                    </a:lnTo>
                    <a:lnTo>
                      <a:pt x="69" y="22"/>
                    </a:lnTo>
                    <a:lnTo>
                      <a:pt x="67" y="21"/>
                    </a:lnTo>
                    <a:lnTo>
                      <a:pt x="63" y="21"/>
                    </a:lnTo>
                    <a:lnTo>
                      <a:pt x="63" y="23"/>
                    </a:lnTo>
                    <a:lnTo>
                      <a:pt x="65" y="26"/>
                    </a:lnTo>
                    <a:lnTo>
                      <a:pt x="66" y="28"/>
                    </a:lnTo>
                    <a:lnTo>
                      <a:pt x="63" y="30"/>
                    </a:lnTo>
                    <a:lnTo>
                      <a:pt x="61" y="31"/>
                    </a:lnTo>
                    <a:lnTo>
                      <a:pt x="62" y="35"/>
                    </a:lnTo>
                    <a:lnTo>
                      <a:pt x="65" y="35"/>
                    </a:lnTo>
                    <a:lnTo>
                      <a:pt x="65" y="37"/>
                    </a:lnTo>
                    <a:lnTo>
                      <a:pt x="63" y="36"/>
                    </a:lnTo>
                    <a:lnTo>
                      <a:pt x="61" y="37"/>
                    </a:lnTo>
                    <a:lnTo>
                      <a:pt x="57" y="42"/>
                    </a:lnTo>
                    <a:lnTo>
                      <a:pt x="58" y="37"/>
                    </a:lnTo>
                    <a:lnTo>
                      <a:pt x="56" y="38"/>
                    </a:lnTo>
                    <a:lnTo>
                      <a:pt x="54" y="42"/>
                    </a:lnTo>
                    <a:lnTo>
                      <a:pt x="52" y="44"/>
                    </a:lnTo>
                    <a:lnTo>
                      <a:pt x="54" y="46"/>
                    </a:lnTo>
                    <a:lnTo>
                      <a:pt x="54" y="47"/>
                    </a:lnTo>
                    <a:lnTo>
                      <a:pt x="53" y="47"/>
                    </a:lnTo>
                    <a:lnTo>
                      <a:pt x="52" y="47"/>
                    </a:lnTo>
                    <a:lnTo>
                      <a:pt x="51" y="46"/>
                    </a:lnTo>
                    <a:lnTo>
                      <a:pt x="51" y="44"/>
                    </a:lnTo>
                    <a:lnTo>
                      <a:pt x="45" y="47"/>
                    </a:lnTo>
                    <a:lnTo>
                      <a:pt x="42" y="49"/>
                    </a:lnTo>
                    <a:lnTo>
                      <a:pt x="42" y="52"/>
                    </a:lnTo>
                    <a:lnTo>
                      <a:pt x="44" y="54"/>
                    </a:lnTo>
                    <a:lnTo>
                      <a:pt x="43" y="54"/>
                    </a:lnTo>
                    <a:lnTo>
                      <a:pt x="42" y="54"/>
                    </a:lnTo>
                    <a:lnTo>
                      <a:pt x="42" y="53"/>
                    </a:lnTo>
                    <a:lnTo>
                      <a:pt x="41" y="51"/>
                    </a:lnTo>
                    <a:lnTo>
                      <a:pt x="37" y="53"/>
                    </a:lnTo>
                    <a:lnTo>
                      <a:pt x="34" y="52"/>
                    </a:lnTo>
                    <a:lnTo>
                      <a:pt x="28" y="56"/>
                    </a:lnTo>
                    <a:lnTo>
                      <a:pt x="26" y="54"/>
                    </a:lnTo>
                    <a:lnTo>
                      <a:pt x="24" y="57"/>
                    </a:lnTo>
                    <a:lnTo>
                      <a:pt x="22" y="57"/>
                    </a:lnTo>
                    <a:lnTo>
                      <a:pt x="19" y="57"/>
                    </a:lnTo>
                    <a:lnTo>
                      <a:pt x="16" y="57"/>
                    </a:lnTo>
                    <a:lnTo>
                      <a:pt x="16" y="60"/>
                    </a:lnTo>
                    <a:lnTo>
                      <a:pt x="16" y="63"/>
                    </a:lnTo>
                    <a:lnTo>
                      <a:pt x="16" y="65"/>
                    </a:lnTo>
                    <a:lnTo>
                      <a:pt x="12" y="70"/>
                    </a:lnTo>
                    <a:lnTo>
                      <a:pt x="9" y="75"/>
                    </a:lnTo>
                    <a:lnTo>
                      <a:pt x="10" y="80"/>
                    </a:lnTo>
                    <a:lnTo>
                      <a:pt x="10" y="82"/>
                    </a:lnTo>
                    <a:lnTo>
                      <a:pt x="11" y="88"/>
                    </a:lnTo>
                    <a:lnTo>
                      <a:pt x="14" y="94"/>
                    </a:lnTo>
                    <a:lnTo>
                      <a:pt x="14" y="96"/>
                    </a:lnTo>
                    <a:lnTo>
                      <a:pt x="14" y="99"/>
                    </a:lnTo>
                    <a:lnTo>
                      <a:pt x="16" y="102"/>
                    </a:lnTo>
                    <a:lnTo>
                      <a:pt x="16" y="102"/>
                    </a:lnTo>
                    <a:lnTo>
                      <a:pt x="17" y="105"/>
                    </a:lnTo>
                    <a:lnTo>
                      <a:pt x="16" y="106"/>
                    </a:lnTo>
                    <a:lnTo>
                      <a:pt x="16" y="108"/>
                    </a:lnTo>
                    <a:lnTo>
                      <a:pt x="16" y="109"/>
                    </a:lnTo>
                    <a:lnTo>
                      <a:pt x="17" y="111"/>
                    </a:lnTo>
                    <a:lnTo>
                      <a:pt x="16" y="112"/>
                    </a:lnTo>
                    <a:lnTo>
                      <a:pt x="14" y="115"/>
                    </a:lnTo>
                    <a:lnTo>
                      <a:pt x="11" y="121"/>
                    </a:lnTo>
                    <a:lnTo>
                      <a:pt x="9" y="124"/>
                    </a:lnTo>
                    <a:lnTo>
                      <a:pt x="8" y="126"/>
                    </a:lnTo>
                    <a:lnTo>
                      <a:pt x="7" y="130"/>
                    </a:lnTo>
                    <a:lnTo>
                      <a:pt x="5" y="129"/>
                    </a:lnTo>
                    <a:lnTo>
                      <a:pt x="3" y="131"/>
                    </a:lnTo>
                    <a:lnTo>
                      <a:pt x="3" y="133"/>
                    </a:lnTo>
                    <a:lnTo>
                      <a:pt x="1" y="137"/>
                    </a:lnTo>
                    <a:lnTo>
                      <a:pt x="0" y="141"/>
                    </a:lnTo>
                    <a:lnTo>
                      <a:pt x="0" y="14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41" name="Freeform 107">
                <a:extLst>
                  <a:ext uri="{FF2B5EF4-FFF2-40B4-BE49-F238E27FC236}">
                    <a16:creationId xmlns:a16="http://schemas.microsoft.com/office/drawing/2014/main" id="{88F03789-D113-423D-9396-C173EA35EF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01" y="1341"/>
                <a:ext cx="51" cy="14"/>
              </a:xfrm>
              <a:custGeom>
                <a:avLst/>
                <a:gdLst>
                  <a:gd name="T0" fmla="*/ 0 w 51"/>
                  <a:gd name="T1" fmla="*/ 8 h 14"/>
                  <a:gd name="T2" fmla="*/ 0 w 51"/>
                  <a:gd name="T3" fmla="*/ 9 h 14"/>
                  <a:gd name="T4" fmla="*/ 3 w 51"/>
                  <a:gd name="T5" fmla="*/ 9 h 14"/>
                  <a:gd name="T6" fmla="*/ 9 w 51"/>
                  <a:gd name="T7" fmla="*/ 10 h 14"/>
                  <a:gd name="T8" fmla="*/ 11 w 51"/>
                  <a:gd name="T9" fmla="*/ 10 h 14"/>
                  <a:gd name="T10" fmla="*/ 15 w 51"/>
                  <a:gd name="T11" fmla="*/ 11 h 14"/>
                  <a:gd name="T12" fmla="*/ 15 w 51"/>
                  <a:gd name="T13" fmla="*/ 14 h 14"/>
                  <a:gd name="T14" fmla="*/ 18 w 51"/>
                  <a:gd name="T15" fmla="*/ 14 h 14"/>
                  <a:gd name="T16" fmla="*/ 22 w 51"/>
                  <a:gd name="T17" fmla="*/ 10 h 14"/>
                  <a:gd name="T18" fmla="*/ 26 w 51"/>
                  <a:gd name="T19" fmla="*/ 10 h 14"/>
                  <a:gd name="T20" fmla="*/ 32 w 51"/>
                  <a:gd name="T21" fmla="*/ 7 h 14"/>
                  <a:gd name="T22" fmla="*/ 34 w 51"/>
                  <a:gd name="T23" fmla="*/ 4 h 14"/>
                  <a:gd name="T24" fmla="*/ 37 w 51"/>
                  <a:gd name="T25" fmla="*/ 3 h 14"/>
                  <a:gd name="T26" fmla="*/ 43 w 51"/>
                  <a:gd name="T27" fmla="*/ 7 h 14"/>
                  <a:gd name="T28" fmla="*/ 51 w 51"/>
                  <a:gd name="T29" fmla="*/ 8 h 14"/>
                  <a:gd name="T30" fmla="*/ 50 w 51"/>
                  <a:gd name="T31" fmla="*/ 6 h 14"/>
                  <a:gd name="T32" fmla="*/ 48 w 51"/>
                  <a:gd name="T33" fmla="*/ 2 h 14"/>
                  <a:gd name="T34" fmla="*/ 46 w 51"/>
                  <a:gd name="T35" fmla="*/ 1 h 14"/>
                  <a:gd name="T36" fmla="*/ 39 w 51"/>
                  <a:gd name="T37" fmla="*/ 2 h 14"/>
                  <a:gd name="T38" fmla="*/ 34 w 51"/>
                  <a:gd name="T39" fmla="*/ 0 h 14"/>
                  <a:gd name="T40" fmla="*/ 32 w 51"/>
                  <a:gd name="T41" fmla="*/ 1 h 14"/>
                  <a:gd name="T42" fmla="*/ 28 w 51"/>
                  <a:gd name="T43" fmla="*/ 3 h 14"/>
                  <a:gd name="T44" fmla="*/ 26 w 51"/>
                  <a:gd name="T45" fmla="*/ 3 h 14"/>
                  <a:gd name="T46" fmla="*/ 22 w 51"/>
                  <a:gd name="T47" fmla="*/ 3 h 14"/>
                  <a:gd name="T48" fmla="*/ 17 w 51"/>
                  <a:gd name="T49" fmla="*/ 6 h 14"/>
                  <a:gd name="T50" fmla="*/ 0 w 51"/>
                  <a:gd name="T51" fmla="*/ 8 h 14"/>
                  <a:gd name="T52" fmla="*/ 0 w 51"/>
                  <a:gd name="T53" fmla="*/ 8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51" h="14">
                    <a:moveTo>
                      <a:pt x="0" y="8"/>
                    </a:moveTo>
                    <a:lnTo>
                      <a:pt x="0" y="9"/>
                    </a:lnTo>
                    <a:lnTo>
                      <a:pt x="3" y="9"/>
                    </a:lnTo>
                    <a:lnTo>
                      <a:pt x="9" y="10"/>
                    </a:lnTo>
                    <a:lnTo>
                      <a:pt x="11" y="10"/>
                    </a:lnTo>
                    <a:lnTo>
                      <a:pt x="15" y="11"/>
                    </a:lnTo>
                    <a:lnTo>
                      <a:pt x="15" y="14"/>
                    </a:lnTo>
                    <a:lnTo>
                      <a:pt x="18" y="14"/>
                    </a:lnTo>
                    <a:lnTo>
                      <a:pt x="22" y="10"/>
                    </a:lnTo>
                    <a:lnTo>
                      <a:pt x="26" y="10"/>
                    </a:lnTo>
                    <a:lnTo>
                      <a:pt x="32" y="7"/>
                    </a:lnTo>
                    <a:lnTo>
                      <a:pt x="34" y="4"/>
                    </a:lnTo>
                    <a:lnTo>
                      <a:pt x="37" y="3"/>
                    </a:lnTo>
                    <a:lnTo>
                      <a:pt x="43" y="7"/>
                    </a:lnTo>
                    <a:lnTo>
                      <a:pt x="51" y="8"/>
                    </a:lnTo>
                    <a:lnTo>
                      <a:pt x="50" y="6"/>
                    </a:lnTo>
                    <a:lnTo>
                      <a:pt x="48" y="2"/>
                    </a:lnTo>
                    <a:lnTo>
                      <a:pt x="46" y="1"/>
                    </a:lnTo>
                    <a:lnTo>
                      <a:pt x="39" y="2"/>
                    </a:lnTo>
                    <a:lnTo>
                      <a:pt x="34" y="0"/>
                    </a:lnTo>
                    <a:lnTo>
                      <a:pt x="32" y="1"/>
                    </a:lnTo>
                    <a:lnTo>
                      <a:pt x="28" y="3"/>
                    </a:lnTo>
                    <a:lnTo>
                      <a:pt x="26" y="3"/>
                    </a:lnTo>
                    <a:lnTo>
                      <a:pt x="22" y="3"/>
                    </a:lnTo>
                    <a:lnTo>
                      <a:pt x="17" y="6"/>
                    </a:lnTo>
                    <a:lnTo>
                      <a:pt x="0" y="8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42" name="Freeform 108">
                <a:extLst>
                  <a:ext uri="{FF2B5EF4-FFF2-40B4-BE49-F238E27FC236}">
                    <a16:creationId xmlns:a16="http://schemas.microsoft.com/office/drawing/2014/main" id="{1A92046C-A7DD-4066-8B97-E8BD4A2404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25" y="1340"/>
                <a:ext cx="68" cy="26"/>
              </a:xfrm>
              <a:custGeom>
                <a:avLst/>
                <a:gdLst>
                  <a:gd name="T0" fmla="*/ 14 w 68"/>
                  <a:gd name="T1" fmla="*/ 26 h 26"/>
                  <a:gd name="T2" fmla="*/ 23 w 68"/>
                  <a:gd name="T3" fmla="*/ 25 h 26"/>
                  <a:gd name="T4" fmla="*/ 29 w 68"/>
                  <a:gd name="T5" fmla="*/ 24 h 26"/>
                  <a:gd name="T6" fmla="*/ 28 w 68"/>
                  <a:gd name="T7" fmla="*/ 19 h 26"/>
                  <a:gd name="T8" fmla="*/ 39 w 68"/>
                  <a:gd name="T9" fmla="*/ 17 h 26"/>
                  <a:gd name="T10" fmla="*/ 41 w 68"/>
                  <a:gd name="T11" fmla="*/ 13 h 26"/>
                  <a:gd name="T12" fmla="*/ 55 w 68"/>
                  <a:gd name="T13" fmla="*/ 11 h 26"/>
                  <a:gd name="T14" fmla="*/ 62 w 68"/>
                  <a:gd name="T15" fmla="*/ 9 h 26"/>
                  <a:gd name="T16" fmla="*/ 68 w 68"/>
                  <a:gd name="T17" fmla="*/ 8 h 26"/>
                  <a:gd name="T18" fmla="*/ 61 w 68"/>
                  <a:gd name="T19" fmla="*/ 3 h 26"/>
                  <a:gd name="T20" fmla="*/ 53 w 68"/>
                  <a:gd name="T21" fmla="*/ 4 h 26"/>
                  <a:gd name="T22" fmla="*/ 51 w 68"/>
                  <a:gd name="T23" fmla="*/ 3 h 26"/>
                  <a:gd name="T24" fmla="*/ 56 w 68"/>
                  <a:gd name="T25" fmla="*/ 0 h 26"/>
                  <a:gd name="T26" fmla="*/ 45 w 68"/>
                  <a:gd name="T27" fmla="*/ 1 h 26"/>
                  <a:gd name="T28" fmla="*/ 45 w 68"/>
                  <a:gd name="T29" fmla="*/ 0 h 26"/>
                  <a:gd name="T30" fmla="*/ 39 w 68"/>
                  <a:gd name="T31" fmla="*/ 1 h 26"/>
                  <a:gd name="T32" fmla="*/ 34 w 68"/>
                  <a:gd name="T33" fmla="*/ 5 h 26"/>
                  <a:gd name="T34" fmla="*/ 39 w 68"/>
                  <a:gd name="T35" fmla="*/ 5 h 26"/>
                  <a:gd name="T36" fmla="*/ 36 w 68"/>
                  <a:gd name="T37" fmla="*/ 8 h 26"/>
                  <a:gd name="T38" fmla="*/ 31 w 68"/>
                  <a:gd name="T39" fmla="*/ 12 h 26"/>
                  <a:gd name="T40" fmla="*/ 26 w 68"/>
                  <a:gd name="T41" fmla="*/ 12 h 26"/>
                  <a:gd name="T42" fmla="*/ 20 w 68"/>
                  <a:gd name="T43" fmla="*/ 11 h 26"/>
                  <a:gd name="T44" fmla="*/ 9 w 68"/>
                  <a:gd name="T45" fmla="*/ 15 h 26"/>
                  <a:gd name="T46" fmla="*/ 18 w 68"/>
                  <a:gd name="T47" fmla="*/ 13 h 26"/>
                  <a:gd name="T48" fmla="*/ 14 w 68"/>
                  <a:gd name="T49" fmla="*/ 16 h 26"/>
                  <a:gd name="T50" fmla="*/ 14 w 68"/>
                  <a:gd name="T51" fmla="*/ 19 h 26"/>
                  <a:gd name="T52" fmla="*/ 3 w 68"/>
                  <a:gd name="T53" fmla="*/ 17 h 26"/>
                  <a:gd name="T54" fmla="*/ 1 w 68"/>
                  <a:gd name="T55" fmla="*/ 20 h 26"/>
                  <a:gd name="T56" fmla="*/ 10 w 68"/>
                  <a:gd name="T57" fmla="*/ 21 h 26"/>
                  <a:gd name="T58" fmla="*/ 15 w 68"/>
                  <a:gd name="T59" fmla="*/ 20 h 26"/>
                  <a:gd name="T60" fmla="*/ 15 w 68"/>
                  <a:gd name="T61" fmla="*/ 22 h 26"/>
                  <a:gd name="T62" fmla="*/ 12 w 68"/>
                  <a:gd name="T63" fmla="*/ 25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68" h="26">
                    <a:moveTo>
                      <a:pt x="12" y="25"/>
                    </a:moveTo>
                    <a:lnTo>
                      <a:pt x="14" y="26"/>
                    </a:lnTo>
                    <a:lnTo>
                      <a:pt x="20" y="25"/>
                    </a:lnTo>
                    <a:lnTo>
                      <a:pt x="23" y="25"/>
                    </a:lnTo>
                    <a:lnTo>
                      <a:pt x="23" y="22"/>
                    </a:lnTo>
                    <a:lnTo>
                      <a:pt x="29" y="24"/>
                    </a:lnTo>
                    <a:lnTo>
                      <a:pt x="31" y="21"/>
                    </a:lnTo>
                    <a:lnTo>
                      <a:pt x="28" y="19"/>
                    </a:lnTo>
                    <a:lnTo>
                      <a:pt x="28" y="17"/>
                    </a:lnTo>
                    <a:lnTo>
                      <a:pt x="39" y="17"/>
                    </a:lnTo>
                    <a:lnTo>
                      <a:pt x="43" y="16"/>
                    </a:lnTo>
                    <a:lnTo>
                      <a:pt x="41" y="13"/>
                    </a:lnTo>
                    <a:lnTo>
                      <a:pt x="46" y="12"/>
                    </a:lnTo>
                    <a:lnTo>
                      <a:pt x="55" y="11"/>
                    </a:lnTo>
                    <a:lnTo>
                      <a:pt x="58" y="11"/>
                    </a:lnTo>
                    <a:lnTo>
                      <a:pt x="62" y="9"/>
                    </a:lnTo>
                    <a:lnTo>
                      <a:pt x="64" y="9"/>
                    </a:lnTo>
                    <a:lnTo>
                      <a:pt x="68" y="8"/>
                    </a:lnTo>
                    <a:lnTo>
                      <a:pt x="64" y="5"/>
                    </a:lnTo>
                    <a:lnTo>
                      <a:pt x="61" y="3"/>
                    </a:lnTo>
                    <a:lnTo>
                      <a:pt x="55" y="4"/>
                    </a:lnTo>
                    <a:lnTo>
                      <a:pt x="53" y="4"/>
                    </a:lnTo>
                    <a:lnTo>
                      <a:pt x="49" y="5"/>
                    </a:lnTo>
                    <a:lnTo>
                      <a:pt x="51" y="3"/>
                    </a:lnTo>
                    <a:lnTo>
                      <a:pt x="57" y="2"/>
                    </a:lnTo>
                    <a:lnTo>
                      <a:pt x="56" y="0"/>
                    </a:lnTo>
                    <a:lnTo>
                      <a:pt x="47" y="1"/>
                    </a:lnTo>
                    <a:lnTo>
                      <a:pt x="45" y="1"/>
                    </a:lnTo>
                    <a:lnTo>
                      <a:pt x="48" y="0"/>
                    </a:lnTo>
                    <a:lnTo>
                      <a:pt x="45" y="0"/>
                    </a:lnTo>
                    <a:lnTo>
                      <a:pt x="43" y="0"/>
                    </a:lnTo>
                    <a:lnTo>
                      <a:pt x="39" y="1"/>
                    </a:lnTo>
                    <a:lnTo>
                      <a:pt x="31" y="3"/>
                    </a:lnTo>
                    <a:lnTo>
                      <a:pt x="34" y="5"/>
                    </a:lnTo>
                    <a:lnTo>
                      <a:pt x="37" y="5"/>
                    </a:lnTo>
                    <a:lnTo>
                      <a:pt x="39" y="5"/>
                    </a:lnTo>
                    <a:lnTo>
                      <a:pt x="39" y="8"/>
                    </a:lnTo>
                    <a:lnTo>
                      <a:pt x="36" y="8"/>
                    </a:lnTo>
                    <a:lnTo>
                      <a:pt x="34" y="10"/>
                    </a:lnTo>
                    <a:lnTo>
                      <a:pt x="31" y="12"/>
                    </a:lnTo>
                    <a:lnTo>
                      <a:pt x="28" y="12"/>
                    </a:lnTo>
                    <a:lnTo>
                      <a:pt x="26" y="12"/>
                    </a:lnTo>
                    <a:lnTo>
                      <a:pt x="22" y="10"/>
                    </a:lnTo>
                    <a:lnTo>
                      <a:pt x="20" y="11"/>
                    </a:lnTo>
                    <a:lnTo>
                      <a:pt x="17" y="11"/>
                    </a:lnTo>
                    <a:lnTo>
                      <a:pt x="9" y="15"/>
                    </a:lnTo>
                    <a:lnTo>
                      <a:pt x="14" y="13"/>
                    </a:lnTo>
                    <a:lnTo>
                      <a:pt x="18" y="13"/>
                    </a:lnTo>
                    <a:lnTo>
                      <a:pt x="20" y="15"/>
                    </a:lnTo>
                    <a:lnTo>
                      <a:pt x="14" y="16"/>
                    </a:lnTo>
                    <a:lnTo>
                      <a:pt x="17" y="17"/>
                    </a:lnTo>
                    <a:lnTo>
                      <a:pt x="14" y="19"/>
                    </a:lnTo>
                    <a:lnTo>
                      <a:pt x="6" y="19"/>
                    </a:lnTo>
                    <a:lnTo>
                      <a:pt x="3" y="17"/>
                    </a:lnTo>
                    <a:lnTo>
                      <a:pt x="0" y="18"/>
                    </a:lnTo>
                    <a:lnTo>
                      <a:pt x="1" y="20"/>
                    </a:lnTo>
                    <a:lnTo>
                      <a:pt x="4" y="22"/>
                    </a:lnTo>
                    <a:lnTo>
                      <a:pt x="10" y="21"/>
                    </a:lnTo>
                    <a:lnTo>
                      <a:pt x="12" y="20"/>
                    </a:lnTo>
                    <a:lnTo>
                      <a:pt x="15" y="20"/>
                    </a:lnTo>
                    <a:lnTo>
                      <a:pt x="18" y="22"/>
                    </a:lnTo>
                    <a:lnTo>
                      <a:pt x="15" y="22"/>
                    </a:lnTo>
                    <a:lnTo>
                      <a:pt x="12" y="25"/>
                    </a:lnTo>
                    <a:lnTo>
                      <a:pt x="12" y="25"/>
                    </a:lnTo>
                    <a:lnTo>
                      <a:pt x="12" y="2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43" name="Freeform 109">
                <a:extLst>
                  <a:ext uri="{FF2B5EF4-FFF2-40B4-BE49-F238E27FC236}">
                    <a16:creationId xmlns:a16="http://schemas.microsoft.com/office/drawing/2014/main" id="{B979AC05-9150-4342-BBF3-93C8120C5B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65" y="1361"/>
                <a:ext cx="7" cy="6"/>
              </a:xfrm>
              <a:custGeom>
                <a:avLst/>
                <a:gdLst>
                  <a:gd name="T0" fmla="*/ 3 w 7"/>
                  <a:gd name="T1" fmla="*/ 5 h 6"/>
                  <a:gd name="T2" fmla="*/ 3 w 7"/>
                  <a:gd name="T3" fmla="*/ 6 h 6"/>
                  <a:gd name="T4" fmla="*/ 6 w 7"/>
                  <a:gd name="T5" fmla="*/ 4 h 6"/>
                  <a:gd name="T6" fmla="*/ 7 w 7"/>
                  <a:gd name="T7" fmla="*/ 0 h 6"/>
                  <a:gd name="T8" fmla="*/ 5 w 7"/>
                  <a:gd name="T9" fmla="*/ 0 h 6"/>
                  <a:gd name="T10" fmla="*/ 1 w 7"/>
                  <a:gd name="T11" fmla="*/ 0 h 6"/>
                  <a:gd name="T12" fmla="*/ 0 w 7"/>
                  <a:gd name="T13" fmla="*/ 4 h 6"/>
                  <a:gd name="T14" fmla="*/ 3 w 7"/>
                  <a:gd name="T15" fmla="*/ 5 h 6"/>
                  <a:gd name="T16" fmla="*/ 3 w 7"/>
                  <a:gd name="T17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" h="6">
                    <a:moveTo>
                      <a:pt x="3" y="5"/>
                    </a:moveTo>
                    <a:lnTo>
                      <a:pt x="3" y="6"/>
                    </a:lnTo>
                    <a:lnTo>
                      <a:pt x="6" y="4"/>
                    </a:lnTo>
                    <a:lnTo>
                      <a:pt x="7" y="0"/>
                    </a:lnTo>
                    <a:lnTo>
                      <a:pt x="5" y="0"/>
                    </a:lnTo>
                    <a:lnTo>
                      <a:pt x="1" y="0"/>
                    </a:lnTo>
                    <a:lnTo>
                      <a:pt x="0" y="4"/>
                    </a:lnTo>
                    <a:lnTo>
                      <a:pt x="3" y="5"/>
                    </a:lnTo>
                    <a:lnTo>
                      <a:pt x="3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44" name="Freeform 110">
                <a:extLst>
                  <a:ext uri="{FF2B5EF4-FFF2-40B4-BE49-F238E27FC236}">
                    <a16:creationId xmlns:a16="http://schemas.microsoft.com/office/drawing/2014/main" id="{99600106-7BC6-49C7-B50E-5975D0B604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71" y="1365"/>
                <a:ext cx="18" cy="5"/>
              </a:xfrm>
              <a:custGeom>
                <a:avLst/>
                <a:gdLst>
                  <a:gd name="T0" fmla="*/ 7 w 18"/>
                  <a:gd name="T1" fmla="*/ 3 h 5"/>
                  <a:gd name="T2" fmla="*/ 6 w 18"/>
                  <a:gd name="T3" fmla="*/ 4 h 5"/>
                  <a:gd name="T4" fmla="*/ 2 w 18"/>
                  <a:gd name="T5" fmla="*/ 3 h 5"/>
                  <a:gd name="T6" fmla="*/ 0 w 18"/>
                  <a:gd name="T7" fmla="*/ 4 h 5"/>
                  <a:gd name="T8" fmla="*/ 3 w 18"/>
                  <a:gd name="T9" fmla="*/ 5 h 5"/>
                  <a:gd name="T10" fmla="*/ 15 w 18"/>
                  <a:gd name="T11" fmla="*/ 5 h 5"/>
                  <a:gd name="T12" fmla="*/ 18 w 18"/>
                  <a:gd name="T13" fmla="*/ 5 h 5"/>
                  <a:gd name="T14" fmla="*/ 15 w 18"/>
                  <a:gd name="T15" fmla="*/ 3 h 5"/>
                  <a:gd name="T16" fmla="*/ 15 w 18"/>
                  <a:gd name="T17" fmla="*/ 2 h 5"/>
                  <a:gd name="T18" fmla="*/ 12 w 18"/>
                  <a:gd name="T19" fmla="*/ 0 h 5"/>
                  <a:gd name="T20" fmla="*/ 9 w 18"/>
                  <a:gd name="T21" fmla="*/ 2 h 5"/>
                  <a:gd name="T22" fmla="*/ 7 w 18"/>
                  <a:gd name="T23" fmla="*/ 3 h 5"/>
                  <a:gd name="T24" fmla="*/ 7 w 18"/>
                  <a:gd name="T25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8" h="5">
                    <a:moveTo>
                      <a:pt x="7" y="3"/>
                    </a:moveTo>
                    <a:lnTo>
                      <a:pt x="6" y="4"/>
                    </a:lnTo>
                    <a:lnTo>
                      <a:pt x="2" y="3"/>
                    </a:lnTo>
                    <a:lnTo>
                      <a:pt x="0" y="4"/>
                    </a:lnTo>
                    <a:lnTo>
                      <a:pt x="3" y="5"/>
                    </a:lnTo>
                    <a:lnTo>
                      <a:pt x="15" y="5"/>
                    </a:lnTo>
                    <a:lnTo>
                      <a:pt x="18" y="5"/>
                    </a:lnTo>
                    <a:lnTo>
                      <a:pt x="15" y="3"/>
                    </a:lnTo>
                    <a:lnTo>
                      <a:pt x="15" y="2"/>
                    </a:lnTo>
                    <a:lnTo>
                      <a:pt x="12" y="0"/>
                    </a:lnTo>
                    <a:lnTo>
                      <a:pt x="9" y="2"/>
                    </a:lnTo>
                    <a:lnTo>
                      <a:pt x="7" y="3"/>
                    </a:lnTo>
                    <a:lnTo>
                      <a:pt x="7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45" name="Freeform 111">
                <a:extLst>
                  <a:ext uri="{FF2B5EF4-FFF2-40B4-BE49-F238E27FC236}">
                    <a16:creationId xmlns:a16="http://schemas.microsoft.com/office/drawing/2014/main" id="{ABEA6274-FBB3-4F3E-A4B9-534662087E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74" y="1332"/>
                <a:ext cx="8" cy="4"/>
              </a:xfrm>
              <a:custGeom>
                <a:avLst/>
                <a:gdLst>
                  <a:gd name="T0" fmla="*/ 2 w 8"/>
                  <a:gd name="T1" fmla="*/ 3 h 4"/>
                  <a:gd name="T2" fmla="*/ 0 w 8"/>
                  <a:gd name="T3" fmla="*/ 4 h 4"/>
                  <a:gd name="T4" fmla="*/ 6 w 8"/>
                  <a:gd name="T5" fmla="*/ 2 h 4"/>
                  <a:gd name="T6" fmla="*/ 8 w 8"/>
                  <a:gd name="T7" fmla="*/ 1 h 4"/>
                  <a:gd name="T8" fmla="*/ 6 w 8"/>
                  <a:gd name="T9" fmla="*/ 0 h 4"/>
                  <a:gd name="T10" fmla="*/ 4 w 8"/>
                  <a:gd name="T11" fmla="*/ 0 h 4"/>
                  <a:gd name="T12" fmla="*/ 0 w 8"/>
                  <a:gd name="T13" fmla="*/ 1 h 4"/>
                  <a:gd name="T14" fmla="*/ 2 w 8"/>
                  <a:gd name="T15" fmla="*/ 3 h 4"/>
                  <a:gd name="T16" fmla="*/ 2 w 8"/>
                  <a:gd name="T17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4">
                    <a:moveTo>
                      <a:pt x="2" y="3"/>
                    </a:moveTo>
                    <a:lnTo>
                      <a:pt x="0" y="4"/>
                    </a:lnTo>
                    <a:lnTo>
                      <a:pt x="6" y="2"/>
                    </a:lnTo>
                    <a:lnTo>
                      <a:pt x="8" y="1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0" y="1"/>
                    </a:lnTo>
                    <a:lnTo>
                      <a:pt x="2" y="3"/>
                    </a:lnTo>
                    <a:lnTo>
                      <a:pt x="2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46" name="Freeform 112">
                <a:extLst>
                  <a:ext uri="{FF2B5EF4-FFF2-40B4-BE49-F238E27FC236}">
                    <a16:creationId xmlns:a16="http://schemas.microsoft.com/office/drawing/2014/main" id="{C7E71EBB-725C-4D5A-A786-F3F55B274B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89" y="1458"/>
                <a:ext cx="239" cy="172"/>
              </a:xfrm>
              <a:custGeom>
                <a:avLst/>
                <a:gdLst>
                  <a:gd name="T0" fmla="*/ 24 w 239"/>
                  <a:gd name="T1" fmla="*/ 111 h 172"/>
                  <a:gd name="T2" fmla="*/ 14 w 239"/>
                  <a:gd name="T3" fmla="*/ 117 h 172"/>
                  <a:gd name="T4" fmla="*/ 23 w 239"/>
                  <a:gd name="T5" fmla="*/ 121 h 172"/>
                  <a:gd name="T6" fmla="*/ 14 w 239"/>
                  <a:gd name="T7" fmla="*/ 131 h 172"/>
                  <a:gd name="T8" fmla="*/ 2 w 239"/>
                  <a:gd name="T9" fmla="*/ 134 h 172"/>
                  <a:gd name="T10" fmla="*/ 5 w 239"/>
                  <a:gd name="T11" fmla="*/ 149 h 172"/>
                  <a:gd name="T12" fmla="*/ 21 w 239"/>
                  <a:gd name="T13" fmla="*/ 150 h 172"/>
                  <a:gd name="T14" fmla="*/ 33 w 239"/>
                  <a:gd name="T15" fmla="*/ 150 h 172"/>
                  <a:gd name="T16" fmla="*/ 38 w 239"/>
                  <a:gd name="T17" fmla="*/ 158 h 172"/>
                  <a:gd name="T18" fmla="*/ 26 w 239"/>
                  <a:gd name="T19" fmla="*/ 165 h 172"/>
                  <a:gd name="T20" fmla="*/ 40 w 239"/>
                  <a:gd name="T21" fmla="*/ 167 h 172"/>
                  <a:gd name="T22" fmla="*/ 52 w 239"/>
                  <a:gd name="T23" fmla="*/ 172 h 172"/>
                  <a:gd name="T24" fmla="*/ 60 w 239"/>
                  <a:gd name="T25" fmla="*/ 168 h 172"/>
                  <a:gd name="T26" fmla="*/ 69 w 239"/>
                  <a:gd name="T27" fmla="*/ 167 h 172"/>
                  <a:gd name="T28" fmla="*/ 77 w 239"/>
                  <a:gd name="T29" fmla="*/ 169 h 172"/>
                  <a:gd name="T30" fmla="*/ 65 w 239"/>
                  <a:gd name="T31" fmla="*/ 155 h 172"/>
                  <a:gd name="T32" fmla="*/ 55 w 239"/>
                  <a:gd name="T33" fmla="*/ 135 h 172"/>
                  <a:gd name="T34" fmla="*/ 51 w 239"/>
                  <a:gd name="T35" fmla="*/ 124 h 172"/>
                  <a:gd name="T36" fmla="*/ 60 w 239"/>
                  <a:gd name="T37" fmla="*/ 116 h 172"/>
                  <a:gd name="T38" fmla="*/ 65 w 239"/>
                  <a:gd name="T39" fmla="*/ 111 h 172"/>
                  <a:gd name="T40" fmla="*/ 61 w 239"/>
                  <a:gd name="T41" fmla="*/ 108 h 172"/>
                  <a:gd name="T42" fmla="*/ 59 w 239"/>
                  <a:gd name="T43" fmla="*/ 101 h 172"/>
                  <a:gd name="T44" fmla="*/ 47 w 239"/>
                  <a:gd name="T45" fmla="*/ 98 h 172"/>
                  <a:gd name="T46" fmla="*/ 64 w 239"/>
                  <a:gd name="T47" fmla="*/ 99 h 172"/>
                  <a:gd name="T48" fmla="*/ 78 w 239"/>
                  <a:gd name="T49" fmla="*/ 99 h 172"/>
                  <a:gd name="T50" fmla="*/ 79 w 239"/>
                  <a:gd name="T51" fmla="*/ 95 h 172"/>
                  <a:gd name="T52" fmla="*/ 70 w 239"/>
                  <a:gd name="T53" fmla="*/ 87 h 172"/>
                  <a:gd name="T54" fmla="*/ 87 w 239"/>
                  <a:gd name="T55" fmla="*/ 84 h 172"/>
                  <a:gd name="T56" fmla="*/ 88 w 239"/>
                  <a:gd name="T57" fmla="*/ 83 h 172"/>
                  <a:gd name="T58" fmla="*/ 100 w 239"/>
                  <a:gd name="T59" fmla="*/ 77 h 172"/>
                  <a:gd name="T60" fmla="*/ 105 w 239"/>
                  <a:gd name="T61" fmla="*/ 70 h 172"/>
                  <a:gd name="T62" fmla="*/ 115 w 239"/>
                  <a:gd name="T63" fmla="*/ 64 h 172"/>
                  <a:gd name="T64" fmla="*/ 122 w 239"/>
                  <a:gd name="T65" fmla="*/ 61 h 172"/>
                  <a:gd name="T66" fmla="*/ 117 w 239"/>
                  <a:gd name="T67" fmla="*/ 56 h 172"/>
                  <a:gd name="T68" fmla="*/ 136 w 239"/>
                  <a:gd name="T69" fmla="*/ 49 h 172"/>
                  <a:gd name="T70" fmla="*/ 155 w 239"/>
                  <a:gd name="T71" fmla="*/ 41 h 172"/>
                  <a:gd name="T72" fmla="*/ 170 w 239"/>
                  <a:gd name="T73" fmla="*/ 38 h 172"/>
                  <a:gd name="T74" fmla="*/ 201 w 239"/>
                  <a:gd name="T75" fmla="*/ 30 h 172"/>
                  <a:gd name="T76" fmla="*/ 220 w 239"/>
                  <a:gd name="T77" fmla="*/ 23 h 172"/>
                  <a:gd name="T78" fmla="*/ 237 w 239"/>
                  <a:gd name="T79" fmla="*/ 14 h 172"/>
                  <a:gd name="T80" fmla="*/ 232 w 239"/>
                  <a:gd name="T81" fmla="*/ 2 h 172"/>
                  <a:gd name="T82" fmla="*/ 209 w 239"/>
                  <a:gd name="T83" fmla="*/ 3 h 172"/>
                  <a:gd name="T84" fmla="*/ 190 w 239"/>
                  <a:gd name="T85" fmla="*/ 14 h 172"/>
                  <a:gd name="T86" fmla="*/ 168 w 239"/>
                  <a:gd name="T87" fmla="*/ 19 h 172"/>
                  <a:gd name="T88" fmla="*/ 149 w 239"/>
                  <a:gd name="T89" fmla="*/ 21 h 172"/>
                  <a:gd name="T90" fmla="*/ 132 w 239"/>
                  <a:gd name="T91" fmla="*/ 27 h 172"/>
                  <a:gd name="T92" fmla="*/ 120 w 239"/>
                  <a:gd name="T93" fmla="*/ 29 h 172"/>
                  <a:gd name="T94" fmla="*/ 103 w 239"/>
                  <a:gd name="T95" fmla="*/ 32 h 172"/>
                  <a:gd name="T96" fmla="*/ 85 w 239"/>
                  <a:gd name="T97" fmla="*/ 41 h 172"/>
                  <a:gd name="T98" fmla="*/ 74 w 239"/>
                  <a:gd name="T99" fmla="*/ 47 h 172"/>
                  <a:gd name="T100" fmla="*/ 61 w 239"/>
                  <a:gd name="T101" fmla="*/ 52 h 172"/>
                  <a:gd name="T102" fmla="*/ 72 w 239"/>
                  <a:gd name="T103" fmla="*/ 57 h 172"/>
                  <a:gd name="T104" fmla="*/ 72 w 239"/>
                  <a:gd name="T105" fmla="*/ 65 h 172"/>
                  <a:gd name="T106" fmla="*/ 56 w 239"/>
                  <a:gd name="T107" fmla="*/ 69 h 172"/>
                  <a:gd name="T108" fmla="*/ 52 w 239"/>
                  <a:gd name="T109" fmla="*/ 74 h 172"/>
                  <a:gd name="T110" fmla="*/ 56 w 239"/>
                  <a:gd name="T111" fmla="*/ 78 h 172"/>
                  <a:gd name="T112" fmla="*/ 42 w 239"/>
                  <a:gd name="T113" fmla="*/ 84 h 172"/>
                  <a:gd name="T114" fmla="*/ 33 w 239"/>
                  <a:gd name="T115" fmla="*/ 92 h 172"/>
                  <a:gd name="T116" fmla="*/ 48 w 239"/>
                  <a:gd name="T117" fmla="*/ 91 h 172"/>
                  <a:gd name="T118" fmla="*/ 39 w 239"/>
                  <a:gd name="T119" fmla="*/ 101 h 172"/>
                  <a:gd name="T120" fmla="*/ 28 w 239"/>
                  <a:gd name="T121" fmla="*/ 104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39" h="172">
                    <a:moveTo>
                      <a:pt x="26" y="104"/>
                    </a:moveTo>
                    <a:lnTo>
                      <a:pt x="25" y="105"/>
                    </a:lnTo>
                    <a:lnTo>
                      <a:pt x="24" y="108"/>
                    </a:lnTo>
                    <a:lnTo>
                      <a:pt x="26" y="109"/>
                    </a:lnTo>
                    <a:lnTo>
                      <a:pt x="24" y="111"/>
                    </a:lnTo>
                    <a:lnTo>
                      <a:pt x="26" y="113"/>
                    </a:lnTo>
                    <a:lnTo>
                      <a:pt x="21" y="112"/>
                    </a:lnTo>
                    <a:lnTo>
                      <a:pt x="17" y="113"/>
                    </a:lnTo>
                    <a:lnTo>
                      <a:pt x="15" y="115"/>
                    </a:lnTo>
                    <a:lnTo>
                      <a:pt x="14" y="117"/>
                    </a:lnTo>
                    <a:lnTo>
                      <a:pt x="17" y="118"/>
                    </a:lnTo>
                    <a:lnTo>
                      <a:pt x="19" y="118"/>
                    </a:lnTo>
                    <a:lnTo>
                      <a:pt x="23" y="118"/>
                    </a:lnTo>
                    <a:lnTo>
                      <a:pt x="19" y="121"/>
                    </a:lnTo>
                    <a:lnTo>
                      <a:pt x="23" y="121"/>
                    </a:lnTo>
                    <a:lnTo>
                      <a:pt x="17" y="124"/>
                    </a:lnTo>
                    <a:lnTo>
                      <a:pt x="19" y="126"/>
                    </a:lnTo>
                    <a:lnTo>
                      <a:pt x="16" y="128"/>
                    </a:lnTo>
                    <a:lnTo>
                      <a:pt x="14" y="129"/>
                    </a:lnTo>
                    <a:lnTo>
                      <a:pt x="14" y="131"/>
                    </a:lnTo>
                    <a:lnTo>
                      <a:pt x="13" y="134"/>
                    </a:lnTo>
                    <a:lnTo>
                      <a:pt x="10" y="132"/>
                    </a:lnTo>
                    <a:lnTo>
                      <a:pt x="7" y="133"/>
                    </a:lnTo>
                    <a:lnTo>
                      <a:pt x="5" y="132"/>
                    </a:lnTo>
                    <a:lnTo>
                      <a:pt x="2" y="134"/>
                    </a:lnTo>
                    <a:lnTo>
                      <a:pt x="0" y="137"/>
                    </a:lnTo>
                    <a:lnTo>
                      <a:pt x="0" y="139"/>
                    </a:lnTo>
                    <a:lnTo>
                      <a:pt x="0" y="142"/>
                    </a:lnTo>
                    <a:lnTo>
                      <a:pt x="2" y="148"/>
                    </a:lnTo>
                    <a:lnTo>
                      <a:pt x="5" y="149"/>
                    </a:lnTo>
                    <a:lnTo>
                      <a:pt x="8" y="149"/>
                    </a:lnTo>
                    <a:lnTo>
                      <a:pt x="10" y="147"/>
                    </a:lnTo>
                    <a:lnTo>
                      <a:pt x="17" y="147"/>
                    </a:lnTo>
                    <a:lnTo>
                      <a:pt x="18" y="150"/>
                    </a:lnTo>
                    <a:lnTo>
                      <a:pt x="21" y="150"/>
                    </a:lnTo>
                    <a:lnTo>
                      <a:pt x="26" y="148"/>
                    </a:lnTo>
                    <a:lnTo>
                      <a:pt x="26" y="151"/>
                    </a:lnTo>
                    <a:lnTo>
                      <a:pt x="28" y="154"/>
                    </a:lnTo>
                    <a:lnTo>
                      <a:pt x="31" y="151"/>
                    </a:lnTo>
                    <a:lnTo>
                      <a:pt x="33" y="150"/>
                    </a:lnTo>
                    <a:lnTo>
                      <a:pt x="31" y="152"/>
                    </a:lnTo>
                    <a:lnTo>
                      <a:pt x="27" y="155"/>
                    </a:lnTo>
                    <a:lnTo>
                      <a:pt x="31" y="156"/>
                    </a:lnTo>
                    <a:lnTo>
                      <a:pt x="36" y="156"/>
                    </a:lnTo>
                    <a:lnTo>
                      <a:pt x="38" y="158"/>
                    </a:lnTo>
                    <a:lnTo>
                      <a:pt x="34" y="157"/>
                    </a:lnTo>
                    <a:lnTo>
                      <a:pt x="28" y="160"/>
                    </a:lnTo>
                    <a:lnTo>
                      <a:pt x="32" y="163"/>
                    </a:lnTo>
                    <a:lnTo>
                      <a:pt x="28" y="164"/>
                    </a:lnTo>
                    <a:lnTo>
                      <a:pt x="26" y="165"/>
                    </a:lnTo>
                    <a:lnTo>
                      <a:pt x="28" y="165"/>
                    </a:lnTo>
                    <a:lnTo>
                      <a:pt x="32" y="166"/>
                    </a:lnTo>
                    <a:lnTo>
                      <a:pt x="34" y="166"/>
                    </a:lnTo>
                    <a:lnTo>
                      <a:pt x="38" y="167"/>
                    </a:lnTo>
                    <a:lnTo>
                      <a:pt x="40" y="167"/>
                    </a:lnTo>
                    <a:lnTo>
                      <a:pt x="43" y="169"/>
                    </a:lnTo>
                    <a:lnTo>
                      <a:pt x="45" y="169"/>
                    </a:lnTo>
                    <a:lnTo>
                      <a:pt x="43" y="166"/>
                    </a:lnTo>
                    <a:lnTo>
                      <a:pt x="47" y="169"/>
                    </a:lnTo>
                    <a:lnTo>
                      <a:pt x="52" y="172"/>
                    </a:lnTo>
                    <a:lnTo>
                      <a:pt x="52" y="169"/>
                    </a:lnTo>
                    <a:lnTo>
                      <a:pt x="56" y="167"/>
                    </a:lnTo>
                    <a:lnTo>
                      <a:pt x="58" y="171"/>
                    </a:lnTo>
                    <a:lnTo>
                      <a:pt x="64" y="172"/>
                    </a:lnTo>
                    <a:lnTo>
                      <a:pt x="60" y="168"/>
                    </a:lnTo>
                    <a:lnTo>
                      <a:pt x="66" y="171"/>
                    </a:lnTo>
                    <a:lnTo>
                      <a:pt x="69" y="172"/>
                    </a:lnTo>
                    <a:lnTo>
                      <a:pt x="72" y="171"/>
                    </a:lnTo>
                    <a:lnTo>
                      <a:pt x="66" y="167"/>
                    </a:lnTo>
                    <a:lnTo>
                      <a:pt x="69" y="167"/>
                    </a:lnTo>
                    <a:lnTo>
                      <a:pt x="72" y="169"/>
                    </a:lnTo>
                    <a:lnTo>
                      <a:pt x="74" y="171"/>
                    </a:lnTo>
                    <a:lnTo>
                      <a:pt x="79" y="172"/>
                    </a:lnTo>
                    <a:lnTo>
                      <a:pt x="74" y="169"/>
                    </a:lnTo>
                    <a:lnTo>
                      <a:pt x="77" y="169"/>
                    </a:lnTo>
                    <a:lnTo>
                      <a:pt x="81" y="171"/>
                    </a:lnTo>
                    <a:lnTo>
                      <a:pt x="83" y="169"/>
                    </a:lnTo>
                    <a:lnTo>
                      <a:pt x="84" y="167"/>
                    </a:lnTo>
                    <a:lnTo>
                      <a:pt x="75" y="164"/>
                    </a:lnTo>
                    <a:lnTo>
                      <a:pt x="65" y="155"/>
                    </a:lnTo>
                    <a:lnTo>
                      <a:pt x="62" y="152"/>
                    </a:lnTo>
                    <a:lnTo>
                      <a:pt x="59" y="147"/>
                    </a:lnTo>
                    <a:lnTo>
                      <a:pt x="56" y="141"/>
                    </a:lnTo>
                    <a:lnTo>
                      <a:pt x="56" y="138"/>
                    </a:lnTo>
                    <a:lnTo>
                      <a:pt x="55" y="135"/>
                    </a:lnTo>
                    <a:lnTo>
                      <a:pt x="55" y="133"/>
                    </a:lnTo>
                    <a:lnTo>
                      <a:pt x="57" y="130"/>
                    </a:lnTo>
                    <a:lnTo>
                      <a:pt x="55" y="128"/>
                    </a:lnTo>
                    <a:lnTo>
                      <a:pt x="53" y="124"/>
                    </a:lnTo>
                    <a:lnTo>
                      <a:pt x="51" y="124"/>
                    </a:lnTo>
                    <a:lnTo>
                      <a:pt x="57" y="123"/>
                    </a:lnTo>
                    <a:lnTo>
                      <a:pt x="55" y="121"/>
                    </a:lnTo>
                    <a:lnTo>
                      <a:pt x="58" y="121"/>
                    </a:lnTo>
                    <a:lnTo>
                      <a:pt x="58" y="117"/>
                    </a:lnTo>
                    <a:lnTo>
                      <a:pt x="60" y="116"/>
                    </a:lnTo>
                    <a:lnTo>
                      <a:pt x="55" y="115"/>
                    </a:lnTo>
                    <a:lnTo>
                      <a:pt x="60" y="115"/>
                    </a:lnTo>
                    <a:lnTo>
                      <a:pt x="62" y="116"/>
                    </a:lnTo>
                    <a:lnTo>
                      <a:pt x="66" y="114"/>
                    </a:lnTo>
                    <a:lnTo>
                      <a:pt x="65" y="111"/>
                    </a:lnTo>
                    <a:lnTo>
                      <a:pt x="62" y="112"/>
                    </a:lnTo>
                    <a:lnTo>
                      <a:pt x="59" y="111"/>
                    </a:lnTo>
                    <a:lnTo>
                      <a:pt x="65" y="109"/>
                    </a:lnTo>
                    <a:lnTo>
                      <a:pt x="67" y="108"/>
                    </a:lnTo>
                    <a:lnTo>
                      <a:pt x="61" y="108"/>
                    </a:lnTo>
                    <a:lnTo>
                      <a:pt x="67" y="107"/>
                    </a:lnTo>
                    <a:lnTo>
                      <a:pt x="70" y="106"/>
                    </a:lnTo>
                    <a:lnTo>
                      <a:pt x="67" y="104"/>
                    </a:lnTo>
                    <a:lnTo>
                      <a:pt x="62" y="103"/>
                    </a:lnTo>
                    <a:lnTo>
                      <a:pt x="59" y="101"/>
                    </a:lnTo>
                    <a:lnTo>
                      <a:pt x="53" y="101"/>
                    </a:lnTo>
                    <a:lnTo>
                      <a:pt x="51" y="99"/>
                    </a:lnTo>
                    <a:lnTo>
                      <a:pt x="48" y="99"/>
                    </a:lnTo>
                    <a:lnTo>
                      <a:pt x="43" y="100"/>
                    </a:lnTo>
                    <a:lnTo>
                      <a:pt x="47" y="98"/>
                    </a:lnTo>
                    <a:lnTo>
                      <a:pt x="49" y="98"/>
                    </a:lnTo>
                    <a:lnTo>
                      <a:pt x="55" y="100"/>
                    </a:lnTo>
                    <a:lnTo>
                      <a:pt x="58" y="100"/>
                    </a:lnTo>
                    <a:lnTo>
                      <a:pt x="60" y="101"/>
                    </a:lnTo>
                    <a:lnTo>
                      <a:pt x="64" y="99"/>
                    </a:lnTo>
                    <a:lnTo>
                      <a:pt x="65" y="103"/>
                    </a:lnTo>
                    <a:lnTo>
                      <a:pt x="73" y="103"/>
                    </a:lnTo>
                    <a:lnTo>
                      <a:pt x="73" y="100"/>
                    </a:lnTo>
                    <a:lnTo>
                      <a:pt x="76" y="100"/>
                    </a:lnTo>
                    <a:lnTo>
                      <a:pt x="78" y="99"/>
                    </a:lnTo>
                    <a:lnTo>
                      <a:pt x="78" y="96"/>
                    </a:lnTo>
                    <a:lnTo>
                      <a:pt x="76" y="95"/>
                    </a:lnTo>
                    <a:lnTo>
                      <a:pt x="74" y="92"/>
                    </a:lnTo>
                    <a:lnTo>
                      <a:pt x="76" y="95"/>
                    </a:lnTo>
                    <a:lnTo>
                      <a:pt x="79" y="95"/>
                    </a:lnTo>
                    <a:lnTo>
                      <a:pt x="82" y="95"/>
                    </a:lnTo>
                    <a:lnTo>
                      <a:pt x="85" y="92"/>
                    </a:lnTo>
                    <a:lnTo>
                      <a:pt x="83" y="89"/>
                    </a:lnTo>
                    <a:lnTo>
                      <a:pt x="79" y="88"/>
                    </a:lnTo>
                    <a:lnTo>
                      <a:pt x="70" y="87"/>
                    </a:lnTo>
                    <a:lnTo>
                      <a:pt x="82" y="88"/>
                    </a:lnTo>
                    <a:lnTo>
                      <a:pt x="85" y="90"/>
                    </a:lnTo>
                    <a:lnTo>
                      <a:pt x="87" y="90"/>
                    </a:lnTo>
                    <a:lnTo>
                      <a:pt x="88" y="87"/>
                    </a:lnTo>
                    <a:lnTo>
                      <a:pt x="87" y="84"/>
                    </a:lnTo>
                    <a:lnTo>
                      <a:pt x="84" y="82"/>
                    </a:lnTo>
                    <a:lnTo>
                      <a:pt x="82" y="81"/>
                    </a:lnTo>
                    <a:lnTo>
                      <a:pt x="84" y="79"/>
                    </a:lnTo>
                    <a:lnTo>
                      <a:pt x="86" y="82"/>
                    </a:lnTo>
                    <a:lnTo>
                      <a:pt x="88" y="83"/>
                    </a:lnTo>
                    <a:lnTo>
                      <a:pt x="92" y="81"/>
                    </a:lnTo>
                    <a:lnTo>
                      <a:pt x="94" y="81"/>
                    </a:lnTo>
                    <a:lnTo>
                      <a:pt x="96" y="80"/>
                    </a:lnTo>
                    <a:lnTo>
                      <a:pt x="94" y="79"/>
                    </a:lnTo>
                    <a:lnTo>
                      <a:pt x="100" y="77"/>
                    </a:lnTo>
                    <a:lnTo>
                      <a:pt x="96" y="71"/>
                    </a:lnTo>
                    <a:lnTo>
                      <a:pt x="94" y="69"/>
                    </a:lnTo>
                    <a:lnTo>
                      <a:pt x="100" y="70"/>
                    </a:lnTo>
                    <a:lnTo>
                      <a:pt x="103" y="71"/>
                    </a:lnTo>
                    <a:lnTo>
                      <a:pt x="105" y="70"/>
                    </a:lnTo>
                    <a:lnTo>
                      <a:pt x="107" y="66"/>
                    </a:lnTo>
                    <a:lnTo>
                      <a:pt x="107" y="64"/>
                    </a:lnTo>
                    <a:lnTo>
                      <a:pt x="112" y="68"/>
                    </a:lnTo>
                    <a:lnTo>
                      <a:pt x="115" y="66"/>
                    </a:lnTo>
                    <a:lnTo>
                      <a:pt x="115" y="64"/>
                    </a:lnTo>
                    <a:lnTo>
                      <a:pt x="111" y="62"/>
                    </a:lnTo>
                    <a:lnTo>
                      <a:pt x="115" y="63"/>
                    </a:lnTo>
                    <a:lnTo>
                      <a:pt x="117" y="64"/>
                    </a:lnTo>
                    <a:lnTo>
                      <a:pt x="121" y="63"/>
                    </a:lnTo>
                    <a:lnTo>
                      <a:pt x="122" y="61"/>
                    </a:lnTo>
                    <a:lnTo>
                      <a:pt x="125" y="60"/>
                    </a:lnTo>
                    <a:lnTo>
                      <a:pt x="126" y="57"/>
                    </a:lnTo>
                    <a:lnTo>
                      <a:pt x="120" y="57"/>
                    </a:lnTo>
                    <a:lnTo>
                      <a:pt x="117" y="57"/>
                    </a:lnTo>
                    <a:lnTo>
                      <a:pt x="117" y="56"/>
                    </a:lnTo>
                    <a:lnTo>
                      <a:pt x="122" y="56"/>
                    </a:lnTo>
                    <a:lnTo>
                      <a:pt x="126" y="55"/>
                    </a:lnTo>
                    <a:lnTo>
                      <a:pt x="134" y="51"/>
                    </a:lnTo>
                    <a:lnTo>
                      <a:pt x="136" y="47"/>
                    </a:lnTo>
                    <a:lnTo>
                      <a:pt x="136" y="49"/>
                    </a:lnTo>
                    <a:lnTo>
                      <a:pt x="139" y="48"/>
                    </a:lnTo>
                    <a:lnTo>
                      <a:pt x="145" y="45"/>
                    </a:lnTo>
                    <a:lnTo>
                      <a:pt x="147" y="44"/>
                    </a:lnTo>
                    <a:lnTo>
                      <a:pt x="153" y="43"/>
                    </a:lnTo>
                    <a:lnTo>
                      <a:pt x="155" y="41"/>
                    </a:lnTo>
                    <a:lnTo>
                      <a:pt x="159" y="40"/>
                    </a:lnTo>
                    <a:lnTo>
                      <a:pt x="161" y="40"/>
                    </a:lnTo>
                    <a:lnTo>
                      <a:pt x="164" y="39"/>
                    </a:lnTo>
                    <a:lnTo>
                      <a:pt x="167" y="37"/>
                    </a:lnTo>
                    <a:lnTo>
                      <a:pt x="170" y="38"/>
                    </a:lnTo>
                    <a:lnTo>
                      <a:pt x="175" y="36"/>
                    </a:lnTo>
                    <a:lnTo>
                      <a:pt x="186" y="35"/>
                    </a:lnTo>
                    <a:lnTo>
                      <a:pt x="192" y="31"/>
                    </a:lnTo>
                    <a:lnTo>
                      <a:pt x="197" y="30"/>
                    </a:lnTo>
                    <a:lnTo>
                      <a:pt x="201" y="30"/>
                    </a:lnTo>
                    <a:lnTo>
                      <a:pt x="203" y="29"/>
                    </a:lnTo>
                    <a:lnTo>
                      <a:pt x="205" y="29"/>
                    </a:lnTo>
                    <a:lnTo>
                      <a:pt x="209" y="27"/>
                    </a:lnTo>
                    <a:lnTo>
                      <a:pt x="214" y="26"/>
                    </a:lnTo>
                    <a:lnTo>
                      <a:pt x="220" y="23"/>
                    </a:lnTo>
                    <a:lnTo>
                      <a:pt x="226" y="21"/>
                    </a:lnTo>
                    <a:lnTo>
                      <a:pt x="229" y="21"/>
                    </a:lnTo>
                    <a:lnTo>
                      <a:pt x="231" y="19"/>
                    </a:lnTo>
                    <a:lnTo>
                      <a:pt x="233" y="17"/>
                    </a:lnTo>
                    <a:lnTo>
                      <a:pt x="237" y="14"/>
                    </a:lnTo>
                    <a:lnTo>
                      <a:pt x="238" y="12"/>
                    </a:lnTo>
                    <a:lnTo>
                      <a:pt x="239" y="10"/>
                    </a:lnTo>
                    <a:lnTo>
                      <a:pt x="239" y="6"/>
                    </a:lnTo>
                    <a:lnTo>
                      <a:pt x="238" y="4"/>
                    </a:lnTo>
                    <a:lnTo>
                      <a:pt x="232" y="2"/>
                    </a:lnTo>
                    <a:lnTo>
                      <a:pt x="229" y="1"/>
                    </a:lnTo>
                    <a:lnTo>
                      <a:pt x="227" y="0"/>
                    </a:lnTo>
                    <a:lnTo>
                      <a:pt x="220" y="0"/>
                    </a:lnTo>
                    <a:lnTo>
                      <a:pt x="214" y="2"/>
                    </a:lnTo>
                    <a:lnTo>
                      <a:pt x="209" y="3"/>
                    </a:lnTo>
                    <a:lnTo>
                      <a:pt x="201" y="7"/>
                    </a:lnTo>
                    <a:lnTo>
                      <a:pt x="197" y="9"/>
                    </a:lnTo>
                    <a:lnTo>
                      <a:pt x="198" y="14"/>
                    </a:lnTo>
                    <a:lnTo>
                      <a:pt x="194" y="12"/>
                    </a:lnTo>
                    <a:lnTo>
                      <a:pt x="190" y="14"/>
                    </a:lnTo>
                    <a:lnTo>
                      <a:pt x="187" y="15"/>
                    </a:lnTo>
                    <a:lnTo>
                      <a:pt x="185" y="14"/>
                    </a:lnTo>
                    <a:lnTo>
                      <a:pt x="173" y="20"/>
                    </a:lnTo>
                    <a:lnTo>
                      <a:pt x="171" y="19"/>
                    </a:lnTo>
                    <a:lnTo>
                      <a:pt x="168" y="19"/>
                    </a:lnTo>
                    <a:lnTo>
                      <a:pt x="166" y="20"/>
                    </a:lnTo>
                    <a:lnTo>
                      <a:pt x="160" y="22"/>
                    </a:lnTo>
                    <a:lnTo>
                      <a:pt x="154" y="22"/>
                    </a:lnTo>
                    <a:lnTo>
                      <a:pt x="151" y="23"/>
                    </a:lnTo>
                    <a:lnTo>
                      <a:pt x="149" y="21"/>
                    </a:lnTo>
                    <a:lnTo>
                      <a:pt x="145" y="21"/>
                    </a:lnTo>
                    <a:lnTo>
                      <a:pt x="139" y="20"/>
                    </a:lnTo>
                    <a:lnTo>
                      <a:pt x="132" y="21"/>
                    </a:lnTo>
                    <a:lnTo>
                      <a:pt x="130" y="23"/>
                    </a:lnTo>
                    <a:lnTo>
                      <a:pt x="132" y="27"/>
                    </a:lnTo>
                    <a:lnTo>
                      <a:pt x="126" y="27"/>
                    </a:lnTo>
                    <a:lnTo>
                      <a:pt x="128" y="26"/>
                    </a:lnTo>
                    <a:lnTo>
                      <a:pt x="122" y="26"/>
                    </a:lnTo>
                    <a:lnTo>
                      <a:pt x="120" y="26"/>
                    </a:lnTo>
                    <a:lnTo>
                      <a:pt x="120" y="29"/>
                    </a:lnTo>
                    <a:lnTo>
                      <a:pt x="117" y="29"/>
                    </a:lnTo>
                    <a:lnTo>
                      <a:pt x="115" y="30"/>
                    </a:lnTo>
                    <a:lnTo>
                      <a:pt x="111" y="30"/>
                    </a:lnTo>
                    <a:lnTo>
                      <a:pt x="105" y="32"/>
                    </a:lnTo>
                    <a:lnTo>
                      <a:pt x="103" y="32"/>
                    </a:lnTo>
                    <a:lnTo>
                      <a:pt x="100" y="34"/>
                    </a:lnTo>
                    <a:lnTo>
                      <a:pt x="98" y="36"/>
                    </a:lnTo>
                    <a:lnTo>
                      <a:pt x="90" y="38"/>
                    </a:lnTo>
                    <a:lnTo>
                      <a:pt x="91" y="40"/>
                    </a:lnTo>
                    <a:lnTo>
                      <a:pt x="85" y="41"/>
                    </a:lnTo>
                    <a:lnTo>
                      <a:pt x="85" y="45"/>
                    </a:lnTo>
                    <a:lnTo>
                      <a:pt x="84" y="47"/>
                    </a:lnTo>
                    <a:lnTo>
                      <a:pt x="82" y="46"/>
                    </a:lnTo>
                    <a:lnTo>
                      <a:pt x="76" y="46"/>
                    </a:lnTo>
                    <a:lnTo>
                      <a:pt x="74" y="47"/>
                    </a:lnTo>
                    <a:lnTo>
                      <a:pt x="75" y="51"/>
                    </a:lnTo>
                    <a:lnTo>
                      <a:pt x="69" y="54"/>
                    </a:lnTo>
                    <a:lnTo>
                      <a:pt x="67" y="52"/>
                    </a:lnTo>
                    <a:lnTo>
                      <a:pt x="64" y="51"/>
                    </a:lnTo>
                    <a:lnTo>
                      <a:pt x="61" y="52"/>
                    </a:lnTo>
                    <a:lnTo>
                      <a:pt x="60" y="54"/>
                    </a:lnTo>
                    <a:lnTo>
                      <a:pt x="62" y="56"/>
                    </a:lnTo>
                    <a:lnTo>
                      <a:pt x="66" y="56"/>
                    </a:lnTo>
                    <a:lnTo>
                      <a:pt x="68" y="57"/>
                    </a:lnTo>
                    <a:lnTo>
                      <a:pt x="72" y="57"/>
                    </a:lnTo>
                    <a:lnTo>
                      <a:pt x="62" y="61"/>
                    </a:lnTo>
                    <a:lnTo>
                      <a:pt x="60" y="62"/>
                    </a:lnTo>
                    <a:lnTo>
                      <a:pt x="64" y="62"/>
                    </a:lnTo>
                    <a:lnTo>
                      <a:pt x="66" y="62"/>
                    </a:lnTo>
                    <a:lnTo>
                      <a:pt x="72" y="65"/>
                    </a:lnTo>
                    <a:lnTo>
                      <a:pt x="74" y="65"/>
                    </a:lnTo>
                    <a:lnTo>
                      <a:pt x="72" y="65"/>
                    </a:lnTo>
                    <a:lnTo>
                      <a:pt x="66" y="64"/>
                    </a:lnTo>
                    <a:lnTo>
                      <a:pt x="57" y="65"/>
                    </a:lnTo>
                    <a:lnTo>
                      <a:pt x="56" y="69"/>
                    </a:lnTo>
                    <a:lnTo>
                      <a:pt x="58" y="70"/>
                    </a:lnTo>
                    <a:lnTo>
                      <a:pt x="61" y="69"/>
                    </a:lnTo>
                    <a:lnTo>
                      <a:pt x="65" y="71"/>
                    </a:lnTo>
                    <a:lnTo>
                      <a:pt x="56" y="72"/>
                    </a:lnTo>
                    <a:lnTo>
                      <a:pt x="52" y="74"/>
                    </a:lnTo>
                    <a:lnTo>
                      <a:pt x="56" y="74"/>
                    </a:lnTo>
                    <a:lnTo>
                      <a:pt x="58" y="77"/>
                    </a:lnTo>
                    <a:lnTo>
                      <a:pt x="56" y="75"/>
                    </a:lnTo>
                    <a:lnTo>
                      <a:pt x="50" y="77"/>
                    </a:lnTo>
                    <a:lnTo>
                      <a:pt x="56" y="78"/>
                    </a:lnTo>
                    <a:lnTo>
                      <a:pt x="58" y="80"/>
                    </a:lnTo>
                    <a:lnTo>
                      <a:pt x="50" y="79"/>
                    </a:lnTo>
                    <a:lnTo>
                      <a:pt x="44" y="82"/>
                    </a:lnTo>
                    <a:lnTo>
                      <a:pt x="44" y="84"/>
                    </a:lnTo>
                    <a:lnTo>
                      <a:pt x="42" y="84"/>
                    </a:lnTo>
                    <a:lnTo>
                      <a:pt x="39" y="86"/>
                    </a:lnTo>
                    <a:lnTo>
                      <a:pt x="36" y="88"/>
                    </a:lnTo>
                    <a:lnTo>
                      <a:pt x="33" y="89"/>
                    </a:lnTo>
                    <a:lnTo>
                      <a:pt x="31" y="90"/>
                    </a:lnTo>
                    <a:lnTo>
                      <a:pt x="33" y="92"/>
                    </a:lnTo>
                    <a:lnTo>
                      <a:pt x="36" y="94"/>
                    </a:lnTo>
                    <a:lnTo>
                      <a:pt x="39" y="94"/>
                    </a:lnTo>
                    <a:lnTo>
                      <a:pt x="42" y="91"/>
                    </a:lnTo>
                    <a:lnTo>
                      <a:pt x="44" y="91"/>
                    </a:lnTo>
                    <a:lnTo>
                      <a:pt x="48" y="91"/>
                    </a:lnTo>
                    <a:lnTo>
                      <a:pt x="50" y="91"/>
                    </a:lnTo>
                    <a:lnTo>
                      <a:pt x="42" y="94"/>
                    </a:lnTo>
                    <a:lnTo>
                      <a:pt x="40" y="96"/>
                    </a:lnTo>
                    <a:lnTo>
                      <a:pt x="39" y="98"/>
                    </a:lnTo>
                    <a:lnTo>
                      <a:pt x="39" y="101"/>
                    </a:lnTo>
                    <a:lnTo>
                      <a:pt x="43" y="100"/>
                    </a:lnTo>
                    <a:lnTo>
                      <a:pt x="40" y="101"/>
                    </a:lnTo>
                    <a:lnTo>
                      <a:pt x="38" y="103"/>
                    </a:lnTo>
                    <a:lnTo>
                      <a:pt x="32" y="101"/>
                    </a:lnTo>
                    <a:lnTo>
                      <a:pt x="28" y="104"/>
                    </a:lnTo>
                    <a:lnTo>
                      <a:pt x="26" y="104"/>
                    </a:lnTo>
                    <a:lnTo>
                      <a:pt x="26" y="10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47" name="Freeform 113">
                <a:extLst>
                  <a:ext uri="{FF2B5EF4-FFF2-40B4-BE49-F238E27FC236}">
                    <a16:creationId xmlns:a16="http://schemas.microsoft.com/office/drawing/2014/main" id="{85528C43-0005-431A-AB4E-0F28F26A43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02" y="1356"/>
                <a:ext cx="18" cy="6"/>
              </a:xfrm>
              <a:custGeom>
                <a:avLst/>
                <a:gdLst>
                  <a:gd name="T0" fmla="*/ 0 w 18"/>
                  <a:gd name="T1" fmla="*/ 5 h 6"/>
                  <a:gd name="T2" fmla="*/ 4 w 18"/>
                  <a:gd name="T3" fmla="*/ 6 h 6"/>
                  <a:gd name="T4" fmla="*/ 13 w 18"/>
                  <a:gd name="T5" fmla="*/ 6 h 6"/>
                  <a:gd name="T6" fmla="*/ 15 w 18"/>
                  <a:gd name="T7" fmla="*/ 6 h 6"/>
                  <a:gd name="T8" fmla="*/ 18 w 18"/>
                  <a:gd name="T9" fmla="*/ 3 h 6"/>
                  <a:gd name="T10" fmla="*/ 15 w 18"/>
                  <a:gd name="T11" fmla="*/ 2 h 6"/>
                  <a:gd name="T12" fmla="*/ 12 w 18"/>
                  <a:gd name="T13" fmla="*/ 0 h 6"/>
                  <a:gd name="T14" fmla="*/ 6 w 18"/>
                  <a:gd name="T15" fmla="*/ 0 h 6"/>
                  <a:gd name="T16" fmla="*/ 4 w 18"/>
                  <a:gd name="T17" fmla="*/ 2 h 6"/>
                  <a:gd name="T18" fmla="*/ 2 w 18"/>
                  <a:gd name="T19" fmla="*/ 3 h 6"/>
                  <a:gd name="T20" fmla="*/ 0 w 18"/>
                  <a:gd name="T21" fmla="*/ 5 h 6"/>
                  <a:gd name="T22" fmla="*/ 0 w 18"/>
                  <a:gd name="T23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8" h="6">
                    <a:moveTo>
                      <a:pt x="0" y="5"/>
                    </a:moveTo>
                    <a:lnTo>
                      <a:pt x="4" y="6"/>
                    </a:lnTo>
                    <a:lnTo>
                      <a:pt x="13" y="6"/>
                    </a:lnTo>
                    <a:lnTo>
                      <a:pt x="15" y="6"/>
                    </a:lnTo>
                    <a:lnTo>
                      <a:pt x="18" y="3"/>
                    </a:lnTo>
                    <a:lnTo>
                      <a:pt x="15" y="2"/>
                    </a:lnTo>
                    <a:lnTo>
                      <a:pt x="12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2" y="3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48" name="Freeform 114">
                <a:extLst>
                  <a:ext uri="{FF2B5EF4-FFF2-40B4-BE49-F238E27FC236}">
                    <a16:creationId xmlns:a16="http://schemas.microsoft.com/office/drawing/2014/main" id="{EFF2A363-285C-497E-898A-64E3E6C78C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22" y="1350"/>
                <a:ext cx="8" cy="5"/>
              </a:xfrm>
              <a:custGeom>
                <a:avLst/>
                <a:gdLst>
                  <a:gd name="T0" fmla="*/ 0 w 8"/>
                  <a:gd name="T1" fmla="*/ 2 h 5"/>
                  <a:gd name="T2" fmla="*/ 1 w 8"/>
                  <a:gd name="T3" fmla="*/ 3 h 5"/>
                  <a:gd name="T4" fmla="*/ 6 w 8"/>
                  <a:gd name="T5" fmla="*/ 5 h 5"/>
                  <a:gd name="T6" fmla="*/ 8 w 8"/>
                  <a:gd name="T7" fmla="*/ 2 h 5"/>
                  <a:gd name="T8" fmla="*/ 6 w 8"/>
                  <a:gd name="T9" fmla="*/ 0 h 5"/>
                  <a:gd name="T10" fmla="*/ 2 w 8"/>
                  <a:gd name="T11" fmla="*/ 0 h 5"/>
                  <a:gd name="T12" fmla="*/ 0 w 8"/>
                  <a:gd name="T13" fmla="*/ 0 h 5"/>
                  <a:gd name="T14" fmla="*/ 0 w 8"/>
                  <a:gd name="T15" fmla="*/ 2 h 5"/>
                  <a:gd name="T16" fmla="*/ 0 w 8"/>
                  <a:gd name="T17" fmla="*/ 2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5">
                    <a:moveTo>
                      <a:pt x="0" y="2"/>
                    </a:moveTo>
                    <a:lnTo>
                      <a:pt x="1" y="3"/>
                    </a:lnTo>
                    <a:lnTo>
                      <a:pt x="6" y="5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49" name="Freeform 115">
                <a:extLst>
                  <a:ext uri="{FF2B5EF4-FFF2-40B4-BE49-F238E27FC236}">
                    <a16:creationId xmlns:a16="http://schemas.microsoft.com/office/drawing/2014/main" id="{5DCAC0DB-BCB9-4495-BE5E-2C8A836FD5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24" y="1340"/>
                <a:ext cx="27" cy="5"/>
              </a:xfrm>
              <a:custGeom>
                <a:avLst/>
                <a:gdLst>
                  <a:gd name="T0" fmla="*/ 0 w 27"/>
                  <a:gd name="T1" fmla="*/ 2 h 5"/>
                  <a:gd name="T2" fmla="*/ 1 w 27"/>
                  <a:gd name="T3" fmla="*/ 3 h 5"/>
                  <a:gd name="T4" fmla="*/ 7 w 27"/>
                  <a:gd name="T5" fmla="*/ 3 h 5"/>
                  <a:gd name="T6" fmla="*/ 10 w 27"/>
                  <a:gd name="T7" fmla="*/ 5 h 5"/>
                  <a:gd name="T8" fmla="*/ 13 w 27"/>
                  <a:gd name="T9" fmla="*/ 5 h 5"/>
                  <a:gd name="T10" fmla="*/ 18 w 27"/>
                  <a:gd name="T11" fmla="*/ 4 h 5"/>
                  <a:gd name="T12" fmla="*/ 24 w 27"/>
                  <a:gd name="T13" fmla="*/ 3 h 5"/>
                  <a:gd name="T14" fmla="*/ 27 w 27"/>
                  <a:gd name="T15" fmla="*/ 3 h 5"/>
                  <a:gd name="T16" fmla="*/ 15 w 27"/>
                  <a:gd name="T17" fmla="*/ 0 h 5"/>
                  <a:gd name="T18" fmla="*/ 13 w 27"/>
                  <a:gd name="T19" fmla="*/ 2 h 5"/>
                  <a:gd name="T20" fmla="*/ 9 w 27"/>
                  <a:gd name="T21" fmla="*/ 1 h 5"/>
                  <a:gd name="T22" fmla="*/ 7 w 27"/>
                  <a:gd name="T23" fmla="*/ 1 h 5"/>
                  <a:gd name="T24" fmla="*/ 4 w 27"/>
                  <a:gd name="T25" fmla="*/ 1 h 5"/>
                  <a:gd name="T26" fmla="*/ 0 w 27"/>
                  <a:gd name="T27" fmla="*/ 2 h 5"/>
                  <a:gd name="T28" fmla="*/ 0 w 27"/>
                  <a:gd name="T29" fmla="*/ 2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7" h="5">
                    <a:moveTo>
                      <a:pt x="0" y="2"/>
                    </a:moveTo>
                    <a:lnTo>
                      <a:pt x="1" y="3"/>
                    </a:lnTo>
                    <a:lnTo>
                      <a:pt x="7" y="3"/>
                    </a:lnTo>
                    <a:lnTo>
                      <a:pt x="10" y="5"/>
                    </a:lnTo>
                    <a:lnTo>
                      <a:pt x="13" y="5"/>
                    </a:lnTo>
                    <a:lnTo>
                      <a:pt x="18" y="4"/>
                    </a:lnTo>
                    <a:lnTo>
                      <a:pt x="24" y="3"/>
                    </a:lnTo>
                    <a:lnTo>
                      <a:pt x="27" y="3"/>
                    </a:lnTo>
                    <a:lnTo>
                      <a:pt x="15" y="0"/>
                    </a:lnTo>
                    <a:lnTo>
                      <a:pt x="13" y="2"/>
                    </a:lnTo>
                    <a:lnTo>
                      <a:pt x="9" y="1"/>
                    </a:lnTo>
                    <a:lnTo>
                      <a:pt x="7" y="1"/>
                    </a:lnTo>
                    <a:lnTo>
                      <a:pt x="4" y="1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50" name="Freeform 116">
                <a:extLst>
                  <a:ext uri="{FF2B5EF4-FFF2-40B4-BE49-F238E27FC236}">
                    <a16:creationId xmlns:a16="http://schemas.microsoft.com/office/drawing/2014/main" id="{D7C91335-D64E-4F2D-8FEE-AC057332EE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0" y="1333"/>
                <a:ext cx="43" cy="14"/>
              </a:xfrm>
              <a:custGeom>
                <a:avLst/>
                <a:gdLst>
                  <a:gd name="T0" fmla="*/ 0 w 43"/>
                  <a:gd name="T1" fmla="*/ 3 h 14"/>
                  <a:gd name="T2" fmla="*/ 0 w 43"/>
                  <a:gd name="T3" fmla="*/ 3 h 14"/>
                  <a:gd name="T4" fmla="*/ 9 w 43"/>
                  <a:gd name="T5" fmla="*/ 5 h 14"/>
                  <a:gd name="T6" fmla="*/ 11 w 43"/>
                  <a:gd name="T7" fmla="*/ 5 h 14"/>
                  <a:gd name="T8" fmla="*/ 15 w 43"/>
                  <a:gd name="T9" fmla="*/ 7 h 14"/>
                  <a:gd name="T10" fmla="*/ 17 w 43"/>
                  <a:gd name="T11" fmla="*/ 7 h 14"/>
                  <a:gd name="T12" fmla="*/ 20 w 43"/>
                  <a:gd name="T13" fmla="*/ 8 h 14"/>
                  <a:gd name="T14" fmla="*/ 28 w 43"/>
                  <a:gd name="T15" fmla="*/ 9 h 14"/>
                  <a:gd name="T16" fmla="*/ 37 w 43"/>
                  <a:gd name="T17" fmla="*/ 14 h 14"/>
                  <a:gd name="T18" fmla="*/ 43 w 43"/>
                  <a:gd name="T19" fmla="*/ 12 h 14"/>
                  <a:gd name="T20" fmla="*/ 43 w 43"/>
                  <a:gd name="T21" fmla="*/ 9 h 14"/>
                  <a:gd name="T22" fmla="*/ 33 w 43"/>
                  <a:gd name="T23" fmla="*/ 7 h 14"/>
                  <a:gd name="T24" fmla="*/ 29 w 43"/>
                  <a:gd name="T25" fmla="*/ 5 h 14"/>
                  <a:gd name="T26" fmla="*/ 24 w 43"/>
                  <a:gd name="T27" fmla="*/ 2 h 14"/>
                  <a:gd name="T28" fmla="*/ 17 w 43"/>
                  <a:gd name="T29" fmla="*/ 3 h 14"/>
                  <a:gd name="T30" fmla="*/ 15 w 43"/>
                  <a:gd name="T31" fmla="*/ 3 h 14"/>
                  <a:gd name="T32" fmla="*/ 11 w 43"/>
                  <a:gd name="T33" fmla="*/ 2 h 14"/>
                  <a:gd name="T34" fmla="*/ 2 w 43"/>
                  <a:gd name="T35" fmla="*/ 0 h 14"/>
                  <a:gd name="T36" fmla="*/ 0 w 43"/>
                  <a:gd name="T37" fmla="*/ 3 h 14"/>
                  <a:gd name="T38" fmla="*/ 0 w 43"/>
                  <a:gd name="T39" fmla="*/ 3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3" h="14">
                    <a:moveTo>
                      <a:pt x="0" y="3"/>
                    </a:moveTo>
                    <a:lnTo>
                      <a:pt x="0" y="3"/>
                    </a:lnTo>
                    <a:lnTo>
                      <a:pt x="9" y="5"/>
                    </a:lnTo>
                    <a:lnTo>
                      <a:pt x="11" y="5"/>
                    </a:lnTo>
                    <a:lnTo>
                      <a:pt x="15" y="7"/>
                    </a:lnTo>
                    <a:lnTo>
                      <a:pt x="17" y="7"/>
                    </a:lnTo>
                    <a:lnTo>
                      <a:pt x="20" y="8"/>
                    </a:lnTo>
                    <a:lnTo>
                      <a:pt x="28" y="9"/>
                    </a:lnTo>
                    <a:lnTo>
                      <a:pt x="37" y="14"/>
                    </a:lnTo>
                    <a:lnTo>
                      <a:pt x="43" y="12"/>
                    </a:lnTo>
                    <a:lnTo>
                      <a:pt x="43" y="9"/>
                    </a:lnTo>
                    <a:lnTo>
                      <a:pt x="33" y="7"/>
                    </a:lnTo>
                    <a:lnTo>
                      <a:pt x="29" y="5"/>
                    </a:lnTo>
                    <a:lnTo>
                      <a:pt x="24" y="2"/>
                    </a:lnTo>
                    <a:lnTo>
                      <a:pt x="17" y="3"/>
                    </a:lnTo>
                    <a:lnTo>
                      <a:pt x="15" y="3"/>
                    </a:lnTo>
                    <a:lnTo>
                      <a:pt x="11" y="2"/>
                    </a:lnTo>
                    <a:lnTo>
                      <a:pt x="2" y="0"/>
                    </a:lnTo>
                    <a:lnTo>
                      <a:pt x="0" y="3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51" name="Freeform 117">
                <a:extLst>
                  <a:ext uri="{FF2B5EF4-FFF2-40B4-BE49-F238E27FC236}">
                    <a16:creationId xmlns:a16="http://schemas.microsoft.com/office/drawing/2014/main" id="{972FDF78-1932-4974-8D3E-3CFF12E77B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45" y="1343"/>
                <a:ext cx="19" cy="6"/>
              </a:xfrm>
              <a:custGeom>
                <a:avLst/>
                <a:gdLst>
                  <a:gd name="T0" fmla="*/ 0 w 19"/>
                  <a:gd name="T1" fmla="*/ 2 h 6"/>
                  <a:gd name="T2" fmla="*/ 1 w 19"/>
                  <a:gd name="T3" fmla="*/ 5 h 6"/>
                  <a:gd name="T4" fmla="*/ 4 w 19"/>
                  <a:gd name="T5" fmla="*/ 6 h 6"/>
                  <a:gd name="T6" fmla="*/ 8 w 19"/>
                  <a:gd name="T7" fmla="*/ 6 h 6"/>
                  <a:gd name="T8" fmla="*/ 10 w 19"/>
                  <a:gd name="T9" fmla="*/ 5 h 6"/>
                  <a:gd name="T10" fmla="*/ 17 w 19"/>
                  <a:gd name="T11" fmla="*/ 6 h 6"/>
                  <a:gd name="T12" fmla="*/ 19 w 19"/>
                  <a:gd name="T13" fmla="*/ 5 h 6"/>
                  <a:gd name="T14" fmla="*/ 17 w 19"/>
                  <a:gd name="T15" fmla="*/ 2 h 6"/>
                  <a:gd name="T16" fmla="*/ 14 w 19"/>
                  <a:gd name="T17" fmla="*/ 0 h 6"/>
                  <a:gd name="T18" fmla="*/ 5 w 19"/>
                  <a:gd name="T19" fmla="*/ 1 h 6"/>
                  <a:gd name="T20" fmla="*/ 2 w 19"/>
                  <a:gd name="T21" fmla="*/ 2 h 6"/>
                  <a:gd name="T22" fmla="*/ 0 w 19"/>
                  <a:gd name="T23" fmla="*/ 2 h 6"/>
                  <a:gd name="T24" fmla="*/ 0 w 19"/>
                  <a:gd name="T25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6">
                    <a:moveTo>
                      <a:pt x="0" y="2"/>
                    </a:moveTo>
                    <a:lnTo>
                      <a:pt x="1" y="5"/>
                    </a:lnTo>
                    <a:lnTo>
                      <a:pt x="4" y="6"/>
                    </a:lnTo>
                    <a:lnTo>
                      <a:pt x="8" y="6"/>
                    </a:lnTo>
                    <a:lnTo>
                      <a:pt x="10" y="5"/>
                    </a:lnTo>
                    <a:lnTo>
                      <a:pt x="17" y="6"/>
                    </a:lnTo>
                    <a:lnTo>
                      <a:pt x="19" y="5"/>
                    </a:lnTo>
                    <a:lnTo>
                      <a:pt x="17" y="2"/>
                    </a:lnTo>
                    <a:lnTo>
                      <a:pt x="14" y="0"/>
                    </a:lnTo>
                    <a:lnTo>
                      <a:pt x="5" y="1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52" name="Freeform 118">
                <a:extLst>
                  <a:ext uri="{FF2B5EF4-FFF2-40B4-BE49-F238E27FC236}">
                    <a16:creationId xmlns:a16="http://schemas.microsoft.com/office/drawing/2014/main" id="{AD3FF816-A54E-4701-BB7F-E7ACAEA058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45" y="1324"/>
                <a:ext cx="32" cy="7"/>
              </a:xfrm>
              <a:custGeom>
                <a:avLst/>
                <a:gdLst>
                  <a:gd name="T0" fmla="*/ 1 w 32"/>
                  <a:gd name="T1" fmla="*/ 6 h 7"/>
                  <a:gd name="T2" fmla="*/ 1 w 32"/>
                  <a:gd name="T3" fmla="*/ 6 h 7"/>
                  <a:gd name="T4" fmla="*/ 6 w 32"/>
                  <a:gd name="T5" fmla="*/ 7 h 7"/>
                  <a:gd name="T6" fmla="*/ 9 w 32"/>
                  <a:gd name="T7" fmla="*/ 6 h 7"/>
                  <a:gd name="T8" fmla="*/ 12 w 32"/>
                  <a:gd name="T9" fmla="*/ 7 h 7"/>
                  <a:gd name="T10" fmla="*/ 27 w 32"/>
                  <a:gd name="T11" fmla="*/ 3 h 7"/>
                  <a:gd name="T12" fmla="*/ 29 w 32"/>
                  <a:gd name="T13" fmla="*/ 3 h 7"/>
                  <a:gd name="T14" fmla="*/ 32 w 32"/>
                  <a:gd name="T15" fmla="*/ 3 h 7"/>
                  <a:gd name="T16" fmla="*/ 30 w 32"/>
                  <a:gd name="T17" fmla="*/ 2 h 7"/>
                  <a:gd name="T18" fmla="*/ 27 w 32"/>
                  <a:gd name="T19" fmla="*/ 2 h 7"/>
                  <a:gd name="T20" fmla="*/ 21 w 32"/>
                  <a:gd name="T21" fmla="*/ 0 h 7"/>
                  <a:gd name="T22" fmla="*/ 18 w 32"/>
                  <a:gd name="T23" fmla="*/ 0 h 7"/>
                  <a:gd name="T24" fmla="*/ 16 w 32"/>
                  <a:gd name="T25" fmla="*/ 0 h 7"/>
                  <a:gd name="T26" fmla="*/ 12 w 32"/>
                  <a:gd name="T27" fmla="*/ 1 h 7"/>
                  <a:gd name="T28" fmla="*/ 13 w 32"/>
                  <a:gd name="T29" fmla="*/ 4 h 7"/>
                  <a:gd name="T30" fmla="*/ 5 w 32"/>
                  <a:gd name="T31" fmla="*/ 2 h 7"/>
                  <a:gd name="T32" fmla="*/ 3 w 32"/>
                  <a:gd name="T33" fmla="*/ 2 h 7"/>
                  <a:gd name="T34" fmla="*/ 0 w 32"/>
                  <a:gd name="T35" fmla="*/ 2 h 7"/>
                  <a:gd name="T36" fmla="*/ 1 w 32"/>
                  <a:gd name="T37" fmla="*/ 6 h 7"/>
                  <a:gd name="T38" fmla="*/ 1 w 32"/>
                  <a:gd name="T39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32" h="7">
                    <a:moveTo>
                      <a:pt x="1" y="6"/>
                    </a:moveTo>
                    <a:lnTo>
                      <a:pt x="1" y="6"/>
                    </a:lnTo>
                    <a:lnTo>
                      <a:pt x="6" y="7"/>
                    </a:lnTo>
                    <a:lnTo>
                      <a:pt x="9" y="6"/>
                    </a:lnTo>
                    <a:lnTo>
                      <a:pt x="12" y="7"/>
                    </a:lnTo>
                    <a:lnTo>
                      <a:pt x="27" y="3"/>
                    </a:lnTo>
                    <a:lnTo>
                      <a:pt x="29" y="3"/>
                    </a:lnTo>
                    <a:lnTo>
                      <a:pt x="32" y="3"/>
                    </a:lnTo>
                    <a:lnTo>
                      <a:pt x="30" y="2"/>
                    </a:lnTo>
                    <a:lnTo>
                      <a:pt x="27" y="2"/>
                    </a:lnTo>
                    <a:lnTo>
                      <a:pt x="21" y="0"/>
                    </a:lnTo>
                    <a:lnTo>
                      <a:pt x="18" y="0"/>
                    </a:lnTo>
                    <a:lnTo>
                      <a:pt x="16" y="0"/>
                    </a:lnTo>
                    <a:lnTo>
                      <a:pt x="12" y="1"/>
                    </a:lnTo>
                    <a:lnTo>
                      <a:pt x="13" y="4"/>
                    </a:lnTo>
                    <a:lnTo>
                      <a:pt x="5" y="2"/>
                    </a:lnTo>
                    <a:lnTo>
                      <a:pt x="3" y="2"/>
                    </a:lnTo>
                    <a:lnTo>
                      <a:pt x="0" y="2"/>
                    </a:lnTo>
                    <a:lnTo>
                      <a:pt x="1" y="6"/>
                    </a:lnTo>
                    <a:lnTo>
                      <a:pt x="1" y="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53" name="Freeform 119">
                <a:extLst>
                  <a:ext uri="{FF2B5EF4-FFF2-40B4-BE49-F238E27FC236}">
                    <a16:creationId xmlns:a16="http://schemas.microsoft.com/office/drawing/2014/main" id="{963387CE-EE25-4F0A-AD82-D6987E1ABF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49" y="1357"/>
                <a:ext cx="18" cy="9"/>
              </a:xfrm>
              <a:custGeom>
                <a:avLst/>
                <a:gdLst>
                  <a:gd name="T0" fmla="*/ 0 w 18"/>
                  <a:gd name="T1" fmla="*/ 8 h 9"/>
                  <a:gd name="T2" fmla="*/ 0 w 18"/>
                  <a:gd name="T3" fmla="*/ 9 h 9"/>
                  <a:gd name="T4" fmla="*/ 4 w 18"/>
                  <a:gd name="T5" fmla="*/ 9 h 9"/>
                  <a:gd name="T6" fmla="*/ 15 w 18"/>
                  <a:gd name="T7" fmla="*/ 9 h 9"/>
                  <a:gd name="T8" fmla="*/ 17 w 18"/>
                  <a:gd name="T9" fmla="*/ 9 h 9"/>
                  <a:gd name="T10" fmla="*/ 18 w 18"/>
                  <a:gd name="T11" fmla="*/ 5 h 9"/>
                  <a:gd name="T12" fmla="*/ 17 w 18"/>
                  <a:gd name="T13" fmla="*/ 0 h 9"/>
                  <a:gd name="T14" fmla="*/ 14 w 18"/>
                  <a:gd name="T15" fmla="*/ 0 h 9"/>
                  <a:gd name="T16" fmla="*/ 10 w 18"/>
                  <a:gd name="T17" fmla="*/ 1 h 9"/>
                  <a:gd name="T18" fmla="*/ 5 w 18"/>
                  <a:gd name="T19" fmla="*/ 1 h 9"/>
                  <a:gd name="T20" fmla="*/ 2 w 18"/>
                  <a:gd name="T21" fmla="*/ 3 h 9"/>
                  <a:gd name="T22" fmla="*/ 2 w 18"/>
                  <a:gd name="T23" fmla="*/ 5 h 9"/>
                  <a:gd name="T24" fmla="*/ 0 w 18"/>
                  <a:gd name="T25" fmla="*/ 8 h 9"/>
                  <a:gd name="T26" fmla="*/ 0 w 18"/>
                  <a:gd name="T27" fmla="*/ 8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8" h="9">
                    <a:moveTo>
                      <a:pt x="0" y="8"/>
                    </a:moveTo>
                    <a:lnTo>
                      <a:pt x="0" y="9"/>
                    </a:lnTo>
                    <a:lnTo>
                      <a:pt x="4" y="9"/>
                    </a:lnTo>
                    <a:lnTo>
                      <a:pt x="15" y="9"/>
                    </a:lnTo>
                    <a:lnTo>
                      <a:pt x="17" y="9"/>
                    </a:lnTo>
                    <a:lnTo>
                      <a:pt x="18" y="5"/>
                    </a:lnTo>
                    <a:lnTo>
                      <a:pt x="17" y="0"/>
                    </a:lnTo>
                    <a:lnTo>
                      <a:pt x="14" y="0"/>
                    </a:lnTo>
                    <a:lnTo>
                      <a:pt x="10" y="1"/>
                    </a:lnTo>
                    <a:lnTo>
                      <a:pt x="5" y="1"/>
                    </a:lnTo>
                    <a:lnTo>
                      <a:pt x="2" y="3"/>
                    </a:lnTo>
                    <a:lnTo>
                      <a:pt x="2" y="5"/>
                    </a:lnTo>
                    <a:lnTo>
                      <a:pt x="0" y="8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54" name="Freeform 120">
                <a:extLst>
                  <a:ext uri="{FF2B5EF4-FFF2-40B4-BE49-F238E27FC236}">
                    <a16:creationId xmlns:a16="http://schemas.microsoft.com/office/drawing/2014/main" id="{53DE4096-8B28-4BAF-8322-52100EF773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53" y="1333"/>
                <a:ext cx="29" cy="8"/>
              </a:xfrm>
              <a:custGeom>
                <a:avLst/>
                <a:gdLst>
                  <a:gd name="T0" fmla="*/ 0 w 29"/>
                  <a:gd name="T1" fmla="*/ 0 h 8"/>
                  <a:gd name="T2" fmla="*/ 2 w 29"/>
                  <a:gd name="T3" fmla="*/ 1 h 8"/>
                  <a:gd name="T4" fmla="*/ 9 w 29"/>
                  <a:gd name="T5" fmla="*/ 2 h 8"/>
                  <a:gd name="T6" fmla="*/ 11 w 29"/>
                  <a:gd name="T7" fmla="*/ 5 h 8"/>
                  <a:gd name="T8" fmla="*/ 14 w 29"/>
                  <a:gd name="T9" fmla="*/ 5 h 8"/>
                  <a:gd name="T10" fmla="*/ 18 w 29"/>
                  <a:gd name="T11" fmla="*/ 8 h 8"/>
                  <a:gd name="T12" fmla="*/ 23 w 29"/>
                  <a:gd name="T13" fmla="*/ 8 h 8"/>
                  <a:gd name="T14" fmla="*/ 29 w 29"/>
                  <a:gd name="T15" fmla="*/ 6 h 8"/>
                  <a:gd name="T16" fmla="*/ 23 w 29"/>
                  <a:gd name="T17" fmla="*/ 5 h 8"/>
                  <a:gd name="T18" fmla="*/ 20 w 29"/>
                  <a:gd name="T19" fmla="*/ 2 h 8"/>
                  <a:gd name="T20" fmla="*/ 14 w 29"/>
                  <a:gd name="T21" fmla="*/ 2 h 8"/>
                  <a:gd name="T22" fmla="*/ 9 w 29"/>
                  <a:gd name="T23" fmla="*/ 0 h 8"/>
                  <a:gd name="T24" fmla="*/ 0 w 29"/>
                  <a:gd name="T25" fmla="*/ 0 h 8"/>
                  <a:gd name="T26" fmla="*/ 0 w 29"/>
                  <a:gd name="T27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9" h="8">
                    <a:moveTo>
                      <a:pt x="0" y="0"/>
                    </a:moveTo>
                    <a:lnTo>
                      <a:pt x="2" y="1"/>
                    </a:lnTo>
                    <a:lnTo>
                      <a:pt x="9" y="2"/>
                    </a:lnTo>
                    <a:lnTo>
                      <a:pt x="11" y="5"/>
                    </a:lnTo>
                    <a:lnTo>
                      <a:pt x="14" y="5"/>
                    </a:lnTo>
                    <a:lnTo>
                      <a:pt x="18" y="8"/>
                    </a:lnTo>
                    <a:lnTo>
                      <a:pt x="23" y="8"/>
                    </a:lnTo>
                    <a:lnTo>
                      <a:pt x="29" y="6"/>
                    </a:lnTo>
                    <a:lnTo>
                      <a:pt x="23" y="5"/>
                    </a:lnTo>
                    <a:lnTo>
                      <a:pt x="20" y="2"/>
                    </a:lnTo>
                    <a:lnTo>
                      <a:pt x="14" y="2"/>
                    </a:lnTo>
                    <a:lnTo>
                      <a:pt x="9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55" name="Freeform 121">
                <a:extLst>
                  <a:ext uri="{FF2B5EF4-FFF2-40B4-BE49-F238E27FC236}">
                    <a16:creationId xmlns:a16="http://schemas.microsoft.com/office/drawing/2014/main" id="{121147A3-DB3A-4B8F-9C92-37AD4EA86D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63" y="1318"/>
                <a:ext cx="22" cy="7"/>
              </a:xfrm>
              <a:custGeom>
                <a:avLst/>
                <a:gdLst>
                  <a:gd name="T0" fmla="*/ 17 w 22"/>
                  <a:gd name="T1" fmla="*/ 7 h 7"/>
                  <a:gd name="T2" fmla="*/ 19 w 22"/>
                  <a:gd name="T3" fmla="*/ 6 h 7"/>
                  <a:gd name="T4" fmla="*/ 22 w 22"/>
                  <a:gd name="T5" fmla="*/ 5 h 7"/>
                  <a:gd name="T6" fmla="*/ 20 w 22"/>
                  <a:gd name="T7" fmla="*/ 4 h 7"/>
                  <a:gd name="T8" fmla="*/ 17 w 22"/>
                  <a:gd name="T9" fmla="*/ 3 h 7"/>
                  <a:gd name="T10" fmla="*/ 13 w 22"/>
                  <a:gd name="T11" fmla="*/ 1 h 7"/>
                  <a:gd name="T12" fmla="*/ 11 w 22"/>
                  <a:gd name="T13" fmla="*/ 0 h 7"/>
                  <a:gd name="T14" fmla="*/ 8 w 22"/>
                  <a:gd name="T15" fmla="*/ 1 h 7"/>
                  <a:gd name="T16" fmla="*/ 5 w 22"/>
                  <a:gd name="T17" fmla="*/ 1 h 7"/>
                  <a:gd name="T18" fmla="*/ 2 w 22"/>
                  <a:gd name="T19" fmla="*/ 3 h 7"/>
                  <a:gd name="T20" fmla="*/ 0 w 22"/>
                  <a:gd name="T21" fmla="*/ 5 h 7"/>
                  <a:gd name="T22" fmla="*/ 5 w 22"/>
                  <a:gd name="T23" fmla="*/ 5 h 7"/>
                  <a:gd name="T24" fmla="*/ 9 w 22"/>
                  <a:gd name="T25" fmla="*/ 5 h 7"/>
                  <a:gd name="T26" fmla="*/ 11 w 22"/>
                  <a:gd name="T27" fmla="*/ 6 h 7"/>
                  <a:gd name="T28" fmla="*/ 17 w 22"/>
                  <a:gd name="T29" fmla="*/ 7 h 7"/>
                  <a:gd name="T30" fmla="*/ 17 w 22"/>
                  <a:gd name="T31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2" h="7">
                    <a:moveTo>
                      <a:pt x="17" y="7"/>
                    </a:moveTo>
                    <a:lnTo>
                      <a:pt x="19" y="6"/>
                    </a:lnTo>
                    <a:lnTo>
                      <a:pt x="22" y="5"/>
                    </a:lnTo>
                    <a:lnTo>
                      <a:pt x="20" y="4"/>
                    </a:lnTo>
                    <a:lnTo>
                      <a:pt x="17" y="3"/>
                    </a:lnTo>
                    <a:lnTo>
                      <a:pt x="13" y="1"/>
                    </a:lnTo>
                    <a:lnTo>
                      <a:pt x="11" y="0"/>
                    </a:lnTo>
                    <a:lnTo>
                      <a:pt x="8" y="1"/>
                    </a:lnTo>
                    <a:lnTo>
                      <a:pt x="5" y="1"/>
                    </a:lnTo>
                    <a:lnTo>
                      <a:pt x="2" y="3"/>
                    </a:lnTo>
                    <a:lnTo>
                      <a:pt x="0" y="5"/>
                    </a:lnTo>
                    <a:lnTo>
                      <a:pt x="5" y="5"/>
                    </a:lnTo>
                    <a:lnTo>
                      <a:pt x="9" y="5"/>
                    </a:lnTo>
                    <a:lnTo>
                      <a:pt x="11" y="6"/>
                    </a:lnTo>
                    <a:lnTo>
                      <a:pt x="17" y="7"/>
                    </a:lnTo>
                    <a:lnTo>
                      <a:pt x="17" y="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56" name="Freeform 122">
                <a:extLst>
                  <a:ext uri="{FF2B5EF4-FFF2-40B4-BE49-F238E27FC236}">
                    <a16:creationId xmlns:a16="http://schemas.microsoft.com/office/drawing/2014/main" id="{B826EF85-EB83-42AE-90A9-E7E59614D4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66" y="1353"/>
                <a:ext cx="28" cy="12"/>
              </a:xfrm>
              <a:custGeom>
                <a:avLst/>
                <a:gdLst>
                  <a:gd name="T0" fmla="*/ 8 w 28"/>
                  <a:gd name="T1" fmla="*/ 12 h 12"/>
                  <a:gd name="T2" fmla="*/ 13 w 28"/>
                  <a:gd name="T3" fmla="*/ 12 h 12"/>
                  <a:gd name="T4" fmla="*/ 13 w 28"/>
                  <a:gd name="T5" fmla="*/ 9 h 12"/>
                  <a:gd name="T6" fmla="*/ 15 w 28"/>
                  <a:gd name="T7" fmla="*/ 9 h 12"/>
                  <a:gd name="T8" fmla="*/ 17 w 28"/>
                  <a:gd name="T9" fmla="*/ 8 h 12"/>
                  <a:gd name="T10" fmla="*/ 15 w 28"/>
                  <a:gd name="T11" fmla="*/ 6 h 12"/>
                  <a:gd name="T12" fmla="*/ 18 w 28"/>
                  <a:gd name="T13" fmla="*/ 6 h 12"/>
                  <a:gd name="T14" fmla="*/ 21 w 28"/>
                  <a:gd name="T15" fmla="*/ 6 h 12"/>
                  <a:gd name="T16" fmla="*/ 23 w 28"/>
                  <a:gd name="T17" fmla="*/ 5 h 12"/>
                  <a:gd name="T18" fmla="*/ 26 w 28"/>
                  <a:gd name="T19" fmla="*/ 5 h 12"/>
                  <a:gd name="T20" fmla="*/ 28 w 28"/>
                  <a:gd name="T21" fmla="*/ 4 h 12"/>
                  <a:gd name="T22" fmla="*/ 18 w 28"/>
                  <a:gd name="T23" fmla="*/ 0 h 12"/>
                  <a:gd name="T24" fmla="*/ 11 w 28"/>
                  <a:gd name="T25" fmla="*/ 0 h 12"/>
                  <a:gd name="T26" fmla="*/ 4 w 28"/>
                  <a:gd name="T27" fmla="*/ 0 h 12"/>
                  <a:gd name="T28" fmla="*/ 0 w 28"/>
                  <a:gd name="T29" fmla="*/ 2 h 12"/>
                  <a:gd name="T30" fmla="*/ 2 w 28"/>
                  <a:gd name="T31" fmla="*/ 3 h 12"/>
                  <a:gd name="T32" fmla="*/ 2 w 28"/>
                  <a:gd name="T33" fmla="*/ 6 h 12"/>
                  <a:gd name="T34" fmla="*/ 4 w 28"/>
                  <a:gd name="T35" fmla="*/ 8 h 12"/>
                  <a:gd name="T36" fmla="*/ 6 w 28"/>
                  <a:gd name="T37" fmla="*/ 12 h 12"/>
                  <a:gd name="T38" fmla="*/ 8 w 28"/>
                  <a:gd name="T39" fmla="*/ 12 h 12"/>
                  <a:gd name="T40" fmla="*/ 8 w 28"/>
                  <a:gd name="T41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8" h="12">
                    <a:moveTo>
                      <a:pt x="8" y="12"/>
                    </a:moveTo>
                    <a:lnTo>
                      <a:pt x="13" y="12"/>
                    </a:lnTo>
                    <a:lnTo>
                      <a:pt x="13" y="9"/>
                    </a:lnTo>
                    <a:lnTo>
                      <a:pt x="15" y="9"/>
                    </a:lnTo>
                    <a:lnTo>
                      <a:pt x="17" y="8"/>
                    </a:lnTo>
                    <a:lnTo>
                      <a:pt x="15" y="6"/>
                    </a:lnTo>
                    <a:lnTo>
                      <a:pt x="18" y="6"/>
                    </a:lnTo>
                    <a:lnTo>
                      <a:pt x="21" y="6"/>
                    </a:lnTo>
                    <a:lnTo>
                      <a:pt x="23" y="5"/>
                    </a:lnTo>
                    <a:lnTo>
                      <a:pt x="26" y="5"/>
                    </a:lnTo>
                    <a:lnTo>
                      <a:pt x="28" y="4"/>
                    </a:lnTo>
                    <a:lnTo>
                      <a:pt x="18" y="0"/>
                    </a:lnTo>
                    <a:lnTo>
                      <a:pt x="11" y="0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2" y="3"/>
                    </a:lnTo>
                    <a:lnTo>
                      <a:pt x="2" y="6"/>
                    </a:lnTo>
                    <a:lnTo>
                      <a:pt x="4" y="8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8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57" name="Freeform 123">
                <a:extLst>
                  <a:ext uri="{FF2B5EF4-FFF2-40B4-BE49-F238E27FC236}">
                    <a16:creationId xmlns:a16="http://schemas.microsoft.com/office/drawing/2014/main" id="{BC242B0D-6421-4A53-ACCB-365C079AE7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66" y="1328"/>
                <a:ext cx="11" cy="4"/>
              </a:xfrm>
              <a:custGeom>
                <a:avLst/>
                <a:gdLst>
                  <a:gd name="T0" fmla="*/ 0 w 11"/>
                  <a:gd name="T1" fmla="*/ 3 h 4"/>
                  <a:gd name="T2" fmla="*/ 1 w 11"/>
                  <a:gd name="T3" fmla="*/ 4 h 4"/>
                  <a:gd name="T4" fmla="*/ 7 w 11"/>
                  <a:gd name="T5" fmla="*/ 4 h 4"/>
                  <a:gd name="T6" fmla="*/ 10 w 11"/>
                  <a:gd name="T7" fmla="*/ 4 h 4"/>
                  <a:gd name="T8" fmla="*/ 11 w 11"/>
                  <a:gd name="T9" fmla="*/ 0 h 4"/>
                  <a:gd name="T10" fmla="*/ 6 w 11"/>
                  <a:gd name="T11" fmla="*/ 2 h 4"/>
                  <a:gd name="T12" fmla="*/ 0 w 11"/>
                  <a:gd name="T13" fmla="*/ 3 h 4"/>
                  <a:gd name="T14" fmla="*/ 0 w 11"/>
                  <a:gd name="T15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4">
                    <a:moveTo>
                      <a:pt x="0" y="3"/>
                    </a:moveTo>
                    <a:lnTo>
                      <a:pt x="1" y="4"/>
                    </a:lnTo>
                    <a:lnTo>
                      <a:pt x="7" y="4"/>
                    </a:lnTo>
                    <a:lnTo>
                      <a:pt x="10" y="4"/>
                    </a:lnTo>
                    <a:lnTo>
                      <a:pt x="11" y="0"/>
                    </a:lnTo>
                    <a:lnTo>
                      <a:pt x="6" y="2"/>
                    </a:lnTo>
                    <a:lnTo>
                      <a:pt x="0" y="3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58" name="Freeform 124">
                <a:extLst>
                  <a:ext uri="{FF2B5EF4-FFF2-40B4-BE49-F238E27FC236}">
                    <a16:creationId xmlns:a16="http://schemas.microsoft.com/office/drawing/2014/main" id="{BCF302FE-6C23-45A7-841C-1760AD1C33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76" y="1333"/>
                <a:ext cx="12" cy="6"/>
              </a:xfrm>
              <a:custGeom>
                <a:avLst/>
                <a:gdLst>
                  <a:gd name="T0" fmla="*/ 0 w 12"/>
                  <a:gd name="T1" fmla="*/ 2 h 6"/>
                  <a:gd name="T2" fmla="*/ 8 w 12"/>
                  <a:gd name="T3" fmla="*/ 6 h 6"/>
                  <a:gd name="T4" fmla="*/ 11 w 12"/>
                  <a:gd name="T5" fmla="*/ 5 h 6"/>
                  <a:gd name="T6" fmla="*/ 12 w 12"/>
                  <a:gd name="T7" fmla="*/ 2 h 6"/>
                  <a:gd name="T8" fmla="*/ 6 w 12"/>
                  <a:gd name="T9" fmla="*/ 0 h 6"/>
                  <a:gd name="T10" fmla="*/ 4 w 12"/>
                  <a:gd name="T11" fmla="*/ 0 h 6"/>
                  <a:gd name="T12" fmla="*/ 0 w 12"/>
                  <a:gd name="T13" fmla="*/ 2 h 6"/>
                  <a:gd name="T14" fmla="*/ 0 w 12"/>
                  <a:gd name="T15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" h="6">
                    <a:moveTo>
                      <a:pt x="0" y="2"/>
                    </a:moveTo>
                    <a:lnTo>
                      <a:pt x="8" y="6"/>
                    </a:lnTo>
                    <a:lnTo>
                      <a:pt x="11" y="5"/>
                    </a:lnTo>
                    <a:lnTo>
                      <a:pt x="12" y="2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59" name="Freeform 125">
                <a:extLst>
                  <a:ext uri="{FF2B5EF4-FFF2-40B4-BE49-F238E27FC236}">
                    <a16:creationId xmlns:a16="http://schemas.microsoft.com/office/drawing/2014/main" id="{6D93FB4C-6453-4CA9-85AE-6BBEE1C32B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77" y="1340"/>
                <a:ext cx="15" cy="4"/>
              </a:xfrm>
              <a:custGeom>
                <a:avLst/>
                <a:gdLst>
                  <a:gd name="T0" fmla="*/ 2 w 15"/>
                  <a:gd name="T1" fmla="*/ 2 h 4"/>
                  <a:gd name="T2" fmla="*/ 0 w 15"/>
                  <a:gd name="T3" fmla="*/ 3 h 4"/>
                  <a:gd name="T4" fmla="*/ 10 w 15"/>
                  <a:gd name="T5" fmla="*/ 4 h 4"/>
                  <a:gd name="T6" fmla="*/ 12 w 15"/>
                  <a:gd name="T7" fmla="*/ 3 h 4"/>
                  <a:gd name="T8" fmla="*/ 15 w 15"/>
                  <a:gd name="T9" fmla="*/ 3 h 4"/>
                  <a:gd name="T10" fmla="*/ 15 w 15"/>
                  <a:gd name="T11" fmla="*/ 1 h 4"/>
                  <a:gd name="T12" fmla="*/ 12 w 15"/>
                  <a:gd name="T13" fmla="*/ 0 h 4"/>
                  <a:gd name="T14" fmla="*/ 7 w 15"/>
                  <a:gd name="T15" fmla="*/ 1 h 4"/>
                  <a:gd name="T16" fmla="*/ 2 w 15"/>
                  <a:gd name="T17" fmla="*/ 2 h 4"/>
                  <a:gd name="T18" fmla="*/ 2 w 15"/>
                  <a:gd name="T19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" h="4">
                    <a:moveTo>
                      <a:pt x="2" y="2"/>
                    </a:moveTo>
                    <a:lnTo>
                      <a:pt x="0" y="3"/>
                    </a:lnTo>
                    <a:lnTo>
                      <a:pt x="10" y="4"/>
                    </a:lnTo>
                    <a:lnTo>
                      <a:pt x="12" y="3"/>
                    </a:lnTo>
                    <a:lnTo>
                      <a:pt x="15" y="3"/>
                    </a:lnTo>
                    <a:lnTo>
                      <a:pt x="15" y="1"/>
                    </a:lnTo>
                    <a:lnTo>
                      <a:pt x="12" y="0"/>
                    </a:lnTo>
                    <a:lnTo>
                      <a:pt x="7" y="1"/>
                    </a:lnTo>
                    <a:lnTo>
                      <a:pt x="2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60" name="Freeform 126">
                <a:extLst>
                  <a:ext uri="{FF2B5EF4-FFF2-40B4-BE49-F238E27FC236}">
                    <a16:creationId xmlns:a16="http://schemas.microsoft.com/office/drawing/2014/main" id="{D4216DD6-1999-466D-AC78-71874BBD18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79" y="1309"/>
                <a:ext cx="19" cy="5"/>
              </a:xfrm>
              <a:custGeom>
                <a:avLst/>
                <a:gdLst>
                  <a:gd name="T0" fmla="*/ 1 w 19"/>
                  <a:gd name="T1" fmla="*/ 5 h 5"/>
                  <a:gd name="T2" fmla="*/ 9 w 19"/>
                  <a:gd name="T3" fmla="*/ 4 h 5"/>
                  <a:gd name="T4" fmla="*/ 18 w 19"/>
                  <a:gd name="T5" fmla="*/ 4 h 5"/>
                  <a:gd name="T6" fmla="*/ 19 w 19"/>
                  <a:gd name="T7" fmla="*/ 0 h 5"/>
                  <a:gd name="T8" fmla="*/ 17 w 19"/>
                  <a:gd name="T9" fmla="*/ 0 h 5"/>
                  <a:gd name="T10" fmla="*/ 2 w 19"/>
                  <a:gd name="T11" fmla="*/ 1 h 5"/>
                  <a:gd name="T12" fmla="*/ 0 w 19"/>
                  <a:gd name="T13" fmla="*/ 1 h 5"/>
                  <a:gd name="T14" fmla="*/ 2 w 19"/>
                  <a:gd name="T15" fmla="*/ 2 h 5"/>
                  <a:gd name="T16" fmla="*/ 1 w 19"/>
                  <a:gd name="T17" fmla="*/ 5 h 5"/>
                  <a:gd name="T18" fmla="*/ 1 w 19"/>
                  <a:gd name="T19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" h="5">
                    <a:moveTo>
                      <a:pt x="1" y="5"/>
                    </a:moveTo>
                    <a:lnTo>
                      <a:pt x="9" y="4"/>
                    </a:lnTo>
                    <a:lnTo>
                      <a:pt x="18" y="4"/>
                    </a:lnTo>
                    <a:lnTo>
                      <a:pt x="19" y="0"/>
                    </a:lnTo>
                    <a:lnTo>
                      <a:pt x="17" y="0"/>
                    </a:lnTo>
                    <a:lnTo>
                      <a:pt x="2" y="1"/>
                    </a:lnTo>
                    <a:lnTo>
                      <a:pt x="0" y="1"/>
                    </a:lnTo>
                    <a:lnTo>
                      <a:pt x="2" y="2"/>
                    </a:lnTo>
                    <a:lnTo>
                      <a:pt x="1" y="5"/>
                    </a:lnTo>
                    <a:lnTo>
                      <a:pt x="1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61" name="Freeform 127">
                <a:extLst>
                  <a:ext uri="{FF2B5EF4-FFF2-40B4-BE49-F238E27FC236}">
                    <a16:creationId xmlns:a16="http://schemas.microsoft.com/office/drawing/2014/main" id="{FBDD778E-B921-48FA-9A21-718A23992A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85" y="1324"/>
                <a:ext cx="12" cy="3"/>
              </a:xfrm>
              <a:custGeom>
                <a:avLst/>
                <a:gdLst>
                  <a:gd name="T0" fmla="*/ 0 w 12"/>
                  <a:gd name="T1" fmla="*/ 1 h 3"/>
                  <a:gd name="T2" fmla="*/ 0 w 12"/>
                  <a:gd name="T3" fmla="*/ 2 h 3"/>
                  <a:gd name="T4" fmla="*/ 4 w 12"/>
                  <a:gd name="T5" fmla="*/ 3 h 3"/>
                  <a:gd name="T6" fmla="*/ 8 w 12"/>
                  <a:gd name="T7" fmla="*/ 3 h 3"/>
                  <a:gd name="T8" fmla="*/ 12 w 12"/>
                  <a:gd name="T9" fmla="*/ 1 h 3"/>
                  <a:gd name="T10" fmla="*/ 8 w 12"/>
                  <a:gd name="T11" fmla="*/ 0 h 3"/>
                  <a:gd name="T12" fmla="*/ 6 w 12"/>
                  <a:gd name="T13" fmla="*/ 0 h 3"/>
                  <a:gd name="T14" fmla="*/ 0 w 12"/>
                  <a:gd name="T15" fmla="*/ 1 h 3"/>
                  <a:gd name="T16" fmla="*/ 0 w 12"/>
                  <a:gd name="T17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" h="3">
                    <a:moveTo>
                      <a:pt x="0" y="1"/>
                    </a:moveTo>
                    <a:lnTo>
                      <a:pt x="0" y="2"/>
                    </a:lnTo>
                    <a:lnTo>
                      <a:pt x="4" y="3"/>
                    </a:lnTo>
                    <a:lnTo>
                      <a:pt x="8" y="3"/>
                    </a:lnTo>
                    <a:lnTo>
                      <a:pt x="12" y="1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0" y="1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62" name="Freeform 128">
                <a:extLst>
                  <a:ext uri="{FF2B5EF4-FFF2-40B4-BE49-F238E27FC236}">
                    <a16:creationId xmlns:a16="http://schemas.microsoft.com/office/drawing/2014/main" id="{45C72761-2C4E-42C5-A2F2-16F849EFEB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90" y="1487"/>
                <a:ext cx="6" cy="2"/>
              </a:xfrm>
              <a:custGeom>
                <a:avLst/>
                <a:gdLst>
                  <a:gd name="T0" fmla="*/ 0 w 6"/>
                  <a:gd name="T1" fmla="*/ 2 h 2"/>
                  <a:gd name="T2" fmla="*/ 0 w 6"/>
                  <a:gd name="T3" fmla="*/ 2 h 2"/>
                  <a:gd name="T4" fmla="*/ 2 w 6"/>
                  <a:gd name="T5" fmla="*/ 2 h 2"/>
                  <a:gd name="T6" fmla="*/ 6 w 6"/>
                  <a:gd name="T7" fmla="*/ 0 h 2"/>
                  <a:gd name="T8" fmla="*/ 0 w 6"/>
                  <a:gd name="T9" fmla="*/ 2 h 2"/>
                  <a:gd name="T10" fmla="*/ 0 w 6"/>
                  <a:gd name="T11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2">
                    <a:moveTo>
                      <a:pt x="0" y="2"/>
                    </a:moveTo>
                    <a:lnTo>
                      <a:pt x="0" y="2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63" name="Freeform 129">
                <a:extLst>
                  <a:ext uri="{FF2B5EF4-FFF2-40B4-BE49-F238E27FC236}">
                    <a16:creationId xmlns:a16="http://schemas.microsoft.com/office/drawing/2014/main" id="{EF73262A-4275-4498-BA8F-1411BC100C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90" y="1365"/>
                <a:ext cx="15" cy="5"/>
              </a:xfrm>
              <a:custGeom>
                <a:avLst/>
                <a:gdLst>
                  <a:gd name="T0" fmla="*/ 0 w 15"/>
                  <a:gd name="T1" fmla="*/ 3 h 5"/>
                  <a:gd name="T2" fmla="*/ 3 w 15"/>
                  <a:gd name="T3" fmla="*/ 4 h 5"/>
                  <a:gd name="T4" fmla="*/ 6 w 15"/>
                  <a:gd name="T5" fmla="*/ 5 h 5"/>
                  <a:gd name="T6" fmla="*/ 12 w 15"/>
                  <a:gd name="T7" fmla="*/ 5 h 5"/>
                  <a:gd name="T8" fmla="*/ 15 w 15"/>
                  <a:gd name="T9" fmla="*/ 3 h 5"/>
                  <a:gd name="T10" fmla="*/ 14 w 15"/>
                  <a:gd name="T11" fmla="*/ 3 h 5"/>
                  <a:gd name="T12" fmla="*/ 12 w 15"/>
                  <a:gd name="T13" fmla="*/ 0 h 5"/>
                  <a:gd name="T14" fmla="*/ 9 w 15"/>
                  <a:gd name="T15" fmla="*/ 0 h 5"/>
                  <a:gd name="T16" fmla="*/ 3 w 15"/>
                  <a:gd name="T17" fmla="*/ 1 h 5"/>
                  <a:gd name="T18" fmla="*/ 0 w 15"/>
                  <a:gd name="T19" fmla="*/ 3 h 5"/>
                  <a:gd name="T20" fmla="*/ 0 w 15"/>
                  <a:gd name="T21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" h="5">
                    <a:moveTo>
                      <a:pt x="0" y="3"/>
                    </a:moveTo>
                    <a:lnTo>
                      <a:pt x="3" y="4"/>
                    </a:lnTo>
                    <a:lnTo>
                      <a:pt x="6" y="5"/>
                    </a:lnTo>
                    <a:lnTo>
                      <a:pt x="12" y="5"/>
                    </a:lnTo>
                    <a:lnTo>
                      <a:pt x="15" y="3"/>
                    </a:lnTo>
                    <a:lnTo>
                      <a:pt x="14" y="3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3" y="1"/>
                    </a:lnTo>
                    <a:lnTo>
                      <a:pt x="0" y="3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64" name="Freeform 130">
                <a:extLst>
                  <a:ext uri="{FF2B5EF4-FFF2-40B4-BE49-F238E27FC236}">
                    <a16:creationId xmlns:a16="http://schemas.microsoft.com/office/drawing/2014/main" id="{C0F86A52-8FD0-41A6-B500-9820C5C2FA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97" y="1340"/>
                <a:ext cx="41" cy="16"/>
              </a:xfrm>
              <a:custGeom>
                <a:avLst/>
                <a:gdLst>
                  <a:gd name="T0" fmla="*/ 0 w 41"/>
                  <a:gd name="T1" fmla="*/ 11 h 16"/>
                  <a:gd name="T2" fmla="*/ 0 w 41"/>
                  <a:gd name="T3" fmla="*/ 12 h 16"/>
                  <a:gd name="T4" fmla="*/ 5 w 41"/>
                  <a:gd name="T5" fmla="*/ 15 h 16"/>
                  <a:gd name="T6" fmla="*/ 8 w 41"/>
                  <a:gd name="T7" fmla="*/ 15 h 16"/>
                  <a:gd name="T8" fmla="*/ 13 w 41"/>
                  <a:gd name="T9" fmla="*/ 13 h 16"/>
                  <a:gd name="T10" fmla="*/ 22 w 41"/>
                  <a:gd name="T11" fmla="*/ 16 h 16"/>
                  <a:gd name="T12" fmla="*/ 25 w 41"/>
                  <a:gd name="T13" fmla="*/ 15 h 16"/>
                  <a:gd name="T14" fmla="*/ 27 w 41"/>
                  <a:gd name="T15" fmla="*/ 12 h 16"/>
                  <a:gd name="T16" fmla="*/ 30 w 41"/>
                  <a:gd name="T17" fmla="*/ 12 h 16"/>
                  <a:gd name="T18" fmla="*/ 34 w 41"/>
                  <a:gd name="T19" fmla="*/ 10 h 16"/>
                  <a:gd name="T20" fmla="*/ 36 w 41"/>
                  <a:gd name="T21" fmla="*/ 9 h 16"/>
                  <a:gd name="T22" fmla="*/ 41 w 41"/>
                  <a:gd name="T23" fmla="*/ 4 h 16"/>
                  <a:gd name="T24" fmla="*/ 38 w 41"/>
                  <a:gd name="T25" fmla="*/ 1 h 16"/>
                  <a:gd name="T26" fmla="*/ 36 w 41"/>
                  <a:gd name="T27" fmla="*/ 1 h 16"/>
                  <a:gd name="T28" fmla="*/ 33 w 41"/>
                  <a:gd name="T29" fmla="*/ 0 h 16"/>
                  <a:gd name="T30" fmla="*/ 24 w 41"/>
                  <a:gd name="T31" fmla="*/ 2 h 16"/>
                  <a:gd name="T32" fmla="*/ 14 w 41"/>
                  <a:gd name="T33" fmla="*/ 3 h 16"/>
                  <a:gd name="T34" fmla="*/ 9 w 41"/>
                  <a:gd name="T35" fmla="*/ 2 h 16"/>
                  <a:gd name="T36" fmla="*/ 12 w 41"/>
                  <a:gd name="T37" fmla="*/ 1 h 16"/>
                  <a:gd name="T38" fmla="*/ 9 w 41"/>
                  <a:gd name="T39" fmla="*/ 1 h 16"/>
                  <a:gd name="T40" fmla="*/ 7 w 41"/>
                  <a:gd name="T41" fmla="*/ 2 h 16"/>
                  <a:gd name="T42" fmla="*/ 1 w 41"/>
                  <a:gd name="T43" fmla="*/ 5 h 16"/>
                  <a:gd name="T44" fmla="*/ 0 w 41"/>
                  <a:gd name="T45" fmla="*/ 9 h 16"/>
                  <a:gd name="T46" fmla="*/ 0 w 41"/>
                  <a:gd name="T47" fmla="*/ 11 h 16"/>
                  <a:gd name="T48" fmla="*/ 0 w 41"/>
                  <a:gd name="T49" fmla="*/ 11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1" h="16">
                    <a:moveTo>
                      <a:pt x="0" y="11"/>
                    </a:moveTo>
                    <a:lnTo>
                      <a:pt x="0" y="12"/>
                    </a:lnTo>
                    <a:lnTo>
                      <a:pt x="5" y="15"/>
                    </a:lnTo>
                    <a:lnTo>
                      <a:pt x="8" y="15"/>
                    </a:lnTo>
                    <a:lnTo>
                      <a:pt x="13" y="13"/>
                    </a:lnTo>
                    <a:lnTo>
                      <a:pt x="22" y="16"/>
                    </a:lnTo>
                    <a:lnTo>
                      <a:pt x="25" y="15"/>
                    </a:lnTo>
                    <a:lnTo>
                      <a:pt x="27" y="12"/>
                    </a:lnTo>
                    <a:lnTo>
                      <a:pt x="30" y="12"/>
                    </a:lnTo>
                    <a:lnTo>
                      <a:pt x="34" y="10"/>
                    </a:lnTo>
                    <a:lnTo>
                      <a:pt x="36" y="9"/>
                    </a:lnTo>
                    <a:lnTo>
                      <a:pt x="41" y="4"/>
                    </a:lnTo>
                    <a:lnTo>
                      <a:pt x="38" y="1"/>
                    </a:lnTo>
                    <a:lnTo>
                      <a:pt x="36" y="1"/>
                    </a:lnTo>
                    <a:lnTo>
                      <a:pt x="33" y="0"/>
                    </a:lnTo>
                    <a:lnTo>
                      <a:pt x="24" y="2"/>
                    </a:lnTo>
                    <a:lnTo>
                      <a:pt x="14" y="3"/>
                    </a:lnTo>
                    <a:lnTo>
                      <a:pt x="9" y="2"/>
                    </a:lnTo>
                    <a:lnTo>
                      <a:pt x="12" y="1"/>
                    </a:lnTo>
                    <a:lnTo>
                      <a:pt x="9" y="1"/>
                    </a:lnTo>
                    <a:lnTo>
                      <a:pt x="7" y="2"/>
                    </a:lnTo>
                    <a:lnTo>
                      <a:pt x="1" y="5"/>
                    </a:lnTo>
                    <a:lnTo>
                      <a:pt x="0" y="9"/>
                    </a:lnTo>
                    <a:lnTo>
                      <a:pt x="0" y="11"/>
                    </a:lnTo>
                    <a:lnTo>
                      <a:pt x="0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65" name="Freeform 131">
                <a:extLst>
                  <a:ext uri="{FF2B5EF4-FFF2-40B4-BE49-F238E27FC236}">
                    <a16:creationId xmlns:a16="http://schemas.microsoft.com/office/drawing/2014/main" id="{7C440F68-1C94-4A8F-A0F5-9B1081EE80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08" y="1333"/>
                <a:ext cx="20" cy="7"/>
              </a:xfrm>
              <a:custGeom>
                <a:avLst/>
                <a:gdLst>
                  <a:gd name="T0" fmla="*/ 0 w 20"/>
                  <a:gd name="T1" fmla="*/ 3 h 7"/>
                  <a:gd name="T2" fmla="*/ 0 w 20"/>
                  <a:gd name="T3" fmla="*/ 5 h 7"/>
                  <a:gd name="T4" fmla="*/ 3 w 20"/>
                  <a:gd name="T5" fmla="*/ 6 h 7"/>
                  <a:gd name="T6" fmla="*/ 11 w 20"/>
                  <a:gd name="T7" fmla="*/ 7 h 7"/>
                  <a:gd name="T8" fmla="*/ 15 w 20"/>
                  <a:gd name="T9" fmla="*/ 6 h 7"/>
                  <a:gd name="T10" fmla="*/ 20 w 20"/>
                  <a:gd name="T11" fmla="*/ 2 h 7"/>
                  <a:gd name="T12" fmla="*/ 20 w 20"/>
                  <a:gd name="T13" fmla="*/ 0 h 7"/>
                  <a:gd name="T14" fmla="*/ 14 w 20"/>
                  <a:gd name="T15" fmla="*/ 0 h 7"/>
                  <a:gd name="T16" fmla="*/ 8 w 20"/>
                  <a:gd name="T17" fmla="*/ 0 h 7"/>
                  <a:gd name="T18" fmla="*/ 2 w 20"/>
                  <a:gd name="T19" fmla="*/ 2 h 7"/>
                  <a:gd name="T20" fmla="*/ 0 w 20"/>
                  <a:gd name="T21" fmla="*/ 3 h 7"/>
                  <a:gd name="T22" fmla="*/ 0 w 20"/>
                  <a:gd name="T23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0" h="7">
                    <a:moveTo>
                      <a:pt x="0" y="3"/>
                    </a:moveTo>
                    <a:lnTo>
                      <a:pt x="0" y="5"/>
                    </a:lnTo>
                    <a:lnTo>
                      <a:pt x="3" y="6"/>
                    </a:lnTo>
                    <a:lnTo>
                      <a:pt x="11" y="7"/>
                    </a:lnTo>
                    <a:lnTo>
                      <a:pt x="15" y="6"/>
                    </a:lnTo>
                    <a:lnTo>
                      <a:pt x="20" y="2"/>
                    </a:lnTo>
                    <a:lnTo>
                      <a:pt x="20" y="0"/>
                    </a:lnTo>
                    <a:lnTo>
                      <a:pt x="14" y="0"/>
                    </a:lnTo>
                    <a:lnTo>
                      <a:pt x="8" y="0"/>
                    </a:lnTo>
                    <a:lnTo>
                      <a:pt x="2" y="2"/>
                    </a:lnTo>
                    <a:lnTo>
                      <a:pt x="0" y="3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66" name="Freeform 132">
                <a:extLst>
                  <a:ext uri="{FF2B5EF4-FFF2-40B4-BE49-F238E27FC236}">
                    <a16:creationId xmlns:a16="http://schemas.microsoft.com/office/drawing/2014/main" id="{7193F032-EC90-46B2-BE6F-008DC2AA78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31" y="1317"/>
                <a:ext cx="5" cy="2"/>
              </a:xfrm>
              <a:custGeom>
                <a:avLst/>
                <a:gdLst>
                  <a:gd name="T0" fmla="*/ 0 w 5"/>
                  <a:gd name="T1" fmla="*/ 0 h 2"/>
                  <a:gd name="T2" fmla="*/ 0 w 5"/>
                  <a:gd name="T3" fmla="*/ 1 h 2"/>
                  <a:gd name="T4" fmla="*/ 2 w 5"/>
                  <a:gd name="T5" fmla="*/ 2 h 2"/>
                  <a:gd name="T6" fmla="*/ 5 w 5"/>
                  <a:gd name="T7" fmla="*/ 1 h 2"/>
                  <a:gd name="T8" fmla="*/ 0 w 5"/>
                  <a:gd name="T9" fmla="*/ 0 h 2"/>
                  <a:gd name="T10" fmla="*/ 0 w 5"/>
                  <a:gd name="T1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2">
                    <a:moveTo>
                      <a:pt x="0" y="0"/>
                    </a:moveTo>
                    <a:lnTo>
                      <a:pt x="0" y="1"/>
                    </a:lnTo>
                    <a:lnTo>
                      <a:pt x="2" y="2"/>
                    </a:lnTo>
                    <a:lnTo>
                      <a:pt x="5" y="1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67" name="Freeform 133">
                <a:extLst>
                  <a:ext uri="{FF2B5EF4-FFF2-40B4-BE49-F238E27FC236}">
                    <a16:creationId xmlns:a16="http://schemas.microsoft.com/office/drawing/2014/main" id="{72030EA3-AA67-4786-BE26-BA5E33D443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36" y="1313"/>
                <a:ext cx="21" cy="4"/>
              </a:xfrm>
              <a:custGeom>
                <a:avLst/>
                <a:gdLst>
                  <a:gd name="T0" fmla="*/ 0 w 21"/>
                  <a:gd name="T1" fmla="*/ 2 h 4"/>
                  <a:gd name="T2" fmla="*/ 0 w 21"/>
                  <a:gd name="T3" fmla="*/ 2 h 4"/>
                  <a:gd name="T4" fmla="*/ 4 w 21"/>
                  <a:gd name="T5" fmla="*/ 2 h 4"/>
                  <a:gd name="T6" fmla="*/ 6 w 21"/>
                  <a:gd name="T7" fmla="*/ 3 h 4"/>
                  <a:gd name="T8" fmla="*/ 12 w 21"/>
                  <a:gd name="T9" fmla="*/ 4 h 4"/>
                  <a:gd name="T10" fmla="*/ 19 w 21"/>
                  <a:gd name="T11" fmla="*/ 4 h 4"/>
                  <a:gd name="T12" fmla="*/ 21 w 21"/>
                  <a:gd name="T13" fmla="*/ 4 h 4"/>
                  <a:gd name="T14" fmla="*/ 21 w 21"/>
                  <a:gd name="T15" fmla="*/ 1 h 4"/>
                  <a:gd name="T16" fmla="*/ 17 w 21"/>
                  <a:gd name="T17" fmla="*/ 1 h 4"/>
                  <a:gd name="T18" fmla="*/ 15 w 21"/>
                  <a:gd name="T19" fmla="*/ 0 h 4"/>
                  <a:gd name="T20" fmla="*/ 9 w 21"/>
                  <a:gd name="T21" fmla="*/ 1 h 4"/>
                  <a:gd name="T22" fmla="*/ 6 w 21"/>
                  <a:gd name="T23" fmla="*/ 1 h 4"/>
                  <a:gd name="T24" fmla="*/ 0 w 21"/>
                  <a:gd name="T25" fmla="*/ 2 h 4"/>
                  <a:gd name="T26" fmla="*/ 0 w 21"/>
                  <a:gd name="T27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1" h="4">
                    <a:moveTo>
                      <a:pt x="0" y="2"/>
                    </a:moveTo>
                    <a:lnTo>
                      <a:pt x="0" y="2"/>
                    </a:lnTo>
                    <a:lnTo>
                      <a:pt x="4" y="2"/>
                    </a:lnTo>
                    <a:lnTo>
                      <a:pt x="6" y="3"/>
                    </a:lnTo>
                    <a:lnTo>
                      <a:pt x="12" y="4"/>
                    </a:lnTo>
                    <a:lnTo>
                      <a:pt x="19" y="4"/>
                    </a:lnTo>
                    <a:lnTo>
                      <a:pt x="21" y="4"/>
                    </a:lnTo>
                    <a:lnTo>
                      <a:pt x="21" y="1"/>
                    </a:lnTo>
                    <a:lnTo>
                      <a:pt x="17" y="1"/>
                    </a:lnTo>
                    <a:lnTo>
                      <a:pt x="15" y="0"/>
                    </a:lnTo>
                    <a:lnTo>
                      <a:pt x="9" y="1"/>
                    </a:lnTo>
                    <a:lnTo>
                      <a:pt x="6" y="1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68" name="Freeform 134">
                <a:extLst>
                  <a:ext uri="{FF2B5EF4-FFF2-40B4-BE49-F238E27FC236}">
                    <a16:creationId xmlns:a16="http://schemas.microsoft.com/office/drawing/2014/main" id="{93D084AE-4A45-4D89-8689-E9BD68925B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41" y="1331"/>
                <a:ext cx="40" cy="16"/>
              </a:xfrm>
              <a:custGeom>
                <a:avLst/>
                <a:gdLst>
                  <a:gd name="T0" fmla="*/ 0 w 40"/>
                  <a:gd name="T1" fmla="*/ 10 h 16"/>
                  <a:gd name="T2" fmla="*/ 0 w 40"/>
                  <a:gd name="T3" fmla="*/ 12 h 16"/>
                  <a:gd name="T4" fmla="*/ 9 w 40"/>
                  <a:gd name="T5" fmla="*/ 16 h 16"/>
                  <a:gd name="T6" fmla="*/ 14 w 40"/>
                  <a:gd name="T7" fmla="*/ 14 h 16"/>
                  <a:gd name="T8" fmla="*/ 26 w 40"/>
                  <a:gd name="T9" fmla="*/ 14 h 16"/>
                  <a:gd name="T10" fmla="*/ 28 w 40"/>
                  <a:gd name="T11" fmla="*/ 13 h 16"/>
                  <a:gd name="T12" fmla="*/ 34 w 40"/>
                  <a:gd name="T13" fmla="*/ 11 h 16"/>
                  <a:gd name="T14" fmla="*/ 37 w 40"/>
                  <a:gd name="T15" fmla="*/ 10 h 16"/>
                  <a:gd name="T16" fmla="*/ 40 w 40"/>
                  <a:gd name="T17" fmla="*/ 7 h 16"/>
                  <a:gd name="T18" fmla="*/ 40 w 40"/>
                  <a:gd name="T19" fmla="*/ 4 h 16"/>
                  <a:gd name="T20" fmla="*/ 37 w 40"/>
                  <a:gd name="T21" fmla="*/ 2 h 16"/>
                  <a:gd name="T22" fmla="*/ 35 w 40"/>
                  <a:gd name="T23" fmla="*/ 1 h 16"/>
                  <a:gd name="T24" fmla="*/ 32 w 40"/>
                  <a:gd name="T25" fmla="*/ 0 h 16"/>
                  <a:gd name="T26" fmla="*/ 26 w 40"/>
                  <a:gd name="T27" fmla="*/ 0 h 16"/>
                  <a:gd name="T28" fmla="*/ 24 w 40"/>
                  <a:gd name="T29" fmla="*/ 1 h 16"/>
                  <a:gd name="T30" fmla="*/ 23 w 40"/>
                  <a:gd name="T31" fmla="*/ 3 h 16"/>
                  <a:gd name="T32" fmla="*/ 21 w 40"/>
                  <a:gd name="T33" fmla="*/ 5 h 16"/>
                  <a:gd name="T34" fmla="*/ 9 w 40"/>
                  <a:gd name="T35" fmla="*/ 7 h 16"/>
                  <a:gd name="T36" fmla="*/ 6 w 40"/>
                  <a:gd name="T37" fmla="*/ 9 h 16"/>
                  <a:gd name="T38" fmla="*/ 0 w 40"/>
                  <a:gd name="T39" fmla="*/ 10 h 16"/>
                  <a:gd name="T40" fmla="*/ 0 w 40"/>
                  <a:gd name="T41" fmla="*/ 1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0" h="16">
                    <a:moveTo>
                      <a:pt x="0" y="10"/>
                    </a:moveTo>
                    <a:lnTo>
                      <a:pt x="0" y="12"/>
                    </a:lnTo>
                    <a:lnTo>
                      <a:pt x="9" y="16"/>
                    </a:lnTo>
                    <a:lnTo>
                      <a:pt x="14" y="14"/>
                    </a:lnTo>
                    <a:lnTo>
                      <a:pt x="26" y="14"/>
                    </a:lnTo>
                    <a:lnTo>
                      <a:pt x="28" y="13"/>
                    </a:lnTo>
                    <a:lnTo>
                      <a:pt x="34" y="11"/>
                    </a:lnTo>
                    <a:lnTo>
                      <a:pt x="37" y="10"/>
                    </a:lnTo>
                    <a:lnTo>
                      <a:pt x="40" y="7"/>
                    </a:lnTo>
                    <a:lnTo>
                      <a:pt x="40" y="4"/>
                    </a:lnTo>
                    <a:lnTo>
                      <a:pt x="37" y="2"/>
                    </a:lnTo>
                    <a:lnTo>
                      <a:pt x="35" y="1"/>
                    </a:lnTo>
                    <a:lnTo>
                      <a:pt x="32" y="0"/>
                    </a:lnTo>
                    <a:lnTo>
                      <a:pt x="26" y="0"/>
                    </a:lnTo>
                    <a:lnTo>
                      <a:pt x="24" y="1"/>
                    </a:lnTo>
                    <a:lnTo>
                      <a:pt x="23" y="3"/>
                    </a:lnTo>
                    <a:lnTo>
                      <a:pt x="21" y="5"/>
                    </a:lnTo>
                    <a:lnTo>
                      <a:pt x="9" y="7"/>
                    </a:lnTo>
                    <a:lnTo>
                      <a:pt x="6" y="9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69" name="Freeform 135">
                <a:extLst>
                  <a:ext uri="{FF2B5EF4-FFF2-40B4-BE49-F238E27FC236}">
                    <a16:creationId xmlns:a16="http://schemas.microsoft.com/office/drawing/2014/main" id="{8C42EBB8-D488-47A6-9F08-1A82567F91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89" y="1557"/>
                <a:ext cx="84" cy="73"/>
              </a:xfrm>
              <a:custGeom>
                <a:avLst/>
                <a:gdLst>
                  <a:gd name="T0" fmla="*/ 28 w 84"/>
                  <a:gd name="T1" fmla="*/ 5 h 73"/>
                  <a:gd name="T2" fmla="*/ 38 w 84"/>
                  <a:gd name="T3" fmla="*/ 4 h 73"/>
                  <a:gd name="T4" fmla="*/ 43 w 84"/>
                  <a:gd name="T5" fmla="*/ 1 h 73"/>
                  <a:gd name="T6" fmla="*/ 51 w 84"/>
                  <a:gd name="T7" fmla="*/ 0 h 73"/>
                  <a:gd name="T8" fmla="*/ 59 w 84"/>
                  <a:gd name="T9" fmla="*/ 2 h 73"/>
                  <a:gd name="T10" fmla="*/ 67 w 84"/>
                  <a:gd name="T11" fmla="*/ 5 h 73"/>
                  <a:gd name="T12" fmla="*/ 67 w 84"/>
                  <a:gd name="T13" fmla="*/ 8 h 73"/>
                  <a:gd name="T14" fmla="*/ 67 w 84"/>
                  <a:gd name="T15" fmla="*/ 9 h 73"/>
                  <a:gd name="T16" fmla="*/ 59 w 84"/>
                  <a:gd name="T17" fmla="*/ 12 h 73"/>
                  <a:gd name="T18" fmla="*/ 65 w 84"/>
                  <a:gd name="T19" fmla="*/ 12 h 73"/>
                  <a:gd name="T20" fmla="*/ 62 w 84"/>
                  <a:gd name="T21" fmla="*/ 17 h 73"/>
                  <a:gd name="T22" fmla="*/ 55 w 84"/>
                  <a:gd name="T23" fmla="*/ 16 h 73"/>
                  <a:gd name="T24" fmla="*/ 58 w 84"/>
                  <a:gd name="T25" fmla="*/ 18 h 73"/>
                  <a:gd name="T26" fmla="*/ 55 w 84"/>
                  <a:gd name="T27" fmla="*/ 22 h 73"/>
                  <a:gd name="T28" fmla="*/ 51 w 84"/>
                  <a:gd name="T29" fmla="*/ 25 h 73"/>
                  <a:gd name="T30" fmla="*/ 55 w 84"/>
                  <a:gd name="T31" fmla="*/ 29 h 73"/>
                  <a:gd name="T32" fmla="*/ 55 w 84"/>
                  <a:gd name="T33" fmla="*/ 34 h 73"/>
                  <a:gd name="T34" fmla="*/ 56 w 84"/>
                  <a:gd name="T35" fmla="*/ 39 h 73"/>
                  <a:gd name="T36" fmla="*/ 59 w 84"/>
                  <a:gd name="T37" fmla="*/ 48 h 73"/>
                  <a:gd name="T38" fmla="*/ 65 w 84"/>
                  <a:gd name="T39" fmla="*/ 56 h 73"/>
                  <a:gd name="T40" fmla="*/ 84 w 84"/>
                  <a:gd name="T41" fmla="*/ 68 h 73"/>
                  <a:gd name="T42" fmla="*/ 81 w 84"/>
                  <a:gd name="T43" fmla="*/ 72 h 73"/>
                  <a:gd name="T44" fmla="*/ 74 w 84"/>
                  <a:gd name="T45" fmla="*/ 70 h 73"/>
                  <a:gd name="T46" fmla="*/ 74 w 84"/>
                  <a:gd name="T47" fmla="*/ 72 h 73"/>
                  <a:gd name="T48" fmla="*/ 69 w 84"/>
                  <a:gd name="T49" fmla="*/ 68 h 73"/>
                  <a:gd name="T50" fmla="*/ 72 w 84"/>
                  <a:gd name="T51" fmla="*/ 72 h 73"/>
                  <a:gd name="T52" fmla="*/ 66 w 84"/>
                  <a:gd name="T53" fmla="*/ 72 h 73"/>
                  <a:gd name="T54" fmla="*/ 64 w 84"/>
                  <a:gd name="T55" fmla="*/ 73 h 73"/>
                  <a:gd name="T56" fmla="*/ 56 w 84"/>
                  <a:gd name="T57" fmla="*/ 68 h 73"/>
                  <a:gd name="T58" fmla="*/ 52 w 84"/>
                  <a:gd name="T59" fmla="*/ 73 h 73"/>
                  <a:gd name="T60" fmla="*/ 43 w 84"/>
                  <a:gd name="T61" fmla="*/ 67 h 73"/>
                  <a:gd name="T62" fmla="*/ 43 w 84"/>
                  <a:gd name="T63" fmla="*/ 70 h 73"/>
                  <a:gd name="T64" fmla="*/ 38 w 84"/>
                  <a:gd name="T65" fmla="*/ 68 h 73"/>
                  <a:gd name="T66" fmla="*/ 32 w 84"/>
                  <a:gd name="T67" fmla="*/ 67 h 73"/>
                  <a:gd name="T68" fmla="*/ 26 w 84"/>
                  <a:gd name="T69" fmla="*/ 66 h 73"/>
                  <a:gd name="T70" fmla="*/ 32 w 84"/>
                  <a:gd name="T71" fmla="*/ 64 h 73"/>
                  <a:gd name="T72" fmla="*/ 34 w 84"/>
                  <a:gd name="T73" fmla="*/ 58 h 73"/>
                  <a:gd name="T74" fmla="*/ 36 w 84"/>
                  <a:gd name="T75" fmla="*/ 57 h 73"/>
                  <a:gd name="T76" fmla="*/ 27 w 84"/>
                  <a:gd name="T77" fmla="*/ 56 h 73"/>
                  <a:gd name="T78" fmla="*/ 33 w 84"/>
                  <a:gd name="T79" fmla="*/ 51 h 73"/>
                  <a:gd name="T80" fmla="*/ 28 w 84"/>
                  <a:gd name="T81" fmla="*/ 55 h 73"/>
                  <a:gd name="T82" fmla="*/ 26 w 84"/>
                  <a:gd name="T83" fmla="*/ 49 h 73"/>
                  <a:gd name="T84" fmla="*/ 18 w 84"/>
                  <a:gd name="T85" fmla="*/ 51 h 73"/>
                  <a:gd name="T86" fmla="*/ 10 w 84"/>
                  <a:gd name="T87" fmla="*/ 48 h 73"/>
                  <a:gd name="T88" fmla="*/ 5 w 84"/>
                  <a:gd name="T89" fmla="*/ 50 h 73"/>
                  <a:gd name="T90" fmla="*/ 0 w 84"/>
                  <a:gd name="T91" fmla="*/ 43 h 73"/>
                  <a:gd name="T92" fmla="*/ 0 w 84"/>
                  <a:gd name="T93" fmla="*/ 38 h 73"/>
                  <a:gd name="T94" fmla="*/ 5 w 84"/>
                  <a:gd name="T95" fmla="*/ 33 h 73"/>
                  <a:gd name="T96" fmla="*/ 10 w 84"/>
                  <a:gd name="T97" fmla="*/ 33 h 73"/>
                  <a:gd name="T98" fmla="*/ 14 w 84"/>
                  <a:gd name="T99" fmla="*/ 32 h 73"/>
                  <a:gd name="T100" fmla="*/ 16 w 84"/>
                  <a:gd name="T101" fmla="*/ 29 h 73"/>
                  <a:gd name="T102" fmla="*/ 17 w 84"/>
                  <a:gd name="T103" fmla="*/ 25 h 73"/>
                  <a:gd name="T104" fmla="*/ 19 w 84"/>
                  <a:gd name="T105" fmla="*/ 22 h 73"/>
                  <a:gd name="T106" fmla="*/ 19 w 84"/>
                  <a:gd name="T107" fmla="*/ 19 h 73"/>
                  <a:gd name="T108" fmla="*/ 14 w 84"/>
                  <a:gd name="T109" fmla="*/ 18 h 73"/>
                  <a:gd name="T110" fmla="*/ 17 w 84"/>
                  <a:gd name="T111" fmla="*/ 14 h 73"/>
                  <a:gd name="T112" fmla="*/ 26 w 84"/>
                  <a:gd name="T113" fmla="*/ 14 h 73"/>
                  <a:gd name="T114" fmla="*/ 26 w 84"/>
                  <a:gd name="T115" fmla="*/ 10 h 73"/>
                  <a:gd name="T116" fmla="*/ 25 w 84"/>
                  <a:gd name="T117" fmla="*/ 6 h 73"/>
                  <a:gd name="T118" fmla="*/ 26 w 84"/>
                  <a:gd name="T119" fmla="*/ 5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4" h="73">
                    <a:moveTo>
                      <a:pt x="26" y="5"/>
                    </a:moveTo>
                    <a:lnTo>
                      <a:pt x="28" y="5"/>
                    </a:lnTo>
                    <a:lnTo>
                      <a:pt x="32" y="2"/>
                    </a:lnTo>
                    <a:lnTo>
                      <a:pt x="38" y="4"/>
                    </a:lnTo>
                    <a:lnTo>
                      <a:pt x="40" y="2"/>
                    </a:lnTo>
                    <a:lnTo>
                      <a:pt x="43" y="1"/>
                    </a:lnTo>
                    <a:lnTo>
                      <a:pt x="48" y="0"/>
                    </a:lnTo>
                    <a:lnTo>
                      <a:pt x="51" y="0"/>
                    </a:lnTo>
                    <a:lnTo>
                      <a:pt x="53" y="2"/>
                    </a:lnTo>
                    <a:lnTo>
                      <a:pt x="59" y="2"/>
                    </a:lnTo>
                    <a:lnTo>
                      <a:pt x="62" y="4"/>
                    </a:lnTo>
                    <a:lnTo>
                      <a:pt x="67" y="5"/>
                    </a:lnTo>
                    <a:lnTo>
                      <a:pt x="70" y="7"/>
                    </a:lnTo>
                    <a:lnTo>
                      <a:pt x="67" y="8"/>
                    </a:lnTo>
                    <a:lnTo>
                      <a:pt x="61" y="9"/>
                    </a:lnTo>
                    <a:lnTo>
                      <a:pt x="67" y="9"/>
                    </a:lnTo>
                    <a:lnTo>
                      <a:pt x="65" y="10"/>
                    </a:lnTo>
                    <a:lnTo>
                      <a:pt x="59" y="12"/>
                    </a:lnTo>
                    <a:lnTo>
                      <a:pt x="62" y="13"/>
                    </a:lnTo>
                    <a:lnTo>
                      <a:pt x="65" y="12"/>
                    </a:lnTo>
                    <a:lnTo>
                      <a:pt x="66" y="15"/>
                    </a:lnTo>
                    <a:lnTo>
                      <a:pt x="62" y="17"/>
                    </a:lnTo>
                    <a:lnTo>
                      <a:pt x="60" y="16"/>
                    </a:lnTo>
                    <a:lnTo>
                      <a:pt x="55" y="16"/>
                    </a:lnTo>
                    <a:lnTo>
                      <a:pt x="60" y="17"/>
                    </a:lnTo>
                    <a:lnTo>
                      <a:pt x="58" y="18"/>
                    </a:lnTo>
                    <a:lnTo>
                      <a:pt x="58" y="22"/>
                    </a:lnTo>
                    <a:lnTo>
                      <a:pt x="55" y="22"/>
                    </a:lnTo>
                    <a:lnTo>
                      <a:pt x="57" y="24"/>
                    </a:lnTo>
                    <a:lnTo>
                      <a:pt x="51" y="25"/>
                    </a:lnTo>
                    <a:lnTo>
                      <a:pt x="53" y="25"/>
                    </a:lnTo>
                    <a:lnTo>
                      <a:pt x="55" y="29"/>
                    </a:lnTo>
                    <a:lnTo>
                      <a:pt x="57" y="31"/>
                    </a:lnTo>
                    <a:lnTo>
                      <a:pt x="55" y="34"/>
                    </a:lnTo>
                    <a:lnTo>
                      <a:pt x="55" y="36"/>
                    </a:lnTo>
                    <a:lnTo>
                      <a:pt x="56" y="39"/>
                    </a:lnTo>
                    <a:lnTo>
                      <a:pt x="56" y="42"/>
                    </a:lnTo>
                    <a:lnTo>
                      <a:pt x="59" y="48"/>
                    </a:lnTo>
                    <a:lnTo>
                      <a:pt x="62" y="53"/>
                    </a:lnTo>
                    <a:lnTo>
                      <a:pt x="65" y="56"/>
                    </a:lnTo>
                    <a:lnTo>
                      <a:pt x="75" y="65"/>
                    </a:lnTo>
                    <a:lnTo>
                      <a:pt x="84" y="68"/>
                    </a:lnTo>
                    <a:lnTo>
                      <a:pt x="83" y="70"/>
                    </a:lnTo>
                    <a:lnTo>
                      <a:pt x="81" y="72"/>
                    </a:lnTo>
                    <a:lnTo>
                      <a:pt x="77" y="70"/>
                    </a:lnTo>
                    <a:lnTo>
                      <a:pt x="74" y="70"/>
                    </a:lnTo>
                    <a:lnTo>
                      <a:pt x="79" y="73"/>
                    </a:lnTo>
                    <a:lnTo>
                      <a:pt x="74" y="72"/>
                    </a:lnTo>
                    <a:lnTo>
                      <a:pt x="72" y="70"/>
                    </a:lnTo>
                    <a:lnTo>
                      <a:pt x="69" y="68"/>
                    </a:lnTo>
                    <a:lnTo>
                      <a:pt x="66" y="68"/>
                    </a:lnTo>
                    <a:lnTo>
                      <a:pt x="72" y="72"/>
                    </a:lnTo>
                    <a:lnTo>
                      <a:pt x="69" y="73"/>
                    </a:lnTo>
                    <a:lnTo>
                      <a:pt x="66" y="72"/>
                    </a:lnTo>
                    <a:lnTo>
                      <a:pt x="60" y="69"/>
                    </a:lnTo>
                    <a:lnTo>
                      <a:pt x="64" y="73"/>
                    </a:lnTo>
                    <a:lnTo>
                      <a:pt x="58" y="72"/>
                    </a:lnTo>
                    <a:lnTo>
                      <a:pt x="56" y="68"/>
                    </a:lnTo>
                    <a:lnTo>
                      <a:pt x="52" y="70"/>
                    </a:lnTo>
                    <a:lnTo>
                      <a:pt x="52" y="73"/>
                    </a:lnTo>
                    <a:lnTo>
                      <a:pt x="47" y="70"/>
                    </a:lnTo>
                    <a:lnTo>
                      <a:pt x="43" y="67"/>
                    </a:lnTo>
                    <a:lnTo>
                      <a:pt x="45" y="70"/>
                    </a:lnTo>
                    <a:lnTo>
                      <a:pt x="43" y="70"/>
                    </a:lnTo>
                    <a:lnTo>
                      <a:pt x="40" y="68"/>
                    </a:lnTo>
                    <a:lnTo>
                      <a:pt x="38" y="68"/>
                    </a:lnTo>
                    <a:lnTo>
                      <a:pt x="34" y="67"/>
                    </a:lnTo>
                    <a:lnTo>
                      <a:pt x="32" y="67"/>
                    </a:lnTo>
                    <a:lnTo>
                      <a:pt x="28" y="66"/>
                    </a:lnTo>
                    <a:lnTo>
                      <a:pt x="26" y="66"/>
                    </a:lnTo>
                    <a:lnTo>
                      <a:pt x="28" y="65"/>
                    </a:lnTo>
                    <a:lnTo>
                      <a:pt x="32" y="64"/>
                    </a:lnTo>
                    <a:lnTo>
                      <a:pt x="28" y="61"/>
                    </a:lnTo>
                    <a:lnTo>
                      <a:pt x="34" y="58"/>
                    </a:lnTo>
                    <a:lnTo>
                      <a:pt x="38" y="59"/>
                    </a:lnTo>
                    <a:lnTo>
                      <a:pt x="36" y="57"/>
                    </a:lnTo>
                    <a:lnTo>
                      <a:pt x="31" y="57"/>
                    </a:lnTo>
                    <a:lnTo>
                      <a:pt x="27" y="56"/>
                    </a:lnTo>
                    <a:lnTo>
                      <a:pt x="31" y="53"/>
                    </a:lnTo>
                    <a:lnTo>
                      <a:pt x="33" y="51"/>
                    </a:lnTo>
                    <a:lnTo>
                      <a:pt x="31" y="52"/>
                    </a:lnTo>
                    <a:lnTo>
                      <a:pt x="28" y="55"/>
                    </a:lnTo>
                    <a:lnTo>
                      <a:pt x="26" y="52"/>
                    </a:lnTo>
                    <a:lnTo>
                      <a:pt x="26" y="49"/>
                    </a:lnTo>
                    <a:lnTo>
                      <a:pt x="21" y="51"/>
                    </a:lnTo>
                    <a:lnTo>
                      <a:pt x="18" y="51"/>
                    </a:lnTo>
                    <a:lnTo>
                      <a:pt x="17" y="48"/>
                    </a:lnTo>
                    <a:lnTo>
                      <a:pt x="10" y="48"/>
                    </a:lnTo>
                    <a:lnTo>
                      <a:pt x="8" y="50"/>
                    </a:lnTo>
                    <a:lnTo>
                      <a:pt x="5" y="50"/>
                    </a:lnTo>
                    <a:lnTo>
                      <a:pt x="2" y="49"/>
                    </a:lnTo>
                    <a:lnTo>
                      <a:pt x="0" y="43"/>
                    </a:lnTo>
                    <a:lnTo>
                      <a:pt x="0" y="40"/>
                    </a:lnTo>
                    <a:lnTo>
                      <a:pt x="0" y="38"/>
                    </a:lnTo>
                    <a:lnTo>
                      <a:pt x="2" y="35"/>
                    </a:lnTo>
                    <a:lnTo>
                      <a:pt x="5" y="33"/>
                    </a:lnTo>
                    <a:lnTo>
                      <a:pt x="7" y="34"/>
                    </a:lnTo>
                    <a:lnTo>
                      <a:pt x="10" y="33"/>
                    </a:lnTo>
                    <a:lnTo>
                      <a:pt x="13" y="35"/>
                    </a:lnTo>
                    <a:lnTo>
                      <a:pt x="14" y="32"/>
                    </a:lnTo>
                    <a:lnTo>
                      <a:pt x="14" y="30"/>
                    </a:lnTo>
                    <a:lnTo>
                      <a:pt x="16" y="29"/>
                    </a:lnTo>
                    <a:lnTo>
                      <a:pt x="19" y="27"/>
                    </a:lnTo>
                    <a:lnTo>
                      <a:pt x="17" y="25"/>
                    </a:lnTo>
                    <a:lnTo>
                      <a:pt x="23" y="22"/>
                    </a:lnTo>
                    <a:lnTo>
                      <a:pt x="19" y="22"/>
                    </a:lnTo>
                    <a:lnTo>
                      <a:pt x="23" y="19"/>
                    </a:lnTo>
                    <a:lnTo>
                      <a:pt x="19" y="19"/>
                    </a:lnTo>
                    <a:lnTo>
                      <a:pt x="17" y="19"/>
                    </a:lnTo>
                    <a:lnTo>
                      <a:pt x="14" y="18"/>
                    </a:lnTo>
                    <a:lnTo>
                      <a:pt x="15" y="16"/>
                    </a:lnTo>
                    <a:lnTo>
                      <a:pt x="17" y="14"/>
                    </a:lnTo>
                    <a:lnTo>
                      <a:pt x="21" y="13"/>
                    </a:lnTo>
                    <a:lnTo>
                      <a:pt x="26" y="14"/>
                    </a:lnTo>
                    <a:lnTo>
                      <a:pt x="24" y="12"/>
                    </a:lnTo>
                    <a:lnTo>
                      <a:pt x="26" y="10"/>
                    </a:lnTo>
                    <a:lnTo>
                      <a:pt x="24" y="9"/>
                    </a:lnTo>
                    <a:lnTo>
                      <a:pt x="25" y="6"/>
                    </a:lnTo>
                    <a:lnTo>
                      <a:pt x="26" y="5"/>
                    </a:lnTo>
                    <a:lnTo>
                      <a:pt x="26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70" name="Freeform 136">
                <a:extLst>
                  <a:ext uri="{FF2B5EF4-FFF2-40B4-BE49-F238E27FC236}">
                    <a16:creationId xmlns:a16="http://schemas.microsoft.com/office/drawing/2014/main" id="{230F2860-F0D4-4E9E-AE0E-EAFA78566C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20" y="1458"/>
                <a:ext cx="208" cy="103"/>
              </a:xfrm>
              <a:custGeom>
                <a:avLst/>
                <a:gdLst>
                  <a:gd name="T0" fmla="*/ 8 w 208"/>
                  <a:gd name="T1" fmla="*/ 98 h 103"/>
                  <a:gd name="T2" fmla="*/ 19 w 208"/>
                  <a:gd name="T3" fmla="*/ 91 h 103"/>
                  <a:gd name="T4" fmla="*/ 11 w 208"/>
                  <a:gd name="T5" fmla="*/ 91 h 103"/>
                  <a:gd name="T6" fmla="*/ 2 w 208"/>
                  <a:gd name="T7" fmla="*/ 92 h 103"/>
                  <a:gd name="T8" fmla="*/ 5 w 208"/>
                  <a:gd name="T9" fmla="*/ 88 h 103"/>
                  <a:gd name="T10" fmla="*/ 13 w 208"/>
                  <a:gd name="T11" fmla="*/ 84 h 103"/>
                  <a:gd name="T12" fmla="*/ 27 w 208"/>
                  <a:gd name="T13" fmla="*/ 80 h 103"/>
                  <a:gd name="T14" fmla="*/ 25 w 208"/>
                  <a:gd name="T15" fmla="*/ 75 h 103"/>
                  <a:gd name="T16" fmla="*/ 21 w 208"/>
                  <a:gd name="T17" fmla="*/ 74 h 103"/>
                  <a:gd name="T18" fmla="*/ 30 w 208"/>
                  <a:gd name="T19" fmla="*/ 69 h 103"/>
                  <a:gd name="T20" fmla="*/ 26 w 208"/>
                  <a:gd name="T21" fmla="*/ 65 h 103"/>
                  <a:gd name="T22" fmla="*/ 43 w 208"/>
                  <a:gd name="T23" fmla="*/ 65 h 103"/>
                  <a:gd name="T24" fmla="*/ 33 w 208"/>
                  <a:gd name="T25" fmla="*/ 62 h 103"/>
                  <a:gd name="T26" fmla="*/ 41 w 208"/>
                  <a:gd name="T27" fmla="*/ 57 h 103"/>
                  <a:gd name="T28" fmla="*/ 31 w 208"/>
                  <a:gd name="T29" fmla="*/ 56 h 103"/>
                  <a:gd name="T30" fmla="*/ 33 w 208"/>
                  <a:gd name="T31" fmla="*/ 51 h 103"/>
                  <a:gd name="T32" fmla="*/ 44 w 208"/>
                  <a:gd name="T33" fmla="*/ 51 h 103"/>
                  <a:gd name="T34" fmla="*/ 51 w 208"/>
                  <a:gd name="T35" fmla="*/ 46 h 103"/>
                  <a:gd name="T36" fmla="*/ 54 w 208"/>
                  <a:gd name="T37" fmla="*/ 41 h 103"/>
                  <a:gd name="T38" fmla="*/ 67 w 208"/>
                  <a:gd name="T39" fmla="*/ 36 h 103"/>
                  <a:gd name="T40" fmla="*/ 74 w 208"/>
                  <a:gd name="T41" fmla="*/ 32 h 103"/>
                  <a:gd name="T42" fmla="*/ 86 w 208"/>
                  <a:gd name="T43" fmla="*/ 29 h 103"/>
                  <a:gd name="T44" fmla="*/ 91 w 208"/>
                  <a:gd name="T45" fmla="*/ 26 h 103"/>
                  <a:gd name="T46" fmla="*/ 101 w 208"/>
                  <a:gd name="T47" fmla="*/ 27 h 103"/>
                  <a:gd name="T48" fmla="*/ 108 w 208"/>
                  <a:gd name="T49" fmla="*/ 20 h 103"/>
                  <a:gd name="T50" fmla="*/ 120 w 208"/>
                  <a:gd name="T51" fmla="*/ 23 h 103"/>
                  <a:gd name="T52" fmla="*/ 135 w 208"/>
                  <a:gd name="T53" fmla="*/ 20 h 103"/>
                  <a:gd name="T54" fmla="*/ 142 w 208"/>
                  <a:gd name="T55" fmla="*/ 20 h 103"/>
                  <a:gd name="T56" fmla="*/ 159 w 208"/>
                  <a:gd name="T57" fmla="*/ 14 h 103"/>
                  <a:gd name="T58" fmla="*/ 166 w 208"/>
                  <a:gd name="T59" fmla="*/ 9 h 103"/>
                  <a:gd name="T60" fmla="*/ 183 w 208"/>
                  <a:gd name="T61" fmla="*/ 2 h 103"/>
                  <a:gd name="T62" fmla="*/ 198 w 208"/>
                  <a:gd name="T63" fmla="*/ 1 h 103"/>
                  <a:gd name="T64" fmla="*/ 208 w 208"/>
                  <a:gd name="T65" fmla="*/ 6 h 103"/>
                  <a:gd name="T66" fmla="*/ 206 w 208"/>
                  <a:gd name="T67" fmla="*/ 14 h 103"/>
                  <a:gd name="T68" fmla="*/ 198 w 208"/>
                  <a:gd name="T69" fmla="*/ 21 h 103"/>
                  <a:gd name="T70" fmla="*/ 183 w 208"/>
                  <a:gd name="T71" fmla="*/ 26 h 103"/>
                  <a:gd name="T72" fmla="*/ 172 w 208"/>
                  <a:gd name="T73" fmla="*/ 29 h 103"/>
                  <a:gd name="T74" fmla="*/ 161 w 208"/>
                  <a:gd name="T75" fmla="*/ 31 h 103"/>
                  <a:gd name="T76" fmla="*/ 139 w 208"/>
                  <a:gd name="T77" fmla="*/ 38 h 103"/>
                  <a:gd name="T78" fmla="*/ 130 w 208"/>
                  <a:gd name="T79" fmla="*/ 40 h 103"/>
                  <a:gd name="T80" fmla="*/ 122 w 208"/>
                  <a:gd name="T81" fmla="*/ 43 h 103"/>
                  <a:gd name="T82" fmla="*/ 108 w 208"/>
                  <a:gd name="T83" fmla="*/ 48 h 103"/>
                  <a:gd name="T84" fmla="*/ 103 w 208"/>
                  <a:gd name="T85" fmla="*/ 51 h 103"/>
                  <a:gd name="T86" fmla="*/ 86 w 208"/>
                  <a:gd name="T87" fmla="*/ 56 h 103"/>
                  <a:gd name="T88" fmla="*/ 95 w 208"/>
                  <a:gd name="T89" fmla="*/ 57 h 103"/>
                  <a:gd name="T90" fmla="*/ 90 w 208"/>
                  <a:gd name="T91" fmla="*/ 63 h 103"/>
                  <a:gd name="T92" fmla="*/ 80 w 208"/>
                  <a:gd name="T93" fmla="*/ 62 h 103"/>
                  <a:gd name="T94" fmla="*/ 81 w 208"/>
                  <a:gd name="T95" fmla="*/ 68 h 103"/>
                  <a:gd name="T96" fmla="*/ 74 w 208"/>
                  <a:gd name="T97" fmla="*/ 70 h 103"/>
                  <a:gd name="T98" fmla="*/ 63 w 208"/>
                  <a:gd name="T99" fmla="*/ 69 h 103"/>
                  <a:gd name="T100" fmla="*/ 63 w 208"/>
                  <a:gd name="T101" fmla="*/ 79 h 103"/>
                  <a:gd name="T102" fmla="*/ 61 w 208"/>
                  <a:gd name="T103" fmla="*/ 81 h 103"/>
                  <a:gd name="T104" fmla="*/ 53 w 208"/>
                  <a:gd name="T105" fmla="*/ 79 h 103"/>
                  <a:gd name="T106" fmla="*/ 56 w 208"/>
                  <a:gd name="T107" fmla="*/ 84 h 103"/>
                  <a:gd name="T108" fmla="*/ 54 w 208"/>
                  <a:gd name="T109" fmla="*/ 90 h 103"/>
                  <a:gd name="T110" fmla="*/ 48 w 208"/>
                  <a:gd name="T111" fmla="*/ 88 h 103"/>
                  <a:gd name="T112" fmla="*/ 51 w 208"/>
                  <a:gd name="T113" fmla="*/ 95 h 103"/>
                  <a:gd name="T114" fmla="*/ 43 w 208"/>
                  <a:gd name="T115" fmla="*/ 92 h 103"/>
                  <a:gd name="T116" fmla="*/ 47 w 208"/>
                  <a:gd name="T117" fmla="*/ 99 h 103"/>
                  <a:gd name="T118" fmla="*/ 42 w 208"/>
                  <a:gd name="T119" fmla="*/ 103 h 103"/>
                  <a:gd name="T120" fmla="*/ 29 w 208"/>
                  <a:gd name="T121" fmla="*/ 101 h 103"/>
                  <a:gd name="T122" fmla="*/ 18 w 208"/>
                  <a:gd name="T123" fmla="*/ 98 h 103"/>
                  <a:gd name="T124" fmla="*/ 12 w 208"/>
                  <a:gd name="T125" fmla="*/ 10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08" h="103">
                    <a:moveTo>
                      <a:pt x="12" y="100"/>
                    </a:moveTo>
                    <a:lnTo>
                      <a:pt x="8" y="101"/>
                    </a:lnTo>
                    <a:lnTo>
                      <a:pt x="8" y="98"/>
                    </a:lnTo>
                    <a:lnTo>
                      <a:pt x="9" y="96"/>
                    </a:lnTo>
                    <a:lnTo>
                      <a:pt x="11" y="94"/>
                    </a:lnTo>
                    <a:lnTo>
                      <a:pt x="19" y="91"/>
                    </a:lnTo>
                    <a:lnTo>
                      <a:pt x="17" y="91"/>
                    </a:lnTo>
                    <a:lnTo>
                      <a:pt x="13" y="91"/>
                    </a:lnTo>
                    <a:lnTo>
                      <a:pt x="11" y="91"/>
                    </a:lnTo>
                    <a:lnTo>
                      <a:pt x="8" y="94"/>
                    </a:lnTo>
                    <a:lnTo>
                      <a:pt x="5" y="94"/>
                    </a:lnTo>
                    <a:lnTo>
                      <a:pt x="2" y="92"/>
                    </a:lnTo>
                    <a:lnTo>
                      <a:pt x="0" y="90"/>
                    </a:lnTo>
                    <a:lnTo>
                      <a:pt x="2" y="89"/>
                    </a:lnTo>
                    <a:lnTo>
                      <a:pt x="5" y="88"/>
                    </a:lnTo>
                    <a:lnTo>
                      <a:pt x="8" y="86"/>
                    </a:lnTo>
                    <a:lnTo>
                      <a:pt x="11" y="84"/>
                    </a:lnTo>
                    <a:lnTo>
                      <a:pt x="13" y="84"/>
                    </a:lnTo>
                    <a:lnTo>
                      <a:pt x="13" y="82"/>
                    </a:lnTo>
                    <a:lnTo>
                      <a:pt x="19" y="79"/>
                    </a:lnTo>
                    <a:lnTo>
                      <a:pt x="27" y="80"/>
                    </a:lnTo>
                    <a:lnTo>
                      <a:pt x="25" y="78"/>
                    </a:lnTo>
                    <a:lnTo>
                      <a:pt x="19" y="77"/>
                    </a:lnTo>
                    <a:lnTo>
                      <a:pt x="25" y="75"/>
                    </a:lnTo>
                    <a:lnTo>
                      <a:pt x="27" y="77"/>
                    </a:lnTo>
                    <a:lnTo>
                      <a:pt x="25" y="74"/>
                    </a:lnTo>
                    <a:lnTo>
                      <a:pt x="21" y="74"/>
                    </a:lnTo>
                    <a:lnTo>
                      <a:pt x="25" y="72"/>
                    </a:lnTo>
                    <a:lnTo>
                      <a:pt x="34" y="71"/>
                    </a:lnTo>
                    <a:lnTo>
                      <a:pt x="30" y="69"/>
                    </a:lnTo>
                    <a:lnTo>
                      <a:pt x="27" y="70"/>
                    </a:lnTo>
                    <a:lnTo>
                      <a:pt x="25" y="69"/>
                    </a:lnTo>
                    <a:lnTo>
                      <a:pt x="26" y="65"/>
                    </a:lnTo>
                    <a:lnTo>
                      <a:pt x="35" y="64"/>
                    </a:lnTo>
                    <a:lnTo>
                      <a:pt x="41" y="65"/>
                    </a:lnTo>
                    <a:lnTo>
                      <a:pt x="43" y="65"/>
                    </a:lnTo>
                    <a:lnTo>
                      <a:pt x="41" y="65"/>
                    </a:lnTo>
                    <a:lnTo>
                      <a:pt x="35" y="62"/>
                    </a:lnTo>
                    <a:lnTo>
                      <a:pt x="33" y="62"/>
                    </a:lnTo>
                    <a:lnTo>
                      <a:pt x="29" y="62"/>
                    </a:lnTo>
                    <a:lnTo>
                      <a:pt x="31" y="61"/>
                    </a:lnTo>
                    <a:lnTo>
                      <a:pt x="41" y="57"/>
                    </a:lnTo>
                    <a:lnTo>
                      <a:pt x="37" y="57"/>
                    </a:lnTo>
                    <a:lnTo>
                      <a:pt x="35" y="56"/>
                    </a:lnTo>
                    <a:lnTo>
                      <a:pt x="31" y="56"/>
                    </a:lnTo>
                    <a:lnTo>
                      <a:pt x="29" y="54"/>
                    </a:lnTo>
                    <a:lnTo>
                      <a:pt x="30" y="52"/>
                    </a:lnTo>
                    <a:lnTo>
                      <a:pt x="33" y="51"/>
                    </a:lnTo>
                    <a:lnTo>
                      <a:pt x="36" y="52"/>
                    </a:lnTo>
                    <a:lnTo>
                      <a:pt x="38" y="54"/>
                    </a:lnTo>
                    <a:lnTo>
                      <a:pt x="44" y="51"/>
                    </a:lnTo>
                    <a:lnTo>
                      <a:pt x="43" y="47"/>
                    </a:lnTo>
                    <a:lnTo>
                      <a:pt x="45" y="46"/>
                    </a:lnTo>
                    <a:lnTo>
                      <a:pt x="51" y="46"/>
                    </a:lnTo>
                    <a:lnTo>
                      <a:pt x="53" y="47"/>
                    </a:lnTo>
                    <a:lnTo>
                      <a:pt x="54" y="45"/>
                    </a:lnTo>
                    <a:lnTo>
                      <a:pt x="54" y="41"/>
                    </a:lnTo>
                    <a:lnTo>
                      <a:pt x="60" y="40"/>
                    </a:lnTo>
                    <a:lnTo>
                      <a:pt x="59" y="38"/>
                    </a:lnTo>
                    <a:lnTo>
                      <a:pt x="67" y="36"/>
                    </a:lnTo>
                    <a:lnTo>
                      <a:pt x="69" y="34"/>
                    </a:lnTo>
                    <a:lnTo>
                      <a:pt x="72" y="32"/>
                    </a:lnTo>
                    <a:lnTo>
                      <a:pt x="74" y="32"/>
                    </a:lnTo>
                    <a:lnTo>
                      <a:pt x="80" y="30"/>
                    </a:lnTo>
                    <a:lnTo>
                      <a:pt x="84" y="30"/>
                    </a:lnTo>
                    <a:lnTo>
                      <a:pt x="86" y="29"/>
                    </a:lnTo>
                    <a:lnTo>
                      <a:pt x="89" y="29"/>
                    </a:lnTo>
                    <a:lnTo>
                      <a:pt x="89" y="26"/>
                    </a:lnTo>
                    <a:lnTo>
                      <a:pt x="91" y="26"/>
                    </a:lnTo>
                    <a:lnTo>
                      <a:pt x="97" y="26"/>
                    </a:lnTo>
                    <a:lnTo>
                      <a:pt x="95" y="27"/>
                    </a:lnTo>
                    <a:lnTo>
                      <a:pt x="101" y="27"/>
                    </a:lnTo>
                    <a:lnTo>
                      <a:pt x="99" y="23"/>
                    </a:lnTo>
                    <a:lnTo>
                      <a:pt x="101" y="21"/>
                    </a:lnTo>
                    <a:lnTo>
                      <a:pt x="108" y="20"/>
                    </a:lnTo>
                    <a:lnTo>
                      <a:pt x="114" y="21"/>
                    </a:lnTo>
                    <a:lnTo>
                      <a:pt x="118" y="21"/>
                    </a:lnTo>
                    <a:lnTo>
                      <a:pt x="120" y="23"/>
                    </a:lnTo>
                    <a:lnTo>
                      <a:pt x="123" y="22"/>
                    </a:lnTo>
                    <a:lnTo>
                      <a:pt x="129" y="22"/>
                    </a:lnTo>
                    <a:lnTo>
                      <a:pt x="135" y="20"/>
                    </a:lnTo>
                    <a:lnTo>
                      <a:pt x="137" y="19"/>
                    </a:lnTo>
                    <a:lnTo>
                      <a:pt x="140" y="19"/>
                    </a:lnTo>
                    <a:lnTo>
                      <a:pt x="142" y="20"/>
                    </a:lnTo>
                    <a:lnTo>
                      <a:pt x="154" y="14"/>
                    </a:lnTo>
                    <a:lnTo>
                      <a:pt x="156" y="15"/>
                    </a:lnTo>
                    <a:lnTo>
                      <a:pt x="159" y="14"/>
                    </a:lnTo>
                    <a:lnTo>
                      <a:pt x="163" y="12"/>
                    </a:lnTo>
                    <a:lnTo>
                      <a:pt x="167" y="14"/>
                    </a:lnTo>
                    <a:lnTo>
                      <a:pt x="166" y="9"/>
                    </a:lnTo>
                    <a:lnTo>
                      <a:pt x="170" y="7"/>
                    </a:lnTo>
                    <a:lnTo>
                      <a:pt x="178" y="3"/>
                    </a:lnTo>
                    <a:lnTo>
                      <a:pt x="183" y="2"/>
                    </a:lnTo>
                    <a:lnTo>
                      <a:pt x="189" y="0"/>
                    </a:lnTo>
                    <a:lnTo>
                      <a:pt x="196" y="0"/>
                    </a:lnTo>
                    <a:lnTo>
                      <a:pt x="198" y="1"/>
                    </a:lnTo>
                    <a:lnTo>
                      <a:pt x="201" y="2"/>
                    </a:lnTo>
                    <a:lnTo>
                      <a:pt x="207" y="4"/>
                    </a:lnTo>
                    <a:lnTo>
                      <a:pt x="208" y="6"/>
                    </a:lnTo>
                    <a:lnTo>
                      <a:pt x="208" y="10"/>
                    </a:lnTo>
                    <a:lnTo>
                      <a:pt x="207" y="12"/>
                    </a:lnTo>
                    <a:lnTo>
                      <a:pt x="206" y="14"/>
                    </a:lnTo>
                    <a:lnTo>
                      <a:pt x="202" y="17"/>
                    </a:lnTo>
                    <a:lnTo>
                      <a:pt x="200" y="19"/>
                    </a:lnTo>
                    <a:lnTo>
                      <a:pt x="198" y="21"/>
                    </a:lnTo>
                    <a:lnTo>
                      <a:pt x="195" y="21"/>
                    </a:lnTo>
                    <a:lnTo>
                      <a:pt x="189" y="23"/>
                    </a:lnTo>
                    <a:lnTo>
                      <a:pt x="183" y="26"/>
                    </a:lnTo>
                    <a:lnTo>
                      <a:pt x="178" y="27"/>
                    </a:lnTo>
                    <a:lnTo>
                      <a:pt x="174" y="29"/>
                    </a:lnTo>
                    <a:lnTo>
                      <a:pt x="172" y="29"/>
                    </a:lnTo>
                    <a:lnTo>
                      <a:pt x="170" y="30"/>
                    </a:lnTo>
                    <a:lnTo>
                      <a:pt x="166" y="30"/>
                    </a:lnTo>
                    <a:lnTo>
                      <a:pt x="161" y="31"/>
                    </a:lnTo>
                    <a:lnTo>
                      <a:pt x="155" y="35"/>
                    </a:lnTo>
                    <a:lnTo>
                      <a:pt x="144" y="36"/>
                    </a:lnTo>
                    <a:lnTo>
                      <a:pt x="139" y="38"/>
                    </a:lnTo>
                    <a:lnTo>
                      <a:pt x="136" y="37"/>
                    </a:lnTo>
                    <a:lnTo>
                      <a:pt x="133" y="39"/>
                    </a:lnTo>
                    <a:lnTo>
                      <a:pt x="130" y="40"/>
                    </a:lnTo>
                    <a:lnTo>
                      <a:pt x="128" y="40"/>
                    </a:lnTo>
                    <a:lnTo>
                      <a:pt x="124" y="41"/>
                    </a:lnTo>
                    <a:lnTo>
                      <a:pt x="122" y="43"/>
                    </a:lnTo>
                    <a:lnTo>
                      <a:pt x="116" y="44"/>
                    </a:lnTo>
                    <a:lnTo>
                      <a:pt x="114" y="45"/>
                    </a:lnTo>
                    <a:lnTo>
                      <a:pt x="108" y="48"/>
                    </a:lnTo>
                    <a:lnTo>
                      <a:pt x="105" y="49"/>
                    </a:lnTo>
                    <a:lnTo>
                      <a:pt x="105" y="47"/>
                    </a:lnTo>
                    <a:lnTo>
                      <a:pt x="103" y="51"/>
                    </a:lnTo>
                    <a:lnTo>
                      <a:pt x="95" y="55"/>
                    </a:lnTo>
                    <a:lnTo>
                      <a:pt x="91" y="56"/>
                    </a:lnTo>
                    <a:lnTo>
                      <a:pt x="86" y="56"/>
                    </a:lnTo>
                    <a:lnTo>
                      <a:pt x="86" y="57"/>
                    </a:lnTo>
                    <a:lnTo>
                      <a:pt x="89" y="57"/>
                    </a:lnTo>
                    <a:lnTo>
                      <a:pt x="95" y="57"/>
                    </a:lnTo>
                    <a:lnTo>
                      <a:pt x="94" y="60"/>
                    </a:lnTo>
                    <a:lnTo>
                      <a:pt x="91" y="61"/>
                    </a:lnTo>
                    <a:lnTo>
                      <a:pt x="90" y="63"/>
                    </a:lnTo>
                    <a:lnTo>
                      <a:pt x="86" y="64"/>
                    </a:lnTo>
                    <a:lnTo>
                      <a:pt x="84" y="63"/>
                    </a:lnTo>
                    <a:lnTo>
                      <a:pt x="80" y="62"/>
                    </a:lnTo>
                    <a:lnTo>
                      <a:pt x="84" y="64"/>
                    </a:lnTo>
                    <a:lnTo>
                      <a:pt x="84" y="66"/>
                    </a:lnTo>
                    <a:lnTo>
                      <a:pt x="81" y="68"/>
                    </a:lnTo>
                    <a:lnTo>
                      <a:pt x="76" y="64"/>
                    </a:lnTo>
                    <a:lnTo>
                      <a:pt x="76" y="66"/>
                    </a:lnTo>
                    <a:lnTo>
                      <a:pt x="74" y="70"/>
                    </a:lnTo>
                    <a:lnTo>
                      <a:pt x="72" y="71"/>
                    </a:lnTo>
                    <a:lnTo>
                      <a:pt x="69" y="70"/>
                    </a:lnTo>
                    <a:lnTo>
                      <a:pt x="63" y="69"/>
                    </a:lnTo>
                    <a:lnTo>
                      <a:pt x="65" y="71"/>
                    </a:lnTo>
                    <a:lnTo>
                      <a:pt x="69" y="77"/>
                    </a:lnTo>
                    <a:lnTo>
                      <a:pt x="63" y="79"/>
                    </a:lnTo>
                    <a:lnTo>
                      <a:pt x="65" y="80"/>
                    </a:lnTo>
                    <a:lnTo>
                      <a:pt x="63" y="81"/>
                    </a:lnTo>
                    <a:lnTo>
                      <a:pt x="61" y="81"/>
                    </a:lnTo>
                    <a:lnTo>
                      <a:pt x="57" y="83"/>
                    </a:lnTo>
                    <a:lnTo>
                      <a:pt x="55" y="82"/>
                    </a:lnTo>
                    <a:lnTo>
                      <a:pt x="53" y="79"/>
                    </a:lnTo>
                    <a:lnTo>
                      <a:pt x="51" y="81"/>
                    </a:lnTo>
                    <a:lnTo>
                      <a:pt x="53" y="82"/>
                    </a:lnTo>
                    <a:lnTo>
                      <a:pt x="56" y="84"/>
                    </a:lnTo>
                    <a:lnTo>
                      <a:pt x="57" y="87"/>
                    </a:lnTo>
                    <a:lnTo>
                      <a:pt x="56" y="90"/>
                    </a:lnTo>
                    <a:lnTo>
                      <a:pt x="54" y="90"/>
                    </a:lnTo>
                    <a:lnTo>
                      <a:pt x="51" y="88"/>
                    </a:lnTo>
                    <a:lnTo>
                      <a:pt x="39" y="87"/>
                    </a:lnTo>
                    <a:lnTo>
                      <a:pt x="48" y="88"/>
                    </a:lnTo>
                    <a:lnTo>
                      <a:pt x="52" y="89"/>
                    </a:lnTo>
                    <a:lnTo>
                      <a:pt x="54" y="92"/>
                    </a:lnTo>
                    <a:lnTo>
                      <a:pt x="51" y="95"/>
                    </a:lnTo>
                    <a:lnTo>
                      <a:pt x="48" y="95"/>
                    </a:lnTo>
                    <a:lnTo>
                      <a:pt x="45" y="95"/>
                    </a:lnTo>
                    <a:lnTo>
                      <a:pt x="43" y="92"/>
                    </a:lnTo>
                    <a:lnTo>
                      <a:pt x="45" y="95"/>
                    </a:lnTo>
                    <a:lnTo>
                      <a:pt x="47" y="96"/>
                    </a:lnTo>
                    <a:lnTo>
                      <a:pt x="47" y="99"/>
                    </a:lnTo>
                    <a:lnTo>
                      <a:pt x="45" y="100"/>
                    </a:lnTo>
                    <a:lnTo>
                      <a:pt x="42" y="100"/>
                    </a:lnTo>
                    <a:lnTo>
                      <a:pt x="42" y="103"/>
                    </a:lnTo>
                    <a:lnTo>
                      <a:pt x="34" y="103"/>
                    </a:lnTo>
                    <a:lnTo>
                      <a:pt x="33" y="99"/>
                    </a:lnTo>
                    <a:lnTo>
                      <a:pt x="29" y="101"/>
                    </a:lnTo>
                    <a:lnTo>
                      <a:pt x="27" y="100"/>
                    </a:lnTo>
                    <a:lnTo>
                      <a:pt x="24" y="100"/>
                    </a:lnTo>
                    <a:lnTo>
                      <a:pt x="18" y="98"/>
                    </a:lnTo>
                    <a:lnTo>
                      <a:pt x="16" y="98"/>
                    </a:lnTo>
                    <a:lnTo>
                      <a:pt x="12" y="100"/>
                    </a:lnTo>
                    <a:lnTo>
                      <a:pt x="12" y="10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71" name="Freeform 137">
                <a:extLst>
                  <a:ext uri="{FF2B5EF4-FFF2-40B4-BE49-F238E27FC236}">
                    <a16:creationId xmlns:a16="http://schemas.microsoft.com/office/drawing/2014/main" id="{FB049A10-1E0B-4850-BB28-8F19DB298C9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40" y="1327"/>
                <a:ext cx="114" cy="78"/>
              </a:xfrm>
              <a:custGeom>
                <a:avLst/>
                <a:gdLst>
                  <a:gd name="T0" fmla="*/ 29 w 114"/>
                  <a:gd name="T1" fmla="*/ 41 h 78"/>
                  <a:gd name="T2" fmla="*/ 38 w 114"/>
                  <a:gd name="T3" fmla="*/ 38 h 78"/>
                  <a:gd name="T4" fmla="*/ 55 w 114"/>
                  <a:gd name="T5" fmla="*/ 35 h 78"/>
                  <a:gd name="T6" fmla="*/ 76 w 114"/>
                  <a:gd name="T7" fmla="*/ 33 h 78"/>
                  <a:gd name="T8" fmla="*/ 73 w 114"/>
                  <a:gd name="T9" fmla="*/ 23 h 78"/>
                  <a:gd name="T10" fmla="*/ 80 w 114"/>
                  <a:gd name="T11" fmla="*/ 20 h 78"/>
                  <a:gd name="T12" fmla="*/ 85 w 114"/>
                  <a:gd name="T13" fmla="*/ 16 h 78"/>
                  <a:gd name="T14" fmla="*/ 70 w 114"/>
                  <a:gd name="T15" fmla="*/ 12 h 78"/>
                  <a:gd name="T16" fmla="*/ 59 w 114"/>
                  <a:gd name="T17" fmla="*/ 1 h 78"/>
                  <a:gd name="T18" fmla="*/ 46 w 114"/>
                  <a:gd name="T19" fmla="*/ 1 h 78"/>
                  <a:gd name="T20" fmla="*/ 43 w 114"/>
                  <a:gd name="T21" fmla="*/ 6 h 78"/>
                  <a:gd name="T22" fmla="*/ 20 w 114"/>
                  <a:gd name="T23" fmla="*/ 9 h 78"/>
                  <a:gd name="T24" fmla="*/ 14 w 114"/>
                  <a:gd name="T25" fmla="*/ 15 h 78"/>
                  <a:gd name="T26" fmla="*/ 22 w 114"/>
                  <a:gd name="T27" fmla="*/ 16 h 78"/>
                  <a:gd name="T28" fmla="*/ 16 w 114"/>
                  <a:gd name="T29" fmla="*/ 23 h 78"/>
                  <a:gd name="T30" fmla="*/ 3 w 114"/>
                  <a:gd name="T31" fmla="*/ 28 h 78"/>
                  <a:gd name="T32" fmla="*/ 1 w 114"/>
                  <a:gd name="T33" fmla="*/ 30 h 78"/>
                  <a:gd name="T34" fmla="*/ 10 w 114"/>
                  <a:gd name="T35" fmla="*/ 32 h 78"/>
                  <a:gd name="T36" fmla="*/ 22 w 114"/>
                  <a:gd name="T37" fmla="*/ 33 h 78"/>
                  <a:gd name="T38" fmla="*/ 10 w 114"/>
                  <a:gd name="T39" fmla="*/ 34 h 78"/>
                  <a:gd name="T40" fmla="*/ 12 w 114"/>
                  <a:gd name="T41" fmla="*/ 35 h 78"/>
                  <a:gd name="T42" fmla="*/ 12 w 114"/>
                  <a:gd name="T43" fmla="*/ 37 h 78"/>
                  <a:gd name="T44" fmla="*/ 110 w 114"/>
                  <a:gd name="T45" fmla="*/ 63 h 78"/>
                  <a:gd name="T46" fmla="*/ 114 w 114"/>
                  <a:gd name="T47" fmla="*/ 49 h 78"/>
                  <a:gd name="T48" fmla="*/ 108 w 114"/>
                  <a:gd name="T49" fmla="*/ 43 h 78"/>
                  <a:gd name="T50" fmla="*/ 96 w 114"/>
                  <a:gd name="T51" fmla="*/ 40 h 78"/>
                  <a:gd name="T52" fmla="*/ 91 w 114"/>
                  <a:gd name="T53" fmla="*/ 46 h 78"/>
                  <a:gd name="T54" fmla="*/ 80 w 114"/>
                  <a:gd name="T55" fmla="*/ 49 h 78"/>
                  <a:gd name="T56" fmla="*/ 81 w 114"/>
                  <a:gd name="T57" fmla="*/ 46 h 78"/>
                  <a:gd name="T58" fmla="*/ 86 w 114"/>
                  <a:gd name="T59" fmla="*/ 39 h 78"/>
                  <a:gd name="T60" fmla="*/ 76 w 114"/>
                  <a:gd name="T61" fmla="*/ 35 h 78"/>
                  <a:gd name="T62" fmla="*/ 53 w 114"/>
                  <a:gd name="T63" fmla="*/ 38 h 78"/>
                  <a:gd name="T64" fmla="*/ 44 w 114"/>
                  <a:gd name="T65" fmla="*/ 40 h 78"/>
                  <a:gd name="T66" fmla="*/ 36 w 114"/>
                  <a:gd name="T67" fmla="*/ 44 h 78"/>
                  <a:gd name="T68" fmla="*/ 30 w 114"/>
                  <a:gd name="T69" fmla="*/ 50 h 78"/>
                  <a:gd name="T70" fmla="*/ 17 w 114"/>
                  <a:gd name="T71" fmla="*/ 55 h 78"/>
                  <a:gd name="T72" fmla="*/ 25 w 114"/>
                  <a:gd name="T73" fmla="*/ 56 h 78"/>
                  <a:gd name="T74" fmla="*/ 28 w 114"/>
                  <a:gd name="T75" fmla="*/ 58 h 78"/>
                  <a:gd name="T76" fmla="*/ 36 w 114"/>
                  <a:gd name="T77" fmla="*/ 59 h 78"/>
                  <a:gd name="T78" fmla="*/ 40 w 114"/>
                  <a:gd name="T79" fmla="*/ 66 h 78"/>
                  <a:gd name="T80" fmla="*/ 47 w 114"/>
                  <a:gd name="T81" fmla="*/ 71 h 78"/>
                  <a:gd name="T82" fmla="*/ 54 w 114"/>
                  <a:gd name="T83" fmla="*/ 72 h 78"/>
                  <a:gd name="T84" fmla="*/ 69 w 114"/>
                  <a:gd name="T85" fmla="*/ 72 h 78"/>
                  <a:gd name="T86" fmla="*/ 93 w 114"/>
                  <a:gd name="T87" fmla="*/ 78 h 78"/>
                  <a:gd name="T88" fmla="*/ 112 w 114"/>
                  <a:gd name="T89" fmla="*/ 74 h 78"/>
                  <a:gd name="T90" fmla="*/ 107 w 114"/>
                  <a:gd name="T91" fmla="*/ 66 h 78"/>
                  <a:gd name="T92" fmla="*/ 107 w 114"/>
                  <a:gd name="T93" fmla="*/ 64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14" h="78">
                    <a:moveTo>
                      <a:pt x="23" y="40"/>
                    </a:moveTo>
                    <a:lnTo>
                      <a:pt x="27" y="41"/>
                    </a:lnTo>
                    <a:lnTo>
                      <a:pt x="29" y="41"/>
                    </a:lnTo>
                    <a:lnTo>
                      <a:pt x="32" y="40"/>
                    </a:lnTo>
                    <a:lnTo>
                      <a:pt x="36" y="40"/>
                    </a:lnTo>
                    <a:lnTo>
                      <a:pt x="38" y="38"/>
                    </a:lnTo>
                    <a:lnTo>
                      <a:pt x="44" y="37"/>
                    </a:lnTo>
                    <a:lnTo>
                      <a:pt x="47" y="37"/>
                    </a:lnTo>
                    <a:lnTo>
                      <a:pt x="55" y="35"/>
                    </a:lnTo>
                    <a:lnTo>
                      <a:pt x="61" y="34"/>
                    </a:lnTo>
                    <a:lnTo>
                      <a:pt x="73" y="34"/>
                    </a:lnTo>
                    <a:lnTo>
                      <a:pt x="76" y="33"/>
                    </a:lnTo>
                    <a:lnTo>
                      <a:pt x="79" y="31"/>
                    </a:lnTo>
                    <a:lnTo>
                      <a:pt x="76" y="29"/>
                    </a:lnTo>
                    <a:lnTo>
                      <a:pt x="73" y="23"/>
                    </a:lnTo>
                    <a:lnTo>
                      <a:pt x="74" y="21"/>
                    </a:lnTo>
                    <a:lnTo>
                      <a:pt x="78" y="21"/>
                    </a:lnTo>
                    <a:lnTo>
                      <a:pt x="80" y="20"/>
                    </a:lnTo>
                    <a:lnTo>
                      <a:pt x="83" y="21"/>
                    </a:lnTo>
                    <a:lnTo>
                      <a:pt x="86" y="20"/>
                    </a:lnTo>
                    <a:lnTo>
                      <a:pt x="85" y="16"/>
                    </a:lnTo>
                    <a:lnTo>
                      <a:pt x="81" y="15"/>
                    </a:lnTo>
                    <a:lnTo>
                      <a:pt x="76" y="14"/>
                    </a:lnTo>
                    <a:lnTo>
                      <a:pt x="70" y="12"/>
                    </a:lnTo>
                    <a:lnTo>
                      <a:pt x="68" y="9"/>
                    </a:lnTo>
                    <a:lnTo>
                      <a:pt x="65" y="6"/>
                    </a:lnTo>
                    <a:lnTo>
                      <a:pt x="59" y="1"/>
                    </a:lnTo>
                    <a:lnTo>
                      <a:pt x="54" y="0"/>
                    </a:lnTo>
                    <a:lnTo>
                      <a:pt x="48" y="0"/>
                    </a:lnTo>
                    <a:lnTo>
                      <a:pt x="46" y="1"/>
                    </a:lnTo>
                    <a:lnTo>
                      <a:pt x="52" y="3"/>
                    </a:lnTo>
                    <a:lnTo>
                      <a:pt x="49" y="3"/>
                    </a:lnTo>
                    <a:lnTo>
                      <a:pt x="43" y="6"/>
                    </a:lnTo>
                    <a:lnTo>
                      <a:pt x="35" y="6"/>
                    </a:lnTo>
                    <a:lnTo>
                      <a:pt x="31" y="7"/>
                    </a:lnTo>
                    <a:lnTo>
                      <a:pt x="20" y="9"/>
                    </a:lnTo>
                    <a:lnTo>
                      <a:pt x="19" y="12"/>
                    </a:lnTo>
                    <a:lnTo>
                      <a:pt x="17" y="13"/>
                    </a:lnTo>
                    <a:lnTo>
                      <a:pt x="14" y="15"/>
                    </a:lnTo>
                    <a:lnTo>
                      <a:pt x="13" y="17"/>
                    </a:lnTo>
                    <a:lnTo>
                      <a:pt x="19" y="17"/>
                    </a:lnTo>
                    <a:lnTo>
                      <a:pt x="22" y="16"/>
                    </a:lnTo>
                    <a:lnTo>
                      <a:pt x="20" y="18"/>
                    </a:lnTo>
                    <a:lnTo>
                      <a:pt x="17" y="20"/>
                    </a:lnTo>
                    <a:lnTo>
                      <a:pt x="16" y="23"/>
                    </a:lnTo>
                    <a:lnTo>
                      <a:pt x="14" y="25"/>
                    </a:lnTo>
                    <a:lnTo>
                      <a:pt x="9" y="25"/>
                    </a:lnTo>
                    <a:lnTo>
                      <a:pt x="3" y="28"/>
                    </a:lnTo>
                    <a:lnTo>
                      <a:pt x="12" y="29"/>
                    </a:lnTo>
                    <a:lnTo>
                      <a:pt x="3" y="29"/>
                    </a:lnTo>
                    <a:lnTo>
                      <a:pt x="1" y="30"/>
                    </a:lnTo>
                    <a:lnTo>
                      <a:pt x="0" y="32"/>
                    </a:lnTo>
                    <a:lnTo>
                      <a:pt x="4" y="32"/>
                    </a:lnTo>
                    <a:lnTo>
                      <a:pt x="10" y="32"/>
                    </a:lnTo>
                    <a:lnTo>
                      <a:pt x="17" y="31"/>
                    </a:lnTo>
                    <a:lnTo>
                      <a:pt x="19" y="32"/>
                    </a:lnTo>
                    <a:lnTo>
                      <a:pt x="22" y="33"/>
                    </a:lnTo>
                    <a:lnTo>
                      <a:pt x="17" y="32"/>
                    </a:lnTo>
                    <a:lnTo>
                      <a:pt x="6" y="33"/>
                    </a:lnTo>
                    <a:lnTo>
                      <a:pt x="10" y="34"/>
                    </a:lnTo>
                    <a:lnTo>
                      <a:pt x="12" y="35"/>
                    </a:lnTo>
                    <a:lnTo>
                      <a:pt x="14" y="37"/>
                    </a:lnTo>
                    <a:lnTo>
                      <a:pt x="12" y="35"/>
                    </a:lnTo>
                    <a:lnTo>
                      <a:pt x="9" y="35"/>
                    </a:lnTo>
                    <a:lnTo>
                      <a:pt x="6" y="35"/>
                    </a:lnTo>
                    <a:lnTo>
                      <a:pt x="12" y="37"/>
                    </a:lnTo>
                    <a:lnTo>
                      <a:pt x="18" y="38"/>
                    </a:lnTo>
                    <a:lnTo>
                      <a:pt x="23" y="40"/>
                    </a:lnTo>
                    <a:close/>
                    <a:moveTo>
                      <a:pt x="110" y="63"/>
                    </a:moveTo>
                    <a:lnTo>
                      <a:pt x="111" y="55"/>
                    </a:lnTo>
                    <a:lnTo>
                      <a:pt x="112" y="51"/>
                    </a:lnTo>
                    <a:lnTo>
                      <a:pt x="114" y="49"/>
                    </a:lnTo>
                    <a:lnTo>
                      <a:pt x="114" y="47"/>
                    </a:lnTo>
                    <a:lnTo>
                      <a:pt x="112" y="44"/>
                    </a:lnTo>
                    <a:lnTo>
                      <a:pt x="108" y="43"/>
                    </a:lnTo>
                    <a:lnTo>
                      <a:pt x="106" y="41"/>
                    </a:lnTo>
                    <a:lnTo>
                      <a:pt x="102" y="40"/>
                    </a:lnTo>
                    <a:lnTo>
                      <a:pt x="96" y="40"/>
                    </a:lnTo>
                    <a:lnTo>
                      <a:pt x="93" y="41"/>
                    </a:lnTo>
                    <a:lnTo>
                      <a:pt x="94" y="42"/>
                    </a:lnTo>
                    <a:lnTo>
                      <a:pt x="91" y="46"/>
                    </a:lnTo>
                    <a:lnTo>
                      <a:pt x="86" y="44"/>
                    </a:lnTo>
                    <a:lnTo>
                      <a:pt x="83" y="47"/>
                    </a:lnTo>
                    <a:lnTo>
                      <a:pt x="80" y="49"/>
                    </a:lnTo>
                    <a:lnTo>
                      <a:pt x="78" y="49"/>
                    </a:lnTo>
                    <a:lnTo>
                      <a:pt x="81" y="49"/>
                    </a:lnTo>
                    <a:lnTo>
                      <a:pt x="81" y="46"/>
                    </a:lnTo>
                    <a:lnTo>
                      <a:pt x="85" y="44"/>
                    </a:lnTo>
                    <a:lnTo>
                      <a:pt x="86" y="41"/>
                    </a:lnTo>
                    <a:lnTo>
                      <a:pt x="86" y="39"/>
                    </a:lnTo>
                    <a:lnTo>
                      <a:pt x="83" y="37"/>
                    </a:lnTo>
                    <a:lnTo>
                      <a:pt x="80" y="35"/>
                    </a:lnTo>
                    <a:lnTo>
                      <a:pt x="76" y="35"/>
                    </a:lnTo>
                    <a:lnTo>
                      <a:pt x="72" y="37"/>
                    </a:lnTo>
                    <a:lnTo>
                      <a:pt x="66" y="38"/>
                    </a:lnTo>
                    <a:lnTo>
                      <a:pt x="53" y="38"/>
                    </a:lnTo>
                    <a:lnTo>
                      <a:pt x="49" y="40"/>
                    </a:lnTo>
                    <a:lnTo>
                      <a:pt x="47" y="39"/>
                    </a:lnTo>
                    <a:lnTo>
                      <a:pt x="44" y="40"/>
                    </a:lnTo>
                    <a:lnTo>
                      <a:pt x="42" y="41"/>
                    </a:lnTo>
                    <a:lnTo>
                      <a:pt x="38" y="42"/>
                    </a:lnTo>
                    <a:lnTo>
                      <a:pt x="36" y="44"/>
                    </a:lnTo>
                    <a:lnTo>
                      <a:pt x="42" y="47"/>
                    </a:lnTo>
                    <a:lnTo>
                      <a:pt x="32" y="49"/>
                    </a:lnTo>
                    <a:lnTo>
                      <a:pt x="30" y="50"/>
                    </a:lnTo>
                    <a:lnTo>
                      <a:pt x="28" y="52"/>
                    </a:lnTo>
                    <a:lnTo>
                      <a:pt x="22" y="56"/>
                    </a:lnTo>
                    <a:lnTo>
                      <a:pt x="17" y="55"/>
                    </a:lnTo>
                    <a:lnTo>
                      <a:pt x="19" y="56"/>
                    </a:lnTo>
                    <a:lnTo>
                      <a:pt x="22" y="58"/>
                    </a:lnTo>
                    <a:lnTo>
                      <a:pt x="25" y="56"/>
                    </a:lnTo>
                    <a:lnTo>
                      <a:pt x="28" y="56"/>
                    </a:lnTo>
                    <a:lnTo>
                      <a:pt x="30" y="58"/>
                    </a:lnTo>
                    <a:lnTo>
                      <a:pt x="28" y="58"/>
                    </a:lnTo>
                    <a:lnTo>
                      <a:pt x="31" y="59"/>
                    </a:lnTo>
                    <a:lnTo>
                      <a:pt x="34" y="58"/>
                    </a:lnTo>
                    <a:lnTo>
                      <a:pt x="36" y="59"/>
                    </a:lnTo>
                    <a:lnTo>
                      <a:pt x="37" y="63"/>
                    </a:lnTo>
                    <a:lnTo>
                      <a:pt x="38" y="65"/>
                    </a:lnTo>
                    <a:lnTo>
                      <a:pt x="40" y="66"/>
                    </a:lnTo>
                    <a:lnTo>
                      <a:pt x="42" y="69"/>
                    </a:lnTo>
                    <a:lnTo>
                      <a:pt x="45" y="71"/>
                    </a:lnTo>
                    <a:lnTo>
                      <a:pt x="47" y="71"/>
                    </a:lnTo>
                    <a:lnTo>
                      <a:pt x="51" y="69"/>
                    </a:lnTo>
                    <a:lnTo>
                      <a:pt x="54" y="69"/>
                    </a:lnTo>
                    <a:lnTo>
                      <a:pt x="54" y="72"/>
                    </a:lnTo>
                    <a:lnTo>
                      <a:pt x="61" y="72"/>
                    </a:lnTo>
                    <a:lnTo>
                      <a:pt x="66" y="73"/>
                    </a:lnTo>
                    <a:lnTo>
                      <a:pt x="69" y="72"/>
                    </a:lnTo>
                    <a:lnTo>
                      <a:pt x="76" y="76"/>
                    </a:lnTo>
                    <a:lnTo>
                      <a:pt x="80" y="77"/>
                    </a:lnTo>
                    <a:lnTo>
                      <a:pt x="93" y="78"/>
                    </a:lnTo>
                    <a:lnTo>
                      <a:pt x="95" y="77"/>
                    </a:lnTo>
                    <a:lnTo>
                      <a:pt x="107" y="77"/>
                    </a:lnTo>
                    <a:lnTo>
                      <a:pt x="112" y="74"/>
                    </a:lnTo>
                    <a:lnTo>
                      <a:pt x="112" y="72"/>
                    </a:lnTo>
                    <a:lnTo>
                      <a:pt x="111" y="68"/>
                    </a:lnTo>
                    <a:lnTo>
                      <a:pt x="107" y="66"/>
                    </a:lnTo>
                    <a:lnTo>
                      <a:pt x="104" y="65"/>
                    </a:lnTo>
                    <a:lnTo>
                      <a:pt x="102" y="63"/>
                    </a:lnTo>
                    <a:lnTo>
                      <a:pt x="107" y="64"/>
                    </a:lnTo>
                    <a:lnTo>
                      <a:pt x="110" y="6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72" name="Freeform 138">
                <a:extLst>
                  <a:ext uri="{FF2B5EF4-FFF2-40B4-BE49-F238E27FC236}">
                    <a16:creationId xmlns:a16="http://schemas.microsoft.com/office/drawing/2014/main" id="{1538E19E-14B2-4956-B748-8AFA5C2EFE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6" y="1386"/>
                <a:ext cx="84" cy="44"/>
              </a:xfrm>
              <a:custGeom>
                <a:avLst/>
                <a:gdLst>
                  <a:gd name="T0" fmla="*/ 35 w 84"/>
                  <a:gd name="T1" fmla="*/ 5 h 44"/>
                  <a:gd name="T2" fmla="*/ 35 w 84"/>
                  <a:gd name="T3" fmla="*/ 4 h 44"/>
                  <a:gd name="T4" fmla="*/ 32 w 84"/>
                  <a:gd name="T5" fmla="*/ 2 h 44"/>
                  <a:gd name="T6" fmla="*/ 30 w 84"/>
                  <a:gd name="T7" fmla="*/ 4 h 44"/>
                  <a:gd name="T8" fmla="*/ 28 w 84"/>
                  <a:gd name="T9" fmla="*/ 6 h 44"/>
                  <a:gd name="T10" fmla="*/ 25 w 84"/>
                  <a:gd name="T11" fmla="*/ 6 h 44"/>
                  <a:gd name="T12" fmla="*/ 23 w 84"/>
                  <a:gd name="T13" fmla="*/ 9 h 44"/>
                  <a:gd name="T14" fmla="*/ 23 w 84"/>
                  <a:gd name="T15" fmla="*/ 12 h 44"/>
                  <a:gd name="T16" fmla="*/ 28 w 84"/>
                  <a:gd name="T17" fmla="*/ 14 h 44"/>
                  <a:gd name="T18" fmla="*/ 23 w 84"/>
                  <a:gd name="T19" fmla="*/ 12 h 44"/>
                  <a:gd name="T20" fmla="*/ 21 w 84"/>
                  <a:gd name="T21" fmla="*/ 14 h 44"/>
                  <a:gd name="T22" fmla="*/ 18 w 84"/>
                  <a:gd name="T23" fmla="*/ 16 h 44"/>
                  <a:gd name="T24" fmla="*/ 22 w 84"/>
                  <a:gd name="T25" fmla="*/ 19 h 44"/>
                  <a:gd name="T26" fmla="*/ 24 w 84"/>
                  <a:gd name="T27" fmla="*/ 21 h 44"/>
                  <a:gd name="T28" fmla="*/ 16 w 84"/>
                  <a:gd name="T29" fmla="*/ 19 h 44"/>
                  <a:gd name="T30" fmla="*/ 13 w 84"/>
                  <a:gd name="T31" fmla="*/ 22 h 44"/>
                  <a:gd name="T32" fmla="*/ 10 w 84"/>
                  <a:gd name="T33" fmla="*/ 27 h 44"/>
                  <a:gd name="T34" fmla="*/ 8 w 84"/>
                  <a:gd name="T35" fmla="*/ 30 h 44"/>
                  <a:gd name="T36" fmla="*/ 8 w 84"/>
                  <a:gd name="T37" fmla="*/ 33 h 44"/>
                  <a:gd name="T38" fmla="*/ 2 w 84"/>
                  <a:gd name="T39" fmla="*/ 39 h 44"/>
                  <a:gd name="T40" fmla="*/ 0 w 84"/>
                  <a:gd name="T41" fmla="*/ 42 h 44"/>
                  <a:gd name="T42" fmla="*/ 2 w 84"/>
                  <a:gd name="T43" fmla="*/ 44 h 44"/>
                  <a:gd name="T44" fmla="*/ 5 w 84"/>
                  <a:gd name="T45" fmla="*/ 44 h 44"/>
                  <a:gd name="T46" fmla="*/ 8 w 84"/>
                  <a:gd name="T47" fmla="*/ 44 h 44"/>
                  <a:gd name="T48" fmla="*/ 22 w 84"/>
                  <a:gd name="T49" fmla="*/ 40 h 44"/>
                  <a:gd name="T50" fmla="*/ 24 w 84"/>
                  <a:gd name="T51" fmla="*/ 38 h 44"/>
                  <a:gd name="T52" fmla="*/ 41 w 84"/>
                  <a:gd name="T53" fmla="*/ 36 h 44"/>
                  <a:gd name="T54" fmla="*/ 44 w 84"/>
                  <a:gd name="T55" fmla="*/ 36 h 44"/>
                  <a:gd name="T56" fmla="*/ 47 w 84"/>
                  <a:gd name="T57" fmla="*/ 38 h 44"/>
                  <a:gd name="T58" fmla="*/ 49 w 84"/>
                  <a:gd name="T59" fmla="*/ 35 h 44"/>
                  <a:gd name="T60" fmla="*/ 52 w 84"/>
                  <a:gd name="T61" fmla="*/ 36 h 44"/>
                  <a:gd name="T62" fmla="*/ 61 w 84"/>
                  <a:gd name="T63" fmla="*/ 35 h 44"/>
                  <a:gd name="T64" fmla="*/ 69 w 84"/>
                  <a:gd name="T65" fmla="*/ 33 h 44"/>
                  <a:gd name="T66" fmla="*/ 73 w 84"/>
                  <a:gd name="T67" fmla="*/ 33 h 44"/>
                  <a:gd name="T68" fmla="*/ 75 w 84"/>
                  <a:gd name="T69" fmla="*/ 33 h 44"/>
                  <a:gd name="T70" fmla="*/ 83 w 84"/>
                  <a:gd name="T71" fmla="*/ 27 h 44"/>
                  <a:gd name="T72" fmla="*/ 84 w 84"/>
                  <a:gd name="T73" fmla="*/ 25 h 44"/>
                  <a:gd name="T74" fmla="*/ 82 w 84"/>
                  <a:gd name="T75" fmla="*/ 19 h 44"/>
                  <a:gd name="T76" fmla="*/ 78 w 84"/>
                  <a:gd name="T77" fmla="*/ 17 h 44"/>
                  <a:gd name="T78" fmla="*/ 76 w 84"/>
                  <a:gd name="T79" fmla="*/ 17 h 44"/>
                  <a:gd name="T80" fmla="*/ 74 w 84"/>
                  <a:gd name="T81" fmla="*/ 19 h 44"/>
                  <a:gd name="T82" fmla="*/ 70 w 84"/>
                  <a:gd name="T83" fmla="*/ 14 h 44"/>
                  <a:gd name="T84" fmla="*/ 65 w 84"/>
                  <a:gd name="T85" fmla="*/ 12 h 44"/>
                  <a:gd name="T86" fmla="*/ 62 w 84"/>
                  <a:gd name="T87" fmla="*/ 9 h 44"/>
                  <a:gd name="T88" fmla="*/ 60 w 84"/>
                  <a:gd name="T89" fmla="*/ 8 h 44"/>
                  <a:gd name="T90" fmla="*/ 54 w 84"/>
                  <a:gd name="T91" fmla="*/ 9 h 44"/>
                  <a:gd name="T92" fmla="*/ 52 w 84"/>
                  <a:gd name="T93" fmla="*/ 12 h 44"/>
                  <a:gd name="T94" fmla="*/ 49 w 84"/>
                  <a:gd name="T95" fmla="*/ 12 h 44"/>
                  <a:gd name="T96" fmla="*/ 44 w 84"/>
                  <a:gd name="T97" fmla="*/ 16 h 44"/>
                  <a:gd name="T98" fmla="*/ 42 w 84"/>
                  <a:gd name="T99" fmla="*/ 16 h 44"/>
                  <a:gd name="T100" fmla="*/ 44 w 84"/>
                  <a:gd name="T101" fmla="*/ 14 h 44"/>
                  <a:gd name="T102" fmla="*/ 48 w 84"/>
                  <a:gd name="T103" fmla="*/ 6 h 44"/>
                  <a:gd name="T104" fmla="*/ 50 w 84"/>
                  <a:gd name="T105" fmla="*/ 4 h 44"/>
                  <a:gd name="T106" fmla="*/ 48 w 84"/>
                  <a:gd name="T107" fmla="*/ 1 h 44"/>
                  <a:gd name="T108" fmla="*/ 42 w 84"/>
                  <a:gd name="T109" fmla="*/ 0 h 44"/>
                  <a:gd name="T110" fmla="*/ 39 w 84"/>
                  <a:gd name="T111" fmla="*/ 0 h 44"/>
                  <a:gd name="T112" fmla="*/ 38 w 84"/>
                  <a:gd name="T113" fmla="*/ 4 h 44"/>
                  <a:gd name="T114" fmla="*/ 39 w 84"/>
                  <a:gd name="T115" fmla="*/ 6 h 44"/>
                  <a:gd name="T116" fmla="*/ 35 w 84"/>
                  <a:gd name="T117" fmla="*/ 5 h 44"/>
                  <a:gd name="T118" fmla="*/ 35 w 84"/>
                  <a:gd name="T119" fmla="*/ 5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4" h="44">
                    <a:moveTo>
                      <a:pt x="35" y="5"/>
                    </a:moveTo>
                    <a:lnTo>
                      <a:pt x="35" y="4"/>
                    </a:lnTo>
                    <a:lnTo>
                      <a:pt x="32" y="2"/>
                    </a:lnTo>
                    <a:lnTo>
                      <a:pt x="30" y="4"/>
                    </a:lnTo>
                    <a:lnTo>
                      <a:pt x="28" y="6"/>
                    </a:lnTo>
                    <a:lnTo>
                      <a:pt x="25" y="6"/>
                    </a:lnTo>
                    <a:lnTo>
                      <a:pt x="23" y="9"/>
                    </a:lnTo>
                    <a:lnTo>
                      <a:pt x="23" y="12"/>
                    </a:lnTo>
                    <a:lnTo>
                      <a:pt x="28" y="14"/>
                    </a:lnTo>
                    <a:lnTo>
                      <a:pt x="23" y="12"/>
                    </a:lnTo>
                    <a:lnTo>
                      <a:pt x="21" y="14"/>
                    </a:lnTo>
                    <a:lnTo>
                      <a:pt x="18" y="16"/>
                    </a:lnTo>
                    <a:lnTo>
                      <a:pt x="22" y="19"/>
                    </a:lnTo>
                    <a:lnTo>
                      <a:pt x="24" y="21"/>
                    </a:lnTo>
                    <a:lnTo>
                      <a:pt x="16" y="19"/>
                    </a:lnTo>
                    <a:lnTo>
                      <a:pt x="13" y="22"/>
                    </a:lnTo>
                    <a:lnTo>
                      <a:pt x="10" y="27"/>
                    </a:lnTo>
                    <a:lnTo>
                      <a:pt x="8" y="30"/>
                    </a:lnTo>
                    <a:lnTo>
                      <a:pt x="8" y="33"/>
                    </a:lnTo>
                    <a:lnTo>
                      <a:pt x="2" y="39"/>
                    </a:lnTo>
                    <a:lnTo>
                      <a:pt x="0" y="42"/>
                    </a:lnTo>
                    <a:lnTo>
                      <a:pt x="2" y="44"/>
                    </a:lnTo>
                    <a:lnTo>
                      <a:pt x="5" y="44"/>
                    </a:lnTo>
                    <a:lnTo>
                      <a:pt x="8" y="44"/>
                    </a:lnTo>
                    <a:lnTo>
                      <a:pt x="22" y="40"/>
                    </a:lnTo>
                    <a:lnTo>
                      <a:pt x="24" y="38"/>
                    </a:lnTo>
                    <a:lnTo>
                      <a:pt x="41" y="36"/>
                    </a:lnTo>
                    <a:lnTo>
                      <a:pt x="44" y="36"/>
                    </a:lnTo>
                    <a:lnTo>
                      <a:pt x="47" y="38"/>
                    </a:lnTo>
                    <a:lnTo>
                      <a:pt x="49" y="35"/>
                    </a:lnTo>
                    <a:lnTo>
                      <a:pt x="52" y="36"/>
                    </a:lnTo>
                    <a:lnTo>
                      <a:pt x="61" y="35"/>
                    </a:lnTo>
                    <a:lnTo>
                      <a:pt x="69" y="33"/>
                    </a:lnTo>
                    <a:lnTo>
                      <a:pt x="73" y="33"/>
                    </a:lnTo>
                    <a:lnTo>
                      <a:pt x="75" y="33"/>
                    </a:lnTo>
                    <a:lnTo>
                      <a:pt x="83" y="27"/>
                    </a:lnTo>
                    <a:lnTo>
                      <a:pt x="84" y="25"/>
                    </a:lnTo>
                    <a:lnTo>
                      <a:pt x="82" y="19"/>
                    </a:lnTo>
                    <a:lnTo>
                      <a:pt x="78" y="17"/>
                    </a:lnTo>
                    <a:lnTo>
                      <a:pt x="76" y="17"/>
                    </a:lnTo>
                    <a:lnTo>
                      <a:pt x="74" y="19"/>
                    </a:lnTo>
                    <a:lnTo>
                      <a:pt x="70" y="14"/>
                    </a:lnTo>
                    <a:lnTo>
                      <a:pt x="65" y="12"/>
                    </a:lnTo>
                    <a:lnTo>
                      <a:pt x="62" y="9"/>
                    </a:lnTo>
                    <a:lnTo>
                      <a:pt x="60" y="8"/>
                    </a:lnTo>
                    <a:lnTo>
                      <a:pt x="54" y="9"/>
                    </a:lnTo>
                    <a:lnTo>
                      <a:pt x="52" y="12"/>
                    </a:lnTo>
                    <a:lnTo>
                      <a:pt x="49" y="12"/>
                    </a:lnTo>
                    <a:lnTo>
                      <a:pt x="44" y="16"/>
                    </a:lnTo>
                    <a:lnTo>
                      <a:pt x="42" y="16"/>
                    </a:lnTo>
                    <a:lnTo>
                      <a:pt x="44" y="14"/>
                    </a:lnTo>
                    <a:lnTo>
                      <a:pt x="48" y="6"/>
                    </a:lnTo>
                    <a:lnTo>
                      <a:pt x="50" y="4"/>
                    </a:lnTo>
                    <a:lnTo>
                      <a:pt x="48" y="1"/>
                    </a:lnTo>
                    <a:lnTo>
                      <a:pt x="42" y="0"/>
                    </a:lnTo>
                    <a:lnTo>
                      <a:pt x="39" y="0"/>
                    </a:lnTo>
                    <a:lnTo>
                      <a:pt x="38" y="4"/>
                    </a:lnTo>
                    <a:lnTo>
                      <a:pt x="39" y="6"/>
                    </a:lnTo>
                    <a:lnTo>
                      <a:pt x="35" y="5"/>
                    </a:lnTo>
                    <a:lnTo>
                      <a:pt x="35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73" name="Freeform 139">
                <a:extLst>
                  <a:ext uri="{FF2B5EF4-FFF2-40B4-BE49-F238E27FC236}">
                    <a16:creationId xmlns:a16="http://schemas.microsoft.com/office/drawing/2014/main" id="{A6E02C0F-1C34-4001-AFF8-70EFE98A10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3" y="2811"/>
                <a:ext cx="3" cy="2"/>
              </a:xfrm>
              <a:custGeom>
                <a:avLst/>
                <a:gdLst>
                  <a:gd name="T0" fmla="*/ 2 w 3"/>
                  <a:gd name="T1" fmla="*/ 0 h 2"/>
                  <a:gd name="T2" fmla="*/ 0 w 3"/>
                  <a:gd name="T3" fmla="*/ 0 h 2"/>
                  <a:gd name="T4" fmla="*/ 0 w 3"/>
                  <a:gd name="T5" fmla="*/ 2 h 2"/>
                  <a:gd name="T6" fmla="*/ 3 w 3"/>
                  <a:gd name="T7" fmla="*/ 2 h 2"/>
                  <a:gd name="T8" fmla="*/ 2 w 3"/>
                  <a:gd name="T9" fmla="*/ 0 h 2"/>
                  <a:gd name="T10" fmla="*/ 2 w 3"/>
                  <a:gd name="T1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2">
                    <a:moveTo>
                      <a:pt x="2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74" name="Freeform 140">
                <a:extLst>
                  <a:ext uri="{FF2B5EF4-FFF2-40B4-BE49-F238E27FC236}">
                    <a16:creationId xmlns:a16="http://schemas.microsoft.com/office/drawing/2014/main" id="{1BEA7AFA-77BC-40AA-A4C4-9486CB5B1A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5" y="2805"/>
                <a:ext cx="8" cy="5"/>
              </a:xfrm>
              <a:custGeom>
                <a:avLst/>
                <a:gdLst>
                  <a:gd name="T0" fmla="*/ 2 w 8"/>
                  <a:gd name="T1" fmla="*/ 0 h 5"/>
                  <a:gd name="T2" fmla="*/ 1 w 8"/>
                  <a:gd name="T3" fmla="*/ 0 h 5"/>
                  <a:gd name="T4" fmla="*/ 0 w 8"/>
                  <a:gd name="T5" fmla="*/ 4 h 5"/>
                  <a:gd name="T6" fmla="*/ 5 w 8"/>
                  <a:gd name="T7" fmla="*/ 5 h 5"/>
                  <a:gd name="T8" fmla="*/ 8 w 8"/>
                  <a:gd name="T9" fmla="*/ 5 h 5"/>
                  <a:gd name="T10" fmla="*/ 5 w 8"/>
                  <a:gd name="T11" fmla="*/ 4 h 5"/>
                  <a:gd name="T12" fmla="*/ 2 w 8"/>
                  <a:gd name="T13" fmla="*/ 0 h 5"/>
                  <a:gd name="T14" fmla="*/ 2 w 8"/>
                  <a:gd name="T1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5">
                    <a:moveTo>
                      <a:pt x="2" y="0"/>
                    </a:moveTo>
                    <a:lnTo>
                      <a:pt x="1" y="0"/>
                    </a:lnTo>
                    <a:lnTo>
                      <a:pt x="0" y="4"/>
                    </a:lnTo>
                    <a:lnTo>
                      <a:pt x="5" y="5"/>
                    </a:lnTo>
                    <a:lnTo>
                      <a:pt x="8" y="5"/>
                    </a:lnTo>
                    <a:lnTo>
                      <a:pt x="5" y="4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75" name="Freeform 141">
                <a:extLst>
                  <a:ext uri="{FF2B5EF4-FFF2-40B4-BE49-F238E27FC236}">
                    <a16:creationId xmlns:a16="http://schemas.microsoft.com/office/drawing/2014/main" id="{C528BFC6-02B1-4708-B289-A9DC700DA3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5" y="2827"/>
                <a:ext cx="21" cy="21"/>
              </a:xfrm>
              <a:custGeom>
                <a:avLst/>
                <a:gdLst>
                  <a:gd name="T0" fmla="*/ 3 w 21"/>
                  <a:gd name="T1" fmla="*/ 2 h 21"/>
                  <a:gd name="T2" fmla="*/ 0 w 21"/>
                  <a:gd name="T3" fmla="*/ 5 h 21"/>
                  <a:gd name="T4" fmla="*/ 2 w 21"/>
                  <a:gd name="T5" fmla="*/ 8 h 21"/>
                  <a:gd name="T6" fmla="*/ 7 w 21"/>
                  <a:gd name="T7" fmla="*/ 8 h 21"/>
                  <a:gd name="T8" fmla="*/ 11 w 21"/>
                  <a:gd name="T9" fmla="*/ 13 h 21"/>
                  <a:gd name="T10" fmla="*/ 11 w 21"/>
                  <a:gd name="T11" fmla="*/ 16 h 21"/>
                  <a:gd name="T12" fmla="*/ 13 w 21"/>
                  <a:gd name="T13" fmla="*/ 18 h 21"/>
                  <a:gd name="T14" fmla="*/ 19 w 21"/>
                  <a:gd name="T15" fmla="*/ 20 h 21"/>
                  <a:gd name="T16" fmla="*/ 21 w 21"/>
                  <a:gd name="T17" fmla="*/ 21 h 21"/>
                  <a:gd name="T18" fmla="*/ 20 w 21"/>
                  <a:gd name="T19" fmla="*/ 18 h 21"/>
                  <a:gd name="T20" fmla="*/ 21 w 21"/>
                  <a:gd name="T21" fmla="*/ 16 h 21"/>
                  <a:gd name="T22" fmla="*/ 19 w 21"/>
                  <a:gd name="T23" fmla="*/ 13 h 21"/>
                  <a:gd name="T24" fmla="*/ 15 w 21"/>
                  <a:gd name="T25" fmla="*/ 12 h 21"/>
                  <a:gd name="T26" fmla="*/ 14 w 21"/>
                  <a:gd name="T27" fmla="*/ 9 h 21"/>
                  <a:gd name="T28" fmla="*/ 13 w 21"/>
                  <a:gd name="T29" fmla="*/ 4 h 21"/>
                  <a:gd name="T30" fmla="*/ 12 w 21"/>
                  <a:gd name="T31" fmla="*/ 1 h 21"/>
                  <a:gd name="T32" fmla="*/ 8 w 21"/>
                  <a:gd name="T33" fmla="*/ 0 h 21"/>
                  <a:gd name="T34" fmla="*/ 8 w 21"/>
                  <a:gd name="T35" fmla="*/ 2 h 21"/>
                  <a:gd name="T36" fmla="*/ 5 w 21"/>
                  <a:gd name="T37" fmla="*/ 0 h 21"/>
                  <a:gd name="T38" fmla="*/ 3 w 21"/>
                  <a:gd name="T39" fmla="*/ 1 h 21"/>
                  <a:gd name="T40" fmla="*/ 3 w 21"/>
                  <a:gd name="T41" fmla="*/ 2 h 21"/>
                  <a:gd name="T42" fmla="*/ 3 w 21"/>
                  <a:gd name="T43" fmla="*/ 2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1" h="21">
                    <a:moveTo>
                      <a:pt x="3" y="2"/>
                    </a:moveTo>
                    <a:lnTo>
                      <a:pt x="0" y="5"/>
                    </a:lnTo>
                    <a:lnTo>
                      <a:pt x="2" y="8"/>
                    </a:lnTo>
                    <a:lnTo>
                      <a:pt x="7" y="8"/>
                    </a:lnTo>
                    <a:lnTo>
                      <a:pt x="11" y="13"/>
                    </a:lnTo>
                    <a:lnTo>
                      <a:pt x="11" y="16"/>
                    </a:lnTo>
                    <a:lnTo>
                      <a:pt x="13" y="18"/>
                    </a:lnTo>
                    <a:lnTo>
                      <a:pt x="19" y="20"/>
                    </a:lnTo>
                    <a:lnTo>
                      <a:pt x="21" y="21"/>
                    </a:lnTo>
                    <a:lnTo>
                      <a:pt x="20" y="18"/>
                    </a:lnTo>
                    <a:lnTo>
                      <a:pt x="21" y="16"/>
                    </a:lnTo>
                    <a:lnTo>
                      <a:pt x="19" y="13"/>
                    </a:lnTo>
                    <a:lnTo>
                      <a:pt x="15" y="12"/>
                    </a:lnTo>
                    <a:lnTo>
                      <a:pt x="14" y="9"/>
                    </a:lnTo>
                    <a:lnTo>
                      <a:pt x="13" y="4"/>
                    </a:lnTo>
                    <a:lnTo>
                      <a:pt x="12" y="1"/>
                    </a:lnTo>
                    <a:lnTo>
                      <a:pt x="8" y="0"/>
                    </a:lnTo>
                    <a:lnTo>
                      <a:pt x="8" y="2"/>
                    </a:lnTo>
                    <a:lnTo>
                      <a:pt x="5" y="0"/>
                    </a:lnTo>
                    <a:lnTo>
                      <a:pt x="3" y="1"/>
                    </a:lnTo>
                    <a:lnTo>
                      <a:pt x="3" y="2"/>
                    </a:lnTo>
                    <a:lnTo>
                      <a:pt x="3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76" name="Freeform 142">
                <a:extLst>
                  <a:ext uri="{FF2B5EF4-FFF2-40B4-BE49-F238E27FC236}">
                    <a16:creationId xmlns:a16="http://schemas.microsoft.com/office/drawing/2014/main" id="{BB365291-F54E-447B-8C38-2FA1ABAA07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8" y="2887"/>
                <a:ext cx="125" cy="39"/>
              </a:xfrm>
              <a:custGeom>
                <a:avLst/>
                <a:gdLst>
                  <a:gd name="T0" fmla="*/ 47 w 125"/>
                  <a:gd name="T1" fmla="*/ 25 h 39"/>
                  <a:gd name="T2" fmla="*/ 47 w 125"/>
                  <a:gd name="T3" fmla="*/ 25 h 39"/>
                  <a:gd name="T4" fmla="*/ 52 w 125"/>
                  <a:gd name="T5" fmla="*/ 25 h 39"/>
                  <a:gd name="T6" fmla="*/ 69 w 125"/>
                  <a:gd name="T7" fmla="*/ 30 h 39"/>
                  <a:gd name="T8" fmla="*/ 81 w 125"/>
                  <a:gd name="T9" fmla="*/ 33 h 39"/>
                  <a:gd name="T10" fmla="*/ 87 w 125"/>
                  <a:gd name="T11" fmla="*/ 33 h 39"/>
                  <a:gd name="T12" fmla="*/ 100 w 125"/>
                  <a:gd name="T13" fmla="*/ 35 h 39"/>
                  <a:gd name="T14" fmla="*/ 105 w 125"/>
                  <a:gd name="T15" fmla="*/ 33 h 39"/>
                  <a:gd name="T16" fmla="*/ 111 w 125"/>
                  <a:gd name="T17" fmla="*/ 35 h 39"/>
                  <a:gd name="T18" fmla="*/ 119 w 125"/>
                  <a:gd name="T19" fmla="*/ 37 h 39"/>
                  <a:gd name="T20" fmla="*/ 123 w 125"/>
                  <a:gd name="T21" fmla="*/ 39 h 39"/>
                  <a:gd name="T22" fmla="*/ 123 w 125"/>
                  <a:gd name="T23" fmla="*/ 36 h 39"/>
                  <a:gd name="T24" fmla="*/ 124 w 125"/>
                  <a:gd name="T25" fmla="*/ 26 h 39"/>
                  <a:gd name="T26" fmla="*/ 113 w 125"/>
                  <a:gd name="T27" fmla="*/ 25 h 39"/>
                  <a:gd name="T28" fmla="*/ 108 w 125"/>
                  <a:gd name="T29" fmla="*/ 26 h 39"/>
                  <a:gd name="T30" fmla="*/ 102 w 125"/>
                  <a:gd name="T31" fmla="*/ 19 h 39"/>
                  <a:gd name="T32" fmla="*/ 99 w 125"/>
                  <a:gd name="T33" fmla="*/ 16 h 39"/>
                  <a:gd name="T34" fmla="*/ 94 w 125"/>
                  <a:gd name="T35" fmla="*/ 13 h 39"/>
                  <a:gd name="T36" fmla="*/ 84 w 125"/>
                  <a:gd name="T37" fmla="*/ 10 h 39"/>
                  <a:gd name="T38" fmla="*/ 79 w 125"/>
                  <a:gd name="T39" fmla="*/ 10 h 39"/>
                  <a:gd name="T40" fmla="*/ 74 w 125"/>
                  <a:gd name="T41" fmla="*/ 6 h 39"/>
                  <a:gd name="T42" fmla="*/ 71 w 125"/>
                  <a:gd name="T43" fmla="*/ 12 h 39"/>
                  <a:gd name="T44" fmla="*/ 65 w 125"/>
                  <a:gd name="T45" fmla="*/ 13 h 39"/>
                  <a:gd name="T46" fmla="*/ 57 w 125"/>
                  <a:gd name="T47" fmla="*/ 12 h 39"/>
                  <a:gd name="T48" fmla="*/ 50 w 125"/>
                  <a:gd name="T49" fmla="*/ 12 h 39"/>
                  <a:gd name="T50" fmla="*/ 45 w 125"/>
                  <a:gd name="T51" fmla="*/ 12 h 39"/>
                  <a:gd name="T52" fmla="*/ 39 w 125"/>
                  <a:gd name="T53" fmla="*/ 4 h 39"/>
                  <a:gd name="T54" fmla="*/ 34 w 125"/>
                  <a:gd name="T55" fmla="*/ 4 h 39"/>
                  <a:gd name="T56" fmla="*/ 28 w 125"/>
                  <a:gd name="T57" fmla="*/ 3 h 39"/>
                  <a:gd name="T58" fmla="*/ 22 w 125"/>
                  <a:gd name="T59" fmla="*/ 0 h 39"/>
                  <a:gd name="T60" fmla="*/ 19 w 125"/>
                  <a:gd name="T61" fmla="*/ 2 h 39"/>
                  <a:gd name="T62" fmla="*/ 8 w 125"/>
                  <a:gd name="T63" fmla="*/ 1 h 39"/>
                  <a:gd name="T64" fmla="*/ 5 w 125"/>
                  <a:gd name="T65" fmla="*/ 6 h 39"/>
                  <a:gd name="T66" fmla="*/ 2 w 125"/>
                  <a:gd name="T67" fmla="*/ 10 h 39"/>
                  <a:gd name="T68" fmla="*/ 2 w 125"/>
                  <a:gd name="T69" fmla="*/ 13 h 39"/>
                  <a:gd name="T70" fmla="*/ 10 w 125"/>
                  <a:gd name="T71" fmla="*/ 13 h 39"/>
                  <a:gd name="T72" fmla="*/ 16 w 125"/>
                  <a:gd name="T73" fmla="*/ 14 h 39"/>
                  <a:gd name="T74" fmla="*/ 27 w 125"/>
                  <a:gd name="T75" fmla="*/ 21 h 39"/>
                  <a:gd name="T76" fmla="*/ 34 w 125"/>
                  <a:gd name="T77" fmla="*/ 25 h 39"/>
                  <a:gd name="T78" fmla="*/ 43 w 125"/>
                  <a:gd name="T79" fmla="*/ 26 h 39"/>
                  <a:gd name="T80" fmla="*/ 47 w 125"/>
                  <a:gd name="T81" fmla="*/ 25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25" h="39">
                    <a:moveTo>
                      <a:pt x="47" y="25"/>
                    </a:moveTo>
                    <a:lnTo>
                      <a:pt x="47" y="25"/>
                    </a:lnTo>
                    <a:lnTo>
                      <a:pt x="50" y="26"/>
                    </a:lnTo>
                    <a:lnTo>
                      <a:pt x="47" y="25"/>
                    </a:lnTo>
                    <a:lnTo>
                      <a:pt x="50" y="25"/>
                    </a:lnTo>
                    <a:lnTo>
                      <a:pt x="52" y="25"/>
                    </a:lnTo>
                    <a:lnTo>
                      <a:pt x="63" y="27"/>
                    </a:lnTo>
                    <a:lnTo>
                      <a:pt x="69" y="30"/>
                    </a:lnTo>
                    <a:lnTo>
                      <a:pt x="74" y="31"/>
                    </a:lnTo>
                    <a:lnTo>
                      <a:pt x="81" y="33"/>
                    </a:lnTo>
                    <a:lnTo>
                      <a:pt x="84" y="33"/>
                    </a:lnTo>
                    <a:lnTo>
                      <a:pt x="87" y="33"/>
                    </a:lnTo>
                    <a:lnTo>
                      <a:pt x="93" y="33"/>
                    </a:lnTo>
                    <a:lnTo>
                      <a:pt x="100" y="35"/>
                    </a:lnTo>
                    <a:lnTo>
                      <a:pt x="103" y="34"/>
                    </a:lnTo>
                    <a:lnTo>
                      <a:pt x="105" y="33"/>
                    </a:lnTo>
                    <a:lnTo>
                      <a:pt x="108" y="33"/>
                    </a:lnTo>
                    <a:lnTo>
                      <a:pt x="111" y="35"/>
                    </a:lnTo>
                    <a:lnTo>
                      <a:pt x="116" y="36"/>
                    </a:lnTo>
                    <a:lnTo>
                      <a:pt x="119" y="37"/>
                    </a:lnTo>
                    <a:lnTo>
                      <a:pt x="122" y="37"/>
                    </a:lnTo>
                    <a:lnTo>
                      <a:pt x="123" y="39"/>
                    </a:lnTo>
                    <a:lnTo>
                      <a:pt x="125" y="39"/>
                    </a:lnTo>
                    <a:lnTo>
                      <a:pt x="123" y="36"/>
                    </a:lnTo>
                    <a:lnTo>
                      <a:pt x="123" y="34"/>
                    </a:lnTo>
                    <a:lnTo>
                      <a:pt x="124" y="26"/>
                    </a:lnTo>
                    <a:lnTo>
                      <a:pt x="119" y="23"/>
                    </a:lnTo>
                    <a:lnTo>
                      <a:pt x="113" y="25"/>
                    </a:lnTo>
                    <a:lnTo>
                      <a:pt x="111" y="25"/>
                    </a:lnTo>
                    <a:lnTo>
                      <a:pt x="108" y="26"/>
                    </a:lnTo>
                    <a:lnTo>
                      <a:pt x="100" y="22"/>
                    </a:lnTo>
                    <a:lnTo>
                      <a:pt x="102" y="19"/>
                    </a:lnTo>
                    <a:lnTo>
                      <a:pt x="99" y="18"/>
                    </a:lnTo>
                    <a:lnTo>
                      <a:pt x="99" y="16"/>
                    </a:lnTo>
                    <a:lnTo>
                      <a:pt x="96" y="13"/>
                    </a:lnTo>
                    <a:lnTo>
                      <a:pt x="94" y="13"/>
                    </a:lnTo>
                    <a:lnTo>
                      <a:pt x="88" y="12"/>
                    </a:lnTo>
                    <a:lnTo>
                      <a:pt x="84" y="10"/>
                    </a:lnTo>
                    <a:lnTo>
                      <a:pt x="80" y="11"/>
                    </a:lnTo>
                    <a:lnTo>
                      <a:pt x="79" y="10"/>
                    </a:lnTo>
                    <a:lnTo>
                      <a:pt x="78" y="8"/>
                    </a:lnTo>
                    <a:lnTo>
                      <a:pt x="74" y="6"/>
                    </a:lnTo>
                    <a:lnTo>
                      <a:pt x="72" y="8"/>
                    </a:lnTo>
                    <a:lnTo>
                      <a:pt x="71" y="12"/>
                    </a:lnTo>
                    <a:lnTo>
                      <a:pt x="69" y="14"/>
                    </a:lnTo>
                    <a:lnTo>
                      <a:pt x="65" y="13"/>
                    </a:lnTo>
                    <a:lnTo>
                      <a:pt x="63" y="13"/>
                    </a:lnTo>
                    <a:lnTo>
                      <a:pt x="57" y="12"/>
                    </a:lnTo>
                    <a:lnTo>
                      <a:pt x="52" y="13"/>
                    </a:lnTo>
                    <a:lnTo>
                      <a:pt x="50" y="12"/>
                    </a:lnTo>
                    <a:lnTo>
                      <a:pt x="48" y="12"/>
                    </a:lnTo>
                    <a:lnTo>
                      <a:pt x="45" y="12"/>
                    </a:lnTo>
                    <a:lnTo>
                      <a:pt x="42" y="6"/>
                    </a:lnTo>
                    <a:lnTo>
                      <a:pt x="39" y="4"/>
                    </a:lnTo>
                    <a:lnTo>
                      <a:pt x="36" y="5"/>
                    </a:lnTo>
                    <a:lnTo>
                      <a:pt x="34" y="4"/>
                    </a:lnTo>
                    <a:lnTo>
                      <a:pt x="31" y="4"/>
                    </a:lnTo>
                    <a:lnTo>
                      <a:pt x="28" y="3"/>
                    </a:lnTo>
                    <a:lnTo>
                      <a:pt x="26" y="0"/>
                    </a:lnTo>
                    <a:lnTo>
                      <a:pt x="22" y="0"/>
                    </a:lnTo>
                    <a:lnTo>
                      <a:pt x="22" y="2"/>
                    </a:lnTo>
                    <a:lnTo>
                      <a:pt x="19" y="2"/>
                    </a:lnTo>
                    <a:lnTo>
                      <a:pt x="13" y="1"/>
                    </a:lnTo>
                    <a:lnTo>
                      <a:pt x="8" y="1"/>
                    </a:lnTo>
                    <a:lnTo>
                      <a:pt x="5" y="4"/>
                    </a:lnTo>
                    <a:lnTo>
                      <a:pt x="5" y="6"/>
                    </a:lnTo>
                    <a:lnTo>
                      <a:pt x="3" y="8"/>
                    </a:lnTo>
                    <a:lnTo>
                      <a:pt x="2" y="10"/>
                    </a:lnTo>
                    <a:lnTo>
                      <a:pt x="0" y="10"/>
                    </a:lnTo>
                    <a:lnTo>
                      <a:pt x="2" y="13"/>
                    </a:lnTo>
                    <a:lnTo>
                      <a:pt x="8" y="12"/>
                    </a:lnTo>
                    <a:lnTo>
                      <a:pt x="10" y="13"/>
                    </a:lnTo>
                    <a:lnTo>
                      <a:pt x="13" y="14"/>
                    </a:lnTo>
                    <a:lnTo>
                      <a:pt x="16" y="14"/>
                    </a:lnTo>
                    <a:lnTo>
                      <a:pt x="14" y="20"/>
                    </a:lnTo>
                    <a:lnTo>
                      <a:pt x="27" y="21"/>
                    </a:lnTo>
                    <a:lnTo>
                      <a:pt x="30" y="22"/>
                    </a:lnTo>
                    <a:lnTo>
                      <a:pt x="34" y="25"/>
                    </a:lnTo>
                    <a:lnTo>
                      <a:pt x="37" y="26"/>
                    </a:lnTo>
                    <a:lnTo>
                      <a:pt x="43" y="26"/>
                    </a:lnTo>
                    <a:lnTo>
                      <a:pt x="45" y="23"/>
                    </a:lnTo>
                    <a:lnTo>
                      <a:pt x="47" y="25"/>
                    </a:lnTo>
                    <a:lnTo>
                      <a:pt x="47" y="2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77" name="Freeform 143">
                <a:extLst>
                  <a:ext uri="{FF2B5EF4-FFF2-40B4-BE49-F238E27FC236}">
                    <a16:creationId xmlns:a16="http://schemas.microsoft.com/office/drawing/2014/main" id="{A638923E-6B0A-40C1-9D35-A05BB33EB7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8" y="2840"/>
                <a:ext cx="9" cy="10"/>
              </a:xfrm>
              <a:custGeom>
                <a:avLst/>
                <a:gdLst>
                  <a:gd name="T0" fmla="*/ 1 w 9"/>
                  <a:gd name="T1" fmla="*/ 0 h 10"/>
                  <a:gd name="T2" fmla="*/ 0 w 9"/>
                  <a:gd name="T3" fmla="*/ 4 h 10"/>
                  <a:gd name="T4" fmla="*/ 0 w 9"/>
                  <a:gd name="T5" fmla="*/ 8 h 10"/>
                  <a:gd name="T6" fmla="*/ 4 w 9"/>
                  <a:gd name="T7" fmla="*/ 9 h 10"/>
                  <a:gd name="T8" fmla="*/ 6 w 9"/>
                  <a:gd name="T9" fmla="*/ 10 h 10"/>
                  <a:gd name="T10" fmla="*/ 8 w 9"/>
                  <a:gd name="T11" fmla="*/ 7 h 10"/>
                  <a:gd name="T12" fmla="*/ 9 w 9"/>
                  <a:gd name="T13" fmla="*/ 5 h 10"/>
                  <a:gd name="T14" fmla="*/ 7 w 9"/>
                  <a:gd name="T15" fmla="*/ 1 h 10"/>
                  <a:gd name="T16" fmla="*/ 3 w 9"/>
                  <a:gd name="T17" fmla="*/ 0 h 10"/>
                  <a:gd name="T18" fmla="*/ 1 w 9"/>
                  <a:gd name="T19" fmla="*/ 0 h 10"/>
                  <a:gd name="T20" fmla="*/ 1 w 9"/>
                  <a:gd name="T21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9" h="10">
                    <a:moveTo>
                      <a:pt x="1" y="0"/>
                    </a:moveTo>
                    <a:lnTo>
                      <a:pt x="0" y="4"/>
                    </a:lnTo>
                    <a:lnTo>
                      <a:pt x="0" y="8"/>
                    </a:lnTo>
                    <a:lnTo>
                      <a:pt x="4" y="9"/>
                    </a:lnTo>
                    <a:lnTo>
                      <a:pt x="6" y="10"/>
                    </a:lnTo>
                    <a:lnTo>
                      <a:pt x="8" y="7"/>
                    </a:lnTo>
                    <a:lnTo>
                      <a:pt x="9" y="5"/>
                    </a:lnTo>
                    <a:lnTo>
                      <a:pt x="7" y="1"/>
                    </a:lnTo>
                    <a:lnTo>
                      <a:pt x="3" y="0"/>
                    </a:lnTo>
                    <a:lnTo>
                      <a:pt x="1" y="0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78" name="Freeform 144">
                <a:extLst>
                  <a:ext uri="{FF2B5EF4-FFF2-40B4-BE49-F238E27FC236}">
                    <a16:creationId xmlns:a16="http://schemas.microsoft.com/office/drawing/2014/main" id="{090B5FD0-6E8B-4E3F-9C67-334CD9E3FD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2" y="2528"/>
                <a:ext cx="33" cy="26"/>
              </a:xfrm>
              <a:custGeom>
                <a:avLst/>
                <a:gdLst>
                  <a:gd name="T0" fmla="*/ 21 w 33"/>
                  <a:gd name="T1" fmla="*/ 0 h 26"/>
                  <a:gd name="T2" fmla="*/ 21 w 33"/>
                  <a:gd name="T3" fmla="*/ 1 h 26"/>
                  <a:gd name="T4" fmla="*/ 19 w 33"/>
                  <a:gd name="T5" fmla="*/ 2 h 26"/>
                  <a:gd name="T6" fmla="*/ 18 w 33"/>
                  <a:gd name="T7" fmla="*/ 1 h 26"/>
                  <a:gd name="T8" fmla="*/ 15 w 33"/>
                  <a:gd name="T9" fmla="*/ 0 h 26"/>
                  <a:gd name="T10" fmla="*/ 12 w 33"/>
                  <a:gd name="T11" fmla="*/ 2 h 26"/>
                  <a:gd name="T12" fmla="*/ 9 w 33"/>
                  <a:gd name="T13" fmla="*/ 2 h 26"/>
                  <a:gd name="T14" fmla="*/ 9 w 33"/>
                  <a:gd name="T15" fmla="*/ 4 h 26"/>
                  <a:gd name="T16" fmla="*/ 6 w 33"/>
                  <a:gd name="T17" fmla="*/ 5 h 26"/>
                  <a:gd name="T18" fmla="*/ 0 w 33"/>
                  <a:gd name="T19" fmla="*/ 11 h 26"/>
                  <a:gd name="T20" fmla="*/ 0 w 33"/>
                  <a:gd name="T21" fmla="*/ 16 h 26"/>
                  <a:gd name="T22" fmla="*/ 1 w 33"/>
                  <a:gd name="T23" fmla="*/ 19 h 26"/>
                  <a:gd name="T24" fmla="*/ 1 w 33"/>
                  <a:gd name="T25" fmla="*/ 21 h 26"/>
                  <a:gd name="T26" fmla="*/ 2 w 33"/>
                  <a:gd name="T27" fmla="*/ 21 h 26"/>
                  <a:gd name="T28" fmla="*/ 6 w 33"/>
                  <a:gd name="T29" fmla="*/ 23 h 26"/>
                  <a:gd name="T30" fmla="*/ 7 w 33"/>
                  <a:gd name="T31" fmla="*/ 23 h 26"/>
                  <a:gd name="T32" fmla="*/ 12 w 33"/>
                  <a:gd name="T33" fmla="*/ 25 h 26"/>
                  <a:gd name="T34" fmla="*/ 12 w 33"/>
                  <a:gd name="T35" fmla="*/ 26 h 26"/>
                  <a:gd name="T36" fmla="*/ 15 w 33"/>
                  <a:gd name="T37" fmla="*/ 26 h 26"/>
                  <a:gd name="T38" fmla="*/ 16 w 33"/>
                  <a:gd name="T39" fmla="*/ 23 h 26"/>
                  <a:gd name="T40" fmla="*/ 19 w 33"/>
                  <a:gd name="T41" fmla="*/ 22 h 26"/>
                  <a:gd name="T42" fmla="*/ 19 w 33"/>
                  <a:gd name="T43" fmla="*/ 23 h 26"/>
                  <a:gd name="T44" fmla="*/ 21 w 33"/>
                  <a:gd name="T45" fmla="*/ 20 h 26"/>
                  <a:gd name="T46" fmla="*/ 26 w 33"/>
                  <a:gd name="T47" fmla="*/ 18 h 26"/>
                  <a:gd name="T48" fmla="*/ 26 w 33"/>
                  <a:gd name="T49" fmla="*/ 12 h 26"/>
                  <a:gd name="T50" fmla="*/ 27 w 33"/>
                  <a:gd name="T51" fmla="*/ 12 h 26"/>
                  <a:gd name="T52" fmla="*/ 28 w 33"/>
                  <a:gd name="T53" fmla="*/ 9 h 26"/>
                  <a:gd name="T54" fmla="*/ 30 w 33"/>
                  <a:gd name="T55" fmla="*/ 6 h 26"/>
                  <a:gd name="T56" fmla="*/ 33 w 33"/>
                  <a:gd name="T57" fmla="*/ 5 h 26"/>
                  <a:gd name="T58" fmla="*/ 33 w 33"/>
                  <a:gd name="T59" fmla="*/ 3 h 26"/>
                  <a:gd name="T60" fmla="*/ 32 w 33"/>
                  <a:gd name="T61" fmla="*/ 0 h 26"/>
                  <a:gd name="T62" fmla="*/ 25 w 33"/>
                  <a:gd name="T63" fmla="*/ 0 h 26"/>
                  <a:gd name="T64" fmla="*/ 25 w 33"/>
                  <a:gd name="T65" fmla="*/ 2 h 26"/>
                  <a:gd name="T66" fmla="*/ 24 w 33"/>
                  <a:gd name="T67" fmla="*/ 0 h 26"/>
                  <a:gd name="T68" fmla="*/ 23 w 33"/>
                  <a:gd name="T69" fmla="*/ 0 h 26"/>
                  <a:gd name="T70" fmla="*/ 21 w 33"/>
                  <a:gd name="T71" fmla="*/ 0 h 26"/>
                  <a:gd name="T72" fmla="*/ 21 w 33"/>
                  <a:gd name="T73" fmla="*/ 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33" h="26">
                    <a:moveTo>
                      <a:pt x="21" y="0"/>
                    </a:moveTo>
                    <a:lnTo>
                      <a:pt x="21" y="1"/>
                    </a:lnTo>
                    <a:lnTo>
                      <a:pt x="19" y="2"/>
                    </a:lnTo>
                    <a:lnTo>
                      <a:pt x="18" y="1"/>
                    </a:lnTo>
                    <a:lnTo>
                      <a:pt x="15" y="0"/>
                    </a:lnTo>
                    <a:lnTo>
                      <a:pt x="12" y="2"/>
                    </a:lnTo>
                    <a:lnTo>
                      <a:pt x="9" y="2"/>
                    </a:lnTo>
                    <a:lnTo>
                      <a:pt x="9" y="4"/>
                    </a:lnTo>
                    <a:lnTo>
                      <a:pt x="6" y="5"/>
                    </a:lnTo>
                    <a:lnTo>
                      <a:pt x="0" y="11"/>
                    </a:lnTo>
                    <a:lnTo>
                      <a:pt x="0" y="16"/>
                    </a:lnTo>
                    <a:lnTo>
                      <a:pt x="1" y="19"/>
                    </a:lnTo>
                    <a:lnTo>
                      <a:pt x="1" y="21"/>
                    </a:lnTo>
                    <a:lnTo>
                      <a:pt x="2" y="21"/>
                    </a:lnTo>
                    <a:lnTo>
                      <a:pt x="6" y="23"/>
                    </a:lnTo>
                    <a:lnTo>
                      <a:pt x="7" y="23"/>
                    </a:lnTo>
                    <a:lnTo>
                      <a:pt x="12" y="25"/>
                    </a:lnTo>
                    <a:lnTo>
                      <a:pt x="12" y="26"/>
                    </a:lnTo>
                    <a:lnTo>
                      <a:pt x="15" y="26"/>
                    </a:lnTo>
                    <a:lnTo>
                      <a:pt x="16" y="23"/>
                    </a:lnTo>
                    <a:lnTo>
                      <a:pt x="19" y="22"/>
                    </a:lnTo>
                    <a:lnTo>
                      <a:pt x="19" y="23"/>
                    </a:lnTo>
                    <a:lnTo>
                      <a:pt x="21" y="20"/>
                    </a:lnTo>
                    <a:lnTo>
                      <a:pt x="26" y="18"/>
                    </a:lnTo>
                    <a:lnTo>
                      <a:pt x="26" y="12"/>
                    </a:lnTo>
                    <a:lnTo>
                      <a:pt x="27" y="12"/>
                    </a:lnTo>
                    <a:lnTo>
                      <a:pt x="28" y="9"/>
                    </a:lnTo>
                    <a:lnTo>
                      <a:pt x="30" y="6"/>
                    </a:lnTo>
                    <a:lnTo>
                      <a:pt x="33" y="5"/>
                    </a:lnTo>
                    <a:lnTo>
                      <a:pt x="33" y="3"/>
                    </a:lnTo>
                    <a:lnTo>
                      <a:pt x="32" y="0"/>
                    </a:lnTo>
                    <a:lnTo>
                      <a:pt x="25" y="0"/>
                    </a:lnTo>
                    <a:lnTo>
                      <a:pt x="25" y="2"/>
                    </a:lnTo>
                    <a:lnTo>
                      <a:pt x="24" y="0"/>
                    </a:lnTo>
                    <a:lnTo>
                      <a:pt x="23" y="0"/>
                    </a:lnTo>
                    <a:lnTo>
                      <a:pt x="21" y="0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79" name="Freeform 145">
                <a:extLst>
                  <a:ext uri="{FF2B5EF4-FFF2-40B4-BE49-F238E27FC236}">
                    <a16:creationId xmlns:a16="http://schemas.microsoft.com/office/drawing/2014/main" id="{DD8B2CA6-5104-430C-AB4C-BF5D80B81E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31" y="3164"/>
                <a:ext cx="4" cy="8"/>
              </a:xfrm>
              <a:custGeom>
                <a:avLst/>
                <a:gdLst>
                  <a:gd name="T0" fmla="*/ 4 w 4"/>
                  <a:gd name="T1" fmla="*/ 8 h 8"/>
                  <a:gd name="T2" fmla="*/ 2 w 4"/>
                  <a:gd name="T3" fmla="*/ 2 h 8"/>
                  <a:gd name="T4" fmla="*/ 0 w 4"/>
                  <a:gd name="T5" fmla="*/ 0 h 8"/>
                  <a:gd name="T6" fmla="*/ 1 w 4"/>
                  <a:gd name="T7" fmla="*/ 2 h 8"/>
                  <a:gd name="T8" fmla="*/ 4 w 4"/>
                  <a:gd name="T9" fmla="*/ 8 h 8"/>
                  <a:gd name="T10" fmla="*/ 4 w 4"/>
                  <a:gd name="T11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8">
                    <a:moveTo>
                      <a:pt x="4" y="8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1" y="2"/>
                    </a:lnTo>
                    <a:lnTo>
                      <a:pt x="4" y="8"/>
                    </a:lnTo>
                    <a:lnTo>
                      <a:pt x="4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80" name="Freeform 146">
                <a:extLst>
                  <a:ext uri="{FF2B5EF4-FFF2-40B4-BE49-F238E27FC236}">
                    <a16:creationId xmlns:a16="http://schemas.microsoft.com/office/drawing/2014/main" id="{AF530607-F41F-43FE-AA33-0D68E0815B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52" y="2916"/>
                <a:ext cx="17" cy="11"/>
              </a:xfrm>
              <a:custGeom>
                <a:avLst/>
                <a:gdLst>
                  <a:gd name="T0" fmla="*/ 0 w 17"/>
                  <a:gd name="T1" fmla="*/ 1 h 11"/>
                  <a:gd name="T2" fmla="*/ 0 w 17"/>
                  <a:gd name="T3" fmla="*/ 4 h 11"/>
                  <a:gd name="T4" fmla="*/ 6 w 17"/>
                  <a:gd name="T5" fmla="*/ 6 h 11"/>
                  <a:gd name="T6" fmla="*/ 8 w 17"/>
                  <a:gd name="T7" fmla="*/ 8 h 11"/>
                  <a:gd name="T8" fmla="*/ 9 w 17"/>
                  <a:gd name="T9" fmla="*/ 11 h 11"/>
                  <a:gd name="T10" fmla="*/ 10 w 17"/>
                  <a:gd name="T11" fmla="*/ 11 h 11"/>
                  <a:gd name="T12" fmla="*/ 12 w 17"/>
                  <a:gd name="T13" fmla="*/ 8 h 11"/>
                  <a:gd name="T14" fmla="*/ 17 w 17"/>
                  <a:gd name="T15" fmla="*/ 6 h 11"/>
                  <a:gd name="T16" fmla="*/ 15 w 17"/>
                  <a:gd name="T17" fmla="*/ 2 h 11"/>
                  <a:gd name="T18" fmla="*/ 13 w 17"/>
                  <a:gd name="T19" fmla="*/ 1 h 11"/>
                  <a:gd name="T20" fmla="*/ 10 w 17"/>
                  <a:gd name="T21" fmla="*/ 0 h 11"/>
                  <a:gd name="T22" fmla="*/ 7 w 17"/>
                  <a:gd name="T23" fmla="*/ 2 h 11"/>
                  <a:gd name="T24" fmla="*/ 0 w 17"/>
                  <a:gd name="T25" fmla="*/ 1 h 11"/>
                  <a:gd name="T26" fmla="*/ 0 w 17"/>
                  <a:gd name="T27" fmla="*/ 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7" h="11">
                    <a:moveTo>
                      <a:pt x="0" y="1"/>
                    </a:moveTo>
                    <a:lnTo>
                      <a:pt x="0" y="4"/>
                    </a:lnTo>
                    <a:lnTo>
                      <a:pt x="6" y="6"/>
                    </a:lnTo>
                    <a:lnTo>
                      <a:pt x="8" y="8"/>
                    </a:lnTo>
                    <a:lnTo>
                      <a:pt x="9" y="11"/>
                    </a:lnTo>
                    <a:lnTo>
                      <a:pt x="10" y="11"/>
                    </a:lnTo>
                    <a:lnTo>
                      <a:pt x="12" y="8"/>
                    </a:lnTo>
                    <a:lnTo>
                      <a:pt x="17" y="6"/>
                    </a:lnTo>
                    <a:lnTo>
                      <a:pt x="15" y="2"/>
                    </a:lnTo>
                    <a:lnTo>
                      <a:pt x="13" y="1"/>
                    </a:lnTo>
                    <a:lnTo>
                      <a:pt x="10" y="0"/>
                    </a:lnTo>
                    <a:lnTo>
                      <a:pt x="7" y="2"/>
                    </a:lnTo>
                    <a:lnTo>
                      <a:pt x="0" y="1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81" name="Freeform 147">
                <a:extLst>
                  <a:ext uri="{FF2B5EF4-FFF2-40B4-BE49-F238E27FC236}">
                    <a16:creationId xmlns:a16="http://schemas.microsoft.com/office/drawing/2014/main" id="{568E6465-FE16-457D-A86A-2CC5FE74F6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2" y="2918"/>
                <a:ext cx="11" cy="9"/>
              </a:xfrm>
              <a:custGeom>
                <a:avLst/>
                <a:gdLst>
                  <a:gd name="T0" fmla="*/ 5 w 11"/>
                  <a:gd name="T1" fmla="*/ 0 h 9"/>
                  <a:gd name="T2" fmla="*/ 3 w 11"/>
                  <a:gd name="T3" fmla="*/ 3 h 9"/>
                  <a:gd name="T4" fmla="*/ 2 w 11"/>
                  <a:gd name="T5" fmla="*/ 5 h 9"/>
                  <a:gd name="T6" fmla="*/ 2 w 11"/>
                  <a:gd name="T7" fmla="*/ 8 h 9"/>
                  <a:gd name="T8" fmla="*/ 0 w 11"/>
                  <a:gd name="T9" fmla="*/ 7 h 9"/>
                  <a:gd name="T10" fmla="*/ 2 w 11"/>
                  <a:gd name="T11" fmla="*/ 9 h 9"/>
                  <a:gd name="T12" fmla="*/ 5 w 11"/>
                  <a:gd name="T13" fmla="*/ 9 h 9"/>
                  <a:gd name="T14" fmla="*/ 7 w 11"/>
                  <a:gd name="T15" fmla="*/ 8 h 9"/>
                  <a:gd name="T16" fmla="*/ 10 w 11"/>
                  <a:gd name="T17" fmla="*/ 6 h 9"/>
                  <a:gd name="T18" fmla="*/ 11 w 11"/>
                  <a:gd name="T19" fmla="*/ 4 h 9"/>
                  <a:gd name="T20" fmla="*/ 9 w 11"/>
                  <a:gd name="T21" fmla="*/ 0 h 9"/>
                  <a:gd name="T22" fmla="*/ 5 w 11"/>
                  <a:gd name="T23" fmla="*/ 0 h 9"/>
                  <a:gd name="T24" fmla="*/ 5 w 11"/>
                  <a:gd name="T25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" h="9">
                    <a:moveTo>
                      <a:pt x="5" y="0"/>
                    </a:moveTo>
                    <a:lnTo>
                      <a:pt x="3" y="3"/>
                    </a:lnTo>
                    <a:lnTo>
                      <a:pt x="2" y="5"/>
                    </a:lnTo>
                    <a:lnTo>
                      <a:pt x="2" y="8"/>
                    </a:lnTo>
                    <a:lnTo>
                      <a:pt x="0" y="7"/>
                    </a:lnTo>
                    <a:lnTo>
                      <a:pt x="2" y="9"/>
                    </a:lnTo>
                    <a:lnTo>
                      <a:pt x="5" y="9"/>
                    </a:lnTo>
                    <a:lnTo>
                      <a:pt x="7" y="8"/>
                    </a:lnTo>
                    <a:lnTo>
                      <a:pt x="10" y="6"/>
                    </a:lnTo>
                    <a:lnTo>
                      <a:pt x="11" y="4"/>
                    </a:lnTo>
                    <a:lnTo>
                      <a:pt x="9" y="0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82" name="Freeform 148">
                <a:extLst>
                  <a:ext uri="{FF2B5EF4-FFF2-40B4-BE49-F238E27FC236}">
                    <a16:creationId xmlns:a16="http://schemas.microsoft.com/office/drawing/2014/main" id="{6E6DC5FE-FE8E-42AF-A128-4E436798DC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84" y="2917"/>
                <a:ext cx="32" cy="14"/>
              </a:xfrm>
              <a:custGeom>
                <a:avLst/>
                <a:gdLst>
                  <a:gd name="T0" fmla="*/ 15 w 32"/>
                  <a:gd name="T1" fmla="*/ 12 h 14"/>
                  <a:gd name="T2" fmla="*/ 20 w 32"/>
                  <a:gd name="T3" fmla="*/ 8 h 14"/>
                  <a:gd name="T4" fmla="*/ 24 w 32"/>
                  <a:gd name="T5" fmla="*/ 10 h 14"/>
                  <a:gd name="T6" fmla="*/ 26 w 32"/>
                  <a:gd name="T7" fmla="*/ 9 h 14"/>
                  <a:gd name="T8" fmla="*/ 28 w 32"/>
                  <a:gd name="T9" fmla="*/ 10 h 14"/>
                  <a:gd name="T10" fmla="*/ 32 w 32"/>
                  <a:gd name="T11" fmla="*/ 9 h 14"/>
                  <a:gd name="T12" fmla="*/ 31 w 32"/>
                  <a:gd name="T13" fmla="*/ 4 h 14"/>
                  <a:gd name="T14" fmla="*/ 27 w 32"/>
                  <a:gd name="T15" fmla="*/ 3 h 14"/>
                  <a:gd name="T16" fmla="*/ 26 w 32"/>
                  <a:gd name="T17" fmla="*/ 5 h 14"/>
                  <a:gd name="T18" fmla="*/ 26 w 32"/>
                  <a:gd name="T19" fmla="*/ 3 h 14"/>
                  <a:gd name="T20" fmla="*/ 23 w 32"/>
                  <a:gd name="T21" fmla="*/ 1 h 14"/>
                  <a:gd name="T22" fmla="*/ 20 w 32"/>
                  <a:gd name="T23" fmla="*/ 4 h 14"/>
                  <a:gd name="T24" fmla="*/ 19 w 32"/>
                  <a:gd name="T25" fmla="*/ 0 h 14"/>
                  <a:gd name="T26" fmla="*/ 16 w 32"/>
                  <a:gd name="T27" fmla="*/ 0 h 14"/>
                  <a:gd name="T28" fmla="*/ 14 w 32"/>
                  <a:gd name="T29" fmla="*/ 0 h 14"/>
                  <a:gd name="T30" fmla="*/ 14 w 32"/>
                  <a:gd name="T31" fmla="*/ 4 h 14"/>
                  <a:gd name="T32" fmla="*/ 19 w 32"/>
                  <a:gd name="T33" fmla="*/ 6 h 14"/>
                  <a:gd name="T34" fmla="*/ 17 w 32"/>
                  <a:gd name="T35" fmla="*/ 8 h 14"/>
                  <a:gd name="T36" fmla="*/ 14 w 32"/>
                  <a:gd name="T37" fmla="*/ 8 h 14"/>
                  <a:gd name="T38" fmla="*/ 11 w 32"/>
                  <a:gd name="T39" fmla="*/ 6 h 14"/>
                  <a:gd name="T40" fmla="*/ 6 w 32"/>
                  <a:gd name="T41" fmla="*/ 4 h 14"/>
                  <a:gd name="T42" fmla="*/ 1 w 32"/>
                  <a:gd name="T43" fmla="*/ 6 h 14"/>
                  <a:gd name="T44" fmla="*/ 0 w 32"/>
                  <a:gd name="T45" fmla="*/ 10 h 14"/>
                  <a:gd name="T46" fmla="*/ 2 w 32"/>
                  <a:gd name="T47" fmla="*/ 13 h 14"/>
                  <a:gd name="T48" fmla="*/ 5 w 32"/>
                  <a:gd name="T49" fmla="*/ 14 h 14"/>
                  <a:gd name="T50" fmla="*/ 10 w 32"/>
                  <a:gd name="T51" fmla="*/ 13 h 14"/>
                  <a:gd name="T52" fmla="*/ 12 w 32"/>
                  <a:gd name="T53" fmla="*/ 12 h 14"/>
                  <a:gd name="T54" fmla="*/ 15 w 32"/>
                  <a:gd name="T55" fmla="*/ 12 h 14"/>
                  <a:gd name="T56" fmla="*/ 15 w 32"/>
                  <a:gd name="T57" fmla="*/ 12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2" h="14">
                    <a:moveTo>
                      <a:pt x="15" y="12"/>
                    </a:moveTo>
                    <a:lnTo>
                      <a:pt x="20" y="8"/>
                    </a:lnTo>
                    <a:lnTo>
                      <a:pt x="24" y="10"/>
                    </a:lnTo>
                    <a:lnTo>
                      <a:pt x="26" y="9"/>
                    </a:lnTo>
                    <a:lnTo>
                      <a:pt x="28" y="10"/>
                    </a:lnTo>
                    <a:lnTo>
                      <a:pt x="32" y="9"/>
                    </a:lnTo>
                    <a:lnTo>
                      <a:pt x="31" y="4"/>
                    </a:lnTo>
                    <a:lnTo>
                      <a:pt x="27" y="3"/>
                    </a:lnTo>
                    <a:lnTo>
                      <a:pt x="26" y="5"/>
                    </a:lnTo>
                    <a:lnTo>
                      <a:pt x="26" y="3"/>
                    </a:lnTo>
                    <a:lnTo>
                      <a:pt x="23" y="1"/>
                    </a:lnTo>
                    <a:lnTo>
                      <a:pt x="20" y="4"/>
                    </a:lnTo>
                    <a:lnTo>
                      <a:pt x="19" y="0"/>
                    </a:lnTo>
                    <a:lnTo>
                      <a:pt x="16" y="0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9" y="6"/>
                    </a:lnTo>
                    <a:lnTo>
                      <a:pt x="17" y="8"/>
                    </a:lnTo>
                    <a:lnTo>
                      <a:pt x="14" y="8"/>
                    </a:lnTo>
                    <a:lnTo>
                      <a:pt x="11" y="6"/>
                    </a:lnTo>
                    <a:lnTo>
                      <a:pt x="6" y="4"/>
                    </a:lnTo>
                    <a:lnTo>
                      <a:pt x="1" y="6"/>
                    </a:lnTo>
                    <a:lnTo>
                      <a:pt x="0" y="10"/>
                    </a:lnTo>
                    <a:lnTo>
                      <a:pt x="2" y="13"/>
                    </a:lnTo>
                    <a:lnTo>
                      <a:pt x="5" y="14"/>
                    </a:lnTo>
                    <a:lnTo>
                      <a:pt x="10" y="13"/>
                    </a:lnTo>
                    <a:lnTo>
                      <a:pt x="12" y="12"/>
                    </a:lnTo>
                    <a:lnTo>
                      <a:pt x="15" y="12"/>
                    </a:lnTo>
                    <a:lnTo>
                      <a:pt x="15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83" name="Freeform 149">
                <a:extLst>
                  <a:ext uri="{FF2B5EF4-FFF2-40B4-BE49-F238E27FC236}">
                    <a16:creationId xmlns:a16="http://schemas.microsoft.com/office/drawing/2014/main" id="{93FE7876-F7CB-42E4-AF9E-224107ED4C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0" y="2650"/>
                <a:ext cx="34" cy="41"/>
              </a:xfrm>
              <a:custGeom>
                <a:avLst/>
                <a:gdLst>
                  <a:gd name="T0" fmla="*/ 21 w 34"/>
                  <a:gd name="T1" fmla="*/ 23 h 41"/>
                  <a:gd name="T2" fmla="*/ 21 w 34"/>
                  <a:gd name="T3" fmla="*/ 19 h 41"/>
                  <a:gd name="T4" fmla="*/ 22 w 34"/>
                  <a:gd name="T5" fmla="*/ 18 h 41"/>
                  <a:gd name="T6" fmla="*/ 26 w 34"/>
                  <a:gd name="T7" fmla="*/ 18 h 41"/>
                  <a:gd name="T8" fmla="*/ 28 w 34"/>
                  <a:gd name="T9" fmla="*/ 15 h 41"/>
                  <a:gd name="T10" fmla="*/ 30 w 34"/>
                  <a:gd name="T11" fmla="*/ 14 h 41"/>
                  <a:gd name="T12" fmla="*/ 31 w 34"/>
                  <a:gd name="T13" fmla="*/ 14 h 41"/>
                  <a:gd name="T14" fmla="*/ 34 w 34"/>
                  <a:gd name="T15" fmla="*/ 10 h 41"/>
                  <a:gd name="T16" fmla="*/ 31 w 34"/>
                  <a:gd name="T17" fmla="*/ 6 h 41"/>
                  <a:gd name="T18" fmla="*/ 31 w 34"/>
                  <a:gd name="T19" fmla="*/ 0 h 41"/>
                  <a:gd name="T20" fmla="*/ 29 w 34"/>
                  <a:gd name="T21" fmla="*/ 6 h 41"/>
                  <a:gd name="T22" fmla="*/ 30 w 34"/>
                  <a:gd name="T23" fmla="*/ 8 h 41"/>
                  <a:gd name="T24" fmla="*/ 28 w 34"/>
                  <a:gd name="T25" fmla="*/ 6 h 41"/>
                  <a:gd name="T26" fmla="*/ 29 w 34"/>
                  <a:gd name="T27" fmla="*/ 8 h 41"/>
                  <a:gd name="T28" fmla="*/ 28 w 34"/>
                  <a:gd name="T29" fmla="*/ 10 h 41"/>
                  <a:gd name="T30" fmla="*/ 26 w 34"/>
                  <a:gd name="T31" fmla="*/ 11 h 41"/>
                  <a:gd name="T32" fmla="*/ 23 w 34"/>
                  <a:gd name="T33" fmla="*/ 15 h 41"/>
                  <a:gd name="T34" fmla="*/ 21 w 34"/>
                  <a:gd name="T35" fmla="*/ 16 h 41"/>
                  <a:gd name="T36" fmla="*/ 19 w 34"/>
                  <a:gd name="T37" fmla="*/ 18 h 41"/>
                  <a:gd name="T38" fmla="*/ 18 w 34"/>
                  <a:gd name="T39" fmla="*/ 20 h 41"/>
                  <a:gd name="T40" fmla="*/ 16 w 34"/>
                  <a:gd name="T41" fmla="*/ 23 h 41"/>
                  <a:gd name="T42" fmla="*/ 11 w 34"/>
                  <a:gd name="T43" fmla="*/ 28 h 41"/>
                  <a:gd name="T44" fmla="*/ 9 w 34"/>
                  <a:gd name="T45" fmla="*/ 29 h 41"/>
                  <a:gd name="T46" fmla="*/ 5 w 34"/>
                  <a:gd name="T47" fmla="*/ 31 h 41"/>
                  <a:gd name="T48" fmla="*/ 1 w 34"/>
                  <a:gd name="T49" fmla="*/ 37 h 41"/>
                  <a:gd name="T50" fmla="*/ 0 w 34"/>
                  <a:gd name="T51" fmla="*/ 41 h 41"/>
                  <a:gd name="T52" fmla="*/ 2 w 34"/>
                  <a:gd name="T53" fmla="*/ 40 h 41"/>
                  <a:gd name="T54" fmla="*/ 5 w 34"/>
                  <a:gd name="T55" fmla="*/ 36 h 41"/>
                  <a:gd name="T56" fmla="*/ 8 w 34"/>
                  <a:gd name="T57" fmla="*/ 36 h 41"/>
                  <a:gd name="T58" fmla="*/ 10 w 34"/>
                  <a:gd name="T59" fmla="*/ 34 h 41"/>
                  <a:gd name="T60" fmla="*/ 12 w 34"/>
                  <a:gd name="T61" fmla="*/ 32 h 41"/>
                  <a:gd name="T62" fmla="*/ 18 w 34"/>
                  <a:gd name="T63" fmla="*/ 28 h 41"/>
                  <a:gd name="T64" fmla="*/ 21 w 34"/>
                  <a:gd name="T65" fmla="*/ 23 h 41"/>
                  <a:gd name="T66" fmla="*/ 21 w 34"/>
                  <a:gd name="T67" fmla="*/ 23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34" h="41">
                    <a:moveTo>
                      <a:pt x="21" y="23"/>
                    </a:moveTo>
                    <a:lnTo>
                      <a:pt x="21" y="19"/>
                    </a:lnTo>
                    <a:lnTo>
                      <a:pt x="22" y="18"/>
                    </a:lnTo>
                    <a:lnTo>
                      <a:pt x="26" y="18"/>
                    </a:lnTo>
                    <a:lnTo>
                      <a:pt x="28" y="15"/>
                    </a:lnTo>
                    <a:lnTo>
                      <a:pt x="30" y="14"/>
                    </a:lnTo>
                    <a:lnTo>
                      <a:pt x="31" y="14"/>
                    </a:lnTo>
                    <a:lnTo>
                      <a:pt x="34" y="10"/>
                    </a:lnTo>
                    <a:lnTo>
                      <a:pt x="31" y="6"/>
                    </a:lnTo>
                    <a:lnTo>
                      <a:pt x="31" y="0"/>
                    </a:lnTo>
                    <a:lnTo>
                      <a:pt x="29" y="6"/>
                    </a:lnTo>
                    <a:lnTo>
                      <a:pt x="30" y="8"/>
                    </a:lnTo>
                    <a:lnTo>
                      <a:pt x="28" y="6"/>
                    </a:lnTo>
                    <a:lnTo>
                      <a:pt x="29" y="8"/>
                    </a:lnTo>
                    <a:lnTo>
                      <a:pt x="28" y="10"/>
                    </a:lnTo>
                    <a:lnTo>
                      <a:pt x="26" y="11"/>
                    </a:lnTo>
                    <a:lnTo>
                      <a:pt x="23" y="15"/>
                    </a:lnTo>
                    <a:lnTo>
                      <a:pt x="21" y="16"/>
                    </a:lnTo>
                    <a:lnTo>
                      <a:pt x="19" y="18"/>
                    </a:lnTo>
                    <a:lnTo>
                      <a:pt x="18" y="20"/>
                    </a:lnTo>
                    <a:lnTo>
                      <a:pt x="16" y="23"/>
                    </a:lnTo>
                    <a:lnTo>
                      <a:pt x="11" y="28"/>
                    </a:lnTo>
                    <a:lnTo>
                      <a:pt x="9" y="29"/>
                    </a:lnTo>
                    <a:lnTo>
                      <a:pt x="5" y="31"/>
                    </a:lnTo>
                    <a:lnTo>
                      <a:pt x="1" y="37"/>
                    </a:lnTo>
                    <a:lnTo>
                      <a:pt x="0" y="41"/>
                    </a:lnTo>
                    <a:lnTo>
                      <a:pt x="2" y="40"/>
                    </a:lnTo>
                    <a:lnTo>
                      <a:pt x="5" y="36"/>
                    </a:lnTo>
                    <a:lnTo>
                      <a:pt x="8" y="36"/>
                    </a:lnTo>
                    <a:lnTo>
                      <a:pt x="10" y="34"/>
                    </a:lnTo>
                    <a:lnTo>
                      <a:pt x="12" y="32"/>
                    </a:lnTo>
                    <a:lnTo>
                      <a:pt x="18" y="28"/>
                    </a:lnTo>
                    <a:lnTo>
                      <a:pt x="21" y="23"/>
                    </a:lnTo>
                    <a:lnTo>
                      <a:pt x="21" y="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84" name="Freeform 150">
                <a:extLst>
                  <a:ext uri="{FF2B5EF4-FFF2-40B4-BE49-F238E27FC236}">
                    <a16:creationId xmlns:a16="http://schemas.microsoft.com/office/drawing/2014/main" id="{10950628-92F2-4600-A116-47C5752746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3" y="2917"/>
                <a:ext cx="3" cy="4"/>
              </a:xfrm>
              <a:custGeom>
                <a:avLst/>
                <a:gdLst>
                  <a:gd name="T0" fmla="*/ 1 w 3"/>
                  <a:gd name="T1" fmla="*/ 4 h 4"/>
                  <a:gd name="T2" fmla="*/ 3 w 3"/>
                  <a:gd name="T3" fmla="*/ 0 h 4"/>
                  <a:gd name="T4" fmla="*/ 0 w 3"/>
                  <a:gd name="T5" fmla="*/ 1 h 4"/>
                  <a:gd name="T6" fmla="*/ 1 w 3"/>
                  <a:gd name="T7" fmla="*/ 4 h 4"/>
                  <a:gd name="T8" fmla="*/ 1 w 3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4">
                    <a:moveTo>
                      <a:pt x="1" y="4"/>
                    </a:moveTo>
                    <a:lnTo>
                      <a:pt x="3" y="0"/>
                    </a:lnTo>
                    <a:lnTo>
                      <a:pt x="0" y="1"/>
                    </a:lnTo>
                    <a:lnTo>
                      <a:pt x="1" y="4"/>
                    </a:lnTo>
                    <a:lnTo>
                      <a:pt x="1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85" name="Freeform 151">
                <a:extLst>
                  <a:ext uri="{FF2B5EF4-FFF2-40B4-BE49-F238E27FC236}">
                    <a16:creationId xmlns:a16="http://schemas.microsoft.com/office/drawing/2014/main" id="{04127390-DD53-4660-A02A-077FF38455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1" y="2782"/>
                <a:ext cx="89" cy="101"/>
              </a:xfrm>
              <a:custGeom>
                <a:avLst/>
                <a:gdLst>
                  <a:gd name="T0" fmla="*/ 29 w 89"/>
                  <a:gd name="T1" fmla="*/ 61 h 101"/>
                  <a:gd name="T2" fmla="*/ 31 w 89"/>
                  <a:gd name="T3" fmla="*/ 68 h 101"/>
                  <a:gd name="T4" fmla="*/ 36 w 89"/>
                  <a:gd name="T5" fmla="*/ 79 h 101"/>
                  <a:gd name="T6" fmla="*/ 38 w 89"/>
                  <a:gd name="T7" fmla="*/ 87 h 101"/>
                  <a:gd name="T8" fmla="*/ 44 w 89"/>
                  <a:gd name="T9" fmla="*/ 88 h 101"/>
                  <a:gd name="T10" fmla="*/ 55 w 89"/>
                  <a:gd name="T11" fmla="*/ 84 h 101"/>
                  <a:gd name="T12" fmla="*/ 56 w 89"/>
                  <a:gd name="T13" fmla="*/ 80 h 101"/>
                  <a:gd name="T14" fmla="*/ 49 w 89"/>
                  <a:gd name="T15" fmla="*/ 74 h 101"/>
                  <a:gd name="T16" fmla="*/ 50 w 89"/>
                  <a:gd name="T17" fmla="*/ 71 h 101"/>
                  <a:gd name="T18" fmla="*/ 49 w 89"/>
                  <a:gd name="T19" fmla="*/ 65 h 101"/>
                  <a:gd name="T20" fmla="*/ 35 w 89"/>
                  <a:gd name="T21" fmla="*/ 51 h 101"/>
                  <a:gd name="T22" fmla="*/ 41 w 89"/>
                  <a:gd name="T23" fmla="*/ 49 h 101"/>
                  <a:gd name="T24" fmla="*/ 51 w 89"/>
                  <a:gd name="T25" fmla="*/ 42 h 101"/>
                  <a:gd name="T26" fmla="*/ 62 w 89"/>
                  <a:gd name="T27" fmla="*/ 38 h 101"/>
                  <a:gd name="T28" fmla="*/ 60 w 89"/>
                  <a:gd name="T29" fmla="*/ 31 h 101"/>
                  <a:gd name="T30" fmla="*/ 47 w 89"/>
                  <a:gd name="T31" fmla="*/ 34 h 101"/>
                  <a:gd name="T32" fmla="*/ 39 w 89"/>
                  <a:gd name="T33" fmla="*/ 34 h 101"/>
                  <a:gd name="T34" fmla="*/ 32 w 89"/>
                  <a:gd name="T35" fmla="*/ 44 h 101"/>
                  <a:gd name="T36" fmla="*/ 25 w 89"/>
                  <a:gd name="T37" fmla="*/ 39 h 101"/>
                  <a:gd name="T38" fmla="*/ 18 w 89"/>
                  <a:gd name="T39" fmla="*/ 32 h 101"/>
                  <a:gd name="T40" fmla="*/ 22 w 89"/>
                  <a:gd name="T41" fmla="*/ 17 h 101"/>
                  <a:gd name="T42" fmla="*/ 30 w 89"/>
                  <a:gd name="T43" fmla="*/ 17 h 101"/>
                  <a:gd name="T44" fmla="*/ 35 w 89"/>
                  <a:gd name="T45" fmla="*/ 17 h 101"/>
                  <a:gd name="T46" fmla="*/ 43 w 89"/>
                  <a:gd name="T47" fmla="*/ 17 h 101"/>
                  <a:gd name="T48" fmla="*/ 61 w 89"/>
                  <a:gd name="T49" fmla="*/ 20 h 101"/>
                  <a:gd name="T50" fmla="*/ 78 w 89"/>
                  <a:gd name="T51" fmla="*/ 16 h 101"/>
                  <a:gd name="T52" fmla="*/ 86 w 89"/>
                  <a:gd name="T53" fmla="*/ 6 h 101"/>
                  <a:gd name="T54" fmla="*/ 84 w 89"/>
                  <a:gd name="T55" fmla="*/ 0 h 101"/>
                  <a:gd name="T56" fmla="*/ 79 w 89"/>
                  <a:gd name="T57" fmla="*/ 7 h 101"/>
                  <a:gd name="T58" fmla="*/ 68 w 89"/>
                  <a:gd name="T59" fmla="*/ 12 h 101"/>
                  <a:gd name="T60" fmla="*/ 58 w 89"/>
                  <a:gd name="T61" fmla="*/ 11 h 101"/>
                  <a:gd name="T62" fmla="*/ 43 w 89"/>
                  <a:gd name="T63" fmla="*/ 8 h 101"/>
                  <a:gd name="T64" fmla="*/ 34 w 89"/>
                  <a:gd name="T65" fmla="*/ 6 h 101"/>
                  <a:gd name="T66" fmla="*/ 27 w 89"/>
                  <a:gd name="T67" fmla="*/ 10 h 101"/>
                  <a:gd name="T68" fmla="*/ 17 w 89"/>
                  <a:gd name="T69" fmla="*/ 14 h 101"/>
                  <a:gd name="T70" fmla="*/ 14 w 89"/>
                  <a:gd name="T71" fmla="*/ 21 h 101"/>
                  <a:gd name="T72" fmla="*/ 14 w 89"/>
                  <a:gd name="T73" fmla="*/ 28 h 101"/>
                  <a:gd name="T74" fmla="*/ 15 w 89"/>
                  <a:gd name="T75" fmla="*/ 36 h 101"/>
                  <a:gd name="T76" fmla="*/ 7 w 89"/>
                  <a:gd name="T77" fmla="*/ 44 h 101"/>
                  <a:gd name="T78" fmla="*/ 5 w 89"/>
                  <a:gd name="T79" fmla="*/ 54 h 101"/>
                  <a:gd name="T80" fmla="*/ 0 w 89"/>
                  <a:gd name="T81" fmla="*/ 62 h 101"/>
                  <a:gd name="T82" fmla="*/ 1 w 89"/>
                  <a:gd name="T83" fmla="*/ 72 h 101"/>
                  <a:gd name="T84" fmla="*/ 10 w 89"/>
                  <a:gd name="T85" fmla="*/ 72 h 101"/>
                  <a:gd name="T86" fmla="*/ 12 w 89"/>
                  <a:gd name="T87" fmla="*/ 84 h 101"/>
                  <a:gd name="T88" fmla="*/ 8 w 89"/>
                  <a:gd name="T89" fmla="*/ 94 h 101"/>
                  <a:gd name="T90" fmla="*/ 12 w 89"/>
                  <a:gd name="T91" fmla="*/ 100 h 101"/>
                  <a:gd name="T92" fmla="*/ 23 w 89"/>
                  <a:gd name="T93" fmla="*/ 99 h 101"/>
                  <a:gd name="T94" fmla="*/ 22 w 89"/>
                  <a:gd name="T95" fmla="*/ 91 h 101"/>
                  <a:gd name="T96" fmla="*/ 23 w 89"/>
                  <a:gd name="T97" fmla="*/ 74 h 101"/>
                  <a:gd name="T98" fmla="*/ 21 w 89"/>
                  <a:gd name="T99" fmla="*/ 64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89" h="101">
                    <a:moveTo>
                      <a:pt x="21" y="64"/>
                    </a:moveTo>
                    <a:lnTo>
                      <a:pt x="26" y="61"/>
                    </a:lnTo>
                    <a:lnTo>
                      <a:pt x="29" y="61"/>
                    </a:lnTo>
                    <a:lnTo>
                      <a:pt x="31" y="61"/>
                    </a:lnTo>
                    <a:lnTo>
                      <a:pt x="32" y="64"/>
                    </a:lnTo>
                    <a:lnTo>
                      <a:pt x="31" y="68"/>
                    </a:lnTo>
                    <a:lnTo>
                      <a:pt x="29" y="71"/>
                    </a:lnTo>
                    <a:lnTo>
                      <a:pt x="31" y="74"/>
                    </a:lnTo>
                    <a:lnTo>
                      <a:pt x="36" y="79"/>
                    </a:lnTo>
                    <a:lnTo>
                      <a:pt x="39" y="79"/>
                    </a:lnTo>
                    <a:lnTo>
                      <a:pt x="39" y="81"/>
                    </a:lnTo>
                    <a:lnTo>
                      <a:pt x="38" y="87"/>
                    </a:lnTo>
                    <a:lnTo>
                      <a:pt x="40" y="89"/>
                    </a:lnTo>
                    <a:lnTo>
                      <a:pt x="42" y="90"/>
                    </a:lnTo>
                    <a:lnTo>
                      <a:pt x="44" y="88"/>
                    </a:lnTo>
                    <a:lnTo>
                      <a:pt x="47" y="85"/>
                    </a:lnTo>
                    <a:lnTo>
                      <a:pt x="52" y="84"/>
                    </a:lnTo>
                    <a:lnTo>
                      <a:pt x="55" y="84"/>
                    </a:lnTo>
                    <a:lnTo>
                      <a:pt x="53" y="83"/>
                    </a:lnTo>
                    <a:lnTo>
                      <a:pt x="57" y="82"/>
                    </a:lnTo>
                    <a:lnTo>
                      <a:pt x="56" y="80"/>
                    </a:lnTo>
                    <a:lnTo>
                      <a:pt x="53" y="79"/>
                    </a:lnTo>
                    <a:lnTo>
                      <a:pt x="51" y="76"/>
                    </a:lnTo>
                    <a:lnTo>
                      <a:pt x="49" y="74"/>
                    </a:lnTo>
                    <a:lnTo>
                      <a:pt x="48" y="72"/>
                    </a:lnTo>
                    <a:lnTo>
                      <a:pt x="49" y="71"/>
                    </a:lnTo>
                    <a:lnTo>
                      <a:pt x="50" y="71"/>
                    </a:lnTo>
                    <a:lnTo>
                      <a:pt x="49" y="68"/>
                    </a:lnTo>
                    <a:lnTo>
                      <a:pt x="51" y="67"/>
                    </a:lnTo>
                    <a:lnTo>
                      <a:pt x="49" y="65"/>
                    </a:lnTo>
                    <a:lnTo>
                      <a:pt x="41" y="54"/>
                    </a:lnTo>
                    <a:lnTo>
                      <a:pt x="38" y="51"/>
                    </a:lnTo>
                    <a:lnTo>
                      <a:pt x="35" y="51"/>
                    </a:lnTo>
                    <a:lnTo>
                      <a:pt x="35" y="48"/>
                    </a:lnTo>
                    <a:lnTo>
                      <a:pt x="38" y="50"/>
                    </a:lnTo>
                    <a:lnTo>
                      <a:pt x="41" y="49"/>
                    </a:lnTo>
                    <a:lnTo>
                      <a:pt x="43" y="47"/>
                    </a:lnTo>
                    <a:lnTo>
                      <a:pt x="48" y="45"/>
                    </a:lnTo>
                    <a:lnTo>
                      <a:pt x="51" y="42"/>
                    </a:lnTo>
                    <a:lnTo>
                      <a:pt x="55" y="38"/>
                    </a:lnTo>
                    <a:lnTo>
                      <a:pt x="58" y="36"/>
                    </a:lnTo>
                    <a:lnTo>
                      <a:pt x="62" y="38"/>
                    </a:lnTo>
                    <a:lnTo>
                      <a:pt x="65" y="36"/>
                    </a:lnTo>
                    <a:lnTo>
                      <a:pt x="64" y="32"/>
                    </a:lnTo>
                    <a:lnTo>
                      <a:pt x="60" y="31"/>
                    </a:lnTo>
                    <a:lnTo>
                      <a:pt x="58" y="32"/>
                    </a:lnTo>
                    <a:lnTo>
                      <a:pt x="56" y="34"/>
                    </a:lnTo>
                    <a:lnTo>
                      <a:pt x="47" y="34"/>
                    </a:lnTo>
                    <a:lnTo>
                      <a:pt x="44" y="37"/>
                    </a:lnTo>
                    <a:lnTo>
                      <a:pt x="41" y="37"/>
                    </a:lnTo>
                    <a:lnTo>
                      <a:pt x="39" y="34"/>
                    </a:lnTo>
                    <a:lnTo>
                      <a:pt x="36" y="37"/>
                    </a:lnTo>
                    <a:lnTo>
                      <a:pt x="33" y="40"/>
                    </a:lnTo>
                    <a:lnTo>
                      <a:pt x="32" y="44"/>
                    </a:lnTo>
                    <a:lnTo>
                      <a:pt x="27" y="42"/>
                    </a:lnTo>
                    <a:lnTo>
                      <a:pt x="25" y="41"/>
                    </a:lnTo>
                    <a:lnTo>
                      <a:pt x="25" y="39"/>
                    </a:lnTo>
                    <a:lnTo>
                      <a:pt x="23" y="36"/>
                    </a:lnTo>
                    <a:lnTo>
                      <a:pt x="19" y="36"/>
                    </a:lnTo>
                    <a:lnTo>
                      <a:pt x="18" y="32"/>
                    </a:lnTo>
                    <a:lnTo>
                      <a:pt x="17" y="27"/>
                    </a:lnTo>
                    <a:lnTo>
                      <a:pt x="19" y="21"/>
                    </a:lnTo>
                    <a:lnTo>
                      <a:pt x="22" y="17"/>
                    </a:lnTo>
                    <a:lnTo>
                      <a:pt x="24" y="16"/>
                    </a:lnTo>
                    <a:lnTo>
                      <a:pt x="26" y="16"/>
                    </a:lnTo>
                    <a:lnTo>
                      <a:pt x="30" y="17"/>
                    </a:lnTo>
                    <a:lnTo>
                      <a:pt x="32" y="17"/>
                    </a:lnTo>
                    <a:lnTo>
                      <a:pt x="34" y="17"/>
                    </a:lnTo>
                    <a:lnTo>
                      <a:pt x="35" y="17"/>
                    </a:lnTo>
                    <a:lnTo>
                      <a:pt x="38" y="16"/>
                    </a:lnTo>
                    <a:lnTo>
                      <a:pt x="40" y="16"/>
                    </a:lnTo>
                    <a:lnTo>
                      <a:pt x="43" y="17"/>
                    </a:lnTo>
                    <a:lnTo>
                      <a:pt x="45" y="17"/>
                    </a:lnTo>
                    <a:lnTo>
                      <a:pt x="59" y="16"/>
                    </a:lnTo>
                    <a:lnTo>
                      <a:pt x="61" y="20"/>
                    </a:lnTo>
                    <a:lnTo>
                      <a:pt x="67" y="20"/>
                    </a:lnTo>
                    <a:lnTo>
                      <a:pt x="76" y="19"/>
                    </a:lnTo>
                    <a:lnTo>
                      <a:pt x="78" y="16"/>
                    </a:lnTo>
                    <a:lnTo>
                      <a:pt x="79" y="14"/>
                    </a:lnTo>
                    <a:lnTo>
                      <a:pt x="85" y="8"/>
                    </a:lnTo>
                    <a:lnTo>
                      <a:pt x="86" y="6"/>
                    </a:lnTo>
                    <a:lnTo>
                      <a:pt x="89" y="4"/>
                    </a:lnTo>
                    <a:lnTo>
                      <a:pt x="87" y="0"/>
                    </a:lnTo>
                    <a:lnTo>
                      <a:pt x="84" y="0"/>
                    </a:lnTo>
                    <a:lnTo>
                      <a:pt x="83" y="4"/>
                    </a:lnTo>
                    <a:lnTo>
                      <a:pt x="79" y="5"/>
                    </a:lnTo>
                    <a:lnTo>
                      <a:pt x="79" y="7"/>
                    </a:lnTo>
                    <a:lnTo>
                      <a:pt x="76" y="8"/>
                    </a:lnTo>
                    <a:lnTo>
                      <a:pt x="74" y="11"/>
                    </a:lnTo>
                    <a:lnTo>
                      <a:pt x="68" y="12"/>
                    </a:lnTo>
                    <a:lnTo>
                      <a:pt x="64" y="11"/>
                    </a:lnTo>
                    <a:lnTo>
                      <a:pt x="60" y="11"/>
                    </a:lnTo>
                    <a:lnTo>
                      <a:pt x="58" y="11"/>
                    </a:lnTo>
                    <a:lnTo>
                      <a:pt x="56" y="12"/>
                    </a:lnTo>
                    <a:lnTo>
                      <a:pt x="50" y="10"/>
                    </a:lnTo>
                    <a:lnTo>
                      <a:pt x="43" y="8"/>
                    </a:lnTo>
                    <a:lnTo>
                      <a:pt x="38" y="10"/>
                    </a:lnTo>
                    <a:lnTo>
                      <a:pt x="36" y="6"/>
                    </a:lnTo>
                    <a:lnTo>
                      <a:pt x="34" y="6"/>
                    </a:lnTo>
                    <a:lnTo>
                      <a:pt x="31" y="5"/>
                    </a:lnTo>
                    <a:lnTo>
                      <a:pt x="29" y="7"/>
                    </a:lnTo>
                    <a:lnTo>
                      <a:pt x="27" y="10"/>
                    </a:lnTo>
                    <a:lnTo>
                      <a:pt x="25" y="12"/>
                    </a:lnTo>
                    <a:lnTo>
                      <a:pt x="19" y="13"/>
                    </a:lnTo>
                    <a:lnTo>
                      <a:pt x="17" y="14"/>
                    </a:lnTo>
                    <a:lnTo>
                      <a:pt x="17" y="16"/>
                    </a:lnTo>
                    <a:lnTo>
                      <a:pt x="15" y="19"/>
                    </a:lnTo>
                    <a:lnTo>
                      <a:pt x="14" y="21"/>
                    </a:lnTo>
                    <a:lnTo>
                      <a:pt x="15" y="23"/>
                    </a:lnTo>
                    <a:lnTo>
                      <a:pt x="12" y="23"/>
                    </a:lnTo>
                    <a:lnTo>
                      <a:pt x="14" y="28"/>
                    </a:lnTo>
                    <a:lnTo>
                      <a:pt x="14" y="30"/>
                    </a:lnTo>
                    <a:lnTo>
                      <a:pt x="15" y="33"/>
                    </a:lnTo>
                    <a:lnTo>
                      <a:pt x="15" y="36"/>
                    </a:lnTo>
                    <a:lnTo>
                      <a:pt x="14" y="32"/>
                    </a:lnTo>
                    <a:lnTo>
                      <a:pt x="8" y="40"/>
                    </a:lnTo>
                    <a:lnTo>
                      <a:pt x="7" y="44"/>
                    </a:lnTo>
                    <a:lnTo>
                      <a:pt x="8" y="48"/>
                    </a:lnTo>
                    <a:lnTo>
                      <a:pt x="6" y="51"/>
                    </a:lnTo>
                    <a:lnTo>
                      <a:pt x="5" y="54"/>
                    </a:lnTo>
                    <a:lnTo>
                      <a:pt x="5" y="57"/>
                    </a:lnTo>
                    <a:lnTo>
                      <a:pt x="2" y="59"/>
                    </a:lnTo>
                    <a:lnTo>
                      <a:pt x="0" y="62"/>
                    </a:lnTo>
                    <a:lnTo>
                      <a:pt x="1" y="64"/>
                    </a:lnTo>
                    <a:lnTo>
                      <a:pt x="0" y="66"/>
                    </a:lnTo>
                    <a:lnTo>
                      <a:pt x="1" y="72"/>
                    </a:lnTo>
                    <a:lnTo>
                      <a:pt x="5" y="72"/>
                    </a:lnTo>
                    <a:lnTo>
                      <a:pt x="7" y="71"/>
                    </a:lnTo>
                    <a:lnTo>
                      <a:pt x="10" y="72"/>
                    </a:lnTo>
                    <a:lnTo>
                      <a:pt x="9" y="74"/>
                    </a:lnTo>
                    <a:lnTo>
                      <a:pt x="12" y="79"/>
                    </a:lnTo>
                    <a:lnTo>
                      <a:pt x="12" y="84"/>
                    </a:lnTo>
                    <a:lnTo>
                      <a:pt x="10" y="90"/>
                    </a:lnTo>
                    <a:lnTo>
                      <a:pt x="9" y="92"/>
                    </a:lnTo>
                    <a:lnTo>
                      <a:pt x="8" y="94"/>
                    </a:lnTo>
                    <a:lnTo>
                      <a:pt x="8" y="96"/>
                    </a:lnTo>
                    <a:lnTo>
                      <a:pt x="9" y="99"/>
                    </a:lnTo>
                    <a:lnTo>
                      <a:pt x="12" y="100"/>
                    </a:lnTo>
                    <a:lnTo>
                      <a:pt x="14" y="101"/>
                    </a:lnTo>
                    <a:lnTo>
                      <a:pt x="17" y="100"/>
                    </a:lnTo>
                    <a:lnTo>
                      <a:pt x="23" y="99"/>
                    </a:lnTo>
                    <a:lnTo>
                      <a:pt x="22" y="97"/>
                    </a:lnTo>
                    <a:lnTo>
                      <a:pt x="21" y="93"/>
                    </a:lnTo>
                    <a:lnTo>
                      <a:pt x="22" y="91"/>
                    </a:lnTo>
                    <a:lnTo>
                      <a:pt x="23" y="89"/>
                    </a:lnTo>
                    <a:lnTo>
                      <a:pt x="22" y="77"/>
                    </a:lnTo>
                    <a:lnTo>
                      <a:pt x="23" y="74"/>
                    </a:lnTo>
                    <a:lnTo>
                      <a:pt x="23" y="70"/>
                    </a:lnTo>
                    <a:lnTo>
                      <a:pt x="21" y="66"/>
                    </a:lnTo>
                    <a:lnTo>
                      <a:pt x="21" y="64"/>
                    </a:lnTo>
                    <a:lnTo>
                      <a:pt x="21" y="6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86" name="Freeform 152">
                <a:extLst>
                  <a:ext uri="{FF2B5EF4-FFF2-40B4-BE49-F238E27FC236}">
                    <a16:creationId xmlns:a16="http://schemas.microsoft.com/office/drawing/2014/main" id="{D3B96E12-B18E-40BC-9E66-E2C045C901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3" y="2934"/>
                <a:ext cx="27" cy="13"/>
              </a:xfrm>
              <a:custGeom>
                <a:avLst/>
                <a:gdLst>
                  <a:gd name="T0" fmla="*/ 27 w 27"/>
                  <a:gd name="T1" fmla="*/ 9 h 13"/>
                  <a:gd name="T2" fmla="*/ 23 w 27"/>
                  <a:gd name="T3" fmla="*/ 7 h 13"/>
                  <a:gd name="T4" fmla="*/ 21 w 27"/>
                  <a:gd name="T5" fmla="*/ 4 h 13"/>
                  <a:gd name="T6" fmla="*/ 19 w 27"/>
                  <a:gd name="T7" fmla="*/ 5 h 13"/>
                  <a:gd name="T8" fmla="*/ 15 w 27"/>
                  <a:gd name="T9" fmla="*/ 0 h 13"/>
                  <a:gd name="T10" fmla="*/ 12 w 27"/>
                  <a:gd name="T11" fmla="*/ 0 h 13"/>
                  <a:gd name="T12" fmla="*/ 10 w 27"/>
                  <a:gd name="T13" fmla="*/ 0 h 13"/>
                  <a:gd name="T14" fmla="*/ 4 w 27"/>
                  <a:gd name="T15" fmla="*/ 0 h 13"/>
                  <a:gd name="T16" fmla="*/ 2 w 27"/>
                  <a:gd name="T17" fmla="*/ 1 h 13"/>
                  <a:gd name="T18" fmla="*/ 0 w 27"/>
                  <a:gd name="T19" fmla="*/ 3 h 13"/>
                  <a:gd name="T20" fmla="*/ 2 w 27"/>
                  <a:gd name="T21" fmla="*/ 5 h 13"/>
                  <a:gd name="T22" fmla="*/ 3 w 27"/>
                  <a:gd name="T23" fmla="*/ 5 h 13"/>
                  <a:gd name="T24" fmla="*/ 8 w 27"/>
                  <a:gd name="T25" fmla="*/ 6 h 13"/>
                  <a:gd name="T26" fmla="*/ 15 w 27"/>
                  <a:gd name="T27" fmla="*/ 9 h 13"/>
                  <a:gd name="T28" fmla="*/ 17 w 27"/>
                  <a:gd name="T29" fmla="*/ 12 h 13"/>
                  <a:gd name="T30" fmla="*/ 20 w 27"/>
                  <a:gd name="T31" fmla="*/ 13 h 13"/>
                  <a:gd name="T32" fmla="*/ 25 w 27"/>
                  <a:gd name="T33" fmla="*/ 12 h 13"/>
                  <a:gd name="T34" fmla="*/ 27 w 27"/>
                  <a:gd name="T35" fmla="*/ 9 h 13"/>
                  <a:gd name="T36" fmla="*/ 27 w 27"/>
                  <a:gd name="T37" fmla="*/ 9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7" h="13">
                    <a:moveTo>
                      <a:pt x="27" y="9"/>
                    </a:moveTo>
                    <a:lnTo>
                      <a:pt x="23" y="7"/>
                    </a:lnTo>
                    <a:lnTo>
                      <a:pt x="21" y="4"/>
                    </a:lnTo>
                    <a:lnTo>
                      <a:pt x="19" y="5"/>
                    </a:lnTo>
                    <a:lnTo>
                      <a:pt x="15" y="0"/>
                    </a:lnTo>
                    <a:lnTo>
                      <a:pt x="12" y="0"/>
                    </a:lnTo>
                    <a:lnTo>
                      <a:pt x="10" y="0"/>
                    </a:lnTo>
                    <a:lnTo>
                      <a:pt x="4" y="0"/>
                    </a:lnTo>
                    <a:lnTo>
                      <a:pt x="2" y="1"/>
                    </a:lnTo>
                    <a:lnTo>
                      <a:pt x="0" y="3"/>
                    </a:lnTo>
                    <a:lnTo>
                      <a:pt x="2" y="5"/>
                    </a:lnTo>
                    <a:lnTo>
                      <a:pt x="3" y="5"/>
                    </a:lnTo>
                    <a:lnTo>
                      <a:pt x="8" y="6"/>
                    </a:lnTo>
                    <a:lnTo>
                      <a:pt x="15" y="9"/>
                    </a:lnTo>
                    <a:lnTo>
                      <a:pt x="17" y="12"/>
                    </a:lnTo>
                    <a:lnTo>
                      <a:pt x="20" y="13"/>
                    </a:lnTo>
                    <a:lnTo>
                      <a:pt x="25" y="12"/>
                    </a:lnTo>
                    <a:lnTo>
                      <a:pt x="27" y="9"/>
                    </a:lnTo>
                    <a:lnTo>
                      <a:pt x="27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87" name="Freeform 153">
                <a:extLst>
                  <a:ext uri="{FF2B5EF4-FFF2-40B4-BE49-F238E27FC236}">
                    <a16:creationId xmlns:a16="http://schemas.microsoft.com/office/drawing/2014/main" id="{E0C7B16F-A1B7-4C2A-97E3-F26F935F56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25" y="2548"/>
                <a:ext cx="60" cy="84"/>
              </a:xfrm>
              <a:custGeom>
                <a:avLst/>
                <a:gdLst>
                  <a:gd name="T0" fmla="*/ 9 w 60"/>
                  <a:gd name="T1" fmla="*/ 22 h 84"/>
                  <a:gd name="T2" fmla="*/ 8 w 60"/>
                  <a:gd name="T3" fmla="*/ 31 h 84"/>
                  <a:gd name="T4" fmla="*/ 8 w 60"/>
                  <a:gd name="T5" fmla="*/ 35 h 84"/>
                  <a:gd name="T6" fmla="*/ 2 w 60"/>
                  <a:gd name="T7" fmla="*/ 33 h 84"/>
                  <a:gd name="T8" fmla="*/ 0 w 60"/>
                  <a:gd name="T9" fmla="*/ 35 h 84"/>
                  <a:gd name="T10" fmla="*/ 1 w 60"/>
                  <a:gd name="T11" fmla="*/ 40 h 84"/>
                  <a:gd name="T12" fmla="*/ 2 w 60"/>
                  <a:gd name="T13" fmla="*/ 41 h 84"/>
                  <a:gd name="T14" fmla="*/ 3 w 60"/>
                  <a:gd name="T15" fmla="*/ 48 h 84"/>
                  <a:gd name="T16" fmla="*/ 7 w 60"/>
                  <a:gd name="T17" fmla="*/ 53 h 84"/>
                  <a:gd name="T18" fmla="*/ 8 w 60"/>
                  <a:gd name="T19" fmla="*/ 58 h 84"/>
                  <a:gd name="T20" fmla="*/ 11 w 60"/>
                  <a:gd name="T21" fmla="*/ 56 h 84"/>
                  <a:gd name="T22" fmla="*/ 12 w 60"/>
                  <a:gd name="T23" fmla="*/ 54 h 84"/>
                  <a:gd name="T24" fmla="*/ 16 w 60"/>
                  <a:gd name="T25" fmla="*/ 56 h 84"/>
                  <a:gd name="T26" fmla="*/ 16 w 60"/>
                  <a:gd name="T27" fmla="*/ 58 h 84"/>
                  <a:gd name="T28" fmla="*/ 11 w 60"/>
                  <a:gd name="T29" fmla="*/ 63 h 84"/>
                  <a:gd name="T30" fmla="*/ 16 w 60"/>
                  <a:gd name="T31" fmla="*/ 66 h 84"/>
                  <a:gd name="T32" fmla="*/ 18 w 60"/>
                  <a:gd name="T33" fmla="*/ 70 h 84"/>
                  <a:gd name="T34" fmla="*/ 22 w 60"/>
                  <a:gd name="T35" fmla="*/ 67 h 84"/>
                  <a:gd name="T36" fmla="*/ 26 w 60"/>
                  <a:gd name="T37" fmla="*/ 66 h 84"/>
                  <a:gd name="T38" fmla="*/ 31 w 60"/>
                  <a:gd name="T39" fmla="*/ 68 h 84"/>
                  <a:gd name="T40" fmla="*/ 37 w 60"/>
                  <a:gd name="T41" fmla="*/ 73 h 84"/>
                  <a:gd name="T42" fmla="*/ 39 w 60"/>
                  <a:gd name="T43" fmla="*/ 76 h 84"/>
                  <a:gd name="T44" fmla="*/ 37 w 60"/>
                  <a:gd name="T45" fmla="*/ 70 h 84"/>
                  <a:gd name="T46" fmla="*/ 36 w 60"/>
                  <a:gd name="T47" fmla="*/ 66 h 84"/>
                  <a:gd name="T48" fmla="*/ 41 w 60"/>
                  <a:gd name="T49" fmla="*/ 68 h 84"/>
                  <a:gd name="T50" fmla="*/ 46 w 60"/>
                  <a:gd name="T51" fmla="*/ 73 h 84"/>
                  <a:gd name="T52" fmla="*/ 48 w 60"/>
                  <a:gd name="T53" fmla="*/ 78 h 84"/>
                  <a:gd name="T54" fmla="*/ 58 w 60"/>
                  <a:gd name="T55" fmla="*/ 80 h 84"/>
                  <a:gd name="T56" fmla="*/ 56 w 60"/>
                  <a:gd name="T57" fmla="*/ 84 h 84"/>
                  <a:gd name="T58" fmla="*/ 60 w 60"/>
                  <a:gd name="T59" fmla="*/ 78 h 84"/>
                  <a:gd name="T60" fmla="*/ 54 w 60"/>
                  <a:gd name="T61" fmla="*/ 74 h 84"/>
                  <a:gd name="T62" fmla="*/ 52 w 60"/>
                  <a:gd name="T63" fmla="*/ 71 h 84"/>
                  <a:gd name="T64" fmla="*/ 56 w 60"/>
                  <a:gd name="T65" fmla="*/ 68 h 84"/>
                  <a:gd name="T66" fmla="*/ 51 w 60"/>
                  <a:gd name="T67" fmla="*/ 66 h 84"/>
                  <a:gd name="T68" fmla="*/ 48 w 60"/>
                  <a:gd name="T69" fmla="*/ 67 h 84"/>
                  <a:gd name="T70" fmla="*/ 46 w 60"/>
                  <a:gd name="T71" fmla="*/ 69 h 84"/>
                  <a:gd name="T72" fmla="*/ 45 w 60"/>
                  <a:gd name="T73" fmla="*/ 65 h 84"/>
                  <a:gd name="T74" fmla="*/ 42 w 60"/>
                  <a:gd name="T75" fmla="*/ 61 h 84"/>
                  <a:gd name="T76" fmla="*/ 35 w 60"/>
                  <a:gd name="T77" fmla="*/ 63 h 84"/>
                  <a:gd name="T78" fmla="*/ 35 w 60"/>
                  <a:gd name="T79" fmla="*/ 65 h 84"/>
                  <a:gd name="T80" fmla="*/ 29 w 60"/>
                  <a:gd name="T81" fmla="*/ 65 h 84"/>
                  <a:gd name="T82" fmla="*/ 26 w 60"/>
                  <a:gd name="T83" fmla="*/ 60 h 84"/>
                  <a:gd name="T84" fmla="*/ 25 w 60"/>
                  <a:gd name="T85" fmla="*/ 57 h 84"/>
                  <a:gd name="T86" fmla="*/ 25 w 60"/>
                  <a:gd name="T87" fmla="*/ 53 h 84"/>
                  <a:gd name="T88" fmla="*/ 22 w 60"/>
                  <a:gd name="T89" fmla="*/ 48 h 84"/>
                  <a:gd name="T90" fmla="*/ 25 w 60"/>
                  <a:gd name="T91" fmla="*/ 42 h 84"/>
                  <a:gd name="T92" fmla="*/ 26 w 60"/>
                  <a:gd name="T93" fmla="*/ 36 h 84"/>
                  <a:gd name="T94" fmla="*/ 31 w 60"/>
                  <a:gd name="T95" fmla="*/ 35 h 84"/>
                  <a:gd name="T96" fmla="*/ 34 w 60"/>
                  <a:gd name="T97" fmla="*/ 33 h 84"/>
                  <a:gd name="T98" fmla="*/ 34 w 60"/>
                  <a:gd name="T99" fmla="*/ 30 h 84"/>
                  <a:gd name="T100" fmla="*/ 36 w 60"/>
                  <a:gd name="T101" fmla="*/ 25 h 84"/>
                  <a:gd name="T102" fmla="*/ 37 w 60"/>
                  <a:gd name="T103" fmla="*/ 20 h 84"/>
                  <a:gd name="T104" fmla="*/ 34 w 60"/>
                  <a:gd name="T105" fmla="*/ 17 h 84"/>
                  <a:gd name="T106" fmla="*/ 33 w 60"/>
                  <a:gd name="T107" fmla="*/ 7 h 84"/>
                  <a:gd name="T108" fmla="*/ 35 w 60"/>
                  <a:gd name="T109" fmla="*/ 3 h 84"/>
                  <a:gd name="T110" fmla="*/ 31 w 60"/>
                  <a:gd name="T111" fmla="*/ 3 h 84"/>
                  <a:gd name="T112" fmla="*/ 26 w 60"/>
                  <a:gd name="T113" fmla="*/ 5 h 84"/>
                  <a:gd name="T114" fmla="*/ 26 w 60"/>
                  <a:gd name="T115" fmla="*/ 6 h 84"/>
                  <a:gd name="T116" fmla="*/ 19 w 60"/>
                  <a:gd name="T117" fmla="*/ 0 h 84"/>
                  <a:gd name="T118" fmla="*/ 11 w 60"/>
                  <a:gd name="T119" fmla="*/ 5 h 84"/>
                  <a:gd name="T120" fmla="*/ 9 w 60"/>
                  <a:gd name="T121" fmla="*/ 16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0" h="84">
                    <a:moveTo>
                      <a:pt x="9" y="16"/>
                    </a:moveTo>
                    <a:lnTo>
                      <a:pt x="9" y="22"/>
                    </a:lnTo>
                    <a:lnTo>
                      <a:pt x="8" y="30"/>
                    </a:lnTo>
                    <a:lnTo>
                      <a:pt x="8" y="31"/>
                    </a:lnTo>
                    <a:lnTo>
                      <a:pt x="9" y="34"/>
                    </a:lnTo>
                    <a:lnTo>
                      <a:pt x="8" y="35"/>
                    </a:lnTo>
                    <a:lnTo>
                      <a:pt x="5" y="36"/>
                    </a:lnTo>
                    <a:lnTo>
                      <a:pt x="2" y="33"/>
                    </a:lnTo>
                    <a:lnTo>
                      <a:pt x="0" y="32"/>
                    </a:lnTo>
                    <a:lnTo>
                      <a:pt x="0" y="35"/>
                    </a:lnTo>
                    <a:lnTo>
                      <a:pt x="0" y="37"/>
                    </a:lnTo>
                    <a:lnTo>
                      <a:pt x="1" y="40"/>
                    </a:lnTo>
                    <a:lnTo>
                      <a:pt x="1" y="41"/>
                    </a:lnTo>
                    <a:lnTo>
                      <a:pt x="2" y="41"/>
                    </a:lnTo>
                    <a:lnTo>
                      <a:pt x="2" y="44"/>
                    </a:lnTo>
                    <a:lnTo>
                      <a:pt x="3" y="48"/>
                    </a:lnTo>
                    <a:lnTo>
                      <a:pt x="4" y="53"/>
                    </a:lnTo>
                    <a:lnTo>
                      <a:pt x="7" y="53"/>
                    </a:lnTo>
                    <a:lnTo>
                      <a:pt x="7" y="56"/>
                    </a:lnTo>
                    <a:lnTo>
                      <a:pt x="8" y="58"/>
                    </a:lnTo>
                    <a:lnTo>
                      <a:pt x="11" y="59"/>
                    </a:lnTo>
                    <a:lnTo>
                      <a:pt x="11" y="56"/>
                    </a:lnTo>
                    <a:lnTo>
                      <a:pt x="10" y="53"/>
                    </a:lnTo>
                    <a:lnTo>
                      <a:pt x="12" y="54"/>
                    </a:lnTo>
                    <a:lnTo>
                      <a:pt x="13" y="54"/>
                    </a:lnTo>
                    <a:lnTo>
                      <a:pt x="16" y="56"/>
                    </a:lnTo>
                    <a:lnTo>
                      <a:pt x="17" y="58"/>
                    </a:lnTo>
                    <a:lnTo>
                      <a:pt x="16" y="58"/>
                    </a:lnTo>
                    <a:lnTo>
                      <a:pt x="11" y="61"/>
                    </a:lnTo>
                    <a:lnTo>
                      <a:pt x="11" y="63"/>
                    </a:lnTo>
                    <a:lnTo>
                      <a:pt x="12" y="66"/>
                    </a:lnTo>
                    <a:lnTo>
                      <a:pt x="16" y="66"/>
                    </a:lnTo>
                    <a:lnTo>
                      <a:pt x="16" y="69"/>
                    </a:lnTo>
                    <a:lnTo>
                      <a:pt x="18" y="70"/>
                    </a:lnTo>
                    <a:lnTo>
                      <a:pt x="21" y="70"/>
                    </a:lnTo>
                    <a:lnTo>
                      <a:pt x="22" y="67"/>
                    </a:lnTo>
                    <a:lnTo>
                      <a:pt x="25" y="67"/>
                    </a:lnTo>
                    <a:lnTo>
                      <a:pt x="26" y="66"/>
                    </a:lnTo>
                    <a:lnTo>
                      <a:pt x="28" y="66"/>
                    </a:lnTo>
                    <a:lnTo>
                      <a:pt x="31" y="68"/>
                    </a:lnTo>
                    <a:lnTo>
                      <a:pt x="35" y="70"/>
                    </a:lnTo>
                    <a:lnTo>
                      <a:pt x="37" y="73"/>
                    </a:lnTo>
                    <a:lnTo>
                      <a:pt x="37" y="76"/>
                    </a:lnTo>
                    <a:lnTo>
                      <a:pt x="39" y="76"/>
                    </a:lnTo>
                    <a:lnTo>
                      <a:pt x="39" y="74"/>
                    </a:lnTo>
                    <a:lnTo>
                      <a:pt x="37" y="70"/>
                    </a:lnTo>
                    <a:lnTo>
                      <a:pt x="37" y="68"/>
                    </a:lnTo>
                    <a:lnTo>
                      <a:pt x="36" y="66"/>
                    </a:lnTo>
                    <a:lnTo>
                      <a:pt x="38" y="66"/>
                    </a:lnTo>
                    <a:lnTo>
                      <a:pt x="41" y="68"/>
                    </a:lnTo>
                    <a:lnTo>
                      <a:pt x="42" y="70"/>
                    </a:lnTo>
                    <a:lnTo>
                      <a:pt x="46" y="73"/>
                    </a:lnTo>
                    <a:lnTo>
                      <a:pt x="48" y="75"/>
                    </a:lnTo>
                    <a:lnTo>
                      <a:pt x="48" y="78"/>
                    </a:lnTo>
                    <a:lnTo>
                      <a:pt x="55" y="80"/>
                    </a:lnTo>
                    <a:lnTo>
                      <a:pt x="58" y="80"/>
                    </a:lnTo>
                    <a:lnTo>
                      <a:pt x="55" y="82"/>
                    </a:lnTo>
                    <a:lnTo>
                      <a:pt x="56" y="84"/>
                    </a:lnTo>
                    <a:lnTo>
                      <a:pt x="60" y="83"/>
                    </a:lnTo>
                    <a:lnTo>
                      <a:pt x="60" y="78"/>
                    </a:lnTo>
                    <a:lnTo>
                      <a:pt x="54" y="77"/>
                    </a:lnTo>
                    <a:lnTo>
                      <a:pt x="54" y="74"/>
                    </a:lnTo>
                    <a:lnTo>
                      <a:pt x="52" y="71"/>
                    </a:lnTo>
                    <a:lnTo>
                      <a:pt x="52" y="71"/>
                    </a:lnTo>
                    <a:lnTo>
                      <a:pt x="53" y="69"/>
                    </a:lnTo>
                    <a:lnTo>
                      <a:pt x="56" y="68"/>
                    </a:lnTo>
                    <a:lnTo>
                      <a:pt x="55" y="67"/>
                    </a:lnTo>
                    <a:lnTo>
                      <a:pt x="51" y="66"/>
                    </a:lnTo>
                    <a:lnTo>
                      <a:pt x="48" y="63"/>
                    </a:lnTo>
                    <a:lnTo>
                      <a:pt x="48" y="67"/>
                    </a:lnTo>
                    <a:lnTo>
                      <a:pt x="47" y="69"/>
                    </a:lnTo>
                    <a:lnTo>
                      <a:pt x="46" y="69"/>
                    </a:lnTo>
                    <a:lnTo>
                      <a:pt x="45" y="67"/>
                    </a:lnTo>
                    <a:lnTo>
                      <a:pt x="45" y="65"/>
                    </a:lnTo>
                    <a:lnTo>
                      <a:pt x="44" y="63"/>
                    </a:lnTo>
                    <a:lnTo>
                      <a:pt x="42" y="61"/>
                    </a:lnTo>
                    <a:lnTo>
                      <a:pt x="36" y="60"/>
                    </a:lnTo>
                    <a:lnTo>
                      <a:pt x="35" y="63"/>
                    </a:lnTo>
                    <a:lnTo>
                      <a:pt x="33" y="62"/>
                    </a:lnTo>
                    <a:lnTo>
                      <a:pt x="35" y="65"/>
                    </a:lnTo>
                    <a:lnTo>
                      <a:pt x="33" y="66"/>
                    </a:lnTo>
                    <a:lnTo>
                      <a:pt x="29" y="65"/>
                    </a:lnTo>
                    <a:lnTo>
                      <a:pt x="27" y="62"/>
                    </a:lnTo>
                    <a:lnTo>
                      <a:pt x="26" y="60"/>
                    </a:lnTo>
                    <a:lnTo>
                      <a:pt x="26" y="59"/>
                    </a:lnTo>
                    <a:lnTo>
                      <a:pt x="25" y="57"/>
                    </a:lnTo>
                    <a:lnTo>
                      <a:pt x="26" y="54"/>
                    </a:lnTo>
                    <a:lnTo>
                      <a:pt x="25" y="53"/>
                    </a:lnTo>
                    <a:lnTo>
                      <a:pt x="25" y="51"/>
                    </a:lnTo>
                    <a:lnTo>
                      <a:pt x="22" y="48"/>
                    </a:lnTo>
                    <a:lnTo>
                      <a:pt x="24" y="45"/>
                    </a:lnTo>
                    <a:lnTo>
                      <a:pt x="25" y="42"/>
                    </a:lnTo>
                    <a:lnTo>
                      <a:pt x="25" y="40"/>
                    </a:lnTo>
                    <a:lnTo>
                      <a:pt x="26" y="36"/>
                    </a:lnTo>
                    <a:lnTo>
                      <a:pt x="28" y="35"/>
                    </a:lnTo>
                    <a:lnTo>
                      <a:pt x="31" y="35"/>
                    </a:lnTo>
                    <a:lnTo>
                      <a:pt x="31" y="35"/>
                    </a:lnTo>
                    <a:lnTo>
                      <a:pt x="34" y="33"/>
                    </a:lnTo>
                    <a:lnTo>
                      <a:pt x="33" y="32"/>
                    </a:lnTo>
                    <a:lnTo>
                      <a:pt x="34" y="30"/>
                    </a:lnTo>
                    <a:lnTo>
                      <a:pt x="35" y="28"/>
                    </a:lnTo>
                    <a:lnTo>
                      <a:pt x="36" y="25"/>
                    </a:lnTo>
                    <a:lnTo>
                      <a:pt x="37" y="22"/>
                    </a:lnTo>
                    <a:lnTo>
                      <a:pt x="37" y="20"/>
                    </a:lnTo>
                    <a:lnTo>
                      <a:pt x="37" y="20"/>
                    </a:lnTo>
                    <a:lnTo>
                      <a:pt x="34" y="17"/>
                    </a:lnTo>
                    <a:lnTo>
                      <a:pt x="33" y="13"/>
                    </a:lnTo>
                    <a:lnTo>
                      <a:pt x="33" y="7"/>
                    </a:lnTo>
                    <a:lnTo>
                      <a:pt x="35" y="5"/>
                    </a:lnTo>
                    <a:lnTo>
                      <a:pt x="35" y="3"/>
                    </a:lnTo>
                    <a:lnTo>
                      <a:pt x="33" y="2"/>
                    </a:lnTo>
                    <a:lnTo>
                      <a:pt x="31" y="3"/>
                    </a:lnTo>
                    <a:lnTo>
                      <a:pt x="28" y="5"/>
                    </a:lnTo>
                    <a:lnTo>
                      <a:pt x="26" y="5"/>
                    </a:lnTo>
                    <a:lnTo>
                      <a:pt x="26" y="7"/>
                    </a:lnTo>
                    <a:lnTo>
                      <a:pt x="26" y="6"/>
                    </a:lnTo>
                    <a:lnTo>
                      <a:pt x="25" y="3"/>
                    </a:lnTo>
                    <a:lnTo>
                      <a:pt x="19" y="0"/>
                    </a:lnTo>
                    <a:lnTo>
                      <a:pt x="11" y="1"/>
                    </a:lnTo>
                    <a:lnTo>
                      <a:pt x="11" y="5"/>
                    </a:lnTo>
                    <a:lnTo>
                      <a:pt x="9" y="10"/>
                    </a:lnTo>
                    <a:lnTo>
                      <a:pt x="9" y="16"/>
                    </a:lnTo>
                    <a:lnTo>
                      <a:pt x="9" y="1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88" name="Freeform 154">
                <a:extLst>
                  <a:ext uri="{FF2B5EF4-FFF2-40B4-BE49-F238E27FC236}">
                    <a16:creationId xmlns:a16="http://schemas.microsoft.com/office/drawing/2014/main" id="{BF488BBB-E79E-4F7D-AE63-2B29FA11B9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25" y="2917"/>
                <a:ext cx="44" cy="12"/>
              </a:xfrm>
              <a:custGeom>
                <a:avLst/>
                <a:gdLst>
                  <a:gd name="T0" fmla="*/ 3 w 44"/>
                  <a:gd name="T1" fmla="*/ 9 h 12"/>
                  <a:gd name="T2" fmla="*/ 4 w 44"/>
                  <a:gd name="T3" fmla="*/ 9 h 12"/>
                  <a:gd name="T4" fmla="*/ 8 w 44"/>
                  <a:gd name="T5" fmla="*/ 9 h 12"/>
                  <a:gd name="T6" fmla="*/ 10 w 44"/>
                  <a:gd name="T7" fmla="*/ 9 h 12"/>
                  <a:gd name="T8" fmla="*/ 16 w 44"/>
                  <a:gd name="T9" fmla="*/ 12 h 12"/>
                  <a:gd name="T10" fmla="*/ 21 w 44"/>
                  <a:gd name="T11" fmla="*/ 12 h 12"/>
                  <a:gd name="T12" fmla="*/ 24 w 44"/>
                  <a:gd name="T13" fmla="*/ 9 h 12"/>
                  <a:gd name="T14" fmla="*/ 26 w 44"/>
                  <a:gd name="T15" fmla="*/ 10 h 12"/>
                  <a:gd name="T16" fmla="*/ 29 w 44"/>
                  <a:gd name="T17" fmla="*/ 9 h 12"/>
                  <a:gd name="T18" fmla="*/ 31 w 44"/>
                  <a:gd name="T19" fmla="*/ 8 h 12"/>
                  <a:gd name="T20" fmla="*/ 37 w 44"/>
                  <a:gd name="T21" fmla="*/ 8 h 12"/>
                  <a:gd name="T22" fmla="*/ 41 w 44"/>
                  <a:gd name="T23" fmla="*/ 7 h 12"/>
                  <a:gd name="T24" fmla="*/ 42 w 44"/>
                  <a:gd name="T25" fmla="*/ 5 h 12"/>
                  <a:gd name="T26" fmla="*/ 44 w 44"/>
                  <a:gd name="T27" fmla="*/ 3 h 12"/>
                  <a:gd name="T28" fmla="*/ 44 w 44"/>
                  <a:gd name="T29" fmla="*/ 0 h 12"/>
                  <a:gd name="T30" fmla="*/ 41 w 44"/>
                  <a:gd name="T31" fmla="*/ 0 h 12"/>
                  <a:gd name="T32" fmla="*/ 41 w 44"/>
                  <a:gd name="T33" fmla="*/ 4 h 12"/>
                  <a:gd name="T34" fmla="*/ 38 w 44"/>
                  <a:gd name="T35" fmla="*/ 4 h 12"/>
                  <a:gd name="T36" fmla="*/ 37 w 44"/>
                  <a:gd name="T37" fmla="*/ 7 h 12"/>
                  <a:gd name="T38" fmla="*/ 34 w 44"/>
                  <a:gd name="T39" fmla="*/ 7 h 12"/>
                  <a:gd name="T40" fmla="*/ 30 w 44"/>
                  <a:gd name="T41" fmla="*/ 5 h 12"/>
                  <a:gd name="T42" fmla="*/ 27 w 44"/>
                  <a:gd name="T43" fmla="*/ 5 h 12"/>
                  <a:gd name="T44" fmla="*/ 25 w 44"/>
                  <a:gd name="T45" fmla="*/ 6 h 12"/>
                  <a:gd name="T46" fmla="*/ 21 w 44"/>
                  <a:gd name="T47" fmla="*/ 6 h 12"/>
                  <a:gd name="T48" fmla="*/ 17 w 44"/>
                  <a:gd name="T49" fmla="*/ 4 h 12"/>
                  <a:gd name="T50" fmla="*/ 8 w 44"/>
                  <a:gd name="T51" fmla="*/ 3 h 12"/>
                  <a:gd name="T52" fmla="*/ 5 w 44"/>
                  <a:gd name="T53" fmla="*/ 3 h 12"/>
                  <a:gd name="T54" fmla="*/ 0 w 44"/>
                  <a:gd name="T55" fmla="*/ 6 h 12"/>
                  <a:gd name="T56" fmla="*/ 0 w 44"/>
                  <a:gd name="T57" fmla="*/ 9 h 12"/>
                  <a:gd name="T58" fmla="*/ 3 w 44"/>
                  <a:gd name="T59" fmla="*/ 9 h 12"/>
                  <a:gd name="T60" fmla="*/ 3 w 44"/>
                  <a:gd name="T61" fmla="*/ 9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44" h="12">
                    <a:moveTo>
                      <a:pt x="3" y="9"/>
                    </a:moveTo>
                    <a:lnTo>
                      <a:pt x="4" y="9"/>
                    </a:lnTo>
                    <a:lnTo>
                      <a:pt x="8" y="9"/>
                    </a:lnTo>
                    <a:lnTo>
                      <a:pt x="10" y="9"/>
                    </a:lnTo>
                    <a:lnTo>
                      <a:pt x="16" y="12"/>
                    </a:lnTo>
                    <a:lnTo>
                      <a:pt x="21" y="12"/>
                    </a:lnTo>
                    <a:lnTo>
                      <a:pt x="24" y="9"/>
                    </a:lnTo>
                    <a:lnTo>
                      <a:pt x="26" y="10"/>
                    </a:lnTo>
                    <a:lnTo>
                      <a:pt x="29" y="9"/>
                    </a:lnTo>
                    <a:lnTo>
                      <a:pt x="31" y="8"/>
                    </a:lnTo>
                    <a:lnTo>
                      <a:pt x="37" y="8"/>
                    </a:lnTo>
                    <a:lnTo>
                      <a:pt x="41" y="7"/>
                    </a:lnTo>
                    <a:lnTo>
                      <a:pt x="42" y="5"/>
                    </a:lnTo>
                    <a:lnTo>
                      <a:pt x="44" y="3"/>
                    </a:lnTo>
                    <a:lnTo>
                      <a:pt x="44" y="0"/>
                    </a:lnTo>
                    <a:lnTo>
                      <a:pt x="41" y="0"/>
                    </a:lnTo>
                    <a:lnTo>
                      <a:pt x="41" y="4"/>
                    </a:lnTo>
                    <a:lnTo>
                      <a:pt x="38" y="4"/>
                    </a:lnTo>
                    <a:lnTo>
                      <a:pt x="37" y="7"/>
                    </a:lnTo>
                    <a:lnTo>
                      <a:pt x="34" y="7"/>
                    </a:lnTo>
                    <a:lnTo>
                      <a:pt x="30" y="5"/>
                    </a:lnTo>
                    <a:lnTo>
                      <a:pt x="27" y="5"/>
                    </a:lnTo>
                    <a:lnTo>
                      <a:pt x="25" y="6"/>
                    </a:lnTo>
                    <a:lnTo>
                      <a:pt x="21" y="6"/>
                    </a:lnTo>
                    <a:lnTo>
                      <a:pt x="17" y="4"/>
                    </a:lnTo>
                    <a:lnTo>
                      <a:pt x="8" y="3"/>
                    </a:lnTo>
                    <a:lnTo>
                      <a:pt x="5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3" y="9"/>
                    </a:lnTo>
                    <a:lnTo>
                      <a:pt x="3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89" name="Freeform 155">
                <a:extLst>
                  <a:ext uri="{FF2B5EF4-FFF2-40B4-BE49-F238E27FC236}">
                    <a16:creationId xmlns:a16="http://schemas.microsoft.com/office/drawing/2014/main" id="{A1F96B53-B461-4A02-9E64-190C76F095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29" y="2452"/>
                <a:ext cx="25" cy="49"/>
              </a:xfrm>
              <a:custGeom>
                <a:avLst/>
                <a:gdLst>
                  <a:gd name="T0" fmla="*/ 23 w 25"/>
                  <a:gd name="T1" fmla="*/ 15 h 49"/>
                  <a:gd name="T2" fmla="*/ 24 w 25"/>
                  <a:gd name="T3" fmla="*/ 12 h 49"/>
                  <a:gd name="T4" fmla="*/ 24 w 25"/>
                  <a:gd name="T5" fmla="*/ 5 h 49"/>
                  <a:gd name="T6" fmla="*/ 25 w 25"/>
                  <a:gd name="T7" fmla="*/ 4 h 49"/>
                  <a:gd name="T8" fmla="*/ 23 w 25"/>
                  <a:gd name="T9" fmla="*/ 2 h 49"/>
                  <a:gd name="T10" fmla="*/ 20 w 25"/>
                  <a:gd name="T11" fmla="*/ 0 h 49"/>
                  <a:gd name="T12" fmla="*/ 16 w 25"/>
                  <a:gd name="T13" fmla="*/ 2 h 49"/>
                  <a:gd name="T14" fmla="*/ 14 w 25"/>
                  <a:gd name="T15" fmla="*/ 3 h 49"/>
                  <a:gd name="T16" fmla="*/ 13 w 25"/>
                  <a:gd name="T17" fmla="*/ 5 h 49"/>
                  <a:gd name="T18" fmla="*/ 11 w 25"/>
                  <a:gd name="T19" fmla="*/ 9 h 49"/>
                  <a:gd name="T20" fmla="*/ 7 w 25"/>
                  <a:gd name="T21" fmla="*/ 12 h 49"/>
                  <a:gd name="T22" fmla="*/ 0 w 25"/>
                  <a:gd name="T23" fmla="*/ 24 h 49"/>
                  <a:gd name="T24" fmla="*/ 0 w 25"/>
                  <a:gd name="T25" fmla="*/ 29 h 49"/>
                  <a:gd name="T26" fmla="*/ 0 w 25"/>
                  <a:gd name="T27" fmla="*/ 32 h 49"/>
                  <a:gd name="T28" fmla="*/ 4 w 25"/>
                  <a:gd name="T29" fmla="*/ 41 h 49"/>
                  <a:gd name="T30" fmla="*/ 7 w 25"/>
                  <a:gd name="T31" fmla="*/ 43 h 49"/>
                  <a:gd name="T32" fmla="*/ 8 w 25"/>
                  <a:gd name="T33" fmla="*/ 49 h 49"/>
                  <a:gd name="T34" fmla="*/ 11 w 25"/>
                  <a:gd name="T35" fmla="*/ 46 h 49"/>
                  <a:gd name="T36" fmla="*/ 12 w 25"/>
                  <a:gd name="T37" fmla="*/ 42 h 49"/>
                  <a:gd name="T38" fmla="*/ 13 w 25"/>
                  <a:gd name="T39" fmla="*/ 38 h 49"/>
                  <a:gd name="T40" fmla="*/ 17 w 25"/>
                  <a:gd name="T41" fmla="*/ 34 h 49"/>
                  <a:gd name="T42" fmla="*/ 18 w 25"/>
                  <a:gd name="T43" fmla="*/ 32 h 49"/>
                  <a:gd name="T44" fmla="*/ 22 w 25"/>
                  <a:gd name="T45" fmla="*/ 17 h 49"/>
                  <a:gd name="T46" fmla="*/ 23 w 25"/>
                  <a:gd name="T47" fmla="*/ 15 h 49"/>
                  <a:gd name="T48" fmla="*/ 23 w 25"/>
                  <a:gd name="T49" fmla="*/ 15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5" h="49">
                    <a:moveTo>
                      <a:pt x="23" y="15"/>
                    </a:moveTo>
                    <a:lnTo>
                      <a:pt x="24" y="12"/>
                    </a:lnTo>
                    <a:lnTo>
                      <a:pt x="24" y="5"/>
                    </a:lnTo>
                    <a:lnTo>
                      <a:pt x="25" y="4"/>
                    </a:lnTo>
                    <a:lnTo>
                      <a:pt x="23" y="2"/>
                    </a:lnTo>
                    <a:lnTo>
                      <a:pt x="20" y="0"/>
                    </a:lnTo>
                    <a:lnTo>
                      <a:pt x="16" y="2"/>
                    </a:lnTo>
                    <a:lnTo>
                      <a:pt x="14" y="3"/>
                    </a:lnTo>
                    <a:lnTo>
                      <a:pt x="13" y="5"/>
                    </a:lnTo>
                    <a:lnTo>
                      <a:pt x="11" y="9"/>
                    </a:lnTo>
                    <a:lnTo>
                      <a:pt x="7" y="12"/>
                    </a:lnTo>
                    <a:lnTo>
                      <a:pt x="0" y="24"/>
                    </a:lnTo>
                    <a:lnTo>
                      <a:pt x="0" y="29"/>
                    </a:lnTo>
                    <a:lnTo>
                      <a:pt x="0" y="32"/>
                    </a:lnTo>
                    <a:lnTo>
                      <a:pt x="4" y="41"/>
                    </a:lnTo>
                    <a:lnTo>
                      <a:pt x="7" y="43"/>
                    </a:lnTo>
                    <a:lnTo>
                      <a:pt x="8" y="49"/>
                    </a:lnTo>
                    <a:lnTo>
                      <a:pt x="11" y="46"/>
                    </a:lnTo>
                    <a:lnTo>
                      <a:pt x="12" y="42"/>
                    </a:lnTo>
                    <a:lnTo>
                      <a:pt x="13" y="38"/>
                    </a:lnTo>
                    <a:lnTo>
                      <a:pt x="17" y="34"/>
                    </a:lnTo>
                    <a:lnTo>
                      <a:pt x="18" y="32"/>
                    </a:lnTo>
                    <a:lnTo>
                      <a:pt x="22" y="17"/>
                    </a:lnTo>
                    <a:lnTo>
                      <a:pt x="23" y="15"/>
                    </a:lnTo>
                    <a:lnTo>
                      <a:pt x="23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90" name="Freeform 156">
                <a:extLst>
                  <a:ext uri="{FF2B5EF4-FFF2-40B4-BE49-F238E27FC236}">
                    <a16:creationId xmlns:a16="http://schemas.microsoft.com/office/drawing/2014/main" id="{DA4ABA88-EB9F-4068-BFC1-11A83FA248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33" y="2619"/>
                <a:ext cx="17" cy="19"/>
              </a:xfrm>
              <a:custGeom>
                <a:avLst/>
                <a:gdLst>
                  <a:gd name="T0" fmla="*/ 14 w 17"/>
                  <a:gd name="T1" fmla="*/ 15 h 19"/>
                  <a:gd name="T2" fmla="*/ 17 w 17"/>
                  <a:gd name="T3" fmla="*/ 12 h 19"/>
                  <a:gd name="T4" fmla="*/ 16 w 17"/>
                  <a:gd name="T5" fmla="*/ 11 h 19"/>
                  <a:gd name="T6" fmla="*/ 16 w 17"/>
                  <a:gd name="T7" fmla="*/ 6 h 19"/>
                  <a:gd name="T8" fmla="*/ 13 w 17"/>
                  <a:gd name="T9" fmla="*/ 4 h 19"/>
                  <a:gd name="T10" fmla="*/ 8 w 17"/>
                  <a:gd name="T11" fmla="*/ 0 h 19"/>
                  <a:gd name="T12" fmla="*/ 4 w 17"/>
                  <a:gd name="T13" fmla="*/ 2 h 19"/>
                  <a:gd name="T14" fmla="*/ 2 w 17"/>
                  <a:gd name="T15" fmla="*/ 0 h 19"/>
                  <a:gd name="T16" fmla="*/ 0 w 17"/>
                  <a:gd name="T17" fmla="*/ 2 h 19"/>
                  <a:gd name="T18" fmla="*/ 1 w 17"/>
                  <a:gd name="T19" fmla="*/ 2 h 19"/>
                  <a:gd name="T20" fmla="*/ 3 w 17"/>
                  <a:gd name="T21" fmla="*/ 5 h 19"/>
                  <a:gd name="T22" fmla="*/ 4 w 17"/>
                  <a:gd name="T23" fmla="*/ 6 h 19"/>
                  <a:gd name="T24" fmla="*/ 5 w 17"/>
                  <a:gd name="T25" fmla="*/ 8 h 19"/>
                  <a:gd name="T26" fmla="*/ 5 w 17"/>
                  <a:gd name="T27" fmla="*/ 12 h 19"/>
                  <a:gd name="T28" fmla="*/ 7 w 17"/>
                  <a:gd name="T29" fmla="*/ 12 h 19"/>
                  <a:gd name="T30" fmla="*/ 8 w 17"/>
                  <a:gd name="T31" fmla="*/ 15 h 19"/>
                  <a:gd name="T32" fmla="*/ 10 w 17"/>
                  <a:gd name="T33" fmla="*/ 17 h 19"/>
                  <a:gd name="T34" fmla="*/ 12 w 17"/>
                  <a:gd name="T35" fmla="*/ 19 h 19"/>
                  <a:gd name="T36" fmla="*/ 13 w 17"/>
                  <a:gd name="T37" fmla="*/ 17 h 19"/>
                  <a:gd name="T38" fmla="*/ 14 w 17"/>
                  <a:gd name="T39" fmla="*/ 17 h 19"/>
                  <a:gd name="T40" fmla="*/ 14 w 17"/>
                  <a:gd name="T41" fmla="*/ 15 h 19"/>
                  <a:gd name="T42" fmla="*/ 14 w 17"/>
                  <a:gd name="T43" fmla="*/ 15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" h="19">
                    <a:moveTo>
                      <a:pt x="14" y="15"/>
                    </a:moveTo>
                    <a:lnTo>
                      <a:pt x="17" y="12"/>
                    </a:lnTo>
                    <a:lnTo>
                      <a:pt x="16" y="11"/>
                    </a:lnTo>
                    <a:lnTo>
                      <a:pt x="16" y="6"/>
                    </a:lnTo>
                    <a:lnTo>
                      <a:pt x="13" y="4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1" y="2"/>
                    </a:lnTo>
                    <a:lnTo>
                      <a:pt x="3" y="5"/>
                    </a:lnTo>
                    <a:lnTo>
                      <a:pt x="4" y="6"/>
                    </a:lnTo>
                    <a:lnTo>
                      <a:pt x="5" y="8"/>
                    </a:lnTo>
                    <a:lnTo>
                      <a:pt x="5" y="12"/>
                    </a:lnTo>
                    <a:lnTo>
                      <a:pt x="7" y="12"/>
                    </a:lnTo>
                    <a:lnTo>
                      <a:pt x="8" y="15"/>
                    </a:lnTo>
                    <a:lnTo>
                      <a:pt x="10" y="17"/>
                    </a:lnTo>
                    <a:lnTo>
                      <a:pt x="12" y="19"/>
                    </a:lnTo>
                    <a:lnTo>
                      <a:pt x="13" y="17"/>
                    </a:lnTo>
                    <a:lnTo>
                      <a:pt x="14" y="17"/>
                    </a:lnTo>
                    <a:lnTo>
                      <a:pt x="14" y="15"/>
                    </a:lnTo>
                    <a:lnTo>
                      <a:pt x="14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91" name="Freeform 157">
                <a:extLst>
                  <a:ext uri="{FF2B5EF4-FFF2-40B4-BE49-F238E27FC236}">
                    <a16:creationId xmlns:a16="http://schemas.microsoft.com/office/drawing/2014/main" id="{ACD0735C-0437-40CB-A0D9-A7CB33EDBD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53" y="2641"/>
                <a:ext cx="18" cy="21"/>
              </a:xfrm>
              <a:custGeom>
                <a:avLst/>
                <a:gdLst>
                  <a:gd name="T0" fmla="*/ 10 w 18"/>
                  <a:gd name="T1" fmla="*/ 6 h 21"/>
                  <a:gd name="T2" fmla="*/ 7 w 18"/>
                  <a:gd name="T3" fmla="*/ 3 h 21"/>
                  <a:gd name="T4" fmla="*/ 2 w 18"/>
                  <a:gd name="T5" fmla="*/ 0 h 21"/>
                  <a:gd name="T6" fmla="*/ 0 w 18"/>
                  <a:gd name="T7" fmla="*/ 2 h 21"/>
                  <a:gd name="T8" fmla="*/ 3 w 18"/>
                  <a:gd name="T9" fmla="*/ 3 h 21"/>
                  <a:gd name="T10" fmla="*/ 3 w 18"/>
                  <a:gd name="T11" fmla="*/ 6 h 21"/>
                  <a:gd name="T12" fmla="*/ 2 w 18"/>
                  <a:gd name="T13" fmla="*/ 14 h 21"/>
                  <a:gd name="T14" fmla="*/ 1 w 18"/>
                  <a:gd name="T15" fmla="*/ 16 h 21"/>
                  <a:gd name="T16" fmla="*/ 2 w 18"/>
                  <a:gd name="T17" fmla="*/ 21 h 21"/>
                  <a:gd name="T18" fmla="*/ 6 w 18"/>
                  <a:gd name="T19" fmla="*/ 18 h 21"/>
                  <a:gd name="T20" fmla="*/ 10 w 18"/>
                  <a:gd name="T21" fmla="*/ 18 h 21"/>
                  <a:gd name="T22" fmla="*/ 14 w 18"/>
                  <a:gd name="T23" fmla="*/ 14 h 21"/>
                  <a:gd name="T24" fmla="*/ 15 w 18"/>
                  <a:gd name="T25" fmla="*/ 14 h 21"/>
                  <a:gd name="T26" fmla="*/ 17 w 18"/>
                  <a:gd name="T27" fmla="*/ 10 h 21"/>
                  <a:gd name="T28" fmla="*/ 18 w 18"/>
                  <a:gd name="T29" fmla="*/ 7 h 21"/>
                  <a:gd name="T30" fmla="*/ 17 w 18"/>
                  <a:gd name="T31" fmla="*/ 6 h 21"/>
                  <a:gd name="T32" fmla="*/ 15 w 18"/>
                  <a:gd name="T33" fmla="*/ 8 h 21"/>
                  <a:gd name="T34" fmla="*/ 15 w 18"/>
                  <a:gd name="T35" fmla="*/ 6 h 21"/>
                  <a:gd name="T36" fmla="*/ 10 w 18"/>
                  <a:gd name="T37" fmla="*/ 6 h 21"/>
                  <a:gd name="T38" fmla="*/ 10 w 18"/>
                  <a:gd name="T39" fmla="*/ 6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8" h="21">
                    <a:moveTo>
                      <a:pt x="10" y="6"/>
                    </a:moveTo>
                    <a:lnTo>
                      <a:pt x="7" y="3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3" y="3"/>
                    </a:lnTo>
                    <a:lnTo>
                      <a:pt x="3" y="6"/>
                    </a:lnTo>
                    <a:lnTo>
                      <a:pt x="2" y="14"/>
                    </a:lnTo>
                    <a:lnTo>
                      <a:pt x="1" y="16"/>
                    </a:lnTo>
                    <a:lnTo>
                      <a:pt x="2" y="21"/>
                    </a:lnTo>
                    <a:lnTo>
                      <a:pt x="6" y="18"/>
                    </a:lnTo>
                    <a:lnTo>
                      <a:pt x="10" y="18"/>
                    </a:lnTo>
                    <a:lnTo>
                      <a:pt x="14" y="14"/>
                    </a:lnTo>
                    <a:lnTo>
                      <a:pt x="15" y="14"/>
                    </a:lnTo>
                    <a:lnTo>
                      <a:pt x="17" y="10"/>
                    </a:lnTo>
                    <a:lnTo>
                      <a:pt x="18" y="7"/>
                    </a:lnTo>
                    <a:lnTo>
                      <a:pt x="17" y="6"/>
                    </a:lnTo>
                    <a:lnTo>
                      <a:pt x="15" y="8"/>
                    </a:lnTo>
                    <a:lnTo>
                      <a:pt x="15" y="6"/>
                    </a:lnTo>
                    <a:lnTo>
                      <a:pt x="10" y="6"/>
                    </a:lnTo>
                    <a:lnTo>
                      <a:pt x="10" y="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92" name="Freeform 158">
                <a:extLst>
                  <a:ext uri="{FF2B5EF4-FFF2-40B4-BE49-F238E27FC236}">
                    <a16:creationId xmlns:a16="http://schemas.microsoft.com/office/drawing/2014/main" id="{B037896F-9468-4897-9E9B-16B57D6F9D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54" y="2673"/>
                <a:ext cx="64" cy="56"/>
              </a:xfrm>
              <a:custGeom>
                <a:avLst/>
                <a:gdLst>
                  <a:gd name="T0" fmla="*/ 2 w 64"/>
                  <a:gd name="T1" fmla="*/ 27 h 56"/>
                  <a:gd name="T2" fmla="*/ 0 w 64"/>
                  <a:gd name="T3" fmla="*/ 35 h 56"/>
                  <a:gd name="T4" fmla="*/ 4 w 64"/>
                  <a:gd name="T5" fmla="*/ 37 h 56"/>
                  <a:gd name="T6" fmla="*/ 7 w 64"/>
                  <a:gd name="T7" fmla="*/ 31 h 56"/>
                  <a:gd name="T8" fmla="*/ 9 w 64"/>
                  <a:gd name="T9" fmla="*/ 26 h 56"/>
                  <a:gd name="T10" fmla="*/ 13 w 64"/>
                  <a:gd name="T11" fmla="*/ 28 h 56"/>
                  <a:gd name="T12" fmla="*/ 15 w 64"/>
                  <a:gd name="T13" fmla="*/ 29 h 56"/>
                  <a:gd name="T14" fmla="*/ 18 w 64"/>
                  <a:gd name="T15" fmla="*/ 29 h 56"/>
                  <a:gd name="T16" fmla="*/ 22 w 64"/>
                  <a:gd name="T17" fmla="*/ 28 h 56"/>
                  <a:gd name="T18" fmla="*/ 24 w 64"/>
                  <a:gd name="T19" fmla="*/ 26 h 56"/>
                  <a:gd name="T20" fmla="*/ 31 w 64"/>
                  <a:gd name="T21" fmla="*/ 31 h 56"/>
                  <a:gd name="T22" fmla="*/ 31 w 64"/>
                  <a:gd name="T23" fmla="*/ 34 h 56"/>
                  <a:gd name="T24" fmla="*/ 29 w 64"/>
                  <a:gd name="T25" fmla="*/ 37 h 56"/>
                  <a:gd name="T26" fmla="*/ 30 w 64"/>
                  <a:gd name="T27" fmla="*/ 44 h 56"/>
                  <a:gd name="T28" fmla="*/ 35 w 64"/>
                  <a:gd name="T29" fmla="*/ 49 h 56"/>
                  <a:gd name="T30" fmla="*/ 43 w 64"/>
                  <a:gd name="T31" fmla="*/ 52 h 56"/>
                  <a:gd name="T32" fmla="*/ 47 w 64"/>
                  <a:gd name="T33" fmla="*/ 49 h 56"/>
                  <a:gd name="T34" fmla="*/ 46 w 64"/>
                  <a:gd name="T35" fmla="*/ 54 h 56"/>
                  <a:gd name="T36" fmla="*/ 48 w 64"/>
                  <a:gd name="T37" fmla="*/ 56 h 56"/>
                  <a:gd name="T38" fmla="*/ 52 w 64"/>
                  <a:gd name="T39" fmla="*/ 48 h 56"/>
                  <a:gd name="T40" fmla="*/ 48 w 64"/>
                  <a:gd name="T41" fmla="*/ 40 h 56"/>
                  <a:gd name="T42" fmla="*/ 51 w 64"/>
                  <a:gd name="T43" fmla="*/ 36 h 56"/>
                  <a:gd name="T44" fmla="*/ 53 w 64"/>
                  <a:gd name="T45" fmla="*/ 34 h 56"/>
                  <a:gd name="T46" fmla="*/ 58 w 64"/>
                  <a:gd name="T47" fmla="*/ 44 h 56"/>
                  <a:gd name="T48" fmla="*/ 59 w 64"/>
                  <a:gd name="T49" fmla="*/ 46 h 56"/>
                  <a:gd name="T50" fmla="*/ 60 w 64"/>
                  <a:gd name="T51" fmla="*/ 37 h 56"/>
                  <a:gd name="T52" fmla="*/ 64 w 64"/>
                  <a:gd name="T53" fmla="*/ 32 h 56"/>
                  <a:gd name="T54" fmla="*/ 64 w 64"/>
                  <a:gd name="T55" fmla="*/ 28 h 56"/>
                  <a:gd name="T56" fmla="*/ 61 w 64"/>
                  <a:gd name="T57" fmla="*/ 25 h 56"/>
                  <a:gd name="T58" fmla="*/ 63 w 64"/>
                  <a:gd name="T59" fmla="*/ 20 h 56"/>
                  <a:gd name="T60" fmla="*/ 60 w 64"/>
                  <a:gd name="T61" fmla="*/ 18 h 56"/>
                  <a:gd name="T62" fmla="*/ 57 w 64"/>
                  <a:gd name="T63" fmla="*/ 14 h 56"/>
                  <a:gd name="T64" fmla="*/ 58 w 64"/>
                  <a:gd name="T65" fmla="*/ 8 h 56"/>
                  <a:gd name="T66" fmla="*/ 57 w 64"/>
                  <a:gd name="T67" fmla="*/ 5 h 56"/>
                  <a:gd name="T68" fmla="*/ 55 w 64"/>
                  <a:gd name="T69" fmla="*/ 2 h 56"/>
                  <a:gd name="T70" fmla="*/ 48 w 64"/>
                  <a:gd name="T71" fmla="*/ 1 h 56"/>
                  <a:gd name="T72" fmla="*/ 50 w 64"/>
                  <a:gd name="T73" fmla="*/ 9 h 56"/>
                  <a:gd name="T74" fmla="*/ 46 w 64"/>
                  <a:gd name="T75" fmla="*/ 8 h 56"/>
                  <a:gd name="T76" fmla="*/ 42 w 64"/>
                  <a:gd name="T77" fmla="*/ 10 h 56"/>
                  <a:gd name="T78" fmla="*/ 39 w 64"/>
                  <a:gd name="T79" fmla="*/ 16 h 56"/>
                  <a:gd name="T80" fmla="*/ 35 w 64"/>
                  <a:gd name="T81" fmla="*/ 14 h 56"/>
                  <a:gd name="T82" fmla="*/ 32 w 64"/>
                  <a:gd name="T83" fmla="*/ 19 h 56"/>
                  <a:gd name="T84" fmla="*/ 29 w 64"/>
                  <a:gd name="T85" fmla="*/ 20 h 56"/>
                  <a:gd name="T86" fmla="*/ 24 w 64"/>
                  <a:gd name="T87" fmla="*/ 23 h 56"/>
                  <a:gd name="T88" fmla="*/ 25 w 64"/>
                  <a:gd name="T89" fmla="*/ 22 h 56"/>
                  <a:gd name="T90" fmla="*/ 26 w 64"/>
                  <a:gd name="T91" fmla="*/ 17 h 56"/>
                  <a:gd name="T92" fmla="*/ 21 w 64"/>
                  <a:gd name="T93" fmla="*/ 14 h 56"/>
                  <a:gd name="T94" fmla="*/ 15 w 64"/>
                  <a:gd name="T95" fmla="*/ 18 h 56"/>
                  <a:gd name="T96" fmla="*/ 13 w 64"/>
                  <a:gd name="T97" fmla="*/ 21 h 56"/>
                  <a:gd name="T98" fmla="*/ 5 w 64"/>
                  <a:gd name="T99" fmla="*/ 22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64" h="56">
                    <a:moveTo>
                      <a:pt x="5" y="22"/>
                    </a:moveTo>
                    <a:lnTo>
                      <a:pt x="2" y="27"/>
                    </a:lnTo>
                    <a:lnTo>
                      <a:pt x="2" y="29"/>
                    </a:lnTo>
                    <a:lnTo>
                      <a:pt x="0" y="35"/>
                    </a:lnTo>
                    <a:lnTo>
                      <a:pt x="1" y="37"/>
                    </a:lnTo>
                    <a:lnTo>
                      <a:pt x="4" y="37"/>
                    </a:lnTo>
                    <a:lnTo>
                      <a:pt x="5" y="34"/>
                    </a:lnTo>
                    <a:lnTo>
                      <a:pt x="7" y="31"/>
                    </a:lnTo>
                    <a:lnTo>
                      <a:pt x="7" y="29"/>
                    </a:lnTo>
                    <a:lnTo>
                      <a:pt x="9" y="26"/>
                    </a:lnTo>
                    <a:lnTo>
                      <a:pt x="13" y="27"/>
                    </a:lnTo>
                    <a:lnTo>
                      <a:pt x="13" y="28"/>
                    </a:lnTo>
                    <a:lnTo>
                      <a:pt x="13" y="30"/>
                    </a:lnTo>
                    <a:lnTo>
                      <a:pt x="15" y="29"/>
                    </a:lnTo>
                    <a:lnTo>
                      <a:pt x="17" y="27"/>
                    </a:lnTo>
                    <a:lnTo>
                      <a:pt x="18" y="29"/>
                    </a:lnTo>
                    <a:lnTo>
                      <a:pt x="22" y="30"/>
                    </a:lnTo>
                    <a:lnTo>
                      <a:pt x="22" y="28"/>
                    </a:lnTo>
                    <a:lnTo>
                      <a:pt x="22" y="26"/>
                    </a:lnTo>
                    <a:lnTo>
                      <a:pt x="24" y="26"/>
                    </a:lnTo>
                    <a:lnTo>
                      <a:pt x="30" y="28"/>
                    </a:lnTo>
                    <a:lnTo>
                      <a:pt x="31" y="31"/>
                    </a:lnTo>
                    <a:lnTo>
                      <a:pt x="32" y="34"/>
                    </a:lnTo>
                    <a:lnTo>
                      <a:pt x="31" y="34"/>
                    </a:lnTo>
                    <a:lnTo>
                      <a:pt x="30" y="35"/>
                    </a:lnTo>
                    <a:lnTo>
                      <a:pt x="29" y="37"/>
                    </a:lnTo>
                    <a:lnTo>
                      <a:pt x="30" y="39"/>
                    </a:lnTo>
                    <a:lnTo>
                      <a:pt x="30" y="44"/>
                    </a:lnTo>
                    <a:lnTo>
                      <a:pt x="31" y="47"/>
                    </a:lnTo>
                    <a:lnTo>
                      <a:pt x="35" y="49"/>
                    </a:lnTo>
                    <a:lnTo>
                      <a:pt x="41" y="52"/>
                    </a:lnTo>
                    <a:lnTo>
                      <a:pt x="43" y="52"/>
                    </a:lnTo>
                    <a:lnTo>
                      <a:pt x="46" y="49"/>
                    </a:lnTo>
                    <a:lnTo>
                      <a:pt x="47" y="49"/>
                    </a:lnTo>
                    <a:lnTo>
                      <a:pt x="46" y="53"/>
                    </a:lnTo>
                    <a:lnTo>
                      <a:pt x="46" y="54"/>
                    </a:lnTo>
                    <a:lnTo>
                      <a:pt x="47" y="56"/>
                    </a:lnTo>
                    <a:lnTo>
                      <a:pt x="48" y="56"/>
                    </a:lnTo>
                    <a:lnTo>
                      <a:pt x="52" y="51"/>
                    </a:lnTo>
                    <a:lnTo>
                      <a:pt x="52" y="48"/>
                    </a:lnTo>
                    <a:lnTo>
                      <a:pt x="50" y="44"/>
                    </a:lnTo>
                    <a:lnTo>
                      <a:pt x="48" y="40"/>
                    </a:lnTo>
                    <a:lnTo>
                      <a:pt x="49" y="39"/>
                    </a:lnTo>
                    <a:lnTo>
                      <a:pt x="51" y="36"/>
                    </a:lnTo>
                    <a:lnTo>
                      <a:pt x="52" y="32"/>
                    </a:lnTo>
                    <a:lnTo>
                      <a:pt x="53" y="34"/>
                    </a:lnTo>
                    <a:lnTo>
                      <a:pt x="57" y="38"/>
                    </a:lnTo>
                    <a:lnTo>
                      <a:pt x="58" y="44"/>
                    </a:lnTo>
                    <a:lnTo>
                      <a:pt x="59" y="46"/>
                    </a:lnTo>
                    <a:lnTo>
                      <a:pt x="59" y="46"/>
                    </a:lnTo>
                    <a:lnTo>
                      <a:pt x="59" y="39"/>
                    </a:lnTo>
                    <a:lnTo>
                      <a:pt x="60" y="37"/>
                    </a:lnTo>
                    <a:lnTo>
                      <a:pt x="63" y="35"/>
                    </a:lnTo>
                    <a:lnTo>
                      <a:pt x="64" y="32"/>
                    </a:lnTo>
                    <a:lnTo>
                      <a:pt x="64" y="31"/>
                    </a:lnTo>
                    <a:lnTo>
                      <a:pt x="64" y="28"/>
                    </a:lnTo>
                    <a:lnTo>
                      <a:pt x="63" y="26"/>
                    </a:lnTo>
                    <a:lnTo>
                      <a:pt x="61" y="25"/>
                    </a:lnTo>
                    <a:lnTo>
                      <a:pt x="61" y="22"/>
                    </a:lnTo>
                    <a:lnTo>
                      <a:pt x="63" y="20"/>
                    </a:lnTo>
                    <a:lnTo>
                      <a:pt x="60" y="20"/>
                    </a:lnTo>
                    <a:lnTo>
                      <a:pt x="60" y="18"/>
                    </a:lnTo>
                    <a:lnTo>
                      <a:pt x="60" y="16"/>
                    </a:lnTo>
                    <a:lnTo>
                      <a:pt x="57" y="14"/>
                    </a:lnTo>
                    <a:lnTo>
                      <a:pt x="60" y="12"/>
                    </a:lnTo>
                    <a:lnTo>
                      <a:pt x="58" y="8"/>
                    </a:lnTo>
                    <a:lnTo>
                      <a:pt x="59" y="5"/>
                    </a:lnTo>
                    <a:lnTo>
                      <a:pt x="57" y="5"/>
                    </a:lnTo>
                    <a:lnTo>
                      <a:pt x="56" y="5"/>
                    </a:lnTo>
                    <a:lnTo>
                      <a:pt x="55" y="2"/>
                    </a:lnTo>
                    <a:lnTo>
                      <a:pt x="50" y="0"/>
                    </a:lnTo>
                    <a:lnTo>
                      <a:pt x="48" y="1"/>
                    </a:lnTo>
                    <a:lnTo>
                      <a:pt x="50" y="6"/>
                    </a:lnTo>
                    <a:lnTo>
                      <a:pt x="50" y="9"/>
                    </a:lnTo>
                    <a:lnTo>
                      <a:pt x="48" y="9"/>
                    </a:lnTo>
                    <a:lnTo>
                      <a:pt x="46" y="8"/>
                    </a:lnTo>
                    <a:lnTo>
                      <a:pt x="44" y="11"/>
                    </a:lnTo>
                    <a:lnTo>
                      <a:pt x="42" y="10"/>
                    </a:lnTo>
                    <a:lnTo>
                      <a:pt x="40" y="10"/>
                    </a:lnTo>
                    <a:lnTo>
                      <a:pt x="39" y="16"/>
                    </a:lnTo>
                    <a:lnTo>
                      <a:pt x="38" y="16"/>
                    </a:lnTo>
                    <a:lnTo>
                      <a:pt x="35" y="14"/>
                    </a:lnTo>
                    <a:lnTo>
                      <a:pt x="33" y="16"/>
                    </a:lnTo>
                    <a:lnTo>
                      <a:pt x="32" y="19"/>
                    </a:lnTo>
                    <a:lnTo>
                      <a:pt x="31" y="20"/>
                    </a:lnTo>
                    <a:lnTo>
                      <a:pt x="29" y="20"/>
                    </a:lnTo>
                    <a:lnTo>
                      <a:pt x="26" y="22"/>
                    </a:lnTo>
                    <a:lnTo>
                      <a:pt x="24" y="23"/>
                    </a:lnTo>
                    <a:lnTo>
                      <a:pt x="24" y="23"/>
                    </a:lnTo>
                    <a:lnTo>
                      <a:pt x="25" y="22"/>
                    </a:lnTo>
                    <a:lnTo>
                      <a:pt x="27" y="19"/>
                    </a:lnTo>
                    <a:lnTo>
                      <a:pt x="26" y="17"/>
                    </a:lnTo>
                    <a:lnTo>
                      <a:pt x="24" y="14"/>
                    </a:lnTo>
                    <a:lnTo>
                      <a:pt x="21" y="14"/>
                    </a:lnTo>
                    <a:lnTo>
                      <a:pt x="17" y="16"/>
                    </a:lnTo>
                    <a:lnTo>
                      <a:pt x="15" y="18"/>
                    </a:lnTo>
                    <a:lnTo>
                      <a:pt x="15" y="20"/>
                    </a:lnTo>
                    <a:lnTo>
                      <a:pt x="13" y="21"/>
                    </a:lnTo>
                    <a:lnTo>
                      <a:pt x="8" y="22"/>
                    </a:lnTo>
                    <a:lnTo>
                      <a:pt x="5" y="22"/>
                    </a:lnTo>
                    <a:lnTo>
                      <a:pt x="5" y="2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93" name="Freeform 159">
                <a:extLst>
                  <a:ext uri="{FF2B5EF4-FFF2-40B4-BE49-F238E27FC236}">
                    <a16:creationId xmlns:a16="http://schemas.microsoft.com/office/drawing/2014/main" id="{ACECB43B-6319-4A2D-BEC2-D49D32E4DA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55" y="2611"/>
                <a:ext cx="3" cy="2"/>
              </a:xfrm>
              <a:custGeom>
                <a:avLst/>
                <a:gdLst>
                  <a:gd name="T0" fmla="*/ 3 w 3"/>
                  <a:gd name="T1" fmla="*/ 2 h 2"/>
                  <a:gd name="T2" fmla="*/ 3 w 3"/>
                  <a:gd name="T3" fmla="*/ 2 h 2"/>
                  <a:gd name="T4" fmla="*/ 0 w 3"/>
                  <a:gd name="T5" fmla="*/ 0 h 2"/>
                  <a:gd name="T6" fmla="*/ 3 w 3"/>
                  <a:gd name="T7" fmla="*/ 2 h 2"/>
                  <a:gd name="T8" fmla="*/ 3 w 3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">
                    <a:moveTo>
                      <a:pt x="3" y="2"/>
                    </a:moveTo>
                    <a:lnTo>
                      <a:pt x="3" y="2"/>
                    </a:lnTo>
                    <a:lnTo>
                      <a:pt x="0" y="0"/>
                    </a:lnTo>
                    <a:lnTo>
                      <a:pt x="3" y="2"/>
                    </a:lnTo>
                    <a:lnTo>
                      <a:pt x="3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94" name="Freeform 160">
                <a:extLst>
                  <a:ext uri="{FF2B5EF4-FFF2-40B4-BE49-F238E27FC236}">
                    <a16:creationId xmlns:a16="http://schemas.microsoft.com/office/drawing/2014/main" id="{B8ECAD7E-B556-46F6-BC28-0D344304A2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59" y="2869"/>
                <a:ext cx="7" cy="11"/>
              </a:xfrm>
              <a:custGeom>
                <a:avLst/>
                <a:gdLst>
                  <a:gd name="T0" fmla="*/ 7 w 7"/>
                  <a:gd name="T1" fmla="*/ 0 h 11"/>
                  <a:gd name="T2" fmla="*/ 3 w 7"/>
                  <a:gd name="T3" fmla="*/ 2 h 11"/>
                  <a:gd name="T4" fmla="*/ 1 w 7"/>
                  <a:gd name="T5" fmla="*/ 4 h 11"/>
                  <a:gd name="T6" fmla="*/ 0 w 7"/>
                  <a:gd name="T7" fmla="*/ 10 h 11"/>
                  <a:gd name="T8" fmla="*/ 4 w 7"/>
                  <a:gd name="T9" fmla="*/ 11 h 11"/>
                  <a:gd name="T10" fmla="*/ 7 w 7"/>
                  <a:gd name="T11" fmla="*/ 3 h 11"/>
                  <a:gd name="T12" fmla="*/ 7 w 7"/>
                  <a:gd name="T13" fmla="*/ 0 h 11"/>
                  <a:gd name="T14" fmla="*/ 7 w 7"/>
                  <a:gd name="T1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" h="11">
                    <a:moveTo>
                      <a:pt x="7" y="0"/>
                    </a:moveTo>
                    <a:lnTo>
                      <a:pt x="3" y="2"/>
                    </a:lnTo>
                    <a:lnTo>
                      <a:pt x="1" y="4"/>
                    </a:lnTo>
                    <a:lnTo>
                      <a:pt x="0" y="10"/>
                    </a:lnTo>
                    <a:lnTo>
                      <a:pt x="4" y="11"/>
                    </a:lnTo>
                    <a:lnTo>
                      <a:pt x="7" y="3"/>
                    </a:lnTo>
                    <a:lnTo>
                      <a:pt x="7" y="0"/>
                    </a:lnTo>
                    <a:lnTo>
                      <a:pt x="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95" name="Freeform 161">
                <a:extLst>
                  <a:ext uri="{FF2B5EF4-FFF2-40B4-BE49-F238E27FC236}">
                    <a16:creationId xmlns:a16="http://schemas.microsoft.com/office/drawing/2014/main" id="{EE3DDDAC-6263-4439-A1D9-416D4905C5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61" y="2655"/>
                <a:ext cx="16" cy="27"/>
              </a:xfrm>
              <a:custGeom>
                <a:avLst/>
                <a:gdLst>
                  <a:gd name="T0" fmla="*/ 2 w 16"/>
                  <a:gd name="T1" fmla="*/ 21 h 27"/>
                  <a:gd name="T2" fmla="*/ 7 w 16"/>
                  <a:gd name="T3" fmla="*/ 23 h 27"/>
                  <a:gd name="T4" fmla="*/ 8 w 16"/>
                  <a:gd name="T5" fmla="*/ 27 h 27"/>
                  <a:gd name="T6" fmla="*/ 9 w 16"/>
                  <a:gd name="T7" fmla="*/ 27 h 27"/>
                  <a:gd name="T8" fmla="*/ 12 w 16"/>
                  <a:gd name="T9" fmla="*/ 24 h 27"/>
                  <a:gd name="T10" fmla="*/ 11 w 16"/>
                  <a:gd name="T11" fmla="*/ 21 h 27"/>
                  <a:gd name="T12" fmla="*/ 10 w 16"/>
                  <a:gd name="T13" fmla="*/ 19 h 27"/>
                  <a:gd name="T14" fmla="*/ 10 w 16"/>
                  <a:gd name="T15" fmla="*/ 17 h 27"/>
                  <a:gd name="T16" fmla="*/ 12 w 16"/>
                  <a:gd name="T17" fmla="*/ 11 h 27"/>
                  <a:gd name="T18" fmla="*/ 12 w 16"/>
                  <a:gd name="T19" fmla="*/ 7 h 27"/>
                  <a:gd name="T20" fmla="*/ 15 w 16"/>
                  <a:gd name="T21" fmla="*/ 5 h 27"/>
                  <a:gd name="T22" fmla="*/ 16 w 16"/>
                  <a:gd name="T23" fmla="*/ 3 h 27"/>
                  <a:gd name="T24" fmla="*/ 14 w 16"/>
                  <a:gd name="T25" fmla="*/ 1 h 27"/>
                  <a:gd name="T26" fmla="*/ 11 w 16"/>
                  <a:gd name="T27" fmla="*/ 0 h 27"/>
                  <a:gd name="T28" fmla="*/ 8 w 16"/>
                  <a:gd name="T29" fmla="*/ 1 h 27"/>
                  <a:gd name="T30" fmla="*/ 7 w 16"/>
                  <a:gd name="T31" fmla="*/ 2 h 27"/>
                  <a:gd name="T32" fmla="*/ 8 w 16"/>
                  <a:gd name="T33" fmla="*/ 3 h 27"/>
                  <a:gd name="T34" fmla="*/ 6 w 16"/>
                  <a:gd name="T35" fmla="*/ 5 h 27"/>
                  <a:gd name="T36" fmla="*/ 6 w 16"/>
                  <a:gd name="T37" fmla="*/ 10 h 27"/>
                  <a:gd name="T38" fmla="*/ 5 w 16"/>
                  <a:gd name="T39" fmla="*/ 13 h 27"/>
                  <a:gd name="T40" fmla="*/ 2 w 16"/>
                  <a:gd name="T41" fmla="*/ 14 h 27"/>
                  <a:gd name="T42" fmla="*/ 0 w 16"/>
                  <a:gd name="T43" fmla="*/ 15 h 27"/>
                  <a:gd name="T44" fmla="*/ 0 w 16"/>
                  <a:gd name="T45" fmla="*/ 19 h 27"/>
                  <a:gd name="T46" fmla="*/ 2 w 16"/>
                  <a:gd name="T47" fmla="*/ 21 h 27"/>
                  <a:gd name="T48" fmla="*/ 2 w 16"/>
                  <a:gd name="T49" fmla="*/ 21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6" h="27">
                    <a:moveTo>
                      <a:pt x="2" y="21"/>
                    </a:moveTo>
                    <a:lnTo>
                      <a:pt x="7" y="23"/>
                    </a:lnTo>
                    <a:lnTo>
                      <a:pt x="8" y="27"/>
                    </a:lnTo>
                    <a:lnTo>
                      <a:pt x="9" y="27"/>
                    </a:lnTo>
                    <a:lnTo>
                      <a:pt x="12" y="24"/>
                    </a:lnTo>
                    <a:lnTo>
                      <a:pt x="11" y="21"/>
                    </a:lnTo>
                    <a:lnTo>
                      <a:pt x="10" y="19"/>
                    </a:lnTo>
                    <a:lnTo>
                      <a:pt x="10" y="17"/>
                    </a:lnTo>
                    <a:lnTo>
                      <a:pt x="12" y="11"/>
                    </a:lnTo>
                    <a:lnTo>
                      <a:pt x="12" y="7"/>
                    </a:lnTo>
                    <a:lnTo>
                      <a:pt x="15" y="5"/>
                    </a:lnTo>
                    <a:lnTo>
                      <a:pt x="16" y="3"/>
                    </a:lnTo>
                    <a:lnTo>
                      <a:pt x="14" y="1"/>
                    </a:lnTo>
                    <a:lnTo>
                      <a:pt x="11" y="0"/>
                    </a:lnTo>
                    <a:lnTo>
                      <a:pt x="8" y="1"/>
                    </a:lnTo>
                    <a:lnTo>
                      <a:pt x="7" y="2"/>
                    </a:lnTo>
                    <a:lnTo>
                      <a:pt x="8" y="3"/>
                    </a:lnTo>
                    <a:lnTo>
                      <a:pt x="6" y="5"/>
                    </a:lnTo>
                    <a:lnTo>
                      <a:pt x="6" y="10"/>
                    </a:lnTo>
                    <a:lnTo>
                      <a:pt x="5" y="13"/>
                    </a:lnTo>
                    <a:lnTo>
                      <a:pt x="2" y="14"/>
                    </a:lnTo>
                    <a:lnTo>
                      <a:pt x="0" y="15"/>
                    </a:lnTo>
                    <a:lnTo>
                      <a:pt x="0" y="19"/>
                    </a:lnTo>
                    <a:lnTo>
                      <a:pt x="2" y="21"/>
                    </a:lnTo>
                    <a:lnTo>
                      <a:pt x="2" y="2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96" name="Freeform 162">
                <a:extLst>
                  <a:ext uri="{FF2B5EF4-FFF2-40B4-BE49-F238E27FC236}">
                    <a16:creationId xmlns:a16="http://schemas.microsoft.com/office/drawing/2014/main" id="{8D229F34-B3AD-4A14-833B-8C597E98A8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63" y="2866"/>
                <a:ext cx="9" cy="17"/>
              </a:xfrm>
              <a:custGeom>
                <a:avLst/>
                <a:gdLst>
                  <a:gd name="T0" fmla="*/ 7 w 9"/>
                  <a:gd name="T1" fmla="*/ 0 h 17"/>
                  <a:gd name="T2" fmla="*/ 5 w 9"/>
                  <a:gd name="T3" fmla="*/ 1 h 17"/>
                  <a:gd name="T4" fmla="*/ 4 w 9"/>
                  <a:gd name="T5" fmla="*/ 7 h 17"/>
                  <a:gd name="T6" fmla="*/ 3 w 9"/>
                  <a:gd name="T7" fmla="*/ 10 h 17"/>
                  <a:gd name="T8" fmla="*/ 0 w 9"/>
                  <a:gd name="T9" fmla="*/ 15 h 17"/>
                  <a:gd name="T10" fmla="*/ 3 w 9"/>
                  <a:gd name="T11" fmla="*/ 17 h 17"/>
                  <a:gd name="T12" fmla="*/ 5 w 9"/>
                  <a:gd name="T13" fmla="*/ 14 h 17"/>
                  <a:gd name="T14" fmla="*/ 7 w 9"/>
                  <a:gd name="T15" fmla="*/ 14 h 17"/>
                  <a:gd name="T16" fmla="*/ 7 w 9"/>
                  <a:gd name="T17" fmla="*/ 12 h 17"/>
                  <a:gd name="T18" fmla="*/ 6 w 9"/>
                  <a:gd name="T19" fmla="*/ 8 h 17"/>
                  <a:gd name="T20" fmla="*/ 6 w 9"/>
                  <a:gd name="T21" fmla="*/ 6 h 17"/>
                  <a:gd name="T22" fmla="*/ 9 w 9"/>
                  <a:gd name="T23" fmla="*/ 3 h 17"/>
                  <a:gd name="T24" fmla="*/ 7 w 9"/>
                  <a:gd name="T25" fmla="*/ 0 h 17"/>
                  <a:gd name="T26" fmla="*/ 7 w 9"/>
                  <a:gd name="T27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" h="17">
                    <a:moveTo>
                      <a:pt x="7" y="0"/>
                    </a:moveTo>
                    <a:lnTo>
                      <a:pt x="5" y="1"/>
                    </a:lnTo>
                    <a:lnTo>
                      <a:pt x="4" y="7"/>
                    </a:lnTo>
                    <a:lnTo>
                      <a:pt x="3" y="10"/>
                    </a:lnTo>
                    <a:lnTo>
                      <a:pt x="0" y="15"/>
                    </a:lnTo>
                    <a:lnTo>
                      <a:pt x="3" y="17"/>
                    </a:lnTo>
                    <a:lnTo>
                      <a:pt x="5" y="14"/>
                    </a:lnTo>
                    <a:lnTo>
                      <a:pt x="7" y="14"/>
                    </a:lnTo>
                    <a:lnTo>
                      <a:pt x="7" y="12"/>
                    </a:lnTo>
                    <a:lnTo>
                      <a:pt x="6" y="8"/>
                    </a:lnTo>
                    <a:lnTo>
                      <a:pt x="6" y="6"/>
                    </a:lnTo>
                    <a:lnTo>
                      <a:pt x="9" y="3"/>
                    </a:lnTo>
                    <a:lnTo>
                      <a:pt x="7" y="0"/>
                    </a:lnTo>
                    <a:lnTo>
                      <a:pt x="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97" name="Freeform 163">
                <a:extLst>
                  <a:ext uri="{FF2B5EF4-FFF2-40B4-BE49-F238E27FC236}">
                    <a16:creationId xmlns:a16="http://schemas.microsoft.com/office/drawing/2014/main" id="{1731276F-3CEA-427A-83C6-BB0250A87F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68" y="2922"/>
                <a:ext cx="2" cy="2"/>
              </a:xfrm>
              <a:custGeom>
                <a:avLst/>
                <a:gdLst>
                  <a:gd name="T0" fmla="*/ 0 w 2"/>
                  <a:gd name="T1" fmla="*/ 1 h 2"/>
                  <a:gd name="T2" fmla="*/ 0 w 2"/>
                  <a:gd name="T3" fmla="*/ 2 h 2"/>
                  <a:gd name="T4" fmla="*/ 2 w 2"/>
                  <a:gd name="T5" fmla="*/ 0 h 2"/>
                  <a:gd name="T6" fmla="*/ 0 w 2"/>
                  <a:gd name="T7" fmla="*/ 1 h 2"/>
                  <a:gd name="T8" fmla="*/ 0 w 2"/>
                  <a:gd name="T9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1"/>
                    </a:moveTo>
                    <a:lnTo>
                      <a:pt x="0" y="2"/>
                    </a:lnTo>
                    <a:lnTo>
                      <a:pt x="2" y="0"/>
                    </a:lnTo>
                    <a:lnTo>
                      <a:pt x="0" y="1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98" name="Freeform 164">
                <a:extLst>
                  <a:ext uri="{FF2B5EF4-FFF2-40B4-BE49-F238E27FC236}">
                    <a16:creationId xmlns:a16="http://schemas.microsoft.com/office/drawing/2014/main" id="{7DBC0955-09A2-491A-A6AD-B593749FDE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69" y="2861"/>
                <a:ext cx="3" cy="3"/>
              </a:xfrm>
              <a:custGeom>
                <a:avLst/>
                <a:gdLst>
                  <a:gd name="T0" fmla="*/ 1 w 3"/>
                  <a:gd name="T1" fmla="*/ 0 h 3"/>
                  <a:gd name="T2" fmla="*/ 0 w 3"/>
                  <a:gd name="T3" fmla="*/ 1 h 3"/>
                  <a:gd name="T4" fmla="*/ 2 w 3"/>
                  <a:gd name="T5" fmla="*/ 3 h 3"/>
                  <a:gd name="T6" fmla="*/ 3 w 3"/>
                  <a:gd name="T7" fmla="*/ 0 h 3"/>
                  <a:gd name="T8" fmla="*/ 1 w 3"/>
                  <a:gd name="T9" fmla="*/ 0 h 3"/>
                  <a:gd name="T10" fmla="*/ 1 w 3"/>
                  <a:gd name="T1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3">
                    <a:moveTo>
                      <a:pt x="1" y="0"/>
                    </a:moveTo>
                    <a:lnTo>
                      <a:pt x="0" y="1"/>
                    </a:lnTo>
                    <a:lnTo>
                      <a:pt x="2" y="3"/>
                    </a:lnTo>
                    <a:lnTo>
                      <a:pt x="3" y="0"/>
                    </a:lnTo>
                    <a:lnTo>
                      <a:pt x="1" y="0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199" name="Freeform 165">
                <a:extLst>
                  <a:ext uri="{FF2B5EF4-FFF2-40B4-BE49-F238E27FC236}">
                    <a16:creationId xmlns:a16="http://schemas.microsoft.com/office/drawing/2014/main" id="{5F8CBBA5-B25C-4A57-96CB-D7A849F1EB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0" y="2918"/>
                <a:ext cx="2" cy="3"/>
              </a:xfrm>
              <a:custGeom>
                <a:avLst/>
                <a:gdLst>
                  <a:gd name="T0" fmla="*/ 0 w 2"/>
                  <a:gd name="T1" fmla="*/ 2 h 3"/>
                  <a:gd name="T2" fmla="*/ 0 w 2"/>
                  <a:gd name="T3" fmla="*/ 3 h 3"/>
                  <a:gd name="T4" fmla="*/ 2 w 2"/>
                  <a:gd name="T5" fmla="*/ 0 h 3"/>
                  <a:gd name="T6" fmla="*/ 0 w 2"/>
                  <a:gd name="T7" fmla="*/ 2 h 3"/>
                  <a:gd name="T8" fmla="*/ 0 w 2"/>
                  <a:gd name="T9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3">
                    <a:moveTo>
                      <a:pt x="0" y="2"/>
                    </a:moveTo>
                    <a:lnTo>
                      <a:pt x="0" y="3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00" name="Freeform 166">
                <a:extLst>
                  <a:ext uri="{FF2B5EF4-FFF2-40B4-BE49-F238E27FC236}">
                    <a16:creationId xmlns:a16="http://schemas.microsoft.com/office/drawing/2014/main" id="{78AF41D2-70D5-4AB8-B658-4133EAC0DC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1" y="2634"/>
                <a:ext cx="13" cy="9"/>
              </a:xfrm>
              <a:custGeom>
                <a:avLst/>
                <a:gdLst>
                  <a:gd name="T0" fmla="*/ 2 w 13"/>
                  <a:gd name="T1" fmla="*/ 0 h 9"/>
                  <a:gd name="T2" fmla="*/ 1 w 13"/>
                  <a:gd name="T3" fmla="*/ 0 h 9"/>
                  <a:gd name="T4" fmla="*/ 1 w 13"/>
                  <a:gd name="T5" fmla="*/ 4 h 9"/>
                  <a:gd name="T6" fmla="*/ 0 w 13"/>
                  <a:gd name="T7" fmla="*/ 7 h 9"/>
                  <a:gd name="T8" fmla="*/ 1 w 13"/>
                  <a:gd name="T9" fmla="*/ 7 h 9"/>
                  <a:gd name="T10" fmla="*/ 4 w 13"/>
                  <a:gd name="T11" fmla="*/ 4 h 9"/>
                  <a:gd name="T12" fmla="*/ 6 w 13"/>
                  <a:gd name="T13" fmla="*/ 4 h 9"/>
                  <a:gd name="T14" fmla="*/ 8 w 13"/>
                  <a:gd name="T15" fmla="*/ 8 h 9"/>
                  <a:gd name="T16" fmla="*/ 12 w 13"/>
                  <a:gd name="T17" fmla="*/ 9 h 9"/>
                  <a:gd name="T18" fmla="*/ 12 w 13"/>
                  <a:gd name="T19" fmla="*/ 7 h 9"/>
                  <a:gd name="T20" fmla="*/ 13 w 13"/>
                  <a:gd name="T21" fmla="*/ 7 h 9"/>
                  <a:gd name="T22" fmla="*/ 12 w 13"/>
                  <a:gd name="T23" fmla="*/ 6 h 9"/>
                  <a:gd name="T24" fmla="*/ 9 w 13"/>
                  <a:gd name="T25" fmla="*/ 4 h 9"/>
                  <a:gd name="T26" fmla="*/ 7 w 13"/>
                  <a:gd name="T27" fmla="*/ 1 h 9"/>
                  <a:gd name="T28" fmla="*/ 5 w 13"/>
                  <a:gd name="T29" fmla="*/ 0 h 9"/>
                  <a:gd name="T30" fmla="*/ 2 w 13"/>
                  <a:gd name="T31" fmla="*/ 0 h 9"/>
                  <a:gd name="T32" fmla="*/ 2 w 13"/>
                  <a:gd name="T33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3" h="9">
                    <a:moveTo>
                      <a:pt x="2" y="0"/>
                    </a:moveTo>
                    <a:lnTo>
                      <a:pt x="1" y="0"/>
                    </a:lnTo>
                    <a:lnTo>
                      <a:pt x="1" y="4"/>
                    </a:lnTo>
                    <a:lnTo>
                      <a:pt x="0" y="7"/>
                    </a:lnTo>
                    <a:lnTo>
                      <a:pt x="1" y="7"/>
                    </a:lnTo>
                    <a:lnTo>
                      <a:pt x="4" y="4"/>
                    </a:lnTo>
                    <a:lnTo>
                      <a:pt x="6" y="4"/>
                    </a:lnTo>
                    <a:lnTo>
                      <a:pt x="8" y="8"/>
                    </a:lnTo>
                    <a:lnTo>
                      <a:pt x="12" y="9"/>
                    </a:lnTo>
                    <a:lnTo>
                      <a:pt x="12" y="7"/>
                    </a:lnTo>
                    <a:lnTo>
                      <a:pt x="13" y="7"/>
                    </a:lnTo>
                    <a:lnTo>
                      <a:pt x="12" y="6"/>
                    </a:lnTo>
                    <a:lnTo>
                      <a:pt x="9" y="4"/>
                    </a:lnTo>
                    <a:lnTo>
                      <a:pt x="7" y="1"/>
                    </a:lnTo>
                    <a:lnTo>
                      <a:pt x="5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01" name="Freeform 167">
                <a:extLst>
                  <a:ext uri="{FF2B5EF4-FFF2-40B4-BE49-F238E27FC236}">
                    <a16:creationId xmlns:a16="http://schemas.microsoft.com/office/drawing/2014/main" id="{B6F116B2-87C8-40AC-881B-A014420E5B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3" y="2918"/>
                <a:ext cx="8" cy="5"/>
              </a:xfrm>
              <a:custGeom>
                <a:avLst/>
                <a:gdLst>
                  <a:gd name="T0" fmla="*/ 2 w 8"/>
                  <a:gd name="T1" fmla="*/ 2 h 5"/>
                  <a:gd name="T2" fmla="*/ 0 w 8"/>
                  <a:gd name="T3" fmla="*/ 4 h 5"/>
                  <a:gd name="T4" fmla="*/ 3 w 8"/>
                  <a:gd name="T5" fmla="*/ 5 h 5"/>
                  <a:gd name="T6" fmla="*/ 5 w 8"/>
                  <a:gd name="T7" fmla="*/ 4 h 5"/>
                  <a:gd name="T8" fmla="*/ 8 w 8"/>
                  <a:gd name="T9" fmla="*/ 2 h 5"/>
                  <a:gd name="T10" fmla="*/ 5 w 8"/>
                  <a:gd name="T11" fmla="*/ 0 h 5"/>
                  <a:gd name="T12" fmla="*/ 2 w 8"/>
                  <a:gd name="T13" fmla="*/ 2 h 5"/>
                  <a:gd name="T14" fmla="*/ 2 w 8"/>
                  <a:gd name="T15" fmla="*/ 2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5">
                    <a:moveTo>
                      <a:pt x="2" y="2"/>
                    </a:moveTo>
                    <a:lnTo>
                      <a:pt x="0" y="4"/>
                    </a:lnTo>
                    <a:lnTo>
                      <a:pt x="3" y="5"/>
                    </a:lnTo>
                    <a:lnTo>
                      <a:pt x="5" y="4"/>
                    </a:lnTo>
                    <a:lnTo>
                      <a:pt x="8" y="2"/>
                    </a:lnTo>
                    <a:lnTo>
                      <a:pt x="5" y="0"/>
                    </a:lnTo>
                    <a:lnTo>
                      <a:pt x="2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02" name="Freeform 168">
                <a:extLst>
                  <a:ext uri="{FF2B5EF4-FFF2-40B4-BE49-F238E27FC236}">
                    <a16:creationId xmlns:a16="http://schemas.microsoft.com/office/drawing/2014/main" id="{3E6BC460-B88F-4F27-A2F1-D735C86C22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3" y="2651"/>
                <a:ext cx="11" cy="25"/>
              </a:xfrm>
              <a:custGeom>
                <a:avLst/>
                <a:gdLst>
                  <a:gd name="T0" fmla="*/ 5 w 11"/>
                  <a:gd name="T1" fmla="*/ 17 h 25"/>
                  <a:gd name="T2" fmla="*/ 5 w 11"/>
                  <a:gd name="T3" fmla="*/ 16 h 25"/>
                  <a:gd name="T4" fmla="*/ 8 w 11"/>
                  <a:gd name="T5" fmla="*/ 14 h 25"/>
                  <a:gd name="T6" fmla="*/ 10 w 11"/>
                  <a:gd name="T7" fmla="*/ 11 h 25"/>
                  <a:gd name="T8" fmla="*/ 11 w 11"/>
                  <a:gd name="T9" fmla="*/ 2 h 25"/>
                  <a:gd name="T10" fmla="*/ 11 w 11"/>
                  <a:gd name="T11" fmla="*/ 0 h 25"/>
                  <a:gd name="T12" fmla="*/ 8 w 11"/>
                  <a:gd name="T13" fmla="*/ 2 h 25"/>
                  <a:gd name="T14" fmla="*/ 8 w 11"/>
                  <a:gd name="T15" fmla="*/ 6 h 25"/>
                  <a:gd name="T16" fmla="*/ 4 w 11"/>
                  <a:gd name="T17" fmla="*/ 13 h 25"/>
                  <a:gd name="T18" fmla="*/ 3 w 11"/>
                  <a:gd name="T19" fmla="*/ 16 h 25"/>
                  <a:gd name="T20" fmla="*/ 2 w 11"/>
                  <a:gd name="T21" fmla="*/ 16 h 25"/>
                  <a:gd name="T22" fmla="*/ 0 w 11"/>
                  <a:gd name="T23" fmla="*/ 19 h 25"/>
                  <a:gd name="T24" fmla="*/ 0 w 11"/>
                  <a:gd name="T25" fmla="*/ 25 h 25"/>
                  <a:gd name="T26" fmla="*/ 3 w 11"/>
                  <a:gd name="T27" fmla="*/ 23 h 25"/>
                  <a:gd name="T28" fmla="*/ 5 w 11"/>
                  <a:gd name="T29" fmla="*/ 17 h 25"/>
                  <a:gd name="T30" fmla="*/ 5 w 11"/>
                  <a:gd name="T31" fmla="*/ 17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1" h="25">
                    <a:moveTo>
                      <a:pt x="5" y="17"/>
                    </a:moveTo>
                    <a:lnTo>
                      <a:pt x="5" y="16"/>
                    </a:lnTo>
                    <a:lnTo>
                      <a:pt x="8" y="14"/>
                    </a:lnTo>
                    <a:lnTo>
                      <a:pt x="10" y="11"/>
                    </a:lnTo>
                    <a:lnTo>
                      <a:pt x="11" y="2"/>
                    </a:lnTo>
                    <a:lnTo>
                      <a:pt x="11" y="0"/>
                    </a:lnTo>
                    <a:lnTo>
                      <a:pt x="8" y="2"/>
                    </a:lnTo>
                    <a:lnTo>
                      <a:pt x="8" y="6"/>
                    </a:lnTo>
                    <a:lnTo>
                      <a:pt x="4" y="13"/>
                    </a:lnTo>
                    <a:lnTo>
                      <a:pt x="3" y="16"/>
                    </a:lnTo>
                    <a:lnTo>
                      <a:pt x="2" y="16"/>
                    </a:lnTo>
                    <a:lnTo>
                      <a:pt x="0" y="19"/>
                    </a:lnTo>
                    <a:lnTo>
                      <a:pt x="0" y="25"/>
                    </a:lnTo>
                    <a:lnTo>
                      <a:pt x="3" y="23"/>
                    </a:lnTo>
                    <a:lnTo>
                      <a:pt x="5" y="17"/>
                    </a:lnTo>
                    <a:lnTo>
                      <a:pt x="5" y="1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03" name="Freeform 169">
                <a:extLst>
                  <a:ext uri="{FF2B5EF4-FFF2-40B4-BE49-F238E27FC236}">
                    <a16:creationId xmlns:a16="http://schemas.microsoft.com/office/drawing/2014/main" id="{5BAE1E77-716B-48D3-958F-5FEAB3A342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7" y="2921"/>
                <a:ext cx="51" cy="27"/>
              </a:xfrm>
              <a:custGeom>
                <a:avLst/>
                <a:gdLst>
                  <a:gd name="T0" fmla="*/ 0 w 51"/>
                  <a:gd name="T1" fmla="*/ 22 h 27"/>
                  <a:gd name="T2" fmla="*/ 0 w 51"/>
                  <a:gd name="T3" fmla="*/ 27 h 27"/>
                  <a:gd name="T4" fmla="*/ 3 w 51"/>
                  <a:gd name="T5" fmla="*/ 27 h 27"/>
                  <a:gd name="T6" fmla="*/ 8 w 51"/>
                  <a:gd name="T7" fmla="*/ 25 h 27"/>
                  <a:gd name="T8" fmla="*/ 11 w 51"/>
                  <a:gd name="T9" fmla="*/ 25 h 27"/>
                  <a:gd name="T10" fmla="*/ 19 w 51"/>
                  <a:gd name="T11" fmla="*/ 18 h 27"/>
                  <a:gd name="T12" fmla="*/ 20 w 51"/>
                  <a:gd name="T13" fmla="*/ 14 h 27"/>
                  <a:gd name="T14" fmla="*/ 25 w 51"/>
                  <a:gd name="T15" fmla="*/ 12 h 27"/>
                  <a:gd name="T16" fmla="*/ 33 w 51"/>
                  <a:gd name="T17" fmla="*/ 10 h 27"/>
                  <a:gd name="T18" fmla="*/ 35 w 51"/>
                  <a:gd name="T19" fmla="*/ 9 h 27"/>
                  <a:gd name="T20" fmla="*/ 37 w 51"/>
                  <a:gd name="T21" fmla="*/ 8 h 27"/>
                  <a:gd name="T22" fmla="*/ 43 w 51"/>
                  <a:gd name="T23" fmla="*/ 5 h 27"/>
                  <a:gd name="T24" fmla="*/ 45 w 51"/>
                  <a:gd name="T25" fmla="*/ 4 h 27"/>
                  <a:gd name="T26" fmla="*/ 49 w 51"/>
                  <a:gd name="T27" fmla="*/ 2 h 27"/>
                  <a:gd name="T28" fmla="*/ 51 w 51"/>
                  <a:gd name="T29" fmla="*/ 0 h 27"/>
                  <a:gd name="T30" fmla="*/ 45 w 51"/>
                  <a:gd name="T31" fmla="*/ 0 h 27"/>
                  <a:gd name="T32" fmla="*/ 43 w 51"/>
                  <a:gd name="T33" fmla="*/ 1 h 27"/>
                  <a:gd name="T34" fmla="*/ 37 w 51"/>
                  <a:gd name="T35" fmla="*/ 1 h 27"/>
                  <a:gd name="T36" fmla="*/ 34 w 51"/>
                  <a:gd name="T37" fmla="*/ 2 h 27"/>
                  <a:gd name="T38" fmla="*/ 32 w 51"/>
                  <a:gd name="T39" fmla="*/ 1 h 27"/>
                  <a:gd name="T40" fmla="*/ 21 w 51"/>
                  <a:gd name="T41" fmla="*/ 3 h 27"/>
                  <a:gd name="T42" fmla="*/ 19 w 51"/>
                  <a:gd name="T43" fmla="*/ 8 h 27"/>
                  <a:gd name="T44" fmla="*/ 15 w 51"/>
                  <a:gd name="T45" fmla="*/ 10 h 27"/>
                  <a:gd name="T46" fmla="*/ 9 w 51"/>
                  <a:gd name="T47" fmla="*/ 11 h 27"/>
                  <a:gd name="T48" fmla="*/ 4 w 51"/>
                  <a:gd name="T49" fmla="*/ 14 h 27"/>
                  <a:gd name="T50" fmla="*/ 1 w 51"/>
                  <a:gd name="T51" fmla="*/ 17 h 27"/>
                  <a:gd name="T52" fmla="*/ 0 w 51"/>
                  <a:gd name="T53" fmla="*/ 22 h 27"/>
                  <a:gd name="T54" fmla="*/ 0 w 51"/>
                  <a:gd name="T55" fmla="*/ 22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51" h="27">
                    <a:moveTo>
                      <a:pt x="0" y="22"/>
                    </a:moveTo>
                    <a:lnTo>
                      <a:pt x="0" y="27"/>
                    </a:lnTo>
                    <a:lnTo>
                      <a:pt x="3" y="27"/>
                    </a:lnTo>
                    <a:lnTo>
                      <a:pt x="8" y="25"/>
                    </a:lnTo>
                    <a:lnTo>
                      <a:pt x="11" y="25"/>
                    </a:lnTo>
                    <a:lnTo>
                      <a:pt x="19" y="18"/>
                    </a:lnTo>
                    <a:lnTo>
                      <a:pt x="20" y="14"/>
                    </a:lnTo>
                    <a:lnTo>
                      <a:pt x="25" y="12"/>
                    </a:lnTo>
                    <a:lnTo>
                      <a:pt x="33" y="10"/>
                    </a:lnTo>
                    <a:lnTo>
                      <a:pt x="35" y="9"/>
                    </a:lnTo>
                    <a:lnTo>
                      <a:pt x="37" y="8"/>
                    </a:lnTo>
                    <a:lnTo>
                      <a:pt x="43" y="5"/>
                    </a:lnTo>
                    <a:lnTo>
                      <a:pt x="45" y="4"/>
                    </a:lnTo>
                    <a:lnTo>
                      <a:pt x="49" y="2"/>
                    </a:lnTo>
                    <a:lnTo>
                      <a:pt x="51" y="0"/>
                    </a:lnTo>
                    <a:lnTo>
                      <a:pt x="45" y="0"/>
                    </a:lnTo>
                    <a:lnTo>
                      <a:pt x="43" y="1"/>
                    </a:lnTo>
                    <a:lnTo>
                      <a:pt x="37" y="1"/>
                    </a:lnTo>
                    <a:lnTo>
                      <a:pt x="34" y="2"/>
                    </a:lnTo>
                    <a:lnTo>
                      <a:pt x="32" y="1"/>
                    </a:lnTo>
                    <a:lnTo>
                      <a:pt x="21" y="3"/>
                    </a:lnTo>
                    <a:lnTo>
                      <a:pt x="19" y="8"/>
                    </a:lnTo>
                    <a:lnTo>
                      <a:pt x="15" y="10"/>
                    </a:lnTo>
                    <a:lnTo>
                      <a:pt x="9" y="11"/>
                    </a:lnTo>
                    <a:lnTo>
                      <a:pt x="4" y="14"/>
                    </a:lnTo>
                    <a:lnTo>
                      <a:pt x="1" y="17"/>
                    </a:lnTo>
                    <a:lnTo>
                      <a:pt x="0" y="22"/>
                    </a:lnTo>
                    <a:lnTo>
                      <a:pt x="0" y="2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04" name="Freeform 170">
                <a:extLst>
                  <a:ext uri="{FF2B5EF4-FFF2-40B4-BE49-F238E27FC236}">
                    <a16:creationId xmlns:a16="http://schemas.microsoft.com/office/drawing/2014/main" id="{09273525-CC6D-4ED5-8872-361B1F6006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80" y="2666"/>
                <a:ext cx="10" cy="8"/>
              </a:xfrm>
              <a:custGeom>
                <a:avLst/>
                <a:gdLst>
                  <a:gd name="T0" fmla="*/ 1 w 10"/>
                  <a:gd name="T1" fmla="*/ 8 h 8"/>
                  <a:gd name="T2" fmla="*/ 6 w 10"/>
                  <a:gd name="T3" fmla="*/ 8 h 8"/>
                  <a:gd name="T4" fmla="*/ 8 w 10"/>
                  <a:gd name="T5" fmla="*/ 8 h 8"/>
                  <a:gd name="T6" fmla="*/ 10 w 10"/>
                  <a:gd name="T7" fmla="*/ 6 h 8"/>
                  <a:gd name="T8" fmla="*/ 10 w 10"/>
                  <a:gd name="T9" fmla="*/ 2 h 8"/>
                  <a:gd name="T10" fmla="*/ 8 w 10"/>
                  <a:gd name="T11" fmla="*/ 0 h 8"/>
                  <a:gd name="T12" fmla="*/ 5 w 10"/>
                  <a:gd name="T13" fmla="*/ 0 h 8"/>
                  <a:gd name="T14" fmla="*/ 4 w 10"/>
                  <a:gd name="T15" fmla="*/ 1 h 8"/>
                  <a:gd name="T16" fmla="*/ 4 w 10"/>
                  <a:gd name="T17" fmla="*/ 2 h 8"/>
                  <a:gd name="T18" fmla="*/ 0 w 10"/>
                  <a:gd name="T19" fmla="*/ 3 h 8"/>
                  <a:gd name="T20" fmla="*/ 1 w 10"/>
                  <a:gd name="T21" fmla="*/ 8 h 8"/>
                  <a:gd name="T22" fmla="*/ 1 w 10"/>
                  <a:gd name="T23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" h="8">
                    <a:moveTo>
                      <a:pt x="1" y="8"/>
                    </a:moveTo>
                    <a:lnTo>
                      <a:pt x="6" y="8"/>
                    </a:lnTo>
                    <a:lnTo>
                      <a:pt x="8" y="8"/>
                    </a:lnTo>
                    <a:lnTo>
                      <a:pt x="10" y="6"/>
                    </a:lnTo>
                    <a:lnTo>
                      <a:pt x="10" y="2"/>
                    </a:lnTo>
                    <a:lnTo>
                      <a:pt x="8" y="0"/>
                    </a:lnTo>
                    <a:lnTo>
                      <a:pt x="5" y="0"/>
                    </a:lnTo>
                    <a:lnTo>
                      <a:pt x="4" y="1"/>
                    </a:lnTo>
                    <a:lnTo>
                      <a:pt x="4" y="2"/>
                    </a:lnTo>
                    <a:lnTo>
                      <a:pt x="0" y="3"/>
                    </a:lnTo>
                    <a:lnTo>
                      <a:pt x="1" y="8"/>
                    </a:lnTo>
                    <a:lnTo>
                      <a:pt x="1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05" name="Freeform 171">
                <a:extLst>
                  <a:ext uri="{FF2B5EF4-FFF2-40B4-BE49-F238E27FC236}">
                    <a16:creationId xmlns:a16="http://schemas.microsoft.com/office/drawing/2014/main" id="{C601ECF7-75EC-4215-B3E4-A6D1DBC0B3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83" y="2920"/>
                <a:ext cx="2" cy="2"/>
              </a:xfrm>
              <a:custGeom>
                <a:avLst/>
                <a:gdLst>
                  <a:gd name="T0" fmla="*/ 0 w 2"/>
                  <a:gd name="T1" fmla="*/ 1 h 2"/>
                  <a:gd name="T2" fmla="*/ 0 w 2"/>
                  <a:gd name="T3" fmla="*/ 2 h 2"/>
                  <a:gd name="T4" fmla="*/ 2 w 2"/>
                  <a:gd name="T5" fmla="*/ 2 h 2"/>
                  <a:gd name="T6" fmla="*/ 2 w 2"/>
                  <a:gd name="T7" fmla="*/ 0 h 2"/>
                  <a:gd name="T8" fmla="*/ 0 w 2"/>
                  <a:gd name="T9" fmla="*/ 1 h 2"/>
                  <a:gd name="T10" fmla="*/ 0 w 2"/>
                  <a:gd name="T11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2">
                    <a:moveTo>
                      <a:pt x="0" y="1"/>
                    </a:moveTo>
                    <a:lnTo>
                      <a:pt x="0" y="2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0" y="1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06" name="Freeform 172">
                <a:extLst>
                  <a:ext uri="{FF2B5EF4-FFF2-40B4-BE49-F238E27FC236}">
                    <a16:creationId xmlns:a16="http://schemas.microsoft.com/office/drawing/2014/main" id="{D2AF7025-DC42-4E94-A63F-EA886F1367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84" y="2613"/>
                <a:ext cx="4" cy="6"/>
              </a:xfrm>
              <a:custGeom>
                <a:avLst/>
                <a:gdLst>
                  <a:gd name="T0" fmla="*/ 2 w 4"/>
                  <a:gd name="T1" fmla="*/ 6 h 6"/>
                  <a:gd name="T2" fmla="*/ 4 w 4"/>
                  <a:gd name="T3" fmla="*/ 4 h 6"/>
                  <a:gd name="T4" fmla="*/ 4 w 4"/>
                  <a:gd name="T5" fmla="*/ 2 h 6"/>
                  <a:gd name="T6" fmla="*/ 2 w 4"/>
                  <a:gd name="T7" fmla="*/ 0 h 6"/>
                  <a:gd name="T8" fmla="*/ 0 w 4"/>
                  <a:gd name="T9" fmla="*/ 4 h 6"/>
                  <a:gd name="T10" fmla="*/ 2 w 4"/>
                  <a:gd name="T11" fmla="*/ 6 h 6"/>
                  <a:gd name="T12" fmla="*/ 2 w 4"/>
                  <a:gd name="T13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6">
                    <a:moveTo>
                      <a:pt x="2" y="6"/>
                    </a:moveTo>
                    <a:lnTo>
                      <a:pt x="4" y="4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07" name="Freeform 173">
                <a:extLst>
                  <a:ext uri="{FF2B5EF4-FFF2-40B4-BE49-F238E27FC236}">
                    <a16:creationId xmlns:a16="http://schemas.microsoft.com/office/drawing/2014/main" id="{857CCC24-C66C-461C-9A32-3D9F143390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86" y="2633"/>
                <a:ext cx="20" cy="20"/>
              </a:xfrm>
              <a:custGeom>
                <a:avLst/>
                <a:gdLst>
                  <a:gd name="T0" fmla="*/ 14 w 20"/>
                  <a:gd name="T1" fmla="*/ 1 h 20"/>
                  <a:gd name="T2" fmla="*/ 11 w 20"/>
                  <a:gd name="T3" fmla="*/ 0 h 20"/>
                  <a:gd name="T4" fmla="*/ 9 w 20"/>
                  <a:gd name="T5" fmla="*/ 0 h 20"/>
                  <a:gd name="T6" fmla="*/ 9 w 20"/>
                  <a:gd name="T7" fmla="*/ 0 h 20"/>
                  <a:gd name="T8" fmla="*/ 6 w 20"/>
                  <a:gd name="T9" fmla="*/ 1 h 20"/>
                  <a:gd name="T10" fmla="*/ 3 w 20"/>
                  <a:gd name="T11" fmla="*/ 0 h 20"/>
                  <a:gd name="T12" fmla="*/ 0 w 20"/>
                  <a:gd name="T13" fmla="*/ 1 h 20"/>
                  <a:gd name="T14" fmla="*/ 1 w 20"/>
                  <a:gd name="T15" fmla="*/ 3 h 20"/>
                  <a:gd name="T16" fmla="*/ 3 w 20"/>
                  <a:gd name="T17" fmla="*/ 6 h 20"/>
                  <a:gd name="T18" fmla="*/ 6 w 20"/>
                  <a:gd name="T19" fmla="*/ 7 h 20"/>
                  <a:gd name="T20" fmla="*/ 7 w 20"/>
                  <a:gd name="T21" fmla="*/ 8 h 20"/>
                  <a:gd name="T22" fmla="*/ 9 w 20"/>
                  <a:gd name="T23" fmla="*/ 11 h 20"/>
                  <a:gd name="T24" fmla="*/ 9 w 20"/>
                  <a:gd name="T25" fmla="*/ 14 h 20"/>
                  <a:gd name="T26" fmla="*/ 10 w 20"/>
                  <a:gd name="T27" fmla="*/ 16 h 20"/>
                  <a:gd name="T28" fmla="*/ 12 w 20"/>
                  <a:gd name="T29" fmla="*/ 18 h 20"/>
                  <a:gd name="T30" fmla="*/ 14 w 20"/>
                  <a:gd name="T31" fmla="*/ 20 h 20"/>
                  <a:gd name="T32" fmla="*/ 20 w 20"/>
                  <a:gd name="T33" fmla="*/ 19 h 20"/>
                  <a:gd name="T34" fmla="*/ 19 w 20"/>
                  <a:gd name="T35" fmla="*/ 16 h 20"/>
                  <a:gd name="T36" fmla="*/ 18 w 20"/>
                  <a:gd name="T37" fmla="*/ 16 h 20"/>
                  <a:gd name="T38" fmla="*/ 17 w 20"/>
                  <a:gd name="T39" fmla="*/ 14 h 20"/>
                  <a:gd name="T40" fmla="*/ 17 w 20"/>
                  <a:gd name="T41" fmla="*/ 9 h 20"/>
                  <a:gd name="T42" fmla="*/ 17 w 20"/>
                  <a:gd name="T43" fmla="*/ 7 h 20"/>
                  <a:gd name="T44" fmla="*/ 17 w 20"/>
                  <a:gd name="T45" fmla="*/ 6 h 20"/>
                  <a:gd name="T46" fmla="*/ 17 w 20"/>
                  <a:gd name="T47" fmla="*/ 6 h 20"/>
                  <a:gd name="T48" fmla="*/ 17 w 20"/>
                  <a:gd name="T49" fmla="*/ 5 h 20"/>
                  <a:gd name="T50" fmla="*/ 15 w 20"/>
                  <a:gd name="T51" fmla="*/ 3 h 20"/>
                  <a:gd name="T52" fmla="*/ 14 w 20"/>
                  <a:gd name="T53" fmla="*/ 1 h 20"/>
                  <a:gd name="T54" fmla="*/ 14 w 20"/>
                  <a:gd name="T55" fmla="*/ 1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0" h="20">
                    <a:moveTo>
                      <a:pt x="14" y="1"/>
                    </a:moveTo>
                    <a:lnTo>
                      <a:pt x="11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1"/>
                    </a:lnTo>
                    <a:lnTo>
                      <a:pt x="3" y="0"/>
                    </a:lnTo>
                    <a:lnTo>
                      <a:pt x="0" y="1"/>
                    </a:lnTo>
                    <a:lnTo>
                      <a:pt x="1" y="3"/>
                    </a:lnTo>
                    <a:lnTo>
                      <a:pt x="3" y="6"/>
                    </a:lnTo>
                    <a:lnTo>
                      <a:pt x="6" y="7"/>
                    </a:lnTo>
                    <a:lnTo>
                      <a:pt x="7" y="8"/>
                    </a:lnTo>
                    <a:lnTo>
                      <a:pt x="9" y="11"/>
                    </a:lnTo>
                    <a:lnTo>
                      <a:pt x="9" y="14"/>
                    </a:lnTo>
                    <a:lnTo>
                      <a:pt x="10" y="16"/>
                    </a:lnTo>
                    <a:lnTo>
                      <a:pt x="12" y="18"/>
                    </a:lnTo>
                    <a:lnTo>
                      <a:pt x="14" y="20"/>
                    </a:lnTo>
                    <a:lnTo>
                      <a:pt x="20" y="19"/>
                    </a:lnTo>
                    <a:lnTo>
                      <a:pt x="19" y="16"/>
                    </a:lnTo>
                    <a:lnTo>
                      <a:pt x="18" y="16"/>
                    </a:lnTo>
                    <a:lnTo>
                      <a:pt x="17" y="14"/>
                    </a:lnTo>
                    <a:lnTo>
                      <a:pt x="17" y="9"/>
                    </a:lnTo>
                    <a:lnTo>
                      <a:pt x="17" y="7"/>
                    </a:lnTo>
                    <a:lnTo>
                      <a:pt x="17" y="6"/>
                    </a:lnTo>
                    <a:lnTo>
                      <a:pt x="17" y="6"/>
                    </a:lnTo>
                    <a:lnTo>
                      <a:pt x="17" y="5"/>
                    </a:lnTo>
                    <a:lnTo>
                      <a:pt x="15" y="3"/>
                    </a:lnTo>
                    <a:lnTo>
                      <a:pt x="14" y="1"/>
                    </a:lnTo>
                    <a:lnTo>
                      <a:pt x="14" y="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08" name="Freeform 174">
                <a:extLst>
                  <a:ext uri="{FF2B5EF4-FFF2-40B4-BE49-F238E27FC236}">
                    <a16:creationId xmlns:a16="http://schemas.microsoft.com/office/drawing/2014/main" id="{BB86C015-A37B-4E32-8238-71CEBE9F97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87" y="2645"/>
                <a:ext cx="3" cy="3"/>
              </a:xfrm>
              <a:custGeom>
                <a:avLst/>
                <a:gdLst>
                  <a:gd name="T0" fmla="*/ 2 w 3"/>
                  <a:gd name="T1" fmla="*/ 3 h 3"/>
                  <a:gd name="T2" fmla="*/ 3 w 3"/>
                  <a:gd name="T3" fmla="*/ 0 h 3"/>
                  <a:gd name="T4" fmla="*/ 0 w 3"/>
                  <a:gd name="T5" fmla="*/ 0 h 3"/>
                  <a:gd name="T6" fmla="*/ 2 w 3"/>
                  <a:gd name="T7" fmla="*/ 3 h 3"/>
                  <a:gd name="T8" fmla="*/ 2 w 3"/>
                  <a:gd name="T9" fmla="*/ 3 h 3"/>
                  <a:gd name="T10" fmla="*/ 2 w 3"/>
                  <a:gd name="T11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3">
                    <a:moveTo>
                      <a:pt x="2" y="3"/>
                    </a:moveTo>
                    <a:lnTo>
                      <a:pt x="3" y="0"/>
                    </a:lnTo>
                    <a:lnTo>
                      <a:pt x="0" y="0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09" name="Freeform 175">
                <a:extLst>
                  <a:ext uri="{FF2B5EF4-FFF2-40B4-BE49-F238E27FC236}">
                    <a16:creationId xmlns:a16="http://schemas.microsoft.com/office/drawing/2014/main" id="{9292B6D8-45F9-405D-8757-0BC9EB726B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87" y="2917"/>
                <a:ext cx="11" cy="5"/>
              </a:xfrm>
              <a:custGeom>
                <a:avLst/>
                <a:gdLst>
                  <a:gd name="T0" fmla="*/ 2 w 11"/>
                  <a:gd name="T1" fmla="*/ 0 h 5"/>
                  <a:gd name="T2" fmla="*/ 2 w 11"/>
                  <a:gd name="T3" fmla="*/ 1 h 5"/>
                  <a:gd name="T4" fmla="*/ 0 w 11"/>
                  <a:gd name="T5" fmla="*/ 5 h 5"/>
                  <a:gd name="T6" fmla="*/ 3 w 11"/>
                  <a:gd name="T7" fmla="*/ 5 h 5"/>
                  <a:gd name="T8" fmla="*/ 11 w 11"/>
                  <a:gd name="T9" fmla="*/ 4 h 5"/>
                  <a:gd name="T10" fmla="*/ 10 w 11"/>
                  <a:gd name="T11" fmla="*/ 0 h 5"/>
                  <a:gd name="T12" fmla="*/ 5 w 11"/>
                  <a:gd name="T13" fmla="*/ 0 h 5"/>
                  <a:gd name="T14" fmla="*/ 2 w 11"/>
                  <a:gd name="T15" fmla="*/ 0 h 5"/>
                  <a:gd name="T16" fmla="*/ 2 w 11"/>
                  <a:gd name="T17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" h="5">
                    <a:moveTo>
                      <a:pt x="2" y="0"/>
                    </a:moveTo>
                    <a:lnTo>
                      <a:pt x="2" y="1"/>
                    </a:lnTo>
                    <a:lnTo>
                      <a:pt x="0" y="5"/>
                    </a:lnTo>
                    <a:lnTo>
                      <a:pt x="3" y="5"/>
                    </a:lnTo>
                    <a:lnTo>
                      <a:pt x="11" y="4"/>
                    </a:lnTo>
                    <a:lnTo>
                      <a:pt x="10" y="0"/>
                    </a:lnTo>
                    <a:lnTo>
                      <a:pt x="5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10" name="Freeform 176">
                <a:extLst>
                  <a:ext uri="{FF2B5EF4-FFF2-40B4-BE49-F238E27FC236}">
                    <a16:creationId xmlns:a16="http://schemas.microsoft.com/office/drawing/2014/main" id="{952D5C25-E05A-4A7C-965F-09F157CC1C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88" y="2648"/>
                <a:ext cx="10" cy="20"/>
              </a:xfrm>
              <a:custGeom>
                <a:avLst/>
                <a:gdLst>
                  <a:gd name="T0" fmla="*/ 5 w 10"/>
                  <a:gd name="T1" fmla="*/ 18 h 20"/>
                  <a:gd name="T2" fmla="*/ 8 w 10"/>
                  <a:gd name="T3" fmla="*/ 20 h 20"/>
                  <a:gd name="T4" fmla="*/ 8 w 10"/>
                  <a:gd name="T5" fmla="*/ 17 h 20"/>
                  <a:gd name="T6" fmla="*/ 10 w 10"/>
                  <a:gd name="T7" fmla="*/ 17 h 20"/>
                  <a:gd name="T8" fmla="*/ 10 w 10"/>
                  <a:gd name="T9" fmla="*/ 12 h 20"/>
                  <a:gd name="T10" fmla="*/ 9 w 10"/>
                  <a:gd name="T11" fmla="*/ 10 h 20"/>
                  <a:gd name="T12" fmla="*/ 9 w 10"/>
                  <a:gd name="T13" fmla="*/ 4 h 20"/>
                  <a:gd name="T14" fmla="*/ 8 w 10"/>
                  <a:gd name="T15" fmla="*/ 2 h 20"/>
                  <a:gd name="T16" fmla="*/ 6 w 10"/>
                  <a:gd name="T17" fmla="*/ 1 h 20"/>
                  <a:gd name="T18" fmla="*/ 2 w 10"/>
                  <a:gd name="T19" fmla="*/ 2 h 20"/>
                  <a:gd name="T20" fmla="*/ 0 w 10"/>
                  <a:gd name="T21" fmla="*/ 0 h 20"/>
                  <a:gd name="T22" fmla="*/ 0 w 10"/>
                  <a:gd name="T23" fmla="*/ 5 h 20"/>
                  <a:gd name="T24" fmla="*/ 0 w 10"/>
                  <a:gd name="T25" fmla="*/ 8 h 20"/>
                  <a:gd name="T26" fmla="*/ 4 w 10"/>
                  <a:gd name="T27" fmla="*/ 7 h 20"/>
                  <a:gd name="T28" fmla="*/ 6 w 10"/>
                  <a:gd name="T29" fmla="*/ 10 h 20"/>
                  <a:gd name="T30" fmla="*/ 6 w 10"/>
                  <a:gd name="T31" fmla="*/ 11 h 20"/>
                  <a:gd name="T32" fmla="*/ 5 w 10"/>
                  <a:gd name="T33" fmla="*/ 13 h 20"/>
                  <a:gd name="T34" fmla="*/ 6 w 10"/>
                  <a:gd name="T35" fmla="*/ 16 h 20"/>
                  <a:gd name="T36" fmla="*/ 5 w 10"/>
                  <a:gd name="T37" fmla="*/ 18 h 20"/>
                  <a:gd name="T38" fmla="*/ 5 w 10"/>
                  <a:gd name="T39" fmla="*/ 18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0" h="20">
                    <a:moveTo>
                      <a:pt x="5" y="18"/>
                    </a:moveTo>
                    <a:lnTo>
                      <a:pt x="8" y="20"/>
                    </a:lnTo>
                    <a:lnTo>
                      <a:pt x="8" y="17"/>
                    </a:lnTo>
                    <a:lnTo>
                      <a:pt x="10" y="17"/>
                    </a:lnTo>
                    <a:lnTo>
                      <a:pt x="10" y="12"/>
                    </a:lnTo>
                    <a:lnTo>
                      <a:pt x="9" y="10"/>
                    </a:lnTo>
                    <a:lnTo>
                      <a:pt x="9" y="4"/>
                    </a:lnTo>
                    <a:lnTo>
                      <a:pt x="8" y="2"/>
                    </a:lnTo>
                    <a:lnTo>
                      <a:pt x="6" y="1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0" y="5"/>
                    </a:lnTo>
                    <a:lnTo>
                      <a:pt x="0" y="8"/>
                    </a:lnTo>
                    <a:lnTo>
                      <a:pt x="4" y="7"/>
                    </a:lnTo>
                    <a:lnTo>
                      <a:pt x="6" y="10"/>
                    </a:lnTo>
                    <a:lnTo>
                      <a:pt x="6" y="11"/>
                    </a:lnTo>
                    <a:lnTo>
                      <a:pt x="5" y="13"/>
                    </a:lnTo>
                    <a:lnTo>
                      <a:pt x="6" y="16"/>
                    </a:lnTo>
                    <a:lnTo>
                      <a:pt x="5" y="18"/>
                    </a:lnTo>
                    <a:lnTo>
                      <a:pt x="5" y="1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11" name="Freeform 177">
                <a:extLst>
                  <a:ext uri="{FF2B5EF4-FFF2-40B4-BE49-F238E27FC236}">
                    <a16:creationId xmlns:a16="http://schemas.microsoft.com/office/drawing/2014/main" id="{4EAE8AE9-D0FF-4802-BC90-C72D08F77C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07" y="2909"/>
                <a:ext cx="14" cy="7"/>
              </a:xfrm>
              <a:custGeom>
                <a:avLst/>
                <a:gdLst>
                  <a:gd name="T0" fmla="*/ 3 w 14"/>
                  <a:gd name="T1" fmla="*/ 1 h 7"/>
                  <a:gd name="T2" fmla="*/ 0 w 14"/>
                  <a:gd name="T3" fmla="*/ 4 h 7"/>
                  <a:gd name="T4" fmla="*/ 0 w 14"/>
                  <a:gd name="T5" fmla="*/ 7 h 7"/>
                  <a:gd name="T6" fmla="*/ 3 w 14"/>
                  <a:gd name="T7" fmla="*/ 5 h 7"/>
                  <a:gd name="T8" fmla="*/ 8 w 14"/>
                  <a:gd name="T9" fmla="*/ 6 h 7"/>
                  <a:gd name="T10" fmla="*/ 11 w 14"/>
                  <a:gd name="T11" fmla="*/ 4 h 7"/>
                  <a:gd name="T12" fmla="*/ 14 w 14"/>
                  <a:gd name="T13" fmla="*/ 3 h 7"/>
                  <a:gd name="T14" fmla="*/ 11 w 14"/>
                  <a:gd name="T15" fmla="*/ 0 h 7"/>
                  <a:gd name="T16" fmla="*/ 8 w 14"/>
                  <a:gd name="T17" fmla="*/ 1 h 7"/>
                  <a:gd name="T18" fmla="*/ 5 w 14"/>
                  <a:gd name="T19" fmla="*/ 3 h 7"/>
                  <a:gd name="T20" fmla="*/ 3 w 14"/>
                  <a:gd name="T21" fmla="*/ 1 h 7"/>
                  <a:gd name="T22" fmla="*/ 3 w 14"/>
                  <a:gd name="T23" fmla="*/ 1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4" h="7">
                    <a:moveTo>
                      <a:pt x="3" y="1"/>
                    </a:moveTo>
                    <a:lnTo>
                      <a:pt x="0" y="4"/>
                    </a:lnTo>
                    <a:lnTo>
                      <a:pt x="0" y="7"/>
                    </a:lnTo>
                    <a:lnTo>
                      <a:pt x="3" y="5"/>
                    </a:lnTo>
                    <a:lnTo>
                      <a:pt x="8" y="6"/>
                    </a:lnTo>
                    <a:lnTo>
                      <a:pt x="11" y="4"/>
                    </a:lnTo>
                    <a:lnTo>
                      <a:pt x="14" y="3"/>
                    </a:lnTo>
                    <a:lnTo>
                      <a:pt x="11" y="0"/>
                    </a:lnTo>
                    <a:lnTo>
                      <a:pt x="8" y="1"/>
                    </a:lnTo>
                    <a:lnTo>
                      <a:pt x="5" y="3"/>
                    </a:lnTo>
                    <a:lnTo>
                      <a:pt x="3" y="1"/>
                    </a:lnTo>
                    <a:lnTo>
                      <a:pt x="3" y="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12" name="Freeform 178">
                <a:extLst>
                  <a:ext uri="{FF2B5EF4-FFF2-40B4-BE49-F238E27FC236}">
                    <a16:creationId xmlns:a16="http://schemas.microsoft.com/office/drawing/2014/main" id="{FBE0DE5A-9CB4-4A20-A4E9-B0742E56FC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11" y="2848"/>
                <a:ext cx="16" cy="10"/>
              </a:xfrm>
              <a:custGeom>
                <a:avLst/>
                <a:gdLst>
                  <a:gd name="T0" fmla="*/ 9 w 16"/>
                  <a:gd name="T1" fmla="*/ 10 h 10"/>
                  <a:gd name="T2" fmla="*/ 11 w 16"/>
                  <a:gd name="T3" fmla="*/ 9 h 10"/>
                  <a:gd name="T4" fmla="*/ 13 w 16"/>
                  <a:gd name="T5" fmla="*/ 8 h 10"/>
                  <a:gd name="T6" fmla="*/ 16 w 16"/>
                  <a:gd name="T7" fmla="*/ 5 h 10"/>
                  <a:gd name="T8" fmla="*/ 11 w 16"/>
                  <a:gd name="T9" fmla="*/ 0 h 10"/>
                  <a:gd name="T10" fmla="*/ 9 w 16"/>
                  <a:gd name="T11" fmla="*/ 0 h 10"/>
                  <a:gd name="T12" fmla="*/ 0 w 16"/>
                  <a:gd name="T13" fmla="*/ 0 h 10"/>
                  <a:gd name="T14" fmla="*/ 0 w 16"/>
                  <a:gd name="T15" fmla="*/ 2 h 10"/>
                  <a:gd name="T16" fmla="*/ 1 w 16"/>
                  <a:gd name="T17" fmla="*/ 6 h 10"/>
                  <a:gd name="T18" fmla="*/ 3 w 16"/>
                  <a:gd name="T19" fmla="*/ 8 h 10"/>
                  <a:gd name="T20" fmla="*/ 9 w 16"/>
                  <a:gd name="T21" fmla="*/ 10 h 10"/>
                  <a:gd name="T22" fmla="*/ 9 w 16"/>
                  <a:gd name="T23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6" h="10">
                    <a:moveTo>
                      <a:pt x="9" y="10"/>
                    </a:moveTo>
                    <a:lnTo>
                      <a:pt x="11" y="9"/>
                    </a:lnTo>
                    <a:lnTo>
                      <a:pt x="13" y="8"/>
                    </a:lnTo>
                    <a:lnTo>
                      <a:pt x="16" y="5"/>
                    </a:lnTo>
                    <a:lnTo>
                      <a:pt x="11" y="0"/>
                    </a:lnTo>
                    <a:lnTo>
                      <a:pt x="9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1" y="6"/>
                    </a:lnTo>
                    <a:lnTo>
                      <a:pt x="3" y="8"/>
                    </a:lnTo>
                    <a:lnTo>
                      <a:pt x="9" y="10"/>
                    </a:lnTo>
                    <a:lnTo>
                      <a:pt x="9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13" name="Freeform 179">
                <a:extLst>
                  <a:ext uri="{FF2B5EF4-FFF2-40B4-BE49-F238E27FC236}">
                    <a16:creationId xmlns:a16="http://schemas.microsoft.com/office/drawing/2014/main" id="{08767724-8A02-420B-BEF5-CD6BD69206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9" y="2776"/>
                <a:ext cx="20" cy="40"/>
              </a:xfrm>
              <a:custGeom>
                <a:avLst/>
                <a:gdLst>
                  <a:gd name="T0" fmla="*/ 5 w 20"/>
                  <a:gd name="T1" fmla="*/ 29 h 40"/>
                  <a:gd name="T2" fmla="*/ 5 w 20"/>
                  <a:gd name="T3" fmla="*/ 31 h 40"/>
                  <a:gd name="T4" fmla="*/ 10 w 20"/>
                  <a:gd name="T5" fmla="*/ 39 h 40"/>
                  <a:gd name="T6" fmla="*/ 12 w 20"/>
                  <a:gd name="T7" fmla="*/ 40 h 40"/>
                  <a:gd name="T8" fmla="*/ 9 w 20"/>
                  <a:gd name="T9" fmla="*/ 35 h 40"/>
                  <a:gd name="T10" fmla="*/ 7 w 20"/>
                  <a:gd name="T11" fmla="*/ 29 h 40"/>
                  <a:gd name="T12" fmla="*/ 8 w 20"/>
                  <a:gd name="T13" fmla="*/ 28 h 40"/>
                  <a:gd name="T14" fmla="*/ 7 w 20"/>
                  <a:gd name="T15" fmla="*/ 25 h 40"/>
                  <a:gd name="T16" fmla="*/ 10 w 20"/>
                  <a:gd name="T17" fmla="*/ 23 h 40"/>
                  <a:gd name="T18" fmla="*/ 20 w 20"/>
                  <a:gd name="T19" fmla="*/ 26 h 40"/>
                  <a:gd name="T20" fmla="*/ 18 w 20"/>
                  <a:gd name="T21" fmla="*/ 25 h 40"/>
                  <a:gd name="T22" fmla="*/ 18 w 20"/>
                  <a:gd name="T23" fmla="*/ 22 h 40"/>
                  <a:gd name="T24" fmla="*/ 15 w 20"/>
                  <a:gd name="T25" fmla="*/ 21 h 40"/>
                  <a:gd name="T26" fmla="*/ 12 w 20"/>
                  <a:gd name="T27" fmla="*/ 20 h 40"/>
                  <a:gd name="T28" fmla="*/ 14 w 20"/>
                  <a:gd name="T29" fmla="*/ 17 h 40"/>
                  <a:gd name="T30" fmla="*/ 16 w 20"/>
                  <a:gd name="T31" fmla="*/ 16 h 40"/>
                  <a:gd name="T32" fmla="*/ 18 w 20"/>
                  <a:gd name="T33" fmla="*/ 13 h 40"/>
                  <a:gd name="T34" fmla="*/ 18 w 20"/>
                  <a:gd name="T35" fmla="*/ 11 h 40"/>
                  <a:gd name="T36" fmla="*/ 16 w 20"/>
                  <a:gd name="T37" fmla="*/ 8 h 40"/>
                  <a:gd name="T38" fmla="*/ 14 w 20"/>
                  <a:gd name="T39" fmla="*/ 10 h 40"/>
                  <a:gd name="T40" fmla="*/ 10 w 20"/>
                  <a:gd name="T41" fmla="*/ 11 h 40"/>
                  <a:gd name="T42" fmla="*/ 10 w 20"/>
                  <a:gd name="T43" fmla="*/ 14 h 40"/>
                  <a:gd name="T44" fmla="*/ 8 w 20"/>
                  <a:gd name="T45" fmla="*/ 16 h 40"/>
                  <a:gd name="T46" fmla="*/ 7 w 20"/>
                  <a:gd name="T47" fmla="*/ 18 h 40"/>
                  <a:gd name="T48" fmla="*/ 5 w 20"/>
                  <a:gd name="T49" fmla="*/ 18 h 40"/>
                  <a:gd name="T50" fmla="*/ 5 w 20"/>
                  <a:gd name="T51" fmla="*/ 16 h 40"/>
                  <a:gd name="T52" fmla="*/ 7 w 20"/>
                  <a:gd name="T53" fmla="*/ 13 h 40"/>
                  <a:gd name="T54" fmla="*/ 9 w 20"/>
                  <a:gd name="T55" fmla="*/ 11 h 40"/>
                  <a:gd name="T56" fmla="*/ 9 w 20"/>
                  <a:gd name="T57" fmla="*/ 8 h 40"/>
                  <a:gd name="T58" fmla="*/ 7 w 20"/>
                  <a:gd name="T59" fmla="*/ 0 h 40"/>
                  <a:gd name="T60" fmla="*/ 3 w 20"/>
                  <a:gd name="T61" fmla="*/ 5 h 40"/>
                  <a:gd name="T62" fmla="*/ 1 w 20"/>
                  <a:gd name="T63" fmla="*/ 11 h 40"/>
                  <a:gd name="T64" fmla="*/ 0 w 20"/>
                  <a:gd name="T65" fmla="*/ 13 h 40"/>
                  <a:gd name="T66" fmla="*/ 2 w 20"/>
                  <a:gd name="T67" fmla="*/ 16 h 40"/>
                  <a:gd name="T68" fmla="*/ 3 w 20"/>
                  <a:gd name="T69" fmla="*/ 19 h 40"/>
                  <a:gd name="T70" fmla="*/ 2 w 20"/>
                  <a:gd name="T71" fmla="*/ 21 h 40"/>
                  <a:gd name="T72" fmla="*/ 5 w 20"/>
                  <a:gd name="T73" fmla="*/ 27 h 40"/>
                  <a:gd name="T74" fmla="*/ 5 w 20"/>
                  <a:gd name="T75" fmla="*/ 29 h 40"/>
                  <a:gd name="T76" fmla="*/ 5 w 20"/>
                  <a:gd name="T77" fmla="*/ 29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0" h="40">
                    <a:moveTo>
                      <a:pt x="5" y="29"/>
                    </a:moveTo>
                    <a:lnTo>
                      <a:pt x="5" y="31"/>
                    </a:lnTo>
                    <a:lnTo>
                      <a:pt x="10" y="39"/>
                    </a:lnTo>
                    <a:lnTo>
                      <a:pt x="12" y="40"/>
                    </a:lnTo>
                    <a:lnTo>
                      <a:pt x="9" y="35"/>
                    </a:lnTo>
                    <a:lnTo>
                      <a:pt x="7" y="29"/>
                    </a:lnTo>
                    <a:lnTo>
                      <a:pt x="8" y="28"/>
                    </a:lnTo>
                    <a:lnTo>
                      <a:pt x="7" y="25"/>
                    </a:lnTo>
                    <a:lnTo>
                      <a:pt x="10" y="23"/>
                    </a:lnTo>
                    <a:lnTo>
                      <a:pt x="20" y="26"/>
                    </a:lnTo>
                    <a:lnTo>
                      <a:pt x="18" y="25"/>
                    </a:lnTo>
                    <a:lnTo>
                      <a:pt x="18" y="22"/>
                    </a:lnTo>
                    <a:lnTo>
                      <a:pt x="15" y="21"/>
                    </a:lnTo>
                    <a:lnTo>
                      <a:pt x="12" y="20"/>
                    </a:lnTo>
                    <a:lnTo>
                      <a:pt x="14" y="17"/>
                    </a:lnTo>
                    <a:lnTo>
                      <a:pt x="16" y="16"/>
                    </a:lnTo>
                    <a:lnTo>
                      <a:pt x="18" y="13"/>
                    </a:lnTo>
                    <a:lnTo>
                      <a:pt x="18" y="11"/>
                    </a:lnTo>
                    <a:lnTo>
                      <a:pt x="16" y="8"/>
                    </a:lnTo>
                    <a:lnTo>
                      <a:pt x="14" y="10"/>
                    </a:lnTo>
                    <a:lnTo>
                      <a:pt x="10" y="11"/>
                    </a:lnTo>
                    <a:lnTo>
                      <a:pt x="10" y="14"/>
                    </a:lnTo>
                    <a:lnTo>
                      <a:pt x="8" y="16"/>
                    </a:lnTo>
                    <a:lnTo>
                      <a:pt x="7" y="18"/>
                    </a:lnTo>
                    <a:lnTo>
                      <a:pt x="5" y="18"/>
                    </a:lnTo>
                    <a:lnTo>
                      <a:pt x="5" y="16"/>
                    </a:lnTo>
                    <a:lnTo>
                      <a:pt x="7" y="13"/>
                    </a:lnTo>
                    <a:lnTo>
                      <a:pt x="9" y="11"/>
                    </a:lnTo>
                    <a:lnTo>
                      <a:pt x="9" y="8"/>
                    </a:lnTo>
                    <a:lnTo>
                      <a:pt x="7" y="0"/>
                    </a:lnTo>
                    <a:lnTo>
                      <a:pt x="3" y="5"/>
                    </a:lnTo>
                    <a:lnTo>
                      <a:pt x="1" y="11"/>
                    </a:lnTo>
                    <a:lnTo>
                      <a:pt x="0" y="13"/>
                    </a:lnTo>
                    <a:lnTo>
                      <a:pt x="2" y="16"/>
                    </a:lnTo>
                    <a:lnTo>
                      <a:pt x="3" y="19"/>
                    </a:lnTo>
                    <a:lnTo>
                      <a:pt x="2" y="21"/>
                    </a:lnTo>
                    <a:lnTo>
                      <a:pt x="5" y="27"/>
                    </a:lnTo>
                    <a:lnTo>
                      <a:pt x="5" y="29"/>
                    </a:lnTo>
                    <a:lnTo>
                      <a:pt x="5" y="2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14" name="Freeform 180">
                <a:extLst>
                  <a:ext uri="{FF2B5EF4-FFF2-40B4-BE49-F238E27FC236}">
                    <a16:creationId xmlns:a16="http://schemas.microsoft.com/office/drawing/2014/main" id="{B28A85E3-190F-400B-AA32-1733AB45CF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7" y="2844"/>
                <a:ext cx="40" cy="14"/>
              </a:xfrm>
              <a:custGeom>
                <a:avLst/>
                <a:gdLst>
                  <a:gd name="T0" fmla="*/ 28 w 40"/>
                  <a:gd name="T1" fmla="*/ 9 h 14"/>
                  <a:gd name="T2" fmla="*/ 34 w 40"/>
                  <a:gd name="T3" fmla="*/ 12 h 14"/>
                  <a:gd name="T4" fmla="*/ 36 w 40"/>
                  <a:gd name="T5" fmla="*/ 13 h 14"/>
                  <a:gd name="T6" fmla="*/ 40 w 40"/>
                  <a:gd name="T7" fmla="*/ 14 h 14"/>
                  <a:gd name="T8" fmla="*/ 40 w 40"/>
                  <a:gd name="T9" fmla="*/ 9 h 14"/>
                  <a:gd name="T10" fmla="*/ 36 w 40"/>
                  <a:gd name="T11" fmla="*/ 8 h 14"/>
                  <a:gd name="T12" fmla="*/ 36 w 40"/>
                  <a:gd name="T13" fmla="*/ 4 h 14"/>
                  <a:gd name="T14" fmla="*/ 33 w 40"/>
                  <a:gd name="T15" fmla="*/ 3 h 14"/>
                  <a:gd name="T16" fmla="*/ 28 w 40"/>
                  <a:gd name="T17" fmla="*/ 3 h 14"/>
                  <a:gd name="T18" fmla="*/ 26 w 40"/>
                  <a:gd name="T19" fmla="*/ 2 h 14"/>
                  <a:gd name="T20" fmla="*/ 21 w 40"/>
                  <a:gd name="T21" fmla="*/ 0 h 14"/>
                  <a:gd name="T22" fmla="*/ 16 w 40"/>
                  <a:gd name="T23" fmla="*/ 2 h 14"/>
                  <a:gd name="T24" fmla="*/ 14 w 40"/>
                  <a:gd name="T25" fmla="*/ 1 h 14"/>
                  <a:gd name="T26" fmla="*/ 8 w 40"/>
                  <a:gd name="T27" fmla="*/ 1 h 14"/>
                  <a:gd name="T28" fmla="*/ 4 w 40"/>
                  <a:gd name="T29" fmla="*/ 1 h 14"/>
                  <a:gd name="T30" fmla="*/ 2 w 40"/>
                  <a:gd name="T31" fmla="*/ 2 h 14"/>
                  <a:gd name="T32" fmla="*/ 0 w 40"/>
                  <a:gd name="T33" fmla="*/ 4 h 14"/>
                  <a:gd name="T34" fmla="*/ 0 w 40"/>
                  <a:gd name="T35" fmla="*/ 10 h 14"/>
                  <a:gd name="T36" fmla="*/ 1 w 40"/>
                  <a:gd name="T37" fmla="*/ 8 h 14"/>
                  <a:gd name="T38" fmla="*/ 2 w 40"/>
                  <a:gd name="T39" fmla="*/ 4 h 14"/>
                  <a:gd name="T40" fmla="*/ 4 w 40"/>
                  <a:gd name="T41" fmla="*/ 6 h 14"/>
                  <a:gd name="T42" fmla="*/ 7 w 40"/>
                  <a:gd name="T43" fmla="*/ 9 h 14"/>
                  <a:gd name="T44" fmla="*/ 9 w 40"/>
                  <a:gd name="T45" fmla="*/ 9 h 14"/>
                  <a:gd name="T46" fmla="*/ 11 w 40"/>
                  <a:gd name="T47" fmla="*/ 6 h 14"/>
                  <a:gd name="T48" fmla="*/ 15 w 40"/>
                  <a:gd name="T49" fmla="*/ 8 h 14"/>
                  <a:gd name="T50" fmla="*/ 20 w 40"/>
                  <a:gd name="T51" fmla="*/ 9 h 14"/>
                  <a:gd name="T52" fmla="*/ 23 w 40"/>
                  <a:gd name="T53" fmla="*/ 8 h 14"/>
                  <a:gd name="T54" fmla="*/ 25 w 40"/>
                  <a:gd name="T55" fmla="*/ 8 h 14"/>
                  <a:gd name="T56" fmla="*/ 28 w 40"/>
                  <a:gd name="T57" fmla="*/ 9 h 14"/>
                  <a:gd name="T58" fmla="*/ 28 w 40"/>
                  <a:gd name="T59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40" h="14">
                    <a:moveTo>
                      <a:pt x="28" y="9"/>
                    </a:moveTo>
                    <a:lnTo>
                      <a:pt x="34" y="12"/>
                    </a:lnTo>
                    <a:lnTo>
                      <a:pt x="36" y="13"/>
                    </a:lnTo>
                    <a:lnTo>
                      <a:pt x="40" y="14"/>
                    </a:lnTo>
                    <a:lnTo>
                      <a:pt x="40" y="9"/>
                    </a:lnTo>
                    <a:lnTo>
                      <a:pt x="36" y="8"/>
                    </a:lnTo>
                    <a:lnTo>
                      <a:pt x="36" y="4"/>
                    </a:lnTo>
                    <a:lnTo>
                      <a:pt x="33" y="3"/>
                    </a:lnTo>
                    <a:lnTo>
                      <a:pt x="28" y="3"/>
                    </a:lnTo>
                    <a:lnTo>
                      <a:pt x="26" y="2"/>
                    </a:lnTo>
                    <a:lnTo>
                      <a:pt x="21" y="0"/>
                    </a:lnTo>
                    <a:lnTo>
                      <a:pt x="16" y="2"/>
                    </a:lnTo>
                    <a:lnTo>
                      <a:pt x="14" y="1"/>
                    </a:lnTo>
                    <a:lnTo>
                      <a:pt x="8" y="1"/>
                    </a:lnTo>
                    <a:lnTo>
                      <a:pt x="4" y="1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10"/>
                    </a:lnTo>
                    <a:lnTo>
                      <a:pt x="1" y="8"/>
                    </a:lnTo>
                    <a:lnTo>
                      <a:pt x="2" y="4"/>
                    </a:lnTo>
                    <a:lnTo>
                      <a:pt x="4" y="6"/>
                    </a:lnTo>
                    <a:lnTo>
                      <a:pt x="7" y="9"/>
                    </a:lnTo>
                    <a:lnTo>
                      <a:pt x="9" y="9"/>
                    </a:lnTo>
                    <a:lnTo>
                      <a:pt x="11" y="6"/>
                    </a:lnTo>
                    <a:lnTo>
                      <a:pt x="15" y="8"/>
                    </a:lnTo>
                    <a:lnTo>
                      <a:pt x="20" y="9"/>
                    </a:lnTo>
                    <a:lnTo>
                      <a:pt x="23" y="8"/>
                    </a:lnTo>
                    <a:lnTo>
                      <a:pt x="25" y="8"/>
                    </a:lnTo>
                    <a:lnTo>
                      <a:pt x="28" y="9"/>
                    </a:lnTo>
                    <a:lnTo>
                      <a:pt x="28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15" name="Freeform 181">
                <a:extLst>
                  <a:ext uri="{FF2B5EF4-FFF2-40B4-BE49-F238E27FC236}">
                    <a16:creationId xmlns:a16="http://schemas.microsoft.com/office/drawing/2014/main" id="{346AF474-B811-4E91-879C-0C51E8713D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0" y="2770"/>
                <a:ext cx="7" cy="8"/>
              </a:xfrm>
              <a:custGeom>
                <a:avLst/>
                <a:gdLst>
                  <a:gd name="T0" fmla="*/ 1 w 7"/>
                  <a:gd name="T1" fmla="*/ 8 h 8"/>
                  <a:gd name="T2" fmla="*/ 3 w 7"/>
                  <a:gd name="T3" fmla="*/ 8 h 8"/>
                  <a:gd name="T4" fmla="*/ 6 w 7"/>
                  <a:gd name="T5" fmla="*/ 6 h 8"/>
                  <a:gd name="T6" fmla="*/ 7 w 7"/>
                  <a:gd name="T7" fmla="*/ 3 h 8"/>
                  <a:gd name="T8" fmla="*/ 7 w 7"/>
                  <a:gd name="T9" fmla="*/ 1 h 8"/>
                  <a:gd name="T10" fmla="*/ 5 w 7"/>
                  <a:gd name="T11" fmla="*/ 0 h 8"/>
                  <a:gd name="T12" fmla="*/ 1 w 7"/>
                  <a:gd name="T13" fmla="*/ 2 h 8"/>
                  <a:gd name="T14" fmla="*/ 0 w 7"/>
                  <a:gd name="T15" fmla="*/ 6 h 8"/>
                  <a:gd name="T16" fmla="*/ 1 w 7"/>
                  <a:gd name="T17" fmla="*/ 8 h 8"/>
                  <a:gd name="T18" fmla="*/ 1 w 7"/>
                  <a:gd name="T1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" h="8">
                    <a:moveTo>
                      <a:pt x="1" y="8"/>
                    </a:moveTo>
                    <a:lnTo>
                      <a:pt x="3" y="8"/>
                    </a:lnTo>
                    <a:lnTo>
                      <a:pt x="6" y="6"/>
                    </a:lnTo>
                    <a:lnTo>
                      <a:pt x="7" y="3"/>
                    </a:lnTo>
                    <a:lnTo>
                      <a:pt x="7" y="1"/>
                    </a:lnTo>
                    <a:lnTo>
                      <a:pt x="5" y="0"/>
                    </a:lnTo>
                    <a:lnTo>
                      <a:pt x="1" y="2"/>
                    </a:lnTo>
                    <a:lnTo>
                      <a:pt x="0" y="6"/>
                    </a:lnTo>
                    <a:lnTo>
                      <a:pt x="1" y="8"/>
                    </a:lnTo>
                    <a:lnTo>
                      <a:pt x="1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16" name="Freeform 182">
                <a:extLst>
                  <a:ext uri="{FF2B5EF4-FFF2-40B4-BE49-F238E27FC236}">
                    <a16:creationId xmlns:a16="http://schemas.microsoft.com/office/drawing/2014/main" id="{29C787C5-7510-4A3A-9261-1E425D59D8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0" y="2203"/>
                <a:ext cx="169" cy="164"/>
              </a:xfrm>
              <a:custGeom>
                <a:avLst/>
                <a:gdLst>
                  <a:gd name="T0" fmla="*/ 23 w 169"/>
                  <a:gd name="T1" fmla="*/ 119 h 164"/>
                  <a:gd name="T2" fmla="*/ 35 w 169"/>
                  <a:gd name="T3" fmla="*/ 119 h 164"/>
                  <a:gd name="T4" fmla="*/ 41 w 169"/>
                  <a:gd name="T5" fmla="*/ 115 h 164"/>
                  <a:gd name="T6" fmla="*/ 48 w 169"/>
                  <a:gd name="T7" fmla="*/ 114 h 164"/>
                  <a:gd name="T8" fmla="*/ 60 w 169"/>
                  <a:gd name="T9" fmla="*/ 111 h 164"/>
                  <a:gd name="T10" fmla="*/ 77 w 169"/>
                  <a:gd name="T11" fmla="*/ 108 h 164"/>
                  <a:gd name="T12" fmla="*/ 74 w 169"/>
                  <a:gd name="T13" fmla="*/ 114 h 164"/>
                  <a:gd name="T14" fmla="*/ 79 w 169"/>
                  <a:gd name="T15" fmla="*/ 123 h 164"/>
                  <a:gd name="T16" fmla="*/ 88 w 169"/>
                  <a:gd name="T17" fmla="*/ 121 h 164"/>
                  <a:gd name="T18" fmla="*/ 99 w 169"/>
                  <a:gd name="T19" fmla="*/ 113 h 164"/>
                  <a:gd name="T20" fmla="*/ 97 w 169"/>
                  <a:gd name="T21" fmla="*/ 103 h 164"/>
                  <a:gd name="T22" fmla="*/ 100 w 169"/>
                  <a:gd name="T23" fmla="*/ 105 h 164"/>
                  <a:gd name="T24" fmla="*/ 116 w 169"/>
                  <a:gd name="T25" fmla="*/ 110 h 164"/>
                  <a:gd name="T26" fmla="*/ 125 w 169"/>
                  <a:gd name="T27" fmla="*/ 104 h 164"/>
                  <a:gd name="T28" fmla="*/ 130 w 169"/>
                  <a:gd name="T29" fmla="*/ 102 h 164"/>
                  <a:gd name="T30" fmla="*/ 137 w 169"/>
                  <a:gd name="T31" fmla="*/ 98 h 164"/>
                  <a:gd name="T32" fmla="*/ 140 w 169"/>
                  <a:gd name="T33" fmla="*/ 99 h 164"/>
                  <a:gd name="T34" fmla="*/ 151 w 169"/>
                  <a:gd name="T35" fmla="*/ 93 h 164"/>
                  <a:gd name="T36" fmla="*/ 150 w 169"/>
                  <a:gd name="T37" fmla="*/ 85 h 164"/>
                  <a:gd name="T38" fmla="*/ 156 w 169"/>
                  <a:gd name="T39" fmla="*/ 65 h 164"/>
                  <a:gd name="T40" fmla="*/ 157 w 169"/>
                  <a:gd name="T41" fmla="*/ 51 h 164"/>
                  <a:gd name="T42" fmla="*/ 164 w 169"/>
                  <a:gd name="T43" fmla="*/ 40 h 164"/>
                  <a:gd name="T44" fmla="*/ 169 w 169"/>
                  <a:gd name="T45" fmla="*/ 33 h 164"/>
                  <a:gd name="T46" fmla="*/ 162 w 169"/>
                  <a:gd name="T47" fmla="*/ 14 h 164"/>
                  <a:gd name="T48" fmla="*/ 157 w 169"/>
                  <a:gd name="T49" fmla="*/ 0 h 164"/>
                  <a:gd name="T50" fmla="*/ 159 w 169"/>
                  <a:gd name="T51" fmla="*/ 4 h 164"/>
                  <a:gd name="T52" fmla="*/ 152 w 169"/>
                  <a:gd name="T53" fmla="*/ 11 h 164"/>
                  <a:gd name="T54" fmla="*/ 146 w 169"/>
                  <a:gd name="T55" fmla="*/ 6 h 164"/>
                  <a:gd name="T56" fmla="*/ 140 w 169"/>
                  <a:gd name="T57" fmla="*/ 14 h 164"/>
                  <a:gd name="T58" fmla="*/ 139 w 169"/>
                  <a:gd name="T59" fmla="*/ 27 h 164"/>
                  <a:gd name="T60" fmla="*/ 142 w 169"/>
                  <a:gd name="T61" fmla="*/ 35 h 164"/>
                  <a:gd name="T62" fmla="*/ 134 w 169"/>
                  <a:gd name="T63" fmla="*/ 51 h 164"/>
                  <a:gd name="T64" fmla="*/ 126 w 169"/>
                  <a:gd name="T65" fmla="*/ 59 h 164"/>
                  <a:gd name="T66" fmla="*/ 117 w 169"/>
                  <a:gd name="T67" fmla="*/ 70 h 164"/>
                  <a:gd name="T68" fmla="*/ 102 w 169"/>
                  <a:gd name="T69" fmla="*/ 72 h 164"/>
                  <a:gd name="T70" fmla="*/ 105 w 169"/>
                  <a:gd name="T71" fmla="*/ 64 h 164"/>
                  <a:gd name="T72" fmla="*/ 97 w 169"/>
                  <a:gd name="T73" fmla="*/ 76 h 164"/>
                  <a:gd name="T74" fmla="*/ 88 w 169"/>
                  <a:gd name="T75" fmla="*/ 90 h 164"/>
                  <a:gd name="T76" fmla="*/ 79 w 169"/>
                  <a:gd name="T77" fmla="*/ 96 h 164"/>
                  <a:gd name="T78" fmla="*/ 64 w 169"/>
                  <a:gd name="T79" fmla="*/ 94 h 164"/>
                  <a:gd name="T80" fmla="*/ 48 w 169"/>
                  <a:gd name="T81" fmla="*/ 95 h 164"/>
                  <a:gd name="T82" fmla="*/ 30 w 169"/>
                  <a:gd name="T83" fmla="*/ 107 h 164"/>
                  <a:gd name="T84" fmla="*/ 20 w 169"/>
                  <a:gd name="T85" fmla="*/ 112 h 164"/>
                  <a:gd name="T86" fmla="*/ 12 w 169"/>
                  <a:gd name="T87" fmla="*/ 121 h 164"/>
                  <a:gd name="T88" fmla="*/ 5 w 169"/>
                  <a:gd name="T89" fmla="*/ 128 h 164"/>
                  <a:gd name="T90" fmla="*/ 0 w 169"/>
                  <a:gd name="T91" fmla="*/ 130 h 164"/>
                  <a:gd name="T92" fmla="*/ 2 w 169"/>
                  <a:gd name="T93" fmla="*/ 136 h 164"/>
                  <a:gd name="T94" fmla="*/ 5 w 169"/>
                  <a:gd name="T95" fmla="*/ 138 h 164"/>
                  <a:gd name="T96" fmla="*/ 10 w 169"/>
                  <a:gd name="T97" fmla="*/ 132 h 164"/>
                  <a:gd name="T98" fmla="*/ 13 w 169"/>
                  <a:gd name="T99" fmla="*/ 139 h 164"/>
                  <a:gd name="T100" fmla="*/ 10 w 169"/>
                  <a:gd name="T101" fmla="*/ 155 h 164"/>
                  <a:gd name="T102" fmla="*/ 12 w 169"/>
                  <a:gd name="T103" fmla="*/ 156 h 164"/>
                  <a:gd name="T104" fmla="*/ 15 w 169"/>
                  <a:gd name="T105" fmla="*/ 158 h 164"/>
                  <a:gd name="T106" fmla="*/ 20 w 169"/>
                  <a:gd name="T107" fmla="*/ 160 h 164"/>
                  <a:gd name="T108" fmla="*/ 23 w 169"/>
                  <a:gd name="T109" fmla="*/ 156 h 164"/>
                  <a:gd name="T110" fmla="*/ 28 w 169"/>
                  <a:gd name="T111" fmla="*/ 141 h 164"/>
                  <a:gd name="T112" fmla="*/ 32 w 169"/>
                  <a:gd name="T113" fmla="*/ 132 h 164"/>
                  <a:gd name="T114" fmla="*/ 28 w 169"/>
                  <a:gd name="T115" fmla="*/ 124 h 164"/>
                  <a:gd name="T116" fmla="*/ 19 w 169"/>
                  <a:gd name="T117" fmla="*/ 122 h 164"/>
                  <a:gd name="T118" fmla="*/ 18 w 169"/>
                  <a:gd name="T119" fmla="*/ 12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69" h="164">
                    <a:moveTo>
                      <a:pt x="18" y="120"/>
                    </a:moveTo>
                    <a:lnTo>
                      <a:pt x="19" y="119"/>
                    </a:lnTo>
                    <a:lnTo>
                      <a:pt x="21" y="120"/>
                    </a:lnTo>
                    <a:lnTo>
                      <a:pt x="23" y="119"/>
                    </a:lnTo>
                    <a:lnTo>
                      <a:pt x="27" y="119"/>
                    </a:lnTo>
                    <a:lnTo>
                      <a:pt x="29" y="117"/>
                    </a:lnTo>
                    <a:lnTo>
                      <a:pt x="35" y="121"/>
                    </a:lnTo>
                    <a:lnTo>
                      <a:pt x="35" y="119"/>
                    </a:lnTo>
                    <a:lnTo>
                      <a:pt x="36" y="115"/>
                    </a:lnTo>
                    <a:lnTo>
                      <a:pt x="37" y="113"/>
                    </a:lnTo>
                    <a:lnTo>
                      <a:pt x="39" y="115"/>
                    </a:lnTo>
                    <a:lnTo>
                      <a:pt x="41" y="115"/>
                    </a:lnTo>
                    <a:lnTo>
                      <a:pt x="47" y="113"/>
                    </a:lnTo>
                    <a:lnTo>
                      <a:pt x="48" y="113"/>
                    </a:lnTo>
                    <a:lnTo>
                      <a:pt x="47" y="114"/>
                    </a:lnTo>
                    <a:lnTo>
                      <a:pt x="48" y="114"/>
                    </a:lnTo>
                    <a:lnTo>
                      <a:pt x="49" y="112"/>
                    </a:lnTo>
                    <a:lnTo>
                      <a:pt x="52" y="112"/>
                    </a:lnTo>
                    <a:lnTo>
                      <a:pt x="54" y="112"/>
                    </a:lnTo>
                    <a:lnTo>
                      <a:pt x="60" y="111"/>
                    </a:lnTo>
                    <a:lnTo>
                      <a:pt x="64" y="107"/>
                    </a:lnTo>
                    <a:lnTo>
                      <a:pt x="69" y="106"/>
                    </a:lnTo>
                    <a:lnTo>
                      <a:pt x="74" y="110"/>
                    </a:lnTo>
                    <a:lnTo>
                      <a:pt x="77" y="108"/>
                    </a:lnTo>
                    <a:lnTo>
                      <a:pt x="79" y="108"/>
                    </a:lnTo>
                    <a:lnTo>
                      <a:pt x="80" y="110"/>
                    </a:lnTo>
                    <a:lnTo>
                      <a:pt x="78" y="113"/>
                    </a:lnTo>
                    <a:lnTo>
                      <a:pt x="74" y="114"/>
                    </a:lnTo>
                    <a:lnTo>
                      <a:pt x="75" y="116"/>
                    </a:lnTo>
                    <a:lnTo>
                      <a:pt x="74" y="119"/>
                    </a:lnTo>
                    <a:lnTo>
                      <a:pt x="75" y="122"/>
                    </a:lnTo>
                    <a:lnTo>
                      <a:pt x="79" y="123"/>
                    </a:lnTo>
                    <a:lnTo>
                      <a:pt x="80" y="125"/>
                    </a:lnTo>
                    <a:lnTo>
                      <a:pt x="82" y="127"/>
                    </a:lnTo>
                    <a:lnTo>
                      <a:pt x="86" y="127"/>
                    </a:lnTo>
                    <a:lnTo>
                      <a:pt x="88" y="121"/>
                    </a:lnTo>
                    <a:lnTo>
                      <a:pt x="91" y="119"/>
                    </a:lnTo>
                    <a:lnTo>
                      <a:pt x="91" y="116"/>
                    </a:lnTo>
                    <a:lnTo>
                      <a:pt x="94" y="115"/>
                    </a:lnTo>
                    <a:lnTo>
                      <a:pt x="99" y="113"/>
                    </a:lnTo>
                    <a:lnTo>
                      <a:pt x="97" y="111"/>
                    </a:lnTo>
                    <a:lnTo>
                      <a:pt x="95" y="110"/>
                    </a:lnTo>
                    <a:lnTo>
                      <a:pt x="95" y="108"/>
                    </a:lnTo>
                    <a:lnTo>
                      <a:pt x="97" y="103"/>
                    </a:lnTo>
                    <a:lnTo>
                      <a:pt x="99" y="102"/>
                    </a:lnTo>
                    <a:lnTo>
                      <a:pt x="98" y="105"/>
                    </a:lnTo>
                    <a:lnTo>
                      <a:pt x="100" y="107"/>
                    </a:lnTo>
                    <a:lnTo>
                      <a:pt x="100" y="105"/>
                    </a:lnTo>
                    <a:lnTo>
                      <a:pt x="104" y="108"/>
                    </a:lnTo>
                    <a:lnTo>
                      <a:pt x="102" y="110"/>
                    </a:lnTo>
                    <a:lnTo>
                      <a:pt x="108" y="108"/>
                    </a:lnTo>
                    <a:lnTo>
                      <a:pt x="116" y="110"/>
                    </a:lnTo>
                    <a:lnTo>
                      <a:pt x="119" y="107"/>
                    </a:lnTo>
                    <a:lnTo>
                      <a:pt x="120" y="104"/>
                    </a:lnTo>
                    <a:lnTo>
                      <a:pt x="122" y="102"/>
                    </a:lnTo>
                    <a:lnTo>
                      <a:pt x="125" y="104"/>
                    </a:lnTo>
                    <a:lnTo>
                      <a:pt x="125" y="106"/>
                    </a:lnTo>
                    <a:lnTo>
                      <a:pt x="126" y="110"/>
                    </a:lnTo>
                    <a:lnTo>
                      <a:pt x="129" y="106"/>
                    </a:lnTo>
                    <a:lnTo>
                      <a:pt x="130" y="102"/>
                    </a:lnTo>
                    <a:lnTo>
                      <a:pt x="132" y="99"/>
                    </a:lnTo>
                    <a:lnTo>
                      <a:pt x="134" y="98"/>
                    </a:lnTo>
                    <a:lnTo>
                      <a:pt x="138" y="100"/>
                    </a:lnTo>
                    <a:lnTo>
                      <a:pt x="137" y="98"/>
                    </a:lnTo>
                    <a:lnTo>
                      <a:pt x="140" y="94"/>
                    </a:lnTo>
                    <a:lnTo>
                      <a:pt x="142" y="94"/>
                    </a:lnTo>
                    <a:lnTo>
                      <a:pt x="142" y="96"/>
                    </a:lnTo>
                    <a:lnTo>
                      <a:pt x="140" y="99"/>
                    </a:lnTo>
                    <a:lnTo>
                      <a:pt x="139" y="104"/>
                    </a:lnTo>
                    <a:lnTo>
                      <a:pt x="147" y="100"/>
                    </a:lnTo>
                    <a:lnTo>
                      <a:pt x="148" y="95"/>
                    </a:lnTo>
                    <a:lnTo>
                      <a:pt x="151" y="93"/>
                    </a:lnTo>
                    <a:lnTo>
                      <a:pt x="154" y="91"/>
                    </a:lnTo>
                    <a:lnTo>
                      <a:pt x="152" y="90"/>
                    </a:lnTo>
                    <a:lnTo>
                      <a:pt x="151" y="88"/>
                    </a:lnTo>
                    <a:lnTo>
                      <a:pt x="150" y="85"/>
                    </a:lnTo>
                    <a:lnTo>
                      <a:pt x="150" y="80"/>
                    </a:lnTo>
                    <a:lnTo>
                      <a:pt x="152" y="74"/>
                    </a:lnTo>
                    <a:lnTo>
                      <a:pt x="155" y="71"/>
                    </a:lnTo>
                    <a:lnTo>
                      <a:pt x="156" y="65"/>
                    </a:lnTo>
                    <a:lnTo>
                      <a:pt x="156" y="61"/>
                    </a:lnTo>
                    <a:lnTo>
                      <a:pt x="155" y="57"/>
                    </a:lnTo>
                    <a:lnTo>
                      <a:pt x="155" y="53"/>
                    </a:lnTo>
                    <a:lnTo>
                      <a:pt x="157" y="51"/>
                    </a:lnTo>
                    <a:lnTo>
                      <a:pt x="160" y="50"/>
                    </a:lnTo>
                    <a:lnTo>
                      <a:pt x="163" y="52"/>
                    </a:lnTo>
                    <a:lnTo>
                      <a:pt x="163" y="48"/>
                    </a:lnTo>
                    <a:lnTo>
                      <a:pt x="164" y="40"/>
                    </a:lnTo>
                    <a:lnTo>
                      <a:pt x="166" y="40"/>
                    </a:lnTo>
                    <a:lnTo>
                      <a:pt x="168" y="37"/>
                    </a:lnTo>
                    <a:lnTo>
                      <a:pt x="168" y="35"/>
                    </a:lnTo>
                    <a:lnTo>
                      <a:pt x="169" y="33"/>
                    </a:lnTo>
                    <a:lnTo>
                      <a:pt x="168" y="25"/>
                    </a:lnTo>
                    <a:lnTo>
                      <a:pt x="166" y="19"/>
                    </a:lnTo>
                    <a:lnTo>
                      <a:pt x="165" y="17"/>
                    </a:lnTo>
                    <a:lnTo>
                      <a:pt x="162" y="14"/>
                    </a:lnTo>
                    <a:lnTo>
                      <a:pt x="162" y="12"/>
                    </a:lnTo>
                    <a:lnTo>
                      <a:pt x="160" y="5"/>
                    </a:lnTo>
                    <a:lnTo>
                      <a:pt x="159" y="2"/>
                    </a:lnTo>
                    <a:lnTo>
                      <a:pt x="157" y="0"/>
                    </a:lnTo>
                    <a:lnTo>
                      <a:pt x="154" y="0"/>
                    </a:lnTo>
                    <a:lnTo>
                      <a:pt x="152" y="3"/>
                    </a:lnTo>
                    <a:lnTo>
                      <a:pt x="154" y="5"/>
                    </a:lnTo>
                    <a:lnTo>
                      <a:pt x="159" y="4"/>
                    </a:lnTo>
                    <a:lnTo>
                      <a:pt x="159" y="6"/>
                    </a:lnTo>
                    <a:lnTo>
                      <a:pt x="156" y="10"/>
                    </a:lnTo>
                    <a:lnTo>
                      <a:pt x="154" y="8"/>
                    </a:lnTo>
                    <a:lnTo>
                      <a:pt x="152" y="11"/>
                    </a:lnTo>
                    <a:lnTo>
                      <a:pt x="151" y="10"/>
                    </a:lnTo>
                    <a:lnTo>
                      <a:pt x="149" y="4"/>
                    </a:lnTo>
                    <a:lnTo>
                      <a:pt x="147" y="4"/>
                    </a:lnTo>
                    <a:lnTo>
                      <a:pt x="146" y="6"/>
                    </a:lnTo>
                    <a:lnTo>
                      <a:pt x="146" y="9"/>
                    </a:lnTo>
                    <a:lnTo>
                      <a:pt x="145" y="12"/>
                    </a:lnTo>
                    <a:lnTo>
                      <a:pt x="142" y="12"/>
                    </a:lnTo>
                    <a:lnTo>
                      <a:pt x="140" y="14"/>
                    </a:lnTo>
                    <a:lnTo>
                      <a:pt x="141" y="18"/>
                    </a:lnTo>
                    <a:lnTo>
                      <a:pt x="142" y="18"/>
                    </a:lnTo>
                    <a:lnTo>
                      <a:pt x="142" y="21"/>
                    </a:lnTo>
                    <a:lnTo>
                      <a:pt x="139" y="27"/>
                    </a:lnTo>
                    <a:lnTo>
                      <a:pt x="142" y="27"/>
                    </a:lnTo>
                    <a:lnTo>
                      <a:pt x="142" y="28"/>
                    </a:lnTo>
                    <a:lnTo>
                      <a:pt x="143" y="31"/>
                    </a:lnTo>
                    <a:lnTo>
                      <a:pt x="142" y="35"/>
                    </a:lnTo>
                    <a:lnTo>
                      <a:pt x="141" y="36"/>
                    </a:lnTo>
                    <a:lnTo>
                      <a:pt x="139" y="42"/>
                    </a:lnTo>
                    <a:lnTo>
                      <a:pt x="136" y="47"/>
                    </a:lnTo>
                    <a:lnTo>
                      <a:pt x="134" y="51"/>
                    </a:lnTo>
                    <a:lnTo>
                      <a:pt x="134" y="53"/>
                    </a:lnTo>
                    <a:lnTo>
                      <a:pt x="132" y="56"/>
                    </a:lnTo>
                    <a:lnTo>
                      <a:pt x="129" y="57"/>
                    </a:lnTo>
                    <a:lnTo>
                      <a:pt x="126" y="59"/>
                    </a:lnTo>
                    <a:lnTo>
                      <a:pt x="125" y="62"/>
                    </a:lnTo>
                    <a:lnTo>
                      <a:pt x="123" y="65"/>
                    </a:lnTo>
                    <a:lnTo>
                      <a:pt x="120" y="68"/>
                    </a:lnTo>
                    <a:lnTo>
                      <a:pt x="117" y="70"/>
                    </a:lnTo>
                    <a:lnTo>
                      <a:pt x="107" y="73"/>
                    </a:lnTo>
                    <a:lnTo>
                      <a:pt x="104" y="76"/>
                    </a:lnTo>
                    <a:lnTo>
                      <a:pt x="102" y="76"/>
                    </a:lnTo>
                    <a:lnTo>
                      <a:pt x="102" y="72"/>
                    </a:lnTo>
                    <a:lnTo>
                      <a:pt x="99" y="70"/>
                    </a:lnTo>
                    <a:lnTo>
                      <a:pt x="102" y="69"/>
                    </a:lnTo>
                    <a:lnTo>
                      <a:pt x="104" y="67"/>
                    </a:lnTo>
                    <a:lnTo>
                      <a:pt x="105" y="64"/>
                    </a:lnTo>
                    <a:lnTo>
                      <a:pt x="103" y="64"/>
                    </a:lnTo>
                    <a:lnTo>
                      <a:pt x="97" y="68"/>
                    </a:lnTo>
                    <a:lnTo>
                      <a:pt x="97" y="73"/>
                    </a:lnTo>
                    <a:lnTo>
                      <a:pt x="97" y="76"/>
                    </a:lnTo>
                    <a:lnTo>
                      <a:pt x="94" y="81"/>
                    </a:lnTo>
                    <a:lnTo>
                      <a:pt x="89" y="85"/>
                    </a:lnTo>
                    <a:lnTo>
                      <a:pt x="87" y="88"/>
                    </a:lnTo>
                    <a:lnTo>
                      <a:pt x="88" y="90"/>
                    </a:lnTo>
                    <a:lnTo>
                      <a:pt x="88" y="93"/>
                    </a:lnTo>
                    <a:lnTo>
                      <a:pt x="82" y="95"/>
                    </a:lnTo>
                    <a:lnTo>
                      <a:pt x="80" y="95"/>
                    </a:lnTo>
                    <a:lnTo>
                      <a:pt x="79" y="96"/>
                    </a:lnTo>
                    <a:lnTo>
                      <a:pt x="77" y="95"/>
                    </a:lnTo>
                    <a:lnTo>
                      <a:pt x="77" y="91"/>
                    </a:lnTo>
                    <a:lnTo>
                      <a:pt x="72" y="93"/>
                    </a:lnTo>
                    <a:lnTo>
                      <a:pt x="64" y="94"/>
                    </a:lnTo>
                    <a:lnTo>
                      <a:pt x="63" y="95"/>
                    </a:lnTo>
                    <a:lnTo>
                      <a:pt x="57" y="96"/>
                    </a:lnTo>
                    <a:lnTo>
                      <a:pt x="52" y="96"/>
                    </a:lnTo>
                    <a:lnTo>
                      <a:pt x="48" y="95"/>
                    </a:lnTo>
                    <a:lnTo>
                      <a:pt x="43" y="96"/>
                    </a:lnTo>
                    <a:lnTo>
                      <a:pt x="40" y="99"/>
                    </a:lnTo>
                    <a:lnTo>
                      <a:pt x="38" y="100"/>
                    </a:lnTo>
                    <a:lnTo>
                      <a:pt x="30" y="107"/>
                    </a:lnTo>
                    <a:lnTo>
                      <a:pt x="28" y="108"/>
                    </a:lnTo>
                    <a:lnTo>
                      <a:pt x="24" y="111"/>
                    </a:lnTo>
                    <a:lnTo>
                      <a:pt x="22" y="112"/>
                    </a:lnTo>
                    <a:lnTo>
                      <a:pt x="20" y="112"/>
                    </a:lnTo>
                    <a:lnTo>
                      <a:pt x="17" y="114"/>
                    </a:lnTo>
                    <a:lnTo>
                      <a:pt x="17" y="117"/>
                    </a:lnTo>
                    <a:lnTo>
                      <a:pt x="18" y="120"/>
                    </a:lnTo>
                    <a:lnTo>
                      <a:pt x="12" y="121"/>
                    </a:lnTo>
                    <a:lnTo>
                      <a:pt x="11" y="123"/>
                    </a:lnTo>
                    <a:lnTo>
                      <a:pt x="9" y="124"/>
                    </a:lnTo>
                    <a:lnTo>
                      <a:pt x="5" y="127"/>
                    </a:lnTo>
                    <a:lnTo>
                      <a:pt x="5" y="128"/>
                    </a:lnTo>
                    <a:lnTo>
                      <a:pt x="3" y="127"/>
                    </a:lnTo>
                    <a:lnTo>
                      <a:pt x="2" y="129"/>
                    </a:lnTo>
                    <a:lnTo>
                      <a:pt x="2" y="129"/>
                    </a:lnTo>
                    <a:lnTo>
                      <a:pt x="0" y="130"/>
                    </a:lnTo>
                    <a:lnTo>
                      <a:pt x="1" y="132"/>
                    </a:lnTo>
                    <a:lnTo>
                      <a:pt x="4" y="133"/>
                    </a:lnTo>
                    <a:lnTo>
                      <a:pt x="5" y="137"/>
                    </a:lnTo>
                    <a:lnTo>
                      <a:pt x="2" y="136"/>
                    </a:lnTo>
                    <a:lnTo>
                      <a:pt x="2" y="133"/>
                    </a:lnTo>
                    <a:lnTo>
                      <a:pt x="1" y="136"/>
                    </a:lnTo>
                    <a:lnTo>
                      <a:pt x="3" y="139"/>
                    </a:lnTo>
                    <a:lnTo>
                      <a:pt x="5" y="138"/>
                    </a:lnTo>
                    <a:lnTo>
                      <a:pt x="8" y="138"/>
                    </a:lnTo>
                    <a:lnTo>
                      <a:pt x="8" y="134"/>
                    </a:lnTo>
                    <a:lnTo>
                      <a:pt x="6" y="132"/>
                    </a:lnTo>
                    <a:lnTo>
                      <a:pt x="10" y="132"/>
                    </a:lnTo>
                    <a:lnTo>
                      <a:pt x="11" y="134"/>
                    </a:lnTo>
                    <a:lnTo>
                      <a:pt x="13" y="137"/>
                    </a:lnTo>
                    <a:lnTo>
                      <a:pt x="11" y="139"/>
                    </a:lnTo>
                    <a:lnTo>
                      <a:pt x="13" y="139"/>
                    </a:lnTo>
                    <a:lnTo>
                      <a:pt x="13" y="141"/>
                    </a:lnTo>
                    <a:lnTo>
                      <a:pt x="10" y="147"/>
                    </a:lnTo>
                    <a:lnTo>
                      <a:pt x="8" y="149"/>
                    </a:lnTo>
                    <a:lnTo>
                      <a:pt x="10" y="155"/>
                    </a:lnTo>
                    <a:lnTo>
                      <a:pt x="9" y="157"/>
                    </a:lnTo>
                    <a:lnTo>
                      <a:pt x="8" y="160"/>
                    </a:lnTo>
                    <a:lnTo>
                      <a:pt x="13" y="162"/>
                    </a:lnTo>
                    <a:lnTo>
                      <a:pt x="12" y="156"/>
                    </a:lnTo>
                    <a:lnTo>
                      <a:pt x="13" y="154"/>
                    </a:lnTo>
                    <a:lnTo>
                      <a:pt x="15" y="154"/>
                    </a:lnTo>
                    <a:lnTo>
                      <a:pt x="13" y="156"/>
                    </a:lnTo>
                    <a:lnTo>
                      <a:pt x="15" y="158"/>
                    </a:lnTo>
                    <a:lnTo>
                      <a:pt x="15" y="160"/>
                    </a:lnTo>
                    <a:lnTo>
                      <a:pt x="14" y="164"/>
                    </a:lnTo>
                    <a:lnTo>
                      <a:pt x="17" y="163"/>
                    </a:lnTo>
                    <a:lnTo>
                      <a:pt x="20" y="160"/>
                    </a:lnTo>
                    <a:lnTo>
                      <a:pt x="19" y="158"/>
                    </a:lnTo>
                    <a:lnTo>
                      <a:pt x="21" y="157"/>
                    </a:lnTo>
                    <a:lnTo>
                      <a:pt x="23" y="158"/>
                    </a:lnTo>
                    <a:lnTo>
                      <a:pt x="23" y="156"/>
                    </a:lnTo>
                    <a:lnTo>
                      <a:pt x="24" y="154"/>
                    </a:lnTo>
                    <a:lnTo>
                      <a:pt x="24" y="150"/>
                    </a:lnTo>
                    <a:lnTo>
                      <a:pt x="26" y="147"/>
                    </a:lnTo>
                    <a:lnTo>
                      <a:pt x="28" y="141"/>
                    </a:lnTo>
                    <a:lnTo>
                      <a:pt x="28" y="140"/>
                    </a:lnTo>
                    <a:lnTo>
                      <a:pt x="30" y="138"/>
                    </a:lnTo>
                    <a:lnTo>
                      <a:pt x="32" y="136"/>
                    </a:lnTo>
                    <a:lnTo>
                      <a:pt x="32" y="132"/>
                    </a:lnTo>
                    <a:lnTo>
                      <a:pt x="31" y="130"/>
                    </a:lnTo>
                    <a:lnTo>
                      <a:pt x="26" y="130"/>
                    </a:lnTo>
                    <a:lnTo>
                      <a:pt x="28" y="128"/>
                    </a:lnTo>
                    <a:lnTo>
                      <a:pt x="28" y="124"/>
                    </a:lnTo>
                    <a:lnTo>
                      <a:pt x="26" y="124"/>
                    </a:lnTo>
                    <a:lnTo>
                      <a:pt x="23" y="125"/>
                    </a:lnTo>
                    <a:lnTo>
                      <a:pt x="21" y="124"/>
                    </a:lnTo>
                    <a:lnTo>
                      <a:pt x="19" y="122"/>
                    </a:lnTo>
                    <a:lnTo>
                      <a:pt x="18" y="121"/>
                    </a:lnTo>
                    <a:lnTo>
                      <a:pt x="18" y="120"/>
                    </a:lnTo>
                    <a:lnTo>
                      <a:pt x="18" y="120"/>
                    </a:lnTo>
                    <a:lnTo>
                      <a:pt x="18" y="12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17" name="Freeform 183">
                <a:extLst>
                  <a:ext uri="{FF2B5EF4-FFF2-40B4-BE49-F238E27FC236}">
                    <a16:creationId xmlns:a16="http://schemas.microsoft.com/office/drawing/2014/main" id="{6788F85F-CA16-404D-B550-48EC53C375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4" y="2316"/>
                <a:ext cx="35" cy="25"/>
              </a:xfrm>
              <a:custGeom>
                <a:avLst/>
                <a:gdLst>
                  <a:gd name="T0" fmla="*/ 20 w 35"/>
                  <a:gd name="T1" fmla="*/ 6 h 25"/>
                  <a:gd name="T2" fmla="*/ 14 w 35"/>
                  <a:gd name="T3" fmla="*/ 7 h 25"/>
                  <a:gd name="T4" fmla="*/ 12 w 35"/>
                  <a:gd name="T5" fmla="*/ 4 h 25"/>
                  <a:gd name="T6" fmla="*/ 9 w 35"/>
                  <a:gd name="T7" fmla="*/ 6 h 25"/>
                  <a:gd name="T8" fmla="*/ 9 w 35"/>
                  <a:gd name="T9" fmla="*/ 8 h 25"/>
                  <a:gd name="T10" fmla="*/ 7 w 35"/>
                  <a:gd name="T11" fmla="*/ 10 h 25"/>
                  <a:gd name="T12" fmla="*/ 3 w 35"/>
                  <a:gd name="T13" fmla="*/ 14 h 25"/>
                  <a:gd name="T14" fmla="*/ 0 w 35"/>
                  <a:gd name="T15" fmla="*/ 15 h 25"/>
                  <a:gd name="T16" fmla="*/ 3 w 35"/>
                  <a:gd name="T17" fmla="*/ 14 h 25"/>
                  <a:gd name="T18" fmla="*/ 5 w 35"/>
                  <a:gd name="T19" fmla="*/ 17 h 25"/>
                  <a:gd name="T20" fmla="*/ 5 w 35"/>
                  <a:gd name="T21" fmla="*/ 21 h 25"/>
                  <a:gd name="T22" fmla="*/ 7 w 35"/>
                  <a:gd name="T23" fmla="*/ 23 h 25"/>
                  <a:gd name="T24" fmla="*/ 10 w 35"/>
                  <a:gd name="T25" fmla="*/ 25 h 25"/>
                  <a:gd name="T26" fmla="*/ 18 w 35"/>
                  <a:gd name="T27" fmla="*/ 15 h 25"/>
                  <a:gd name="T28" fmla="*/ 21 w 35"/>
                  <a:gd name="T29" fmla="*/ 14 h 25"/>
                  <a:gd name="T30" fmla="*/ 23 w 35"/>
                  <a:gd name="T31" fmla="*/ 14 h 25"/>
                  <a:gd name="T32" fmla="*/ 27 w 35"/>
                  <a:gd name="T33" fmla="*/ 16 h 25"/>
                  <a:gd name="T34" fmla="*/ 29 w 35"/>
                  <a:gd name="T35" fmla="*/ 15 h 25"/>
                  <a:gd name="T36" fmla="*/ 31 w 35"/>
                  <a:gd name="T37" fmla="*/ 11 h 25"/>
                  <a:gd name="T38" fmla="*/ 35 w 35"/>
                  <a:gd name="T39" fmla="*/ 9 h 25"/>
                  <a:gd name="T40" fmla="*/ 35 w 35"/>
                  <a:gd name="T41" fmla="*/ 7 h 25"/>
                  <a:gd name="T42" fmla="*/ 35 w 35"/>
                  <a:gd name="T43" fmla="*/ 3 h 25"/>
                  <a:gd name="T44" fmla="*/ 35 w 35"/>
                  <a:gd name="T45" fmla="*/ 2 h 25"/>
                  <a:gd name="T46" fmla="*/ 31 w 35"/>
                  <a:gd name="T47" fmla="*/ 2 h 25"/>
                  <a:gd name="T48" fmla="*/ 29 w 35"/>
                  <a:gd name="T49" fmla="*/ 0 h 25"/>
                  <a:gd name="T50" fmla="*/ 27 w 35"/>
                  <a:gd name="T51" fmla="*/ 0 h 25"/>
                  <a:gd name="T52" fmla="*/ 23 w 35"/>
                  <a:gd name="T53" fmla="*/ 1 h 25"/>
                  <a:gd name="T54" fmla="*/ 21 w 35"/>
                  <a:gd name="T55" fmla="*/ 2 h 25"/>
                  <a:gd name="T56" fmla="*/ 20 w 35"/>
                  <a:gd name="T57" fmla="*/ 6 h 25"/>
                  <a:gd name="T58" fmla="*/ 20 w 35"/>
                  <a:gd name="T59" fmla="*/ 6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5" h="25">
                    <a:moveTo>
                      <a:pt x="20" y="6"/>
                    </a:moveTo>
                    <a:lnTo>
                      <a:pt x="14" y="7"/>
                    </a:lnTo>
                    <a:lnTo>
                      <a:pt x="12" y="4"/>
                    </a:lnTo>
                    <a:lnTo>
                      <a:pt x="9" y="6"/>
                    </a:lnTo>
                    <a:lnTo>
                      <a:pt x="9" y="8"/>
                    </a:lnTo>
                    <a:lnTo>
                      <a:pt x="7" y="10"/>
                    </a:lnTo>
                    <a:lnTo>
                      <a:pt x="3" y="14"/>
                    </a:lnTo>
                    <a:lnTo>
                      <a:pt x="0" y="15"/>
                    </a:lnTo>
                    <a:lnTo>
                      <a:pt x="3" y="14"/>
                    </a:lnTo>
                    <a:lnTo>
                      <a:pt x="5" y="17"/>
                    </a:lnTo>
                    <a:lnTo>
                      <a:pt x="5" y="21"/>
                    </a:lnTo>
                    <a:lnTo>
                      <a:pt x="7" y="23"/>
                    </a:lnTo>
                    <a:lnTo>
                      <a:pt x="10" y="25"/>
                    </a:lnTo>
                    <a:lnTo>
                      <a:pt x="18" y="15"/>
                    </a:lnTo>
                    <a:lnTo>
                      <a:pt x="21" y="14"/>
                    </a:lnTo>
                    <a:lnTo>
                      <a:pt x="23" y="14"/>
                    </a:lnTo>
                    <a:lnTo>
                      <a:pt x="27" y="16"/>
                    </a:lnTo>
                    <a:lnTo>
                      <a:pt x="29" y="15"/>
                    </a:lnTo>
                    <a:lnTo>
                      <a:pt x="31" y="11"/>
                    </a:lnTo>
                    <a:lnTo>
                      <a:pt x="35" y="9"/>
                    </a:lnTo>
                    <a:lnTo>
                      <a:pt x="35" y="7"/>
                    </a:lnTo>
                    <a:lnTo>
                      <a:pt x="35" y="3"/>
                    </a:lnTo>
                    <a:lnTo>
                      <a:pt x="35" y="2"/>
                    </a:lnTo>
                    <a:lnTo>
                      <a:pt x="31" y="2"/>
                    </a:lnTo>
                    <a:lnTo>
                      <a:pt x="29" y="0"/>
                    </a:lnTo>
                    <a:lnTo>
                      <a:pt x="27" y="0"/>
                    </a:lnTo>
                    <a:lnTo>
                      <a:pt x="23" y="1"/>
                    </a:lnTo>
                    <a:lnTo>
                      <a:pt x="21" y="2"/>
                    </a:lnTo>
                    <a:lnTo>
                      <a:pt x="20" y="6"/>
                    </a:lnTo>
                    <a:lnTo>
                      <a:pt x="20" y="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18" name="Freeform 184">
                <a:extLst>
                  <a:ext uri="{FF2B5EF4-FFF2-40B4-BE49-F238E27FC236}">
                    <a16:creationId xmlns:a16="http://schemas.microsoft.com/office/drawing/2014/main" id="{69212753-AC70-4C48-B824-B72029232B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29" y="2313"/>
                <a:ext cx="4" cy="5"/>
              </a:xfrm>
              <a:custGeom>
                <a:avLst/>
                <a:gdLst>
                  <a:gd name="T0" fmla="*/ 4 w 4"/>
                  <a:gd name="T1" fmla="*/ 1 h 5"/>
                  <a:gd name="T2" fmla="*/ 4 w 4"/>
                  <a:gd name="T3" fmla="*/ 0 h 5"/>
                  <a:gd name="T4" fmla="*/ 2 w 4"/>
                  <a:gd name="T5" fmla="*/ 2 h 5"/>
                  <a:gd name="T6" fmla="*/ 0 w 4"/>
                  <a:gd name="T7" fmla="*/ 4 h 5"/>
                  <a:gd name="T8" fmla="*/ 0 w 4"/>
                  <a:gd name="T9" fmla="*/ 5 h 5"/>
                  <a:gd name="T10" fmla="*/ 3 w 4"/>
                  <a:gd name="T11" fmla="*/ 5 h 5"/>
                  <a:gd name="T12" fmla="*/ 3 w 4"/>
                  <a:gd name="T13" fmla="*/ 3 h 5"/>
                  <a:gd name="T14" fmla="*/ 4 w 4"/>
                  <a:gd name="T15" fmla="*/ 1 h 5"/>
                  <a:gd name="T16" fmla="*/ 4 w 4"/>
                  <a:gd name="T17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" h="5">
                    <a:moveTo>
                      <a:pt x="4" y="1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5"/>
                    </a:lnTo>
                    <a:lnTo>
                      <a:pt x="3" y="5"/>
                    </a:lnTo>
                    <a:lnTo>
                      <a:pt x="3" y="3"/>
                    </a:lnTo>
                    <a:lnTo>
                      <a:pt x="4" y="1"/>
                    </a:lnTo>
                    <a:lnTo>
                      <a:pt x="4" y="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19" name="Freeform 185">
                <a:extLst>
                  <a:ext uri="{FF2B5EF4-FFF2-40B4-BE49-F238E27FC236}">
                    <a16:creationId xmlns:a16="http://schemas.microsoft.com/office/drawing/2014/main" id="{0DBB4DCF-37C8-4BBF-A2A7-16ACD79A18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69" y="2907"/>
                <a:ext cx="20" cy="14"/>
              </a:xfrm>
              <a:custGeom>
                <a:avLst/>
                <a:gdLst>
                  <a:gd name="T0" fmla="*/ 13 w 20"/>
                  <a:gd name="T1" fmla="*/ 0 h 14"/>
                  <a:gd name="T2" fmla="*/ 7 w 20"/>
                  <a:gd name="T3" fmla="*/ 1 h 14"/>
                  <a:gd name="T4" fmla="*/ 5 w 20"/>
                  <a:gd name="T5" fmla="*/ 5 h 14"/>
                  <a:gd name="T6" fmla="*/ 4 w 20"/>
                  <a:gd name="T7" fmla="*/ 6 h 14"/>
                  <a:gd name="T8" fmla="*/ 0 w 20"/>
                  <a:gd name="T9" fmla="*/ 14 h 14"/>
                  <a:gd name="T10" fmla="*/ 12 w 20"/>
                  <a:gd name="T11" fmla="*/ 14 h 14"/>
                  <a:gd name="T12" fmla="*/ 14 w 20"/>
                  <a:gd name="T13" fmla="*/ 11 h 14"/>
                  <a:gd name="T14" fmla="*/ 15 w 20"/>
                  <a:gd name="T15" fmla="*/ 14 h 14"/>
                  <a:gd name="T16" fmla="*/ 17 w 20"/>
                  <a:gd name="T17" fmla="*/ 14 h 14"/>
                  <a:gd name="T18" fmla="*/ 16 w 20"/>
                  <a:gd name="T19" fmla="*/ 10 h 14"/>
                  <a:gd name="T20" fmla="*/ 14 w 20"/>
                  <a:gd name="T21" fmla="*/ 11 h 14"/>
                  <a:gd name="T22" fmla="*/ 16 w 20"/>
                  <a:gd name="T23" fmla="*/ 10 h 14"/>
                  <a:gd name="T24" fmla="*/ 17 w 20"/>
                  <a:gd name="T25" fmla="*/ 7 h 14"/>
                  <a:gd name="T26" fmla="*/ 20 w 20"/>
                  <a:gd name="T27" fmla="*/ 5 h 14"/>
                  <a:gd name="T28" fmla="*/ 17 w 20"/>
                  <a:gd name="T29" fmla="*/ 1 h 14"/>
                  <a:gd name="T30" fmla="*/ 15 w 20"/>
                  <a:gd name="T31" fmla="*/ 0 h 14"/>
                  <a:gd name="T32" fmla="*/ 13 w 20"/>
                  <a:gd name="T33" fmla="*/ 0 h 14"/>
                  <a:gd name="T34" fmla="*/ 13 w 20"/>
                  <a:gd name="T35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0" h="14">
                    <a:moveTo>
                      <a:pt x="13" y="0"/>
                    </a:moveTo>
                    <a:lnTo>
                      <a:pt x="7" y="1"/>
                    </a:lnTo>
                    <a:lnTo>
                      <a:pt x="5" y="5"/>
                    </a:lnTo>
                    <a:lnTo>
                      <a:pt x="4" y="6"/>
                    </a:lnTo>
                    <a:lnTo>
                      <a:pt x="0" y="14"/>
                    </a:lnTo>
                    <a:lnTo>
                      <a:pt x="12" y="14"/>
                    </a:lnTo>
                    <a:lnTo>
                      <a:pt x="14" y="11"/>
                    </a:lnTo>
                    <a:lnTo>
                      <a:pt x="15" y="14"/>
                    </a:lnTo>
                    <a:lnTo>
                      <a:pt x="17" y="14"/>
                    </a:lnTo>
                    <a:lnTo>
                      <a:pt x="16" y="10"/>
                    </a:lnTo>
                    <a:lnTo>
                      <a:pt x="14" y="11"/>
                    </a:lnTo>
                    <a:lnTo>
                      <a:pt x="16" y="10"/>
                    </a:lnTo>
                    <a:lnTo>
                      <a:pt x="17" y="7"/>
                    </a:lnTo>
                    <a:lnTo>
                      <a:pt x="20" y="5"/>
                    </a:lnTo>
                    <a:lnTo>
                      <a:pt x="17" y="1"/>
                    </a:lnTo>
                    <a:lnTo>
                      <a:pt x="15" y="0"/>
                    </a:lnTo>
                    <a:lnTo>
                      <a:pt x="13" y="0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20" name="Freeform 186">
                <a:extLst>
                  <a:ext uri="{FF2B5EF4-FFF2-40B4-BE49-F238E27FC236}">
                    <a16:creationId xmlns:a16="http://schemas.microsoft.com/office/drawing/2014/main" id="{C4B09ED7-31CC-49AB-826B-FDA5259C04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99" y="2137"/>
                <a:ext cx="81" cy="67"/>
              </a:xfrm>
              <a:custGeom>
                <a:avLst/>
                <a:gdLst>
                  <a:gd name="T0" fmla="*/ 3 w 81"/>
                  <a:gd name="T1" fmla="*/ 66 h 67"/>
                  <a:gd name="T2" fmla="*/ 6 w 81"/>
                  <a:gd name="T3" fmla="*/ 67 h 67"/>
                  <a:gd name="T4" fmla="*/ 10 w 81"/>
                  <a:gd name="T5" fmla="*/ 62 h 67"/>
                  <a:gd name="T6" fmla="*/ 17 w 81"/>
                  <a:gd name="T7" fmla="*/ 62 h 67"/>
                  <a:gd name="T8" fmla="*/ 12 w 81"/>
                  <a:gd name="T9" fmla="*/ 56 h 67"/>
                  <a:gd name="T10" fmla="*/ 7 w 81"/>
                  <a:gd name="T11" fmla="*/ 52 h 67"/>
                  <a:gd name="T12" fmla="*/ 11 w 81"/>
                  <a:gd name="T13" fmla="*/ 49 h 67"/>
                  <a:gd name="T14" fmla="*/ 16 w 81"/>
                  <a:gd name="T15" fmla="*/ 52 h 67"/>
                  <a:gd name="T16" fmla="*/ 24 w 81"/>
                  <a:gd name="T17" fmla="*/ 48 h 67"/>
                  <a:gd name="T18" fmla="*/ 29 w 81"/>
                  <a:gd name="T19" fmla="*/ 49 h 67"/>
                  <a:gd name="T20" fmla="*/ 40 w 81"/>
                  <a:gd name="T21" fmla="*/ 54 h 67"/>
                  <a:gd name="T22" fmla="*/ 47 w 81"/>
                  <a:gd name="T23" fmla="*/ 58 h 67"/>
                  <a:gd name="T24" fmla="*/ 51 w 81"/>
                  <a:gd name="T25" fmla="*/ 50 h 67"/>
                  <a:gd name="T26" fmla="*/ 57 w 81"/>
                  <a:gd name="T27" fmla="*/ 43 h 67"/>
                  <a:gd name="T28" fmla="*/ 61 w 81"/>
                  <a:gd name="T29" fmla="*/ 41 h 67"/>
                  <a:gd name="T30" fmla="*/ 74 w 81"/>
                  <a:gd name="T31" fmla="*/ 40 h 67"/>
                  <a:gd name="T32" fmla="*/ 78 w 81"/>
                  <a:gd name="T33" fmla="*/ 37 h 67"/>
                  <a:gd name="T34" fmla="*/ 79 w 81"/>
                  <a:gd name="T35" fmla="*/ 36 h 67"/>
                  <a:gd name="T36" fmla="*/ 78 w 81"/>
                  <a:gd name="T37" fmla="*/ 37 h 67"/>
                  <a:gd name="T38" fmla="*/ 75 w 81"/>
                  <a:gd name="T39" fmla="*/ 34 h 67"/>
                  <a:gd name="T40" fmla="*/ 72 w 81"/>
                  <a:gd name="T41" fmla="*/ 29 h 67"/>
                  <a:gd name="T42" fmla="*/ 76 w 81"/>
                  <a:gd name="T43" fmla="*/ 22 h 67"/>
                  <a:gd name="T44" fmla="*/ 74 w 81"/>
                  <a:gd name="T45" fmla="*/ 22 h 67"/>
                  <a:gd name="T46" fmla="*/ 62 w 81"/>
                  <a:gd name="T47" fmla="*/ 25 h 67"/>
                  <a:gd name="T48" fmla="*/ 59 w 81"/>
                  <a:gd name="T49" fmla="*/ 23 h 67"/>
                  <a:gd name="T50" fmla="*/ 53 w 81"/>
                  <a:gd name="T51" fmla="*/ 20 h 67"/>
                  <a:gd name="T52" fmla="*/ 44 w 81"/>
                  <a:gd name="T53" fmla="*/ 15 h 67"/>
                  <a:gd name="T54" fmla="*/ 34 w 81"/>
                  <a:gd name="T55" fmla="*/ 3 h 67"/>
                  <a:gd name="T56" fmla="*/ 28 w 81"/>
                  <a:gd name="T57" fmla="*/ 0 h 67"/>
                  <a:gd name="T58" fmla="*/ 25 w 81"/>
                  <a:gd name="T59" fmla="*/ 6 h 67"/>
                  <a:gd name="T60" fmla="*/ 27 w 81"/>
                  <a:gd name="T61" fmla="*/ 15 h 67"/>
                  <a:gd name="T62" fmla="*/ 26 w 81"/>
                  <a:gd name="T63" fmla="*/ 19 h 67"/>
                  <a:gd name="T64" fmla="*/ 24 w 81"/>
                  <a:gd name="T65" fmla="*/ 27 h 67"/>
                  <a:gd name="T66" fmla="*/ 23 w 81"/>
                  <a:gd name="T67" fmla="*/ 34 h 67"/>
                  <a:gd name="T68" fmla="*/ 20 w 81"/>
                  <a:gd name="T69" fmla="*/ 39 h 67"/>
                  <a:gd name="T70" fmla="*/ 12 w 81"/>
                  <a:gd name="T71" fmla="*/ 37 h 67"/>
                  <a:gd name="T72" fmla="*/ 8 w 81"/>
                  <a:gd name="T73" fmla="*/ 37 h 67"/>
                  <a:gd name="T74" fmla="*/ 8 w 81"/>
                  <a:gd name="T75" fmla="*/ 43 h 67"/>
                  <a:gd name="T76" fmla="*/ 1 w 81"/>
                  <a:gd name="T77" fmla="*/ 49 h 67"/>
                  <a:gd name="T78" fmla="*/ 3 w 81"/>
                  <a:gd name="T79" fmla="*/ 56 h 67"/>
                  <a:gd name="T80" fmla="*/ 3 w 81"/>
                  <a:gd name="T81" fmla="*/ 63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81" h="67">
                    <a:moveTo>
                      <a:pt x="3" y="63"/>
                    </a:moveTo>
                    <a:lnTo>
                      <a:pt x="3" y="66"/>
                    </a:lnTo>
                    <a:lnTo>
                      <a:pt x="3" y="67"/>
                    </a:lnTo>
                    <a:lnTo>
                      <a:pt x="6" y="67"/>
                    </a:lnTo>
                    <a:lnTo>
                      <a:pt x="9" y="66"/>
                    </a:lnTo>
                    <a:lnTo>
                      <a:pt x="10" y="62"/>
                    </a:lnTo>
                    <a:lnTo>
                      <a:pt x="12" y="61"/>
                    </a:lnTo>
                    <a:lnTo>
                      <a:pt x="17" y="62"/>
                    </a:lnTo>
                    <a:lnTo>
                      <a:pt x="17" y="59"/>
                    </a:lnTo>
                    <a:lnTo>
                      <a:pt x="12" y="56"/>
                    </a:lnTo>
                    <a:lnTo>
                      <a:pt x="9" y="54"/>
                    </a:lnTo>
                    <a:lnTo>
                      <a:pt x="7" y="52"/>
                    </a:lnTo>
                    <a:lnTo>
                      <a:pt x="8" y="49"/>
                    </a:lnTo>
                    <a:lnTo>
                      <a:pt x="11" y="49"/>
                    </a:lnTo>
                    <a:lnTo>
                      <a:pt x="13" y="49"/>
                    </a:lnTo>
                    <a:lnTo>
                      <a:pt x="16" y="52"/>
                    </a:lnTo>
                    <a:lnTo>
                      <a:pt x="18" y="51"/>
                    </a:lnTo>
                    <a:lnTo>
                      <a:pt x="24" y="48"/>
                    </a:lnTo>
                    <a:lnTo>
                      <a:pt x="26" y="48"/>
                    </a:lnTo>
                    <a:lnTo>
                      <a:pt x="29" y="49"/>
                    </a:lnTo>
                    <a:lnTo>
                      <a:pt x="34" y="52"/>
                    </a:lnTo>
                    <a:lnTo>
                      <a:pt x="40" y="54"/>
                    </a:lnTo>
                    <a:lnTo>
                      <a:pt x="45" y="57"/>
                    </a:lnTo>
                    <a:lnTo>
                      <a:pt x="47" y="58"/>
                    </a:lnTo>
                    <a:lnTo>
                      <a:pt x="49" y="52"/>
                    </a:lnTo>
                    <a:lnTo>
                      <a:pt x="51" y="50"/>
                    </a:lnTo>
                    <a:lnTo>
                      <a:pt x="52" y="46"/>
                    </a:lnTo>
                    <a:lnTo>
                      <a:pt x="57" y="43"/>
                    </a:lnTo>
                    <a:lnTo>
                      <a:pt x="59" y="42"/>
                    </a:lnTo>
                    <a:lnTo>
                      <a:pt x="61" y="41"/>
                    </a:lnTo>
                    <a:lnTo>
                      <a:pt x="68" y="42"/>
                    </a:lnTo>
                    <a:lnTo>
                      <a:pt x="74" y="40"/>
                    </a:lnTo>
                    <a:lnTo>
                      <a:pt x="76" y="39"/>
                    </a:lnTo>
                    <a:lnTo>
                      <a:pt x="78" y="37"/>
                    </a:lnTo>
                    <a:lnTo>
                      <a:pt x="81" y="36"/>
                    </a:lnTo>
                    <a:lnTo>
                      <a:pt x="79" y="36"/>
                    </a:lnTo>
                    <a:lnTo>
                      <a:pt x="78" y="36"/>
                    </a:lnTo>
                    <a:lnTo>
                      <a:pt x="78" y="37"/>
                    </a:lnTo>
                    <a:lnTo>
                      <a:pt x="76" y="36"/>
                    </a:lnTo>
                    <a:lnTo>
                      <a:pt x="75" y="34"/>
                    </a:lnTo>
                    <a:lnTo>
                      <a:pt x="76" y="32"/>
                    </a:lnTo>
                    <a:lnTo>
                      <a:pt x="72" y="29"/>
                    </a:lnTo>
                    <a:lnTo>
                      <a:pt x="72" y="27"/>
                    </a:lnTo>
                    <a:lnTo>
                      <a:pt x="76" y="22"/>
                    </a:lnTo>
                    <a:lnTo>
                      <a:pt x="76" y="18"/>
                    </a:lnTo>
                    <a:lnTo>
                      <a:pt x="74" y="22"/>
                    </a:lnTo>
                    <a:lnTo>
                      <a:pt x="68" y="26"/>
                    </a:lnTo>
                    <a:lnTo>
                      <a:pt x="62" y="25"/>
                    </a:lnTo>
                    <a:lnTo>
                      <a:pt x="61" y="23"/>
                    </a:lnTo>
                    <a:lnTo>
                      <a:pt x="59" y="23"/>
                    </a:lnTo>
                    <a:lnTo>
                      <a:pt x="55" y="23"/>
                    </a:lnTo>
                    <a:lnTo>
                      <a:pt x="53" y="20"/>
                    </a:lnTo>
                    <a:lnTo>
                      <a:pt x="50" y="19"/>
                    </a:lnTo>
                    <a:lnTo>
                      <a:pt x="44" y="15"/>
                    </a:lnTo>
                    <a:lnTo>
                      <a:pt x="41" y="11"/>
                    </a:lnTo>
                    <a:lnTo>
                      <a:pt x="34" y="3"/>
                    </a:lnTo>
                    <a:lnTo>
                      <a:pt x="30" y="1"/>
                    </a:lnTo>
                    <a:lnTo>
                      <a:pt x="28" y="0"/>
                    </a:lnTo>
                    <a:lnTo>
                      <a:pt x="26" y="0"/>
                    </a:lnTo>
                    <a:lnTo>
                      <a:pt x="25" y="6"/>
                    </a:lnTo>
                    <a:lnTo>
                      <a:pt x="27" y="9"/>
                    </a:lnTo>
                    <a:lnTo>
                      <a:pt x="27" y="15"/>
                    </a:lnTo>
                    <a:lnTo>
                      <a:pt x="27" y="17"/>
                    </a:lnTo>
                    <a:lnTo>
                      <a:pt x="26" y="19"/>
                    </a:lnTo>
                    <a:lnTo>
                      <a:pt x="26" y="25"/>
                    </a:lnTo>
                    <a:lnTo>
                      <a:pt x="24" y="27"/>
                    </a:lnTo>
                    <a:lnTo>
                      <a:pt x="21" y="28"/>
                    </a:lnTo>
                    <a:lnTo>
                      <a:pt x="23" y="34"/>
                    </a:lnTo>
                    <a:lnTo>
                      <a:pt x="21" y="37"/>
                    </a:lnTo>
                    <a:lnTo>
                      <a:pt x="20" y="39"/>
                    </a:lnTo>
                    <a:lnTo>
                      <a:pt x="18" y="39"/>
                    </a:lnTo>
                    <a:lnTo>
                      <a:pt x="12" y="37"/>
                    </a:lnTo>
                    <a:lnTo>
                      <a:pt x="10" y="35"/>
                    </a:lnTo>
                    <a:lnTo>
                      <a:pt x="8" y="37"/>
                    </a:lnTo>
                    <a:lnTo>
                      <a:pt x="9" y="40"/>
                    </a:lnTo>
                    <a:lnTo>
                      <a:pt x="8" y="43"/>
                    </a:lnTo>
                    <a:lnTo>
                      <a:pt x="6" y="44"/>
                    </a:lnTo>
                    <a:lnTo>
                      <a:pt x="1" y="49"/>
                    </a:lnTo>
                    <a:lnTo>
                      <a:pt x="0" y="53"/>
                    </a:lnTo>
                    <a:lnTo>
                      <a:pt x="3" y="56"/>
                    </a:lnTo>
                    <a:lnTo>
                      <a:pt x="4" y="58"/>
                    </a:lnTo>
                    <a:lnTo>
                      <a:pt x="3" y="63"/>
                    </a:lnTo>
                    <a:lnTo>
                      <a:pt x="3" y="6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21" name="Freeform 187">
                <a:extLst>
                  <a:ext uri="{FF2B5EF4-FFF2-40B4-BE49-F238E27FC236}">
                    <a16:creationId xmlns:a16="http://schemas.microsoft.com/office/drawing/2014/main" id="{BFBC00F4-8D0C-4356-AA15-4FB6C296F4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0" y="2323"/>
                <a:ext cx="32" cy="44"/>
              </a:xfrm>
              <a:custGeom>
                <a:avLst/>
                <a:gdLst>
                  <a:gd name="T0" fmla="*/ 18 w 32"/>
                  <a:gd name="T1" fmla="*/ 0 h 44"/>
                  <a:gd name="T2" fmla="*/ 19 w 32"/>
                  <a:gd name="T3" fmla="*/ 2 h 44"/>
                  <a:gd name="T4" fmla="*/ 23 w 32"/>
                  <a:gd name="T5" fmla="*/ 5 h 44"/>
                  <a:gd name="T6" fmla="*/ 28 w 32"/>
                  <a:gd name="T7" fmla="*/ 4 h 44"/>
                  <a:gd name="T8" fmla="*/ 26 w 32"/>
                  <a:gd name="T9" fmla="*/ 10 h 44"/>
                  <a:gd name="T10" fmla="*/ 32 w 32"/>
                  <a:gd name="T11" fmla="*/ 12 h 44"/>
                  <a:gd name="T12" fmla="*/ 30 w 32"/>
                  <a:gd name="T13" fmla="*/ 18 h 44"/>
                  <a:gd name="T14" fmla="*/ 28 w 32"/>
                  <a:gd name="T15" fmla="*/ 21 h 44"/>
                  <a:gd name="T16" fmla="*/ 24 w 32"/>
                  <a:gd name="T17" fmla="*/ 30 h 44"/>
                  <a:gd name="T18" fmla="*/ 23 w 32"/>
                  <a:gd name="T19" fmla="*/ 36 h 44"/>
                  <a:gd name="T20" fmla="*/ 21 w 32"/>
                  <a:gd name="T21" fmla="*/ 37 h 44"/>
                  <a:gd name="T22" fmla="*/ 20 w 32"/>
                  <a:gd name="T23" fmla="*/ 40 h 44"/>
                  <a:gd name="T24" fmla="*/ 14 w 32"/>
                  <a:gd name="T25" fmla="*/ 44 h 44"/>
                  <a:gd name="T26" fmla="*/ 15 w 32"/>
                  <a:gd name="T27" fmla="*/ 38 h 44"/>
                  <a:gd name="T28" fmla="*/ 15 w 32"/>
                  <a:gd name="T29" fmla="*/ 34 h 44"/>
                  <a:gd name="T30" fmla="*/ 12 w 32"/>
                  <a:gd name="T31" fmla="*/ 36 h 44"/>
                  <a:gd name="T32" fmla="*/ 8 w 32"/>
                  <a:gd name="T33" fmla="*/ 40 h 44"/>
                  <a:gd name="T34" fmla="*/ 10 w 32"/>
                  <a:gd name="T35" fmla="*/ 35 h 44"/>
                  <a:gd name="T36" fmla="*/ 10 w 32"/>
                  <a:gd name="T37" fmla="*/ 27 h 44"/>
                  <a:gd name="T38" fmla="*/ 13 w 32"/>
                  <a:gd name="T39" fmla="*/ 19 h 44"/>
                  <a:gd name="T40" fmla="*/ 13 w 32"/>
                  <a:gd name="T41" fmla="*/ 17 h 44"/>
                  <a:gd name="T42" fmla="*/ 10 w 32"/>
                  <a:gd name="T43" fmla="*/ 12 h 44"/>
                  <a:gd name="T44" fmla="*/ 8 w 32"/>
                  <a:gd name="T45" fmla="*/ 14 h 44"/>
                  <a:gd name="T46" fmla="*/ 5 w 32"/>
                  <a:gd name="T47" fmla="*/ 18 h 44"/>
                  <a:gd name="T48" fmla="*/ 1 w 32"/>
                  <a:gd name="T49" fmla="*/ 16 h 44"/>
                  <a:gd name="T50" fmla="*/ 2 w 32"/>
                  <a:gd name="T51" fmla="*/ 16 h 44"/>
                  <a:gd name="T52" fmla="*/ 4 w 32"/>
                  <a:gd name="T53" fmla="*/ 13 h 44"/>
                  <a:gd name="T54" fmla="*/ 0 w 32"/>
                  <a:gd name="T55" fmla="*/ 10 h 44"/>
                  <a:gd name="T56" fmla="*/ 2 w 32"/>
                  <a:gd name="T57" fmla="*/ 9 h 44"/>
                  <a:gd name="T58" fmla="*/ 5 w 32"/>
                  <a:gd name="T59" fmla="*/ 8 h 44"/>
                  <a:gd name="T60" fmla="*/ 9 w 32"/>
                  <a:gd name="T61" fmla="*/ 4 h 44"/>
                  <a:gd name="T62" fmla="*/ 12 w 32"/>
                  <a:gd name="T63" fmla="*/ 1 h 44"/>
                  <a:gd name="T64" fmla="*/ 18 w 32"/>
                  <a:gd name="T65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2" h="44">
                    <a:moveTo>
                      <a:pt x="18" y="0"/>
                    </a:moveTo>
                    <a:lnTo>
                      <a:pt x="18" y="0"/>
                    </a:lnTo>
                    <a:lnTo>
                      <a:pt x="18" y="1"/>
                    </a:lnTo>
                    <a:lnTo>
                      <a:pt x="19" y="2"/>
                    </a:lnTo>
                    <a:lnTo>
                      <a:pt x="21" y="4"/>
                    </a:lnTo>
                    <a:lnTo>
                      <a:pt x="23" y="5"/>
                    </a:lnTo>
                    <a:lnTo>
                      <a:pt x="26" y="4"/>
                    </a:lnTo>
                    <a:lnTo>
                      <a:pt x="28" y="4"/>
                    </a:lnTo>
                    <a:lnTo>
                      <a:pt x="28" y="8"/>
                    </a:lnTo>
                    <a:lnTo>
                      <a:pt x="26" y="10"/>
                    </a:lnTo>
                    <a:lnTo>
                      <a:pt x="31" y="10"/>
                    </a:lnTo>
                    <a:lnTo>
                      <a:pt x="32" y="12"/>
                    </a:lnTo>
                    <a:lnTo>
                      <a:pt x="32" y="16"/>
                    </a:lnTo>
                    <a:lnTo>
                      <a:pt x="30" y="18"/>
                    </a:lnTo>
                    <a:lnTo>
                      <a:pt x="28" y="20"/>
                    </a:lnTo>
                    <a:lnTo>
                      <a:pt x="28" y="21"/>
                    </a:lnTo>
                    <a:lnTo>
                      <a:pt x="26" y="27"/>
                    </a:lnTo>
                    <a:lnTo>
                      <a:pt x="24" y="30"/>
                    </a:lnTo>
                    <a:lnTo>
                      <a:pt x="24" y="34"/>
                    </a:lnTo>
                    <a:lnTo>
                      <a:pt x="23" y="36"/>
                    </a:lnTo>
                    <a:lnTo>
                      <a:pt x="23" y="38"/>
                    </a:lnTo>
                    <a:lnTo>
                      <a:pt x="21" y="37"/>
                    </a:lnTo>
                    <a:lnTo>
                      <a:pt x="19" y="38"/>
                    </a:lnTo>
                    <a:lnTo>
                      <a:pt x="20" y="40"/>
                    </a:lnTo>
                    <a:lnTo>
                      <a:pt x="17" y="43"/>
                    </a:lnTo>
                    <a:lnTo>
                      <a:pt x="14" y="44"/>
                    </a:lnTo>
                    <a:lnTo>
                      <a:pt x="15" y="40"/>
                    </a:lnTo>
                    <a:lnTo>
                      <a:pt x="15" y="38"/>
                    </a:lnTo>
                    <a:lnTo>
                      <a:pt x="13" y="36"/>
                    </a:lnTo>
                    <a:lnTo>
                      <a:pt x="15" y="34"/>
                    </a:lnTo>
                    <a:lnTo>
                      <a:pt x="13" y="34"/>
                    </a:lnTo>
                    <a:lnTo>
                      <a:pt x="12" y="36"/>
                    </a:lnTo>
                    <a:lnTo>
                      <a:pt x="13" y="42"/>
                    </a:lnTo>
                    <a:lnTo>
                      <a:pt x="8" y="40"/>
                    </a:lnTo>
                    <a:lnTo>
                      <a:pt x="9" y="37"/>
                    </a:lnTo>
                    <a:lnTo>
                      <a:pt x="10" y="35"/>
                    </a:lnTo>
                    <a:lnTo>
                      <a:pt x="8" y="29"/>
                    </a:lnTo>
                    <a:lnTo>
                      <a:pt x="10" y="27"/>
                    </a:lnTo>
                    <a:lnTo>
                      <a:pt x="13" y="21"/>
                    </a:lnTo>
                    <a:lnTo>
                      <a:pt x="13" y="19"/>
                    </a:lnTo>
                    <a:lnTo>
                      <a:pt x="11" y="19"/>
                    </a:lnTo>
                    <a:lnTo>
                      <a:pt x="13" y="17"/>
                    </a:lnTo>
                    <a:lnTo>
                      <a:pt x="11" y="14"/>
                    </a:lnTo>
                    <a:lnTo>
                      <a:pt x="10" y="12"/>
                    </a:lnTo>
                    <a:lnTo>
                      <a:pt x="6" y="12"/>
                    </a:lnTo>
                    <a:lnTo>
                      <a:pt x="8" y="14"/>
                    </a:lnTo>
                    <a:lnTo>
                      <a:pt x="8" y="18"/>
                    </a:lnTo>
                    <a:lnTo>
                      <a:pt x="5" y="18"/>
                    </a:lnTo>
                    <a:lnTo>
                      <a:pt x="3" y="19"/>
                    </a:lnTo>
                    <a:lnTo>
                      <a:pt x="1" y="16"/>
                    </a:lnTo>
                    <a:lnTo>
                      <a:pt x="2" y="13"/>
                    </a:lnTo>
                    <a:lnTo>
                      <a:pt x="2" y="16"/>
                    </a:lnTo>
                    <a:lnTo>
                      <a:pt x="5" y="17"/>
                    </a:lnTo>
                    <a:lnTo>
                      <a:pt x="4" y="13"/>
                    </a:lnTo>
                    <a:lnTo>
                      <a:pt x="1" y="12"/>
                    </a:lnTo>
                    <a:lnTo>
                      <a:pt x="0" y="10"/>
                    </a:lnTo>
                    <a:lnTo>
                      <a:pt x="2" y="9"/>
                    </a:lnTo>
                    <a:lnTo>
                      <a:pt x="2" y="9"/>
                    </a:lnTo>
                    <a:lnTo>
                      <a:pt x="3" y="7"/>
                    </a:lnTo>
                    <a:lnTo>
                      <a:pt x="5" y="8"/>
                    </a:lnTo>
                    <a:lnTo>
                      <a:pt x="5" y="7"/>
                    </a:lnTo>
                    <a:lnTo>
                      <a:pt x="9" y="4"/>
                    </a:lnTo>
                    <a:lnTo>
                      <a:pt x="11" y="3"/>
                    </a:lnTo>
                    <a:lnTo>
                      <a:pt x="12" y="1"/>
                    </a:lnTo>
                    <a:lnTo>
                      <a:pt x="18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22" name="Freeform 188">
                <a:extLst>
                  <a:ext uri="{FF2B5EF4-FFF2-40B4-BE49-F238E27FC236}">
                    <a16:creationId xmlns:a16="http://schemas.microsoft.com/office/drawing/2014/main" id="{A181707F-FA3C-498C-A601-09FAA5BBAE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59" y="1480"/>
                <a:ext cx="116" cy="44"/>
              </a:xfrm>
              <a:custGeom>
                <a:avLst/>
                <a:gdLst>
                  <a:gd name="T0" fmla="*/ 27 w 116"/>
                  <a:gd name="T1" fmla="*/ 0 h 44"/>
                  <a:gd name="T2" fmla="*/ 22 w 116"/>
                  <a:gd name="T3" fmla="*/ 2 h 44"/>
                  <a:gd name="T4" fmla="*/ 18 w 116"/>
                  <a:gd name="T5" fmla="*/ 2 h 44"/>
                  <a:gd name="T6" fmla="*/ 10 w 116"/>
                  <a:gd name="T7" fmla="*/ 7 h 44"/>
                  <a:gd name="T8" fmla="*/ 12 w 116"/>
                  <a:gd name="T9" fmla="*/ 14 h 44"/>
                  <a:gd name="T10" fmla="*/ 3 w 116"/>
                  <a:gd name="T11" fmla="*/ 14 h 44"/>
                  <a:gd name="T12" fmla="*/ 5 w 116"/>
                  <a:gd name="T13" fmla="*/ 17 h 44"/>
                  <a:gd name="T14" fmla="*/ 4 w 116"/>
                  <a:gd name="T15" fmla="*/ 23 h 44"/>
                  <a:gd name="T16" fmla="*/ 0 w 116"/>
                  <a:gd name="T17" fmla="*/ 25 h 44"/>
                  <a:gd name="T18" fmla="*/ 5 w 116"/>
                  <a:gd name="T19" fmla="*/ 31 h 44"/>
                  <a:gd name="T20" fmla="*/ 13 w 116"/>
                  <a:gd name="T21" fmla="*/ 35 h 44"/>
                  <a:gd name="T22" fmla="*/ 16 w 116"/>
                  <a:gd name="T23" fmla="*/ 40 h 44"/>
                  <a:gd name="T24" fmla="*/ 27 w 116"/>
                  <a:gd name="T25" fmla="*/ 43 h 44"/>
                  <a:gd name="T26" fmla="*/ 33 w 116"/>
                  <a:gd name="T27" fmla="*/ 43 h 44"/>
                  <a:gd name="T28" fmla="*/ 35 w 116"/>
                  <a:gd name="T29" fmla="*/ 38 h 44"/>
                  <a:gd name="T30" fmla="*/ 41 w 116"/>
                  <a:gd name="T31" fmla="*/ 35 h 44"/>
                  <a:gd name="T32" fmla="*/ 43 w 116"/>
                  <a:gd name="T33" fmla="*/ 40 h 44"/>
                  <a:gd name="T34" fmla="*/ 63 w 116"/>
                  <a:gd name="T35" fmla="*/ 36 h 44"/>
                  <a:gd name="T36" fmla="*/ 72 w 116"/>
                  <a:gd name="T37" fmla="*/ 34 h 44"/>
                  <a:gd name="T38" fmla="*/ 72 w 116"/>
                  <a:gd name="T39" fmla="*/ 38 h 44"/>
                  <a:gd name="T40" fmla="*/ 80 w 116"/>
                  <a:gd name="T41" fmla="*/ 38 h 44"/>
                  <a:gd name="T42" fmla="*/ 91 w 116"/>
                  <a:gd name="T43" fmla="*/ 36 h 44"/>
                  <a:gd name="T44" fmla="*/ 90 w 116"/>
                  <a:gd name="T45" fmla="*/ 34 h 44"/>
                  <a:gd name="T46" fmla="*/ 81 w 116"/>
                  <a:gd name="T47" fmla="*/ 32 h 44"/>
                  <a:gd name="T48" fmla="*/ 74 w 116"/>
                  <a:gd name="T49" fmla="*/ 25 h 44"/>
                  <a:gd name="T50" fmla="*/ 73 w 116"/>
                  <a:gd name="T51" fmla="*/ 17 h 44"/>
                  <a:gd name="T52" fmla="*/ 73 w 116"/>
                  <a:gd name="T53" fmla="*/ 16 h 44"/>
                  <a:gd name="T54" fmla="*/ 82 w 116"/>
                  <a:gd name="T55" fmla="*/ 15 h 44"/>
                  <a:gd name="T56" fmla="*/ 83 w 116"/>
                  <a:gd name="T57" fmla="*/ 18 h 44"/>
                  <a:gd name="T58" fmla="*/ 77 w 116"/>
                  <a:gd name="T59" fmla="*/ 22 h 44"/>
                  <a:gd name="T60" fmla="*/ 84 w 116"/>
                  <a:gd name="T61" fmla="*/ 31 h 44"/>
                  <a:gd name="T62" fmla="*/ 93 w 116"/>
                  <a:gd name="T63" fmla="*/ 32 h 44"/>
                  <a:gd name="T64" fmla="*/ 104 w 116"/>
                  <a:gd name="T65" fmla="*/ 32 h 44"/>
                  <a:gd name="T66" fmla="*/ 108 w 116"/>
                  <a:gd name="T67" fmla="*/ 27 h 44"/>
                  <a:gd name="T68" fmla="*/ 108 w 116"/>
                  <a:gd name="T69" fmla="*/ 26 h 44"/>
                  <a:gd name="T70" fmla="*/ 112 w 116"/>
                  <a:gd name="T71" fmla="*/ 21 h 44"/>
                  <a:gd name="T72" fmla="*/ 112 w 116"/>
                  <a:gd name="T73" fmla="*/ 17 h 44"/>
                  <a:gd name="T74" fmla="*/ 107 w 116"/>
                  <a:gd name="T75" fmla="*/ 15 h 44"/>
                  <a:gd name="T76" fmla="*/ 92 w 116"/>
                  <a:gd name="T77" fmla="*/ 10 h 44"/>
                  <a:gd name="T78" fmla="*/ 82 w 116"/>
                  <a:gd name="T79" fmla="*/ 12 h 44"/>
                  <a:gd name="T80" fmla="*/ 76 w 116"/>
                  <a:gd name="T81" fmla="*/ 9 h 44"/>
                  <a:gd name="T82" fmla="*/ 65 w 116"/>
                  <a:gd name="T83" fmla="*/ 4 h 44"/>
                  <a:gd name="T84" fmla="*/ 64 w 116"/>
                  <a:gd name="T85" fmla="*/ 6 h 44"/>
                  <a:gd name="T86" fmla="*/ 56 w 116"/>
                  <a:gd name="T87" fmla="*/ 7 h 44"/>
                  <a:gd name="T88" fmla="*/ 55 w 116"/>
                  <a:gd name="T89" fmla="*/ 14 h 44"/>
                  <a:gd name="T90" fmla="*/ 55 w 116"/>
                  <a:gd name="T91" fmla="*/ 17 h 44"/>
                  <a:gd name="T92" fmla="*/ 49 w 116"/>
                  <a:gd name="T93" fmla="*/ 15 h 44"/>
                  <a:gd name="T94" fmla="*/ 43 w 116"/>
                  <a:gd name="T95" fmla="*/ 12 h 44"/>
                  <a:gd name="T96" fmla="*/ 41 w 116"/>
                  <a:gd name="T97" fmla="*/ 8 h 44"/>
                  <a:gd name="T98" fmla="*/ 30 w 116"/>
                  <a:gd name="T99" fmla="*/ 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16" h="44">
                    <a:moveTo>
                      <a:pt x="30" y="4"/>
                    </a:moveTo>
                    <a:lnTo>
                      <a:pt x="27" y="0"/>
                    </a:lnTo>
                    <a:lnTo>
                      <a:pt x="25" y="0"/>
                    </a:lnTo>
                    <a:lnTo>
                      <a:pt x="22" y="2"/>
                    </a:lnTo>
                    <a:lnTo>
                      <a:pt x="21" y="5"/>
                    </a:lnTo>
                    <a:lnTo>
                      <a:pt x="18" y="2"/>
                    </a:lnTo>
                    <a:lnTo>
                      <a:pt x="16" y="6"/>
                    </a:lnTo>
                    <a:lnTo>
                      <a:pt x="10" y="7"/>
                    </a:lnTo>
                    <a:lnTo>
                      <a:pt x="7" y="8"/>
                    </a:lnTo>
                    <a:lnTo>
                      <a:pt x="12" y="14"/>
                    </a:lnTo>
                    <a:lnTo>
                      <a:pt x="6" y="13"/>
                    </a:lnTo>
                    <a:lnTo>
                      <a:pt x="3" y="14"/>
                    </a:lnTo>
                    <a:lnTo>
                      <a:pt x="3" y="17"/>
                    </a:lnTo>
                    <a:lnTo>
                      <a:pt x="5" y="17"/>
                    </a:lnTo>
                    <a:lnTo>
                      <a:pt x="5" y="21"/>
                    </a:lnTo>
                    <a:lnTo>
                      <a:pt x="4" y="23"/>
                    </a:lnTo>
                    <a:lnTo>
                      <a:pt x="6" y="25"/>
                    </a:lnTo>
                    <a:lnTo>
                      <a:pt x="0" y="25"/>
                    </a:lnTo>
                    <a:lnTo>
                      <a:pt x="1" y="29"/>
                    </a:lnTo>
                    <a:lnTo>
                      <a:pt x="5" y="31"/>
                    </a:lnTo>
                    <a:lnTo>
                      <a:pt x="9" y="34"/>
                    </a:lnTo>
                    <a:lnTo>
                      <a:pt x="13" y="35"/>
                    </a:lnTo>
                    <a:lnTo>
                      <a:pt x="14" y="39"/>
                    </a:lnTo>
                    <a:lnTo>
                      <a:pt x="16" y="40"/>
                    </a:lnTo>
                    <a:lnTo>
                      <a:pt x="25" y="42"/>
                    </a:lnTo>
                    <a:lnTo>
                      <a:pt x="27" y="43"/>
                    </a:lnTo>
                    <a:lnTo>
                      <a:pt x="31" y="44"/>
                    </a:lnTo>
                    <a:lnTo>
                      <a:pt x="33" y="43"/>
                    </a:lnTo>
                    <a:lnTo>
                      <a:pt x="37" y="40"/>
                    </a:lnTo>
                    <a:lnTo>
                      <a:pt x="35" y="38"/>
                    </a:lnTo>
                    <a:lnTo>
                      <a:pt x="38" y="35"/>
                    </a:lnTo>
                    <a:lnTo>
                      <a:pt x="41" y="35"/>
                    </a:lnTo>
                    <a:lnTo>
                      <a:pt x="43" y="39"/>
                    </a:lnTo>
                    <a:lnTo>
                      <a:pt x="43" y="40"/>
                    </a:lnTo>
                    <a:lnTo>
                      <a:pt x="57" y="36"/>
                    </a:lnTo>
                    <a:lnTo>
                      <a:pt x="63" y="36"/>
                    </a:lnTo>
                    <a:lnTo>
                      <a:pt x="68" y="34"/>
                    </a:lnTo>
                    <a:lnTo>
                      <a:pt x="72" y="34"/>
                    </a:lnTo>
                    <a:lnTo>
                      <a:pt x="74" y="36"/>
                    </a:lnTo>
                    <a:lnTo>
                      <a:pt x="72" y="38"/>
                    </a:lnTo>
                    <a:lnTo>
                      <a:pt x="76" y="40"/>
                    </a:lnTo>
                    <a:lnTo>
                      <a:pt x="80" y="38"/>
                    </a:lnTo>
                    <a:lnTo>
                      <a:pt x="85" y="38"/>
                    </a:lnTo>
                    <a:lnTo>
                      <a:pt x="91" y="36"/>
                    </a:lnTo>
                    <a:lnTo>
                      <a:pt x="92" y="34"/>
                    </a:lnTo>
                    <a:lnTo>
                      <a:pt x="90" y="34"/>
                    </a:lnTo>
                    <a:lnTo>
                      <a:pt x="84" y="32"/>
                    </a:lnTo>
                    <a:lnTo>
                      <a:pt x="81" y="32"/>
                    </a:lnTo>
                    <a:lnTo>
                      <a:pt x="78" y="31"/>
                    </a:lnTo>
                    <a:lnTo>
                      <a:pt x="74" y="25"/>
                    </a:lnTo>
                    <a:lnTo>
                      <a:pt x="70" y="17"/>
                    </a:lnTo>
                    <a:lnTo>
                      <a:pt x="73" y="17"/>
                    </a:lnTo>
                    <a:lnTo>
                      <a:pt x="70" y="16"/>
                    </a:lnTo>
                    <a:lnTo>
                      <a:pt x="73" y="16"/>
                    </a:lnTo>
                    <a:lnTo>
                      <a:pt x="76" y="15"/>
                    </a:lnTo>
                    <a:lnTo>
                      <a:pt x="82" y="15"/>
                    </a:lnTo>
                    <a:lnTo>
                      <a:pt x="84" y="16"/>
                    </a:lnTo>
                    <a:lnTo>
                      <a:pt x="83" y="18"/>
                    </a:lnTo>
                    <a:lnTo>
                      <a:pt x="80" y="19"/>
                    </a:lnTo>
                    <a:lnTo>
                      <a:pt x="77" y="22"/>
                    </a:lnTo>
                    <a:lnTo>
                      <a:pt x="78" y="25"/>
                    </a:lnTo>
                    <a:lnTo>
                      <a:pt x="84" y="31"/>
                    </a:lnTo>
                    <a:lnTo>
                      <a:pt x="90" y="32"/>
                    </a:lnTo>
                    <a:lnTo>
                      <a:pt x="93" y="32"/>
                    </a:lnTo>
                    <a:lnTo>
                      <a:pt x="98" y="33"/>
                    </a:lnTo>
                    <a:lnTo>
                      <a:pt x="104" y="32"/>
                    </a:lnTo>
                    <a:lnTo>
                      <a:pt x="107" y="31"/>
                    </a:lnTo>
                    <a:lnTo>
                      <a:pt x="108" y="27"/>
                    </a:lnTo>
                    <a:lnTo>
                      <a:pt x="110" y="26"/>
                    </a:lnTo>
                    <a:lnTo>
                      <a:pt x="108" y="26"/>
                    </a:lnTo>
                    <a:lnTo>
                      <a:pt x="107" y="23"/>
                    </a:lnTo>
                    <a:lnTo>
                      <a:pt x="112" y="21"/>
                    </a:lnTo>
                    <a:lnTo>
                      <a:pt x="116" y="18"/>
                    </a:lnTo>
                    <a:lnTo>
                      <a:pt x="112" y="17"/>
                    </a:lnTo>
                    <a:lnTo>
                      <a:pt x="110" y="17"/>
                    </a:lnTo>
                    <a:lnTo>
                      <a:pt x="107" y="15"/>
                    </a:lnTo>
                    <a:lnTo>
                      <a:pt x="104" y="15"/>
                    </a:lnTo>
                    <a:lnTo>
                      <a:pt x="92" y="10"/>
                    </a:lnTo>
                    <a:lnTo>
                      <a:pt x="84" y="12"/>
                    </a:lnTo>
                    <a:lnTo>
                      <a:pt x="82" y="12"/>
                    </a:lnTo>
                    <a:lnTo>
                      <a:pt x="78" y="10"/>
                    </a:lnTo>
                    <a:lnTo>
                      <a:pt x="76" y="9"/>
                    </a:lnTo>
                    <a:lnTo>
                      <a:pt x="70" y="6"/>
                    </a:lnTo>
                    <a:lnTo>
                      <a:pt x="65" y="4"/>
                    </a:lnTo>
                    <a:lnTo>
                      <a:pt x="61" y="4"/>
                    </a:lnTo>
                    <a:lnTo>
                      <a:pt x="64" y="6"/>
                    </a:lnTo>
                    <a:lnTo>
                      <a:pt x="58" y="5"/>
                    </a:lnTo>
                    <a:lnTo>
                      <a:pt x="56" y="7"/>
                    </a:lnTo>
                    <a:lnTo>
                      <a:pt x="56" y="12"/>
                    </a:lnTo>
                    <a:lnTo>
                      <a:pt x="55" y="14"/>
                    </a:lnTo>
                    <a:lnTo>
                      <a:pt x="57" y="16"/>
                    </a:lnTo>
                    <a:lnTo>
                      <a:pt x="55" y="17"/>
                    </a:lnTo>
                    <a:lnTo>
                      <a:pt x="52" y="17"/>
                    </a:lnTo>
                    <a:lnTo>
                      <a:pt x="49" y="15"/>
                    </a:lnTo>
                    <a:lnTo>
                      <a:pt x="49" y="12"/>
                    </a:lnTo>
                    <a:lnTo>
                      <a:pt x="43" y="12"/>
                    </a:lnTo>
                    <a:lnTo>
                      <a:pt x="42" y="10"/>
                    </a:lnTo>
                    <a:lnTo>
                      <a:pt x="41" y="8"/>
                    </a:lnTo>
                    <a:lnTo>
                      <a:pt x="30" y="4"/>
                    </a:lnTo>
                    <a:lnTo>
                      <a:pt x="30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23" name="Freeform 189">
                <a:extLst>
                  <a:ext uri="{FF2B5EF4-FFF2-40B4-BE49-F238E27FC236}">
                    <a16:creationId xmlns:a16="http://schemas.microsoft.com/office/drawing/2014/main" id="{6045414D-FF4C-445F-A755-65AFB10FE7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99" y="1544"/>
                <a:ext cx="51" cy="19"/>
              </a:xfrm>
              <a:custGeom>
                <a:avLst/>
                <a:gdLst>
                  <a:gd name="T0" fmla="*/ 3 w 51"/>
                  <a:gd name="T1" fmla="*/ 12 h 19"/>
                  <a:gd name="T2" fmla="*/ 0 w 51"/>
                  <a:gd name="T3" fmla="*/ 12 h 19"/>
                  <a:gd name="T4" fmla="*/ 2 w 51"/>
                  <a:gd name="T5" fmla="*/ 14 h 19"/>
                  <a:gd name="T6" fmla="*/ 6 w 51"/>
                  <a:gd name="T7" fmla="*/ 13 h 19"/>
                  <a:gd name="T8" fmla="*/ 11 w 51"/>
                  <a:gd name="T9" fmla="*/ 12 h 19"/>
                  <a:gd name="T10" fmla="*/ 17 w 51"/>
                  <a:gd name="T11" fmla="*/ 13 h 19"/>
                  <a:gd name="T12" fmla="*/ 26 w 51"/>
                  <a:gd name="T13" fmla="*/ 15 h 19"/>
                  <a:gd name="T14" fmla="*/ 41 w 51"/>
                  <a:gd name="T15" fmla="*/ 18 h 19"/>
                  <a:gd name="T16" fmla="*/ 46 w 51"/>
                  <a:gd name="T17" fmla="*/ 19 h 19"/>
                  <a:gd name="T18" fmla="*/ 49 w 51"/>
                  <a:gd name="T19" fmla="*/ 18 h 19"/>
                  <a:gd name="T20" fmla="*/ 51 w 51"/>
                  <a:gd name="T21" fmla="*/ 15 h 19"/>
                  <a:gd name="T22" fmla="*/ 51 w 51"/>
                  <a:gd name="T23" fmla="*/ 12 h 19"/>
                  <a:gd name="T24" fmla="*/ 50 w 51"/>
                  <a:gd name="T25" fmla="*/ 10 h 19"/>
                  <a:gd name="T26" fmla="*/ 46 w 51"/>
                  <a:gd name="T27" fmla="*/ 8 h 19"/>
                  <a:gd name="T28" fmla="*/ 38 w 51"/>
                  <a:gd name="T29" fmla="*/ 2 h 19"/>
                  <a:gd name="T30" fmla="*/ 30 w 51"/>
                  <a:gd name="T31" fmla="*/ 0 h 19"/>
                  <a:gd name="T32" fmla="*/ 25 w 51"/>
                  <a:gd name="T33" fmla="*/ 0 h 19"/>
                  <a:gd name="T34" fmla="*/ 21 w 51"/>
                  <a:gd name="T35" fmla="*/ 1 h 19"/>
                  <a:gd name="T36" fmla="*/ 19 w 51"/>
                  <a:gd name="T37" fmla="*/ 1 h 19"/>
                  <a:gd name="T38" fmla="*/ 16 w 51"/>
                  <a:gd name="T39" fmla="*/ 2 h 19"/>
                  <a:gd name="T40" fmla="*/ 13 w 51"/>
                  <a:gd name="T41" fmla="*/ 4 h 19"/>
                  <a:gd name="T42" fmla="*/ 12 w 51"/>
                  <a:gd name="T43" fmla="*/ 8 h 19"/>
                  <a:gd name="T44" fmla="*/ 10 w 51"/>
                  <a:gd name="T45" fmla="*/ 10 h 19"/>
                  <a:gd name="T46" fmla="*/ 7 w 51"/>
                  <a:gd name="T47" fmla="*/ 12 h 19"/>
                  <a:gd name="T48" fmla="*/ 3 w 51"/>
                  <a:gd name="T49" fmla="*/ 12 h 19"/>
                  <a:gd name="T50" fmla="*/ 3 w 51"/>
                  <a:gd name="T51" fmla="*/ 12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51" h="19">
                    <a:moveTo>
                      <a:pt x="3" y="12"/>
                    </a:moveTo>
                    <a:lnTo>
                      <a:pt x="0" y="12"/>
                    </a:lnTo>
                    <a:lnTo>
                      <a:pt x="2" y="14"/>
                    </a:lnTo>
                    <a:lnTo>
                      <a:pt x="6" y="13"/>
                    </a:lnTo>
                    <a:lnTo>
                      <a:pt x="11" y="12"/>
                    </a:lnTo>
                    <a:lnTo>
                      <a:pt x="17" y="13"/>
                    </a:lnTo>
                    <a:lnTo>
                      <a:pt x="26" y="15"/>
                    </a:lnTo>
                    <a:lnTo>
                      <a:pt x="41" y="18"/>
                    </a:lnTo>
                    <a:lnTo>
                      <a:pt x="46" y="19"/>
                    </a:lnTo>
                    <a:lnTo>
                      <a:pt x="49" y="18"/>
                    </a:lnTo>
                    <a:lnTo>
                      <a:pt x="51" y="15"/>
                    </a:lnTo>
                    <a:lnTo>
                      <a:pt x="51" y="12"/>
                    </a:lnTo>
                    <a:lnTo>
                      <a:pt x="50" y="10"/>
                    </a:lnTo>
                    <a:lnTo>
                      <a:pt x="46" y="8"/>
                    </a:lnTo>
                    <a:lnTo>
                      <a:pt x="38" y="2"/>
                    </a:lnTo>
                    <a:lnTo>
                      <a:pt x="30" y="0"/>
                    </a:lnTo>
                    <a:lnTo>
                      <a:pt x="25" y="0"/>
                    </a:lnTo>
                    <a:lnTo>
                      <a:pt x="21" y="1"/>
                    </a:lnTo>
                    <a:lnTo>
                      <a:pt x="19" y="1"/>
                    </a:lnTo>
                    <a:lnTo>
                      <a:pt x="16" y="2"/>
                    </a:lnTo>
                    <a:lnTo>
                      <a:pt x="13" y="4"/>
                    </a:lnTo>
                    <a:lnTo>
                      <a:pt x="12" y="8"/>
                    </a:lnTo>
                    <a:lnTo>
                      <a:pt x="10" y="10"/>
                    </a:lnTo>
                    <a:lnTo>
                      <a:pt x="7" y="12"/>
                    </a:lnTo>
                    <a:lnTo>
                      <a:pt x="3" y="12"/>
                    </a:lnTo>
                    <a:lnTo>
                      <a:pt x="3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24" name="Freeform 190">
                <a:extLst>
                  <a:ext uri="{FF2B5EF4-FFF2-40B4-BE49-F238E27FC236}">
                    <a16:creationId xmlns:a16="http://schemas.microsoft.com/office/drawing/2014/main" id="{EE97687D-690D-47F7-B999-C069179D7B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03" y="1533"/>
                <a:ext cx="14" cy="11"/>
              </a:xfrm>
              <a:custGeom>
                <a:avLst/>
                <a:gdLst>
                  <a:gd name="T0" fmla="*/ 5 w 14"/>
                  <a:gd name="T1" fmla="*/ 11 h 11"/>
                  <a:gd name="T2" fmla="*/ 9 w 14"/>
                  <a:gd name="T3" fmla="*/ 9 h 11"/>
                  <a:gd name="T4" fmla="*/ 13 w 14"/>
                  <a:gd name="T5" fmla="*/ 8 h 11"/>
                  <a:gd name="T6" fmla="*/ 14 w 14"/>
                  <a:gd name="T7" fmla="*/ 3 h 11"/>
                  <a:gd name="T8" fmla="*/ 11 w 14"/>
                  <a:gd name="T9" fmla="*/ 2 h 11"/>
                  <a:gd name="T10" fmla="*/ 8 w 14"/>
                  <a:gd name="T11" fmla="*/ 0 h 11"/>
                  <a:gd name="T12" fmla="*/ 3 w 14"/>
                  <a:gd name="T13" fmla="*/ 2 h 11"/>
                  <a:gd name="T14" fmla="*/ 0 w 14"/>
                  <a:gd name="T15" fmla="*/ 4 h 11"/>
                  <a:gd name="T16" fmla="*/ 0 w 14"/>
                  <a:gd name="T17" fmla="*/ 7 h 11"/>
                  <a:gd name="T18" fmla="*/ 3 w 14"/>
                  <a:gd name="T19" fmla="*/ 9 h 11"/>
                  <a:gd name="T20" fmla="*/ 5 w 14"/>
                  <a:gd name="T21" fmla="*/ 11 h 11"/>
                  <a:gd name="T22" fmla="*/ 5 w 14"/>
                  <a:gd name="T23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4" h="11">
                    <a:moveTo>
                      <a:pt x="5" y="11"/>
                    </a:moveTo>
                    <a:lnTo>
                      <a:pt x="9" y="9"/>
                    </a:lnTo>
                    <a:lnTo>
                      <a:pt x="13" y="8"/>
                    </a:lnTo>
                    <a:lnTo>
                      <a:pt x="14" y="3"/>
                    </a:lnTo>
                    <a:lnTo>
                      <a:pt x="11" y="2"/>
                    </a:lnTo>
                    <a:lnTo>
                      <a:pt x="8" y="0"/>
                    </a:lnTo>
                    <a:lnTo>
                      <a:pt x="3" y="2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3" y="9"/>
                    </a:lnTo>
                    <a:lnTo>
                      <a:pt x="5" y="11"/>
                    </a:lnTo>
                    <a:lnTo>
                      <a:pt x="5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25" name="Freeform 191">
                <a:extLst>
                  <a:ext uri="{FF2B5EF4-FFF2-40B4-BE49-F238E27FC236}">
                    <a16:creationId xmlns:a16="http://schemas.microsoft.com/office/drawing/2014/main" id="{51AB13DD-1A3B-4021-BFBE-0AA1E5C22A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85" y="1498"/>
                <a:ext cx="66" cy="23"/>
              </a:xfrm>
              <a:custGeom>
                <a:avLst/>
                <a:gdLst>
                  <a:gd name="T0" fmla="*/ 42 w 66"/>
                  <a:gd name="T1" fmla="*/ 23 h 23"/>
                  <a:gd name="T2" fmla="*/ 49 w 66"/>
                  <a:gd name="T3" fmla="*/ 23 h 23"/>
                  <a:gd name="T4" fmla="*/ 55 w 66"/>
                  <a:gd name="T5" fmla="*/ 21 h 23"/>
                  <a:gd name="T6" fmla="*/ 60 w 66"/>
                  <a:gd name="T7" fmla="*/ 20 h 23"/>
                  <a:gd name="T8" fmla="*/ 63 w 66"/>
                  <a:gd name="T9" fmla="*/ 17 h 23"/>
                  <a:gd name="T10" fmla="*/ 65 w 66"/>
                  <a:gd name="T11" fmla="*/ 15 h 23"/>
                  <a:gd name="T12" fmla="*/ 66 w 66"/>
                  <a:gd name="T13" fmla="*/ 13 h 23"/>
                  <a:gd name="T14" fmla="*/ 63 w 66"/>
                  <a:gd name="T15" fmla="*/ 12 h 23"/>
                  <a:gd name="T16" fmla="*/ 61 w 66"/>
                  <a:gd name="T17" fmla="*/ 13 h 23"/>
                  <a:gd name="T18" fmla="*/ 58 w 66"/>
                  <a:gd name="T19" fmla="*/ 12 h 23"/>
                  <a:gd name="T20" fmla="*/ 55 w 66"/>
                  <a:gd name="T21" fmla="*/ 11 h 23"/>
                  <a:gd name="T22" fmla="*/ 44 w 66"/>
                  <a:gd name="T23" fmla="*/ 8 h 23"/>
                  <a:gd name="T24" fmla="*/ 41 w 66"/>
                  <a:gd name="T25" fmla="*/ 9 h 23"/>
                  <a:gd name="T26" fmla="*/ 39 w 66"/>
                  <a:gd name="T27" fmla="*/ 11 h 23"/>
                  <a:gd name="T28" fmla="*/ 35 w 66"/>
                  <a:gd name="T29" fmla="*/ 11 h 23"/>
                  <a:gd name="T30" fmla="*/ 33 w 66"/>
                  <a:gd name="T31" fmla="*/ 8 h 23"/>
                  <a:gd name="T32" fmla="*/ 34 w 66"/>
                  <a:gd name="T33" fmla="*/ 6 h 23"/>
                  <a:gd name="T34" fmla="*/ 31 w 66"/>
                  <a:gd name="T35" fmla="*/ 5 h 23"/>
                  <a:gd name="T36" fmla="*/ 28 w 66"/>
                  <a:gd name="T37" fmla="*/ 5 h 23"/>
                  <a:gd name="T38" fmla="*/ 19 w 66"/>
                  <a:gd name="T39" fmla="*/ 4 h 23"/>
                  <a:gd name="T40" fmla="*/ 17 w 66"/>
                  <a:gd name="T41" fmla="*/ 7 h 23"/>
                  <a:gd name="T42" fmla="*/ 14 w 66"/>
                  <a:gd name="T43" fmla="*/ 7 h 23"/>
                  <a:gd name="T44" fmla="*/ 11 w 66"/>
                  <a:gd name="T45" fmla="*/ 7 h 23"/>
                  <a:gd name="T46" fmla="*/ 8 w 66"/>
                  <a:gd name="T47" fmla="*/ 5 h 23"/>
                  <a:gd name="T48" fmla="*/ 9 w 66"/>
                  <a:gd name="T49" fmla="*/ 3 h 23"/>
                  <a:gd name="T50" fmla="*/ 7 w 66"/>
                  <a:gd name="T51" fmla="*/ 0 h 23"/>
                  <a:gd name="T52" fmla="*/ 3 w 66"/>
                  <a:gd name="T53" fmla="*/ 3 h 23"/>
                  <a:gd name="T54" fmla="*/ 0 w 66"/>
                  <a:gd name="T55" fmla="*/ 11 h 23"/>
                  <a:gd name="T56" fmla="*/ 3 w 66"/>
                  <a:gd name="T57" fmla="*/ 12 h 23"/>
                  <a:gd name="T58" fmla="*/ 9 w 66"/>
                  <a:gd name="T59" fmla="*/ 13 h 23"/>
                  <a:gd name="T60" fmla="*/ 15 w 66"/>
                  <a:gd name="T61" fmla="*/ 16 h 23"/>
                  <a:gd name="T62" fmla="*/ 17 w 66"/>
                  <a:gd name="T63" fmla="*/ 17 h 23"/>
                  <a:gd name="T64" fmla="*/ 20 w 66"/>
                  <a:gd name="T65" fmla="*/ 17 h 23"/>
                  <a:gd name="T66" fmla="*/ 28 w 66"/>
                  <a:gd name="T67" fmla="*/ 22 h 23"/>
                  <a:gd name="T68" fmla="*/ 34 w 66"/>
                  <a:gd name="T69" fmla="*/ 23 h 23"/>
                  <a:gd name="T70" fmla="*/ 42 w 66"/>
                  <a:gd name="T71" fmla="*/ 23 h 23"/>
                  <a:gd name="T72" fmla="*/ 42 w 66"/>
                  <a:gd name="T73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66" h="23">
                    <a:moveTo>
                      <a:pt x="42" y="23"/>
                    </a:moveTo>
                    <a:lnTo>
                      <a:pt x="49" y="23"/>
                    </a:lnTo>
                    <a:lnTo>
                      <a:pt x="55" y="21"/>
                    </a:lnTo>
                    <a:lnTo>
                      <a:pt x="60" y="20"/>
                    </a:lnTo>
                    <a:lnTo>
                      <a:pt x="63" y="17"/>
                    </a:lnTo>
                    <a:lnTo>
                      <a:pt x="65" y="15"/>
                    </a:lnTo>
                    <a:lnTo>
                      <a:pt x="66" y="13"/>
                    </a:lnTo>
                    <a:lnTo>
                      <a:pt x="63" y="12"/>
                    </a:lnTo>
                    <a:lnTo>
                      <a:pt x="61" y="13"/>
                    </a:lnTo>
                    <a:lnTo>
                      <a:pt x="58" y="12"/>
                    </a:lnTo>
                    <a:lnTo>
                      <a:pt x="55" y="11"/>
                    </a:lnTo>
                    <a:lnTo>
                      <a:pt x="44" y="8"/>
                    </a:lnTo>
                    <a:lnTo>
                      <a:pt x="41" y="9"/>
                    </a:lnTo>
                    <a:lnTo>
                      <a:pt x="39" y="11"/>
                    </a:lnTo>
                    <a:lnTo>
                      <a:pt x="35" y="11"/>
                    </a:lnTo>
                    <a:lnTo>
                      <a:pt x="33" y="8"/>
                    </a:lnTo>
                    <a:lnTo>
                      <a:pt x="34" y="6"/>
                    </a:lnTo>
                    <a:lnTo>
                      <a:pt x="31" y="5"/>
                    </a:lnTo>
                    <a:lnTo>
                      <a:pt x="28" y="5"/>
                    </a:lnTo>
                    <a:lnTo>
                      <a:pt x="19" y="4"/>
                    </a:lnTo>
                    <a:lnTo>
                      <a:pt x="17" y="7"/>
                    </a:lnTo>
                    <a:lnTo>
                      <a:pt x="14" y="7"/>
                    </a:lnTo>
                    <a:lnTo>
                      <a:pt x="11" y="7"/>
                    </a:lnTo>
                    <a:lnTo>
                      <a:pt x="8" y="5"/>
                    </a:lnTo>
                    <a:lnTo>
                      <a:pt x="9" y="3"/>
                    </a:lnTo>
                    <a:lnTo>
                      <a:pt x="7" y="0"/>
                    </a:lnTo>
                    <a:lnTo>
                      <a:pt x="3" y="3"/>
                    </a:lnTo>
                    <a:lnTo>
                      <a:pt x="0" y="11"/>
                    </a:lnTo>
                    <a:lnTo>
                      <a:pt x="3" y="12"/>
                    </a:lnTo>
                    <a:lnTo>
                      <a:pt x="9" y="13"/>
                    </a:lnTo>
                    <a:lnTo>
                      <a:pt x="15" y="16"/>
                    </a:lnTo>
                    <a:lnTo>
                      <a:pt x="17" y="17"/>
                    </a:lnTo>
                    <a:lnTo>
                      <a:pt x="20" y="17"/>
                    </a:lnTo>
                    <a:lnTo>
                      <a:pt x="28" y="22"/>
                    </a:lnTo>
                    <a:lnTo>
                      <a:pt x="34" y="23"/>
                    </a:lnTo>
                    <a:lnTo>
                      <a:pt x="42" y="23"/>
                    </a:lnTo>
                    <a:lnTo>
                      <a:pt x="42" y="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26" name="Freeform 192">
                <a:extLst>
                  <a:ext uri="{FF2B5EF4-FFF2-40B4-BE49-F238E27FC236}">
                    <a16:creationId xmlns:a16="http://schemas.microsoft.com/office/drawing/2014/main" id="{04955075-257C-4633-948B-05D7169538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16" y="2863"/>
                <a:ext cx="56" cy="28"/>
              </a:xfrm>
              <a:custGeom>
                <a:avLst/>
                <a:gdLst>
                  <a:gd name="T0" fmla="*/ 34 w 56"/>
                  <a:gd name="T1" fmla="*/ 27 h 28"/>
                  <a:gd name="T2" fmla="*/ 35 w 56"/>
                  <a:gd name="T3" fmla="*/ 26 h 28"/>
                  <a:gd name="T4" fmla="*/ 38 w 56"/>
                  <a:gd name="T5" fmla="*/ 25 h 28"/>
                  <a:gd name="T6" fmla="*/ 40 w 56"/>
                  <a:gd name="T7" fmla="*/ 23 h 28"/>
                  <a:gd name="T8" fmla="*/ 43 w 56"/>
                  <a:gd name="T9" fmla="*/ 21 h 28"/>
                  <a:gd name="T10" fmla="*/ 44 w 56"/>
                  <a:gd name="T11" fmla="*/ 19 h 28"/>
                  <a:gd name="T12" fmla="*/ 49 w 56"/>
                  <a:gd name="T13" fmla="*/ 19 h 28"/>
                  <a:gd name="T14" fmla="*/ 52 w 56"/>
                  <a:gd name="T15" fmla="*/ 17 h 28"/>
                  <a:gd name="T16" fmla="*/ 51 w 56"/>
                  <a:gd name="T17" fmla="*/ 13 h 28"/>
                  <a:gd name="T18" fmla="*/ 52 w 56"/>
                  <a:gd name="T19" fmla="*/ 11 h 28"/>
                  <a:gd name="T20" fmla="*/ 54 w 56"/>
                  <a:gd name="T21" fmla="*/ 10 h 28"/>
                  <a:gd name="T22" fmla="*/ 56 w 56"/>
                  <a:gd name="T23" fmla="*/ 7 h 28"/>
                  <a:gd name="T24" fmla="*/ 55 w 56"/>
                  <a:gd name="T25" fmla="*/ 4 h 28"/>
                  <a:gd name="T26" fmla="*/ 55 w 56"/>
                  <a:gd name="T27" fmla="*/ 2 h 28"/>
                  <a:gd name="T28" fmla="*/ 52 w 56"/>
                  <a:gd name="T29" fmla="*/ 0 h 28"/>
                  <a:gd name="T30" fmla="*/ 49 w 56"/>
                  <a:gd name="T31" fmla="*/ 2 h 28"/>
                  <a:gd name="T32" fmla="*/ 47 w 56"/>
                  <a:gd name="T33" fmla="*/ 0 h 28"/>
                  <a:gd name="T34" fmla="*/ 44 w 56"/>
                  <a:gd name="T35" fmla="*/ 2 h 28"/>
                  <a:gd name="T36" fmla="*/ 46 w 56"/>
                  <a:gd name="T37" fmla="*/ 8 h 28"/>
                  <a:gd name="T38" fmla="*/ 45 w 56"/>
                  <a:gd name="T39" fmla="*/ 10 h 28"/>
                  <a:gd name="T40" fmla="*/ 41 w 56"/>
                  <a:gd name="T41" fmla="*/ 10 h 28"/>
                  <a:gd name="T42" fmla="*/ 39 w 56"/>
                  <a:gd name="T43" fmla="*/ 12 h 28"/>
                  <a:gd name="T44" fmla="*/ 35 w 56"/>
                  <a:gd name="T45" fmla="*/ 18 h 28"/>
                  <a:gd name="T46" fmla="*/ 32 w 56"/>
                  <a:gd name="T47" fmla="*/ 19 h 28"/>
                  <a:gd name="T48" fmla="*/ 30 w 56"/>
                  <a:gd name="T49" fmla="*/ 17 h 28"/>
                  <a:gd name="T50" fmla="*/ 27 w 56"/>
                  <a:gd name="T51" fmla="*/ 19 h 28"/>
                  <a:gd name="T52" fmla="*/ 24 w 56"/>
                  <a:gd name="T53" fmla="*/ 17 h 28"/>
                  <a:gd name="T54" fmla="*/ 23 w 56"/>
                  <a:gd name="T55" fmla="*/ 12 h 28"/>
                  <a:gd name="T56" fmla="*/ 22 w 56"/>
                  <a:gd name="T57" fmla="*/ 15 h 28"/>
                  <a:gd name="T58" fmla="*/ 22 w 56"/>
                  <a:gd name="T59" fmla="*/ 16 h 28"/>
                  <a:gd name="T60" fmla="*/ 21 w 56"/>
                  <a:gd name="T61" fmla="*/ 18 h 28"/>
                  <a:gd name="T62" fmla="*/ 19 w 56"/>
                  <a:gd name="T63" fmla="*/ 19 h 28"/>
                  <a:gd name="T64" fmla="*/ 17 w 56"/>
                  <a:gd name="T65" fmla="*/ 19 h 28"/>
                  <a:gd name="T66" fmla="*/ 17 w 56"/>
                  <a:gd name="T67" fmla="*/ 19 h 28"/>
                  <a:gd name="T68" fmla="*/ 13 w 56"/>
                  <a:gd name="T69" fmla="*/ 19 h 28"/>
                  <a:gd name="T70" fmla="*/ 11 w 56"/>
                  <a:gd name="T71" fmla="*/ 18 h 28"/>
                  <a:gd name="T72" fmla="*/ 5 w 56"/>
                  <a:gd name="T73" fmla="*/ 18 h 28"/>
                  <a:gd name="T74" fmla="*/ 0 w 56"/>
                  <a:gd name="T75" fmla="*/ 19 h 28"/>
                  <a:gd name="T76" fmla="*/ 2 w 56"/>
                  <a:gd name="T77" fmla="*/ 23 h 28"/>
                  <a:gd name="T78" fmla="*/ 5 w 56"/>
                  <a:gd name="T79" fmla="*/ 23 h 28"/>
                  <a:gd name="T80" fmla="*/ 10 w 56"/>
                  <a:gd name="T81" fmla="*/ 26 h 28"/>
                  <a:gd name="T82" fmla="*/ 12 w 56"/>
                  <a:gd name="T83" fmla="*/ 26 h 28"/>
                  <a:gd name="T84" fmla="*/ 15 w 56"/>
                  <a:gd name="T85" fmla="*/ 26 h 28"/>
                  <a:gd name="T86" fmla="*/ 18 w 56"/>
                  <a:gd name="T87" fmla="*/ 28 h 28"/>
                  <a:gd name="T88" fmla="*/ 28 w 56"/>
                  <a:gd name="T89" fmla="*/ 28 h 28"/>
                  <a:gd name="T90" fmla="*/ 30 w 56"/>
                  <a:gd name="T91" fmla="*/ 27 h 28"/>
                  <a:gd name="T92" fmla="*/ 34 w 56"/>
                  <a:gd name="T93" fmla="*/ 27 h 28"/>
                  <a:gd name="T94" fmla="*/ 34 w 56"/>
                  <a:gd name="T95" fmla="*/ 27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56" h="28">
                    <a:moveTo>
                      <a:pt x="34" y="27"/>
                    </a:moveTo>
                    <a:lnTo>
                      <a:pt x="35" y="26"/>
                    </a:lnTo>
                    <a:lnTo>
                      <a:pt x="38" y="25"/>
                    </a:lnTo>
                    <a:lnTo>
                      <a:pt x="40" y="23"/>
                    </a:lnTo>
                    <a:lnTo>
                      <a:pt x="43" y="21"/>
                    </a:lnTo>
                    <a:lnTo>
                      <a:pt x="44" y="19"/>
                    </a:lnTo>
                    <a:lnTo>
                      <a:pt x="49" y="19"/>
                    </a:lnTo>
                    <a:lnTo>
                      <a:pt x="52" y="17"/>
                    </a:lnTo>
                    <a:lnTo>
                      <a:pt x="51" y="13"/>
                    </a:lnTo>
                    <a:lnTo>
                      <a:pt x="52" y="11"/>
                    </a:lnTo>
                    <a:lnTo>
                      <a:pt x="54" y="10"/>
                    </a:lnTo>
                    <a:lnTo>
                      <a:pt x="56" y="7"/>
                    </a:lnTo>
                    <a:lnTo>
                      <a:pt x="55" y="4"/>
                    </a:lnTo>
                    <a:lnTo>
                      <a:pt x="55" y="2"/>
                    </a:lnTo>
                    <a:lnTo>
                      <a:pt x="52" y="0"/>
                    </a:lnTo>
                    <a:lnTo>
                      <a:pt x="49" y="2"/>
                    </a:lnTo>
                    <a:lnTo>
                      <a:pt x="47" y="0"/>
                    </a:lnTo>
                    <a:lnTo>
                      <a:pt x="44" y="2"/>
                    </a:lnTo>
                    <a:lnTo>
                      <a:pt x="46" y="8"/>
                    </a:lnTo>
                    <a:lnTo>
                      <a:pt x="45" y="10"/>
                    </a:lnTo>
                    <a:lnTo>
                      <a:pt x="41" y="10"/>
                    </a:lnTo>
                    <a:lnTo>
                      <a:pt x="39" y="12"/>
                    </a:lnTo>
                    <a:lnTo>
                      <a:pt x="35" y="18"/>
                    </a:lnTo>
                    <a:lnTo>
                      <a:pt x="32" y="19"/>
                    </a:lnTo>
                    <a:lnTo>
                      <a:pt x="30" y="17"/>
                    </a:lnTo>
                    <a:lnTo>
                      <a:pt x="27" y="19"/>
                    </a:lnTo>
                    <a:lnTo>
                      <a:pt x="24" y="17"/>
                    </a:lnTo>
                    <a:lnTo>
                      <a:pt x="23" y="12"/>
                    </a:lnTo>
                    <a:lnTo>
                      <a:pt x="22" y="15"/>
                    </a:lnTo>
                    <a:lnTo>
                      <a:pt x="22" y="16"/>
                    </a:lnTo>
                    <a:lnTo>
                      <a:pt x="21" y="18"/>
                    </a:lnTo>
                    <a:lnTo>
                      <a:pt x="19" y="19"/>
                    </a:lnTo>
                    <a:lnTo>
                      <a:pt x="17" y="19"/>
                    </a:lnTo>
                    <a:lnTo>
                      <a:pt x="17" y="19"/>
                    </a:lnTo>
                    <a:lnTo>
                      <a:pt x="13" y="19"/>
                    </a:lnTo>
                    <a:lnTo>
                      <a:pt x="11" y="18"/>
                    </a:lnTo>
                    <a:lnTo>
                      <a:pt x="5" y="18"/>
                    </a:lnTo>
                    <a:lnTo>
                      <a:pt x="0" y="19"/>
                    </a:lnTo>
                    <a:lnTo>
                      <a:pt x="2" y="23"/>
                    </a:lnTo>
                    <a:lnTo>
                      <a:pt x="5" y="23"/>
                    </a:lnTo>
                    <a:lnTo>
                      <a:pt x="10" y="26"/>
                    </a:lnTo>
                    <a:lnTo>
                      <a:pt x="12" y="26"/>
                    </a:lnTo>
                    <a:lnTo>
                      <a:pt x="15" y="26"/>
                    </a:lnTo>
                    <a:lnTo>
                      <a:pt x="18" y="28"/>
                    </a:lnTo>
                    <a:lnTo>
                      <a:pt x="28" y="28"/>
                    </a:lnTo>
                    <a:lnTo>
                      <a:pt x="30" y="27"/>
                    </a:lnTo>
                    <a:lnTo>
                      <a:pt x="34" y="27"/>
                    </a:lnTo>
                    <a:lnTo>
                      <a:pt x="34" y="2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27" name="Freeform 193">
                <a:extLst>
                  <a:ext uri="{FF2B5EF4-FFF2-40B4-BE49-F238E27FC236}">
                    <a16:creationId xmlns:a16="http://schemas.microsoft.com/office/drawing/2014/main" id="{563A6892-74EC-4EE3-AC92-6C1A94F6B3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48" y="2843"/>
                <a:ext cx="33" cy="28"/>
              </a:xfrm>
              <a:custGeom>
                <a:avLst/>
                <a:gdLst>
                  <a:gd name="T0" fmla="*/ 28 w 33"/>
                  <a:gd name="T1" fmla="*/ 15 h 28"/>
                  <a:gd name="T2" fmla="*/ 25 w 33"/>
                  <a:gd name="T3" fmla="*/ 13 h 28"/>
                  <a:gd name="T4" fmla="*/ 20 w 33"/>
                  <a:gd name="T5" fmla="*/ 9 h 28"/>
                  <a:gd name="T6" fmla="*/ 17 w 33"/>
                  <a:gd name="T7" fmla="*/ 6 h 28"/>
                  <a:gd name="T8" fmla="*/ 14 w 33"/>
                  <a:gd name="T9" fmla="*/ 5 h 28"/>
                  <a:gd name="T10" fmla="*/ 12 w 33"/>
                  <a:gd name="T11" fmla="*/ 3 h 28"/>
                  <a:gd name="T12" fmla="*/ 4 w 33"/>
                  <a:gd name="T13" fmla="*/ 0 h 28"/>
                  <a:gd name="T14" fmla="*/ 0 w 33"/>
                  <a:gd name="T15" fmla="*/ 0 h 28"/>
                  <a:gd name="T16" fmla="*/ 4 w 33"/>
                  <a:gd name="T17" fmla="*/ 1 h 28"/>
                  <a:gd name="T18" fmla="*/ 6 w 33"/>
                  <a:gd name="T19" fmla="*/ 2 h 28"/>
                  <a:gd name="T20" fmla="*/ 17 w 33"/>
                  <a:gd name="T21" fmla="*/ 10 h 28"/>
                  <a:gd name="T22" fmla="*/ 20 w 33"/>
                  <a:gd name="T23" fmla="*/ 11 h 28"/>
                  <a:gd name="T24" fmla="*/ 22 w 33"/>
                  <a:gd name="T25" fmla="*/ 12 h 28"/>
                  <a:gd name="T26" fmla="*/ 26 w 33"/>
                  <a:gd name="T27" fmla="*/ 18 h 28"/>
                  <a:gd name="T28" fmla="*/ 28 w 33"/>
                  <a:gd name="T29" fmla="*/ 20 h 28"/>
                  <a:gd name="T30" fmla="*/ 28 w 33"/>
                  <a:gd name="T31" fmla="*/ 26 h 28"/>
                  <a:gd name="T32" fmla="*/ 30 w 33"/>
                  <a:gd name="T33" fmla="*/ 28 h 28"/>
                  <a:gd name="T34" fmla="*/ 32 w 33"/>
                  <a:gd name="T35" fmla="*/ 27 h 28"/>
                  <a:gd name="T36" fmla="*/ 33 w 33"/>
                  <a:gd name="T37" fmla="*/ 21 h 28"/>
                  <a:gd name="T38" fmla="*/ 31 w 33"/>
                  <a:gd name="T39" fmla="*/ 18 h 28"/>
                  <a:gd name="T40" fmla="*/ 29 w 33"/>
                  <a:gd name="T41" fmla="*/ 16 h 28"/>
                  <a:gd name="T42" fmla="*/ 28 w 33"/>
                  <a:gd name="T43" fmla="*/ 15 h 28"/>
                  <a:gd name="T44" fmla="*/ 28 w 33"/>
                  <a:gd name="T45" fmla="*/ 15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3" h="28">
                    <a:moveTo>
                      <a:pt x="28" y="15"/>
                    </a:moveTo>
                    <a:lnTo>
                      <a:pt x="25" y="13"/>
                    </a:lnTo>
                    <a:lnTo>
                      <a:pt x="20" y="9"/>
                    </a:lnTo>
                    <a:lnTo>
                      <a:pt x="17" y="6"/>
                    </a:lnTo>
                    <a:lnTo>
                      <a:pt x="14" y="5"/>
                    </a:lnTo>
                    <a:lnTo>
                      <a:pt x="12" y="3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4" y="1"/>
                    </a:lnTo>
                    <a:lnTo>
                      <a:pt x="6" y="2"/>
                    </a:lnTo>
                    <a:lnTo>
                      <a:pt x="17" y="10"/>
                    </a:lnTo>
                    <a:lnTo>
                      <a:pt x="20" y="11"/>
                    </a:lnTo>
                    <a:lnTo>
                      <a:pt x="22" y="12"/>
                    </a:lnTo>
                    <a:lnTo>
                      <a:pt x="26" y="18"/>
                    </a:lnTo>
                    <a:lnTo>
                      <a:pt x="28" y="20"/>
                    </a:lnTo>
                    <a:lnTo>
                      <a:pt x="28" y="26"/>
                    </a:lnTo>
                    <a:lnTo>
                      <a:pt x="30" y="28"/>
                    </a:lnTo>
                    <a:lnTo>
                      <a:pt x="32" y="27"/>
                    </a:lnTo>
                    <a:lnTo>
                      <a:pt x="33" y="21"/>
                    </a:lnTo>
                    <a:lnTo>
                      <a:pt x="31" y="18"/>
                    </a:lnTo>
                    <a:lnTo>
                      <a:pt x="29" y="16"/>
                    </a:lnTo>
                    <a:lnTo>
                      <a:pt x="28" y="15"/>
                    </a:lnTo>
                    <a:lnTo>
                      <a:pt x="28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28" name="Freeform 194">
                <a:extLst>
                  <a:ext uri="{FF2B5EF4-FFF2-40B4-BE49-F238E27FC236}">
                    <a16:creationId xmlns:a16="http://schemas.microsoft.com/office/drawing/2014/main" id="{156E1A91-DE47-45D6-8A78-F9FF469DD8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53" y="3135"/>
                <a:ext cx="3" cy="2"/>
              </a:xfrm>
              <a:custGeom>
                <a:avLst/>
                <a:gdLst>
                  <a:gd name="T0" fmla="*/ 2 w 3"/>
                  <a:gd name="T1" fmla="*/ 2 h 2"/>
                  <a:gd name="T2" fmla="*/ 3 w 3"/>
                  <a:gd name="T3" fmla="*/ 1 h 2"/>
                  <a:gd name="T4" fmla="*/ 0 w 3"/>
                  <a:gd name="T5" fmla="*/ 0 h 2"/>
                  <a:gd name="T6" fmla="*/ 2 w 3"/>
                  <a:gd name="T7" fmla="*/ 2 h 2"/>
                  <a:gd name="T8" fmla="*/ 2 w 3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">
                    <a:moveTo>
                      <a:pt x="2" y="2"/>
                    </a:moveTo>
                    <a:lnTo>
                      <a:pt x="3" y="1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29" name="Freeform 195">
                <a:extLst>
                  <a:ext uri="{FF2B5EF4-FFF2-40B4-BE49-F238E27FC236}">
                    <a16:creationId xmlns:a16="http://schemas.microsoft.com/office/drawing/2014/main" id="{8E633E47-8754-45A8-AD07-8F55D531AE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79" y="3153"/>
                <a:ext cx="6" cy="13"/>
              </a:xfrm>
              <a:custGeom>
                <a:avLst/>
                <a:gdLst>
                  <a:gd name="T0" fmla="*/ 2 w 6"/>
                  <a:gd name="T1" fmla="*/ 13 h 13"/>
                  <a:gd name="T2" fmla="*/ 2 w 6"/>
                  <a:gd name="T3" fmla="*/ 11 h 13"/>
                  <a:gd name="T4" fmla="*/ 6 w 6"/>
                  <a:gd name="T5" fmla="*/ 3 h 13"/>
                  <a:gd name="T6" fmla="*/ 5 w 6"/>
                  <a:gd name="T7" fmla="*/ 0 h 13"/>
                  <a:gd name="T8" fmla="*/ 3 w 6"/>
                  <a:gd name="T9" fmla="*/ 3 h 13"/>
                  <a:gd name="T10" fmla="*/ 1 w 6"/>
                  <a:gd name="T11" fmla="*/ 5 h 13"/>
                  <a:gd name="T12" fmla="*/ 1 w 6"/>
                  <a:gd name="T13" fmla="*/ 8 h 13"/>
                  <a:gd name="T14" fmla="*/ 0 w 6"/>
                  <a:gd name="T15" fmla="*/ 10 h 13"/>
                  <a:gd name="T16" fmla="*/ 1 w 6"/>
                  <a:gd name="T17" fmla="*/ 13 h 13"/>
                  <a:gd name="T18" fmla="*/ 2 w 6"/>
                  <a:gd name="T19" fmla="*/ 13 h 13"/>
                  <a:gd name="T20" fmla="*/ 2 w 6"/>
                  <a:gd name="T21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" h="13">
                    <a:moveTo>
                      <a:pt x="2" y="13"/>
                    </a:moveTo>
                    <a:lnTo>
                      <a:pt x="2" y="11"/>
                    </a:lnTo>
                    <a:lnTo>
                      <a:pt x="6" y="3"/>
                    </a:lnTo>
                    <a:lnTo>
                      <a:pt x="5" y="0"/>
                    </a:lnTo>
                    <a:lnTo>
                      <a:pt x="3" y="3"/>
                    </a:lnTo>
                    <a:lnTo>
                      <a:pt x="1" y="5"/>
                    </a:lnTo>
                    <a:lnTo>
                      <a:pt x="1" y="8"/>
                    </a:lnTo>
                    <a:lnTo>
                      <a:pt x="0" y="10"/>
                    </a:lnTo>
                    <a:lnTo>
                      <a:pt x="1" y="13"/>
                    </a:lnTo>
                    <a:lnTo>
                      <a:pt x="2" y="13"/>
                    </a:lnTo>
                    <a:lnTo>
                      <a:pt x="2" y="1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30" name="Freeform 196">
                <a:extLst>
                  <a:ext uri="{FF2B5EF4-FFF2-40B4-BE49-F238E27FC236}">
                    <a16:creationId xmlns:a16="http://schemas.microsoft.com/office/drawing/2014/main" id="{ADD8995A-D31D-4A16-A098-3AB6009120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86" y="3192"/>
                <a:ext cx="0" cy="3"/>
              </a:xfrm>
              <a:custGeom>
                <a:avLst/>
                <a:gdLst>
                  <a:gd name="T0" fmla="*/ 3 h 3"/>
                  <a:gd name="T1" fmla="*/ 3 h 3"/>
                  <a:gd name="T2" fmla="*/ 0 h 3"/>
                  <a:gd name="T3" fmla="*/ 3 h 3"/>
                  <a:gd name="T4" fmla="*/ 3 h 3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31" name="Freeform 197">
                <a:extLst>
                  <a:ext uri="{FF2B5EF4-FFF2-40B4-BE49-F238E27FC236}">
                    <a16:creationId xmlns:a16="http://schemas.microsoft.com/office/drawing/2014/main" id="{ED3661A8-8A6D-4AE5-A95C-CBD18C1B0A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83" y="2917"/>
                <a:ext cx="3" cy="4"/>
              </a:xfrm>
              <a:custGeom>
                <a:avLst/>
                <a:gdLst>
                  <a:gd name="T0" fmla="*/ 0 w 3"/>
                  <a:gd name="T1" fmla="*/ 1 h 4"/>
                  <a:gd name="T2" fmla="*/ 2 w 3"/>
                  <a:gd name="T3" fmla="*/ 0 h 4"/>
                  <a:gd name="T4" fmla="*/ 3 w 3"/>
                  <a:gd name="T5" fmla="*/ 4 h 4"/>
                  <a:gd name="T6" fmla="*/ 1 w 3"/>
                  <a:gd name="T7" fmla="*/ 4 h 4"/>
                  <a:gd name="T8" fmla="*/ 0 w 3"/>
                  <a:gd name="T9" fmla="*/ 1 h 4"/>
                  <a:gd name="T10" fmla="*/ 0 w 3"/>
                  <a:gd name="T11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4">
                    <a:moveTo>
                      <a:pt x="0" y="1"/>
                    </a:moveTo>
                    <a:lnTo>
                      <a:pt x="2" y="0"/>
                    </a:lnTo>
                    <a:lnTo>
                      <a:pt x="3" y="4"/>
                    </a:lnTo>
                    <a:lnTo>
                      <a:pt x="1" y="4"/>
                    </a:lnTo>
                    <a:lnTo>
                      <a:pt x="0" y="1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32" name="Freeform 198">
                <a:extLst>
                  <a:ext uri="{FF2B5EF4-FFF2-40B4-BE49-F238E27FC236}">
                    <a16:creationId xmlns:a16="http://schemas.microsoft.com/office/drawing/2014/main" id="{C875B250-692B-4F6D-A8B9-275B051351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25" y="1978"/>
                <a:ext cx="41" cy="151"/>
              </a:xfrm>
              <a:custGeom>
                <a:avLst/>
                <a:gdLst>
                  <a:gd name="T0" fmla="*/ 0 w 41"/>
                  <a:gd name="T1" fmla="*/ 36 h 151"/>
                  <a:gd name="T2" fmla="*/ 0 w 41"/>
                  <a:gd name="T3" fmla="*/ 45 h 151"/>
                  <a:gd name="T4" fmla="*/ 2 w 41"/>
                  <a:gd name="T5" fmla="*/ 50 h 151"/>
                  <a:gd name="T6" fmla="*/ 8 w 41"/>
                  <a:gd name="T7" fmla="*/ 58 h 151"/>
                  <a:gd name="T8" fmla="*/ 6 w 41"/>
                  <a:gd name="T9" fmla="*/ 64 h 151"/>
                  <a:gd name="T10" fmla="*/ 7 w 41"/>
                  <a:gd name="T11" fmla="*/ 77 h 151"/>
                  <a:gd name="T12" fmla="*/ 4 w 41"/>
                  <a:gd name="T13" fmla="*/ 97 h 151"/>
                  <a:gd name="T14" fmla="*/ 3 w 41"/>
                  <a:gd name="T15" fmla="*/ 106 h 151"/>
                  <a:gd name="T16" fmla="*/ 7 w 41"/>
                  <a:gd name="T17" fmla="*/ 114 h 151"/>
                  <a:gd name="T18" fmla="*/ 4 w 41"/>
                  <a:gd name="T19" fmla="*/ 122 h 151"/>
                  <a:gd name="T20" fmla="*/ 4 w 41"/>
                  <a:gd name="T21" fmla="*/ 127 h 151"/>
                  <a:gd name="T22" fmla="*/ 4 w 41"/>
                  <a:gd name="T23" fmla="*/ 132 h 151"/>
                  <a:gd name="T24" fmla="*/ 2 w 41"/>
                  <a:gd name="T25" fmla="*/ 141 h 151"/>
                  <a:gd name="T26" fmla="*/ 4 w 41"/>
                  <a:gd name="T27" fmla="*/ 151 h 151"/>
                  <a:gd name="T28" fmla="*/ 8 w 41"/>
                  <a:gd name="T29" fmla="*/ 145 h 151"/>
                  <a:gd name="T30" fmla="*/ 12 w 41"/>
                  <a:gd name="T31" fmla="*/ 137 h 151"/>
                  <a:gd name="T32" fmla="*/ 20 w 41"/>
                  <a:gd name="T33" fmla="*/ 140 h 151"/>
                  <a:gd name="T34" fmla="*/ 24 w 41"/>
                  <a:gd name="T35" fmla="*/ 148 h 151"/>
                  <a:gd name="T36" fmla="*/ 26 w 41"/>
                  <a:gd name="T37" fmla="*/ 142 h 151"/>
                  <a:gd name="T38" fmla="*/ 23 w 41"/>
                  <a:gd name="T39" fmla="*/ 136 h 151"/>
                  <a:gd name="T40" fmla="*/ 18 w 41"/>
                  <a:gd name="T41" fmla="*/ 128 h 151"/>
                  <a:gd name="T42" fmla="*/ 11 w 41"/>
                  <a:gd name="T43" fmla="*/ 119 h 151"/>
                  <a:gd name="T44" fmla="*/ 17 w 41"/>
                  <a:gd name="T45" fmla="*/ 100 h 151"/>
                  <a:gd name="T46" fmla="*/ 19 w 41"/>
                  <a:gd name="T47" fmla="*/ 93 h 151"/>
                  <a:gd name="T48" fmla="*/ 23 w 41"/>
                  <a:gd name="T49" fmla="*/ 92 h 151"/>
                  <a:gd name="T50" fmla="*/ 32 w 41"/>
                  <a:gd name="T51" fmla="*/ 92 h 151"/>
                  <a:gd name="T52" fmla="*/ 40 w 41"/>
                  <a:gd name="T53" fmla="*/ 99 h 151"/>
                  <a:gd name="T54" fmla="*/ 41 w 41"/>
                  <a:gd name="T55" fmla="*/ 99 h 151"/>
                  <a:gd name="T56" fmla="*/ 36 w 41"/>
                  <a:gd name="T57" fmla="*/ 94 h 151"/>
                  <a:gd name="T58" fmla="*/ 28 w 41"/>
                  <a:gd name="T59" fmla="*/ 74 h 151"/>
                  <a:gd name="T60" fmla="*/ 23 w 41"/>
                  <a:gd name="T61" fmla="*/ 56 h 151"/>
                  <a:gd name="T62" fmla="*/ 21 w 41"/>
                  <a:gd name="T63" fmla="*/ 47 h 151"/>
                  <a:gd name="T64" fmla="*/ 19 w 41"/>
                  <a:gd name="T65" fmla="*/ 41 h 151"/>
                  <a:gd name="T66" fmla="*/ 20 w 41"/>
                  <a:gd name="T67" fmla="*/ 36 h 151"/>
                  <a:gd name="T68" fmla="*/ 21 w 41"/>
                  <a:gd name="T69" fmla="*/ 36 h 151"/>
                  <a:gd name="T70" fmla="*/ 21 w 41"/>
                  <a:gd name="T71" fmla="*/ 28 h 151"/>
                  <a:gd name="T72" fmla="*/ 19 w 41"/>
                  <a:gd name="T73" fmla="*/ 19 h 151"/>
                  <a:gd name="T74" fmla="*/ 23 w 41"/>
                  <a:gd name="T75" fmla="*/ 28 h 151"/>
                  <a:gd name="T76" fmla="*/ 21 w 41"/>
                  <a:gd name="T77" fmla="*/ 20 h 151"/>
                  <a:gd name="T78" fmla="*/ 17 w 41"/>
                  <a:gd name="T79" fmla="*/ 8 h 151"/>
                  <a:gd name="T80" fmla="*/ 16 w 41"/>
                  <a:gd name="T81" fmla="*/ 0 h 151"/>
                  <a:gd name="T82" fmla="*/ 10 w 41"/>
                  <a:gd name="T83" fmla="*/ 2 h 151"/>
                  <a:gd name="T84" fmla="*/ 12 w 41"/>
                  <a:gd name="T85" fmla="*/ 6 h 151"/>
                  <a:gd name="T86" fmla="*/ 11 w 41"/>
                  <a:gd name="T87" fmla="*/ 14 h 151"/>
                  <a:gd name="T88" fmla="*/ 9 w 41"/>
                  <a:gd name="T89" fmla="*/ 19 h 151"/>
                  <a:gd name="T90" fmla="*/ 2 w 41"/>
                  <a:gd name="T91" fmla="*/ 17 h 151"/>
                  <a:gd name="T92" fmla="*/ 3 w 41"/>
                  <a:gd name="T93" fmla="*/ 25 h 151"/>
                  <a:gd name="T94" fmla="*/ 2 w 41"/>
                  <a:gd name="T95" fmla="*/ 33 h 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41" h="151">
                    <a:moveTo>
                      <a:pt x="2" y="33"/>
                    </a:moveTo>
                    <a:lnTo>
                      <a:pt x="0" y="36"/>
                    </a:lnTo>
                    <a:lnTo>
                      <a:pt x="0" y="39"/>
                    </a:lnTo>
                    <a:lnTo>
                      <a:pt x="0" y="45"/>
                    </a:lnTo>
                    <a:lnTo>
                      <a:pt x="2" y="48"/>
                    </a:lnTo>
                    <a:lnTo>
                      <a:pt x="2" y="50"/>
                    </a:lnTo>
                    <a:lnTo>
                      <a:pt x="4" y="53"/>
                    </a:lnTo>
                    <a:lnTo>
                      <a:pt x="8" y="58"/>
                    </a:lnTo>
                    <a:lnTo>
                      <a:pt x="8" y="60"/>
                    </a:lnTo>
                    <a:lnTo>
                      <a:pt x="6" y="64"/>
                    </a:lnTo>
                    <a:lnTo>
                      <a:pt x="4" y="68"/>
                    </a:lnTo>
                    <a:lnTo>
                      <a:pt x="7" y="77"/>
                    </a:lnTo>
                    <a:lnTo>
                      <a:pt x="6" y="88"/>
                    </a:lnTo>
                    <a:lnTo>
                      <a:pt x="4" y="97"/>
                    </a:lnTo>
                    <a:lnTo>
                      <a:pt x="2" y="102"/>
                    </a:lnTo>
                    <a:lnTo>
                      <a:pt x="3" y="106"/>
                    </a:lnTo>
                    <a:lnTo>
                      <a:pt x="6" y="108"/>
                    </a:lnTo>
                    <a:lnTo>
                      <a:pt x="7" y="114"/>
                    </a:lnTo>
                    <a:lnTo>
                      <a:pt x="7" y="116"/>
                    </a:lnTo>
                    <a:lnTo>
                      <a:pt x="4" y="122"/>
                    </a:lnTo>
                    <a:lnTo>
                      <a:pt x="3" y="124"/>
                    </a:lnTo>
                    <a:lnTo>
                      <a:pt x="4" y="127"/>
                    </a:lnTo>
                    <a:lnTo>
                      <a:pt x="4" y="130"/>
                    </a:lnTo>
                    <a:lnTo>
                      <a:pt x="4" y="132"/>
                    </a:lnTo>
                    <a:lnTo>
                      <a:pt x="2" y="137"/>
                    </a:lnTo>
                    <a:lnTo>
                      <a:pt x="2" y="141"/>
                    </a:lnTo>
                    <a:lnTo>
                      <a:pt x="3" y="149"/>
                    </a:lnTo>
                    <a:lnTo>
                      <a:pt x="4" y="151"/>
                    </a:lnTo>
                    <a:lnTo>
                      <a:pt x="7" y="148"/>
                    </a:lnTo>
                    <a:lnTo>
                      <a:pt x="8" y="145"/>
                    </a:lnTo>
                    <a:lnTo>
                      <a:pt x="10" y="140"/>
                    </a:lnTo>
                    <a:lnTo>
                      <a:pt x="12" y="137"/>
                    </a:lnTo>
                    <a:lnTo>
                      <a:pt x="16" y="139"/>
                    </a:lnTo>
                    <a:lnTo>
                      <a:pt x="20" y="140"/>
                    </a:lnTo>
                    <a:lnTo>
                      <a:pt x="23" y="142"/>
                    </a:lnTo>
                    <a:lnTo>
                      <a:pt x="24" y="148"/>
                    </a:lnTo>
                    <a:lnTo>
                      <a:pt x="25" y="145"/>
                    </a:lnTo>
                    <a:lnTo>
                      <a:pt x="26" y="142"/>
                    </a:lnTo>
                    <a:lnTo>
                      <a:pt x="25" y="136"/>
                    </a:lnTo>
                    <a:lnTo>
                      <a:pt x="23" y="136"/>
                    </a:lnTo>
                    <a:lnTo>
                      <a:pt x="19" y="136"/>
                    </a:lnTo>
                    <a:lnTo>
                      <a:pt x="18" y="128"/>
                    </a:lnTo>
                    <a:lnTo>
                      <a:pt x="12" y="123"/>
                    </a:lnTo>
                    <a:lnTo>
                      <a:pt x="11" y="119"/>
                    </a:lnTo>
                    <a:lnTo>
                      <a:pt x="12" y="114"/>
                    </a:lnTo>
                    <a:lnTo>
                      <a:pt x="17" y="100"/>
                    </a:lnTo>
                    <a:lnTo>
                      <a:pt x="18" y="94"/>
                    </a:lnTo>
                    <a:lnTo>
                      <a:pt x="19" y="93"/>
                    </a:lnTo>
                    <a:lnTo>
                      <a:pt x="26" y="91"/>
                    </a:lnTo>
                    <a:lnTo>
                      <a:pt x="23" y="92"/>
                    </a:lnTo>
                    <a:lnTo>
                      <a:pt x="26" y="91"/>
                    </a:lnTo>
                    <a:lnTo>
                      <a:pt x="32" y="92"/>
                    </a:lnTo>
                    <a:lnTo>
                      <a:pt x="34" y="94"/>
                    </a:lnTo>
                    <a:lnTo>
                      <a:pt x="40" y="99"/>
                    </a:lnTo>
                    <a:lnTo>
                      <a:pt x="41" y="102"/>
                    </a:lnTo>
                    <a:lnTo>
                      <a:pt x="41" y="99"/>
                    </a:lnTo>
                    <a:lnTo>
                      <a:pt x="38" y="98"/>
                    </a:lnTo>
                    <a:lnTo>
                      <a:pt x="36" y="94"/>
                    </a:lnTo>
                    <a:lnTo>
                      <a:pt x="32" y="80"/>
                    </a:lnTo>
                    <a:lnTo>
                      <a:pt x="28" y="74"/>
                    </a:lnTo>
                    <a:lnTo>
                      <a:pt x="26" y="58"/>
                    </a:lnTo>
                    <a:lnTo>
                      <a:pt x="23" y="56"/>
                    </a:lnTo>
                    <a:lnTo>
                      <a:pt x="24" y="53"/>
                    </a:lnTo>
                    <a:lnTo>
                      <a:pt x="21" y="47"/>
                    </a:lnTo>
                    <a:lnTo>
                      <a:pt x="20" y="46"/>
                    </a:lnTo>
                    <a:lnTo>
                      <a:pt x="19" y="41"/>
                    </a:lnTo>
                    <a:lnTo>
                      <a:pt x="20" y="38"/>
                    </a:lnTo>
                    <a:lnTo>
                      <a:pt x="20" y="36"/>
                    </a:lnTo>
                    <a:lnTo>
                      <a:pt x="21" y="32"/>
                    </a:lnTo>
                    <a:lnTo>
                      <a:pt x="21" y="36"/>
                    </a:lnTo>
                    <a:lnTo>
                      <a:pt x="23" y="30"/>
                    </a:lnTo>
                    <a:lnTo>
                      <a:pt x="21" y="28"/>
                    </a:lnTo>
                    <a:lnTo>
                      <a:pt x="19" y="24"/>
                    </a:lnTo>
                    <a:lnTo>
                      <a:pt x="19" y="19"/>
                    </a:lnTo>
                    <a:lnTo>
                      <a:pt x="21" y="22"/>
                    </a:lnTo>
                    <a:lnTo>
                      <a:pt x="23" y="28"/>
                    </a:lnTo>
                    <a:lnTo>
                      <a:pt x="21" y="22"/>
                    </a:lnTo>
                    <a:lnTo>
                      <a:pt x="21" y="20"/>
                    </a:lnTo>
                    <a:lnTo>
                      <a:pt x="18" y="14"/>
                    </a:lnTo>
                    <a:lnTo>
                      <a:pt x="17" y="8"/>
                    </a:lnTo>
                    <a:lnTo>
                      <a:pt x="17" y="3"/>
                    </a:lnTo>
                    <a:lnTo>
                      <a:pt x="16" y="0"/>
                    </a:lnTo>
                    <a:lnTo>
                      <a:pt x="12" y="0"/>
                    </a:lnTo>
                    <a:lnTo>
                      <a:pt x="10" y="2"/>
                    </a:lnTo>
                    <a:lnTo>
                      <a:pt x="11" y="4"/>
                    </a:lnTo>
                    <a:lnTo>
                      <a:pt x="12" y="6"/>
                    </a:lnTo>
                    <a:lnTo>
                      <a:pt x="14" y="10"/>
                    </a:lnTo>
                    <a:lnTo>
                      <a:pt x="11" y="14"/>
                    </a:lnTo>
                    <a:lnTo>
                      <a:pt x="11" y="17"/>
                    </a:lnTo>
                    <a:lnTo>
                      <a:pt x="9" y="19"/>
                    </a:lnTo>
                    <a:lnTo>
                      <a:pt x="8" y="15"/>
                    </a:lnTo>
                    <a:lnTo>
                      <a:pt x="2" y="17"/>
                    </a:lnTo>
                    <a:lnTo>
                      <a:pt x="2" y="22"/>
                    </a:lnTo>
                    <a:lnTo>
                      <a:pt x="3" y="25"/>
                    </a:lnTo>
                    <a:lnTo>
                      <a:pt x="2" y="28"/>
                    </a:lnTo>
                    <a:lnTo>
                      <a:pt x="2" y="33"/>
                    </a:lnTo>
                    <a:lnTo>
                      <a:pt x="2" y="3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33" name="Freeform 199">
                <a:extLst>
                  <a:ext uri="{FF2B5EF4-FFF2-40B4-BE49-F238E27FC236}">
                    <a16:creationId xmlns:a16="http://schemas.microsoft.com/office/drawing/2014/main" id="{BD78BE68-2796-4291-B022-AA8D543173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82" y="1643"/>
                <a:ext cx="22" cy="12"/>
              </a:xfrm>
              <a:custGeom>
                <a:avLst/>
                <a:gdLst>
                  <a:gd name="T0" fmla="*/ 9 w 22"/>
                  <a:gd name="T1" fmla="*/ 0 h 12"/>
                  <a:gd name="T2" fmla="*/ 7 w 22"/>
                  <a:gd name="T3" fmla="*/ 0 h 12"/>
                  <a:gd name="T4" fmla="*/ 5 w 22"/>
                  <a:gd name="T5" fmla="*/ 0 h 12"/>
                  <a:gd name="T6" fmla="*/ 2 w 22"/>
                  <a:gd name="T7" fmla="*/ 3 h 12"/>
                  <a:gd name="T8" fmla="*/ 0 w 22"/>
                  <a:gd name="T9" fmla="*/ 5 h 12"/>
                  <a:gd name="T10" fmla="*/ 5 w 22"/>
                  <a:gd name="T11" fmla="*/ 8 h 12"/>
                  <a:gd name="T12" fmla="*/ 8 w 22"/>
                  <a:gd name="T13" fmla="*/ 9 h 12"/>
                  <a:gd name="T14" fmla="*/ 13 w 22"/>
                  <a:gd name="T15" fmla="*/ 10 h 12"/>
                  <a:gd name="T16" fmla="*/ 19 w 22"/>
                  <a:gd name="T17" fmla="*/ 12 h 12"/>
                  <a:gd name="T18" fmla="*/ 22 w 22"/>
                  <a:gd name="T19" fmla="*/ 6 h 12"/>
                  <a:gd name="T20" fmla="*/ 20 w 22"/>
                  <a:gd name="T21" fmla="*/ 3 h 12"/>
                  <a:gd name="T22" fmla="*/ 17 w 22"/>
                  <a:gd name="T23" fmla="*/ 3 h 12"/>
                  <a:gd name="T24" fmla="*/ 9 w 22"/>
                  <a:gd name="T25" fmla="*/ 0 h 12"/>
                  <a:gd name="T26" fmla="*/ 9 w 22"/>
                  <a:gd name="T27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2" h="12">
                    <a:moveTo>
                      <a:pt x="9" y="0"/>
                    </a:moveTo>
                    <a:lnTo>
                      <a:pt x="7" y="0"/>
                    </a:lnTo>
                    <a:lnTo>
                      <a:pt x="5" y="0"/>
                    </a:lnTo>
                    <a:lnTo>
                      <a:pt x="2" y="3"/>
                    </a:lnTo>
                    <a:lnTo>
                      <a:pt x="0" y="5"/>
                    </a:lnTo>
                    <a:lnTo>
                      <a:pt x="5" y="8"/>
                    </a:lnTo>
                    <a:lnTo>
                      <a:pt x="8" y="9"/>
                    </a:lnTo>
                    <a:lnTo>
                      <a:pt x="13" y="10"/>
                    </a:lnTo>
                    <a:lnTo>
                      <a:pt x="19" y="12"/>
                    </a:lnTo>
                    <a:lnTo>
                      <a:pt x="22" y="6"/>
                    </a:lnTo>
                    <a:lnTo>
                      <a:pt x="20" y="3"/>
                    </a:lnTo>
                    <a:lnTo>
                      <a:pt x="17" y="3"/>
                    </a:lnTo>
                    <a:lnTo>
                      <a:pt x="9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34" name="Freeform 200">
                <a:extLst>
                  <a:ext uri="{FF2B5EF4-FFF2-40B4-BE49-F238E27FC236}">
                    <a16:creationId xmlns:a16="http://schemas.microsoft.com/office/drawing/2014/main" id="{B8C6FD65-65B1-4FDF-9A99-8DE7B88B60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0" y="1604"/>
                <a:ext cx="53" cy="19"/>
              </a:xfrm>
              <a:custGeom>
                <a:avLst/>
                <a:gdLst>
                  <a:gd name="T0" fmla="*/ 19 w 53"/>
                  <a:gd name="T1" fmla="*/ 15 h 19"/>
                  <a:gd name="T2" fmla="*/ 24 w 53"/>
                  <a:gd name="T3" fmla="*/ 15 h 19"/>
                  <a:gd name="T4" fmla="*/ 26 w 53"/>
                  <a:gd name="T5" fmla="*/ 18 h 19"/>
                  <a:gd name="T6" fmla="*/ 30 w 53"/>
                  <a:gd name="T7" fmla="*/ 17 h 19"/>
                  <a:gd name="T8" fmla="*/ 39 w 53"/>
                  <a:gd name="T9" fmla="*/ 15 h 19"/>
                  <a:gd name="T10" fmla="*/ 42 w 53"/>
                  <a:gd name="T11" fmla="*/ 14 h 19"/>
                  <a:gd name="T12" fmla="*/ 48 w 53"/>
                  <a:gd name="T13" fmla="*/ 13 h 19"/>
                  <a:gd name="T14" fmla="*/ 51 w 53"/>
                  <a:gd name="T15" fmla="*/ 13 h 19"/>
                  <a:gd name="T16" fmla="*/ 53 w 53"/>
                  <a:gd name="T17" fmla="*/ 11 h 19"/>
                  <a:gd name="T18" fmla="*/ 53 w 53"/>
                  <a:gd name="T19" fmla="*/ 8 h 19"/>
                  <a:gd name="T20" fmla="*/ 51 w 53"/>
                  <a:gd name="T21" fmla="*/ 6 h 19"/>
                  <a:gd name="T22" fmla="*/ 45 w 53"/>
                  <a:gd name="T23" fmla="*/ 3 h 19"/>
                  <a:gd name="T24" fmla="*/ 42 w 53"/>
                  <a:gd name="T25" fmla="*/ 1 h 19"/>
                  <a:gd name="T26" fmla="*/ 34 w 53"/>
                  <a:gd name="T27" fmla="*/ 0 h 19"/>
                  <a:gd name="T28" fmla="*/ 27 w 53"/>
                  <a:gd name="T29" fmla="*/ 1 h 19"/>
                  <a:gd name="T30" fmla="*/ 23 w 53"/>
                  <a:gd name="T31" fmla="*/ 1 h 19"/>
                  <a:gd name="T32" fmla="*/ 14 w 53"/>
                  <a:gd name="T33" fmla="*/ 3 h 19"/>
                  <a:gd name="T34" fmla="*/ 9 w 53"/>
                  <a:gd name="T35" fmla="*/ 8 h 19"/>
                  <a:gd name="T36" fmla="*/ 6 w 53"/>
                  <a:gd name="T37" fmla="*/ 9 h 19"/>
                  <a:gd name="T38" fmla="*/ 0 w 53"/>
                  <a:gd name="T39" fmla="*/ 13 h 19"/>
                  <a:gd name="T40" fmla="*/ 4 w 53"/>
                  <a:gd name="T41" fmla="*/ 19 h 19"/>
                  <a:gd name="T42" fmla="*/ 8 w 53"/>
                  <a:gd name="T43" fmla="*/ 18 h 19"/>
                  <a:gd name="T44" fmla="*/ 14 w 53"/>
                  <a:gd name="T45" fmla="*/ 18 h 19"/>
                  <a:gd name="T46" fmla="*/ 19 w 53"/>
                  <a:gd name="T47" fmla="*/ 15 h 19"/>
                  <a:gd name="T48" fmla="*/ 19 w 53"/>
                  <a:gd name="T49" fmla="*/ 15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3" h="19">
                    <a:moveTo>
                      <a:pt x="19" y="15"/>
                    </a:moveTo>
                    <a:lnTo>
                      <a:pt x="24" y="15"/>
                    </a:lnTo>
                    <a:lnTo>
                      <a:pt x="26" y="18"/>
                    </a:lnTo>
                    <a:lnTo>
                      <a:pt x="30" y="17"/>
                    </a:lnTo>
                    <a:lnTo>
                      <a:pt x="39" y="15"/>
                    </a:lnTo>
                    <a:lnTo>
                      <a:pt x="42" y="14"/>
                    </a:lnTo>
                    <a:lnTo>
                      <a:pt x="48" y="13"/>
                    </a:lnTo>
                    <a:lnTo>
                      <a:pt x="51" y="13"/>
                    </a:lnTo>
                    <a:lnTo>
                      <a:pt x="53" y="11"/>
                    </a:lnTo>
                    <a:lnTo>
                      <a:pt x="53" y="8"/>
                    </a:lnTo>
                    <a:lnTo>
                      <a:pt x="51" y="6"/>
                    </a:lnTo>
                    <a:lnTo>
                      <a:pt x="45" y="3"/>
                    </a:lnTo>
                    <a:lnTo>
                      <a:pt x="42" y="1"/>
                    </a:lnTo>
                    <a:lnTo>
                      <a:pt x="34" y="0"/>
                    </a:lnTo>
                    <a:lnTo>
                      <a:pt x="27" y="1"/>
                    </a:lnTo>
                    <a:lnTo>
                      <a:pt x="23" y="1"/>
                    </a:lnTo>
                    <a:lnTo>
                      <a:pt x="14" y="3"/>
                    </a:lnTo>
                    <a:lnTo>
                      <a:pt x="9" y="8"/>
                    </a:lnTo>
                    <a:lnTo>
                      <a:pt x="6" y="9"/>
                    </a:lnTo>
                    <a:lnTo>
                      <a:pt x="0" y="13"/>
                    </a:lnTo>
                    <a:lnTo>
                      <a:pt x="4" y="19"/>
                    </a:lnTo>
                    <a:lnTo>
                      <a:pt x="8" y="18"/>
                    </a:lnTo>
                    <a:lnTo>
                      <a:pt x="14" y="18"/>
                    </a:lnTo>
                    <a:lnTo>
                      <a:pt x="19" y="15"/>
                    </a:lnTo>
                    <a:lnTo>
                      <a:pt x="19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35" name="Freeform 201">
                <a:extLst>
                  <a:ext uri="{FF2B5EF4-FFF2-40B4-BE49-F238E27FC236}">
                    <a16:creationId xmlns:a16="http://schemas.microsoft.com/office/drawing/2014/main" id="{266E7798-5CDE-493F-A740-699A1D4A56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65" y="3392"/>
                <a:ext cx="106" cy="103"/>
              </a:xfrm>
              <a:custGeom>
                <a:avLst/>
                <a:gdLst>
                  <a:gd name="T0" fmla="*/ 18 w 106"/>
                  <a:gd name="T1" fmla="*/ 68 h 103"/>
                  <a:gd name="T2" fmla="*/ 12 w 106"/>
                  <a:gd name="T3" fmla="*/ 74 h 103"/>
                  <a:gd name="T4" fmla="*/ 8 w 106"/>
                  <a:gd name="T5" fmla="*/ 77 h 103"/>
                  <a:gd name="T6" fmla="*/ 9 w 106"/>
                  <a:gd name="T7" fmla="*/ 82 h 103"/>
                  <a:gd name="T8" fmla="*/ 3 w 106"/>
                  <a:gd name="T9" fmla="*/ 82 h 103"/>
                  <a:gd name="T10" fmla="*/ 3 w 106"/>
                  <a:gd name="T11" fmla="*/ 85 h 103"/>
                  <a:gd name="T12" fmla="*/ 3 w 106"/>
                  <a:gd name="T13" fmla="*/ 87 h 103"/>
                  <a:gd name="T14" fmla="*/ 1 w 106"/>
                  <a:gd name="T15" fmla="*/ 88 h 103"/>
                  <a:gd name="T16" fmla="*/ 0 w 106"/>
                  <a:gd name="T17" fmla="*/ 91 h 103"/>
                  <a:gd name="T18" fmla="*/ 1 w 106"/>
                  <a:gd name="T19" fmla="*/ 93 h 103"/>
                  <a:gd name="T20" fmla="*/ 2 w 106"/>
                  <a:gd name="T21" fmla="*/ 95 h 103"/>
                  <a:gd name="T22" fmla="*/ 12 w 106"/>
                  <a:gd name="T23" fmla="*/ 95 h 103"/>
                  <a:gd name="T24" fmla="*/ 17 w 106"/>
                  <a:gd name="T25" fmla="*/ 98 h 103"/>
                  <a:gd name="T26" fmla="*/ 25 w 106"/>
                  <a:gd name="T27" fmla="*/ 99 h 103"/>
                  <a:gd name="T28" fmla="*/ 28 w 106"/>
                  <a:gd name="T29" fmla="*/ 102 h 103"/>
                  <a:gd name="T30" fmla="*/ 33 w 106"/>
                  <a:gd name="T31" fmla="*/ 103 h 103"/>
                  <a:gd name="T32" fmla="*/ 43 w 106"/>
                  <a:gd name="T33" fmla="*/ 101 h 103"/>
                  <a:gd name="T34" fmla="*/ 47 w 106"/>
                  <a:gd name="T35" fmla="*/ 96 h 103"/>
                  <a:gd name="T36" fmla="*/ 55 w 106"/>
                  <a:gd name="T37" fmla="*/ 90 h 103"/>
                  <a:gd name="T38" fmla="*/ 59 w 106"/>
                  <a:gd name="T39" fmla="*/ 82 h 103"/>
                  <a:gd name="T40" fmla="*/ 63 w 106"/>
                  <a:gd name="T41" fmla="*/ 73 h 103"/>
                  <a:gd name="T42" fmla="*/ 63 w 106"/>
                  <a:gd name="T43" fmla="*/ 68 h 103"/>
                  <a:gd name="T44" fmla="*/ 70 w 106"/>
                  <a:gd name="T45" fmla="*/ 60 h 103"/>
                  <a:gd name="T46" fmla="*/ 90 w 106"/>
                  <a:gd name="T47" fmla="*/ 54 h 103"/>
                  <a:gd name="T48" fmla="*/ 86 w 106"/>
                  <a:gd name="T49" fmla="*/ 51 h 103"/>
                  <a:gd name="T50" fmla="*/ 85 w 106"/>
                  <a:gd name="T51" fmla="*/ 46 h 103"/>
                  <a:gd name="T52" fmla="*/ 89 w 106"/>
                  <a:gd name="T53" fmla="*/ 42 h 103"/>
                  <a:gd name="T54" fmla="*/ 96 w 106"/>
                  <a:gd name="T55" fmla="*/ 33 h 103"/>
                  <a:gd name="T56" fmla="*/ 102 w 106"/>
                  <a:gd name="T57" fmla="*/ 27 h 103"/>
                  <a:gd name="T58" fmla="*/ 106 w 106"/>
                  <a:gd name="T59" fmla="*/ 21 h 103"/>
                  <a:gd name="T60" fmla="*/ 103 w 106"/>
                  <a:gd name="T61" fmla="*/ 16 h 103"/>
                  <a:gd name="T62" fmla="*/ 103 w 106"/>
                  <a:gd name="T63" fmla="*/ 13 h 103"/>
                  <a:gd name="T64" fmla="*/ 105 w 106"/>
                  <a:gd name="T65" fmla="*/ 11 h 103"/>
                  <a:gd name="T66" fmla="*/ 103 w 106"/>
                  <a:gd name="T67" fmla="*/ 9 h 103"/>
                  <a:gd name="T68" fmla="*/ 99 w 106"/>
                  <a:gd name="T69" fmla="*/ 12 h 103"/>
                  <a:gd name="T70" fmla="*/ 99 w 106"/>
                  <a:gd name="T71" fmla="*/ 9 h 103"/>
                  <a:gd name="T72" fmla="*/ 97 w 106"/>
                  <a:gd name="T73" fmla="*/ 9 h 103"/>
                  <a:gd name="T74" fmla="*/ 90 w 106"/>
                  <a:gd name="T75" fmla="*/ 12 h 103"/>
                  <a:gd name="T76" fmla="*/ 89 w 106"/>
                  <a:gd name="T77" fmla="*/ 8 h 103"/>
                  <a:gd name="T78" fmla="*/ 86 w 106"/>
                  <a:gd name="T79" fmla="*/ 5 h 103"/>
                  <a:gd name="T80" fmla="*/ 86 w 106"/>
                  <a:gd name="T81" fmla="*/ 0 h 103"/>
                  <a:gd name="T82" fmla="*/ 81 w 106"/>
                  <a:gd name="T83" fmla="*/ 2 h 103"/>
                  <a:gd name="T84" fmla="*/ 77 w 106"/>
                  <a:gd name="T85" fmla="*/ 7 h 103"/>
                  <a:gd name="T86" fmla="*/ 75 w 106"/>
                  <a:gd name="T87" fmla="*/ 17 h 103"/>
                  <a:gd name="T88" fmla="*/ 68 w 106"/>
                  <a:gd name="T89" fmla="*/ 21 h 103"/>
                  <a:gd name="T90" fmla="*/ 64 w 106"/>
                  <a:gd name="T91" fmla="*/ 33 h 103"/>
                  <a:gd name="T92" fmla="*/ 61 w 106"/>
                  <a:gd name="T93" fmla="*/ 36 h 103"/>
                  <a:gd name="T94" fmla="*/ 56 w 106"/>
                  <a:gd name="T95" fmla="*/ 41 h 103"/>
                  <a:gd name="T96" fmla="*/ 51 w 106"/>
                  <a:gd name="T97" fmla="*/ 45 h 103"/>
                  <a:gd name="T98" fmla="*/ 43 w 106"/>
                  <a:gd name="T99" fmla="*/ 51 h 103"/>
                  <a:gd name="T100" fmla="*/ 31 w 106"/>
                  <a:gd name="T101" fmla="*/ 56 h 103"/>
                  <a:gd name="T102" fmla="*/ 24 w 106"/>
                  <a:gd name="T103" fmla="*/ 61 h 103"/>
                  <a:gd name="T104" fmla="*/ 19 w 106"/>
                  <a:gd name="T105" fmla="*/ 65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06" h="103">
                    <a:moveTo>
                      <a:pt x="19" y="65"/>
                    </a:moveTo>
                    <a:lnTo>
                      <a:pt x="18" y="68"/>
                    </a:lnTo>
                    <a:lnTo>
                      <a:pt x="16" y="69"/>
                    </a:lnTo>
                    <a:lnTo>
                      <a:pt x="12" y="74"/>
                    </a:lnTo>
                    <a:lnTo>
                      <a:pt x="9" y="73"/>
                    </a:lnTo>
                    <a:lnTo>
                      <a:pt x="8" y="77"/>
                    </a:lnTo>
                    <a:lnTo>
                      <a:pt x="7" y="79"/>
                    </a:lnTo>
                    <a:lnTo>
                      <a:pt x="9" y="82"/>
                    </a:lnTo>
                    <a:lnTo>
                      <a:pt x="5" y="80"/>
                    </a:lnTo>
                    <a:lnTo>
                      <a:pt x="3" y="82"/>
                    </a:lnTo>
                    <a:lnTo>
                      <a:pt x="5" y="84"/>
                    </a:lnTo>
                    <a:lnTo>
                      <a:pt x="3" y="85"/>
                    </a:lnTo>
                    <a:lnTo>
                      <a:pt x="5" y="85"/>
                    </a:lnTo>
                    <a:lnTo>
                      <a:pt x="3" y="87"/>
                    </a:lnTo>
                    <a:lnTo>
                      <a:pt x="5" y="87"/>
                    </a:lnTo>
                    <a:lnTo>
                      <a:pt x="1" y="88"/>
                    </a:lnTo>
                    <a:lnTo>
                      <a:pt x="0" y="91"/>
                    </a:lnTo>
                    <a:lnTo>
                      <a:pt x="0" y="91"/>
                    </a:lnTo>
                    <a:lnTo>
                      <a:pt x="2" y="90"/>
                    </a:lnTo>
                    <a:lnTo>
                      <a:pt x="1" y="93"/>
                    </a:lnTo>
                    <a:lnTo>
                      <a:pt x="3" y="93"/>
                    </a:lnTo>
                    <a:lnTo>
                      <a:pt x="2" y="95"/>
                    </a:lnTo>
                    <a:lnTo>
                      <a:pt x="10" y="96"/>
                    </a:lnTo>
                    <a:lnTo>
                      <a:pt x="12" y="95"/>
                    </a:lnTo>
                    <a:lnTo>
                      <a:pt x="16" y="95"/>
                    </a:lnTo>
                    <a:lnTo>
                      <a:pt x="17" y="98"/>
                    </a:lnTo>
                    <a:lnTo>
                      <a:pt x="21" y="97"/>
                    </a:lnTo>
                    <a:lnTo>
                      <a:pt x="25" y="99"/>
                    </a:lnTo>
                    <a:lnTo>
                      <a:pt x="25" y="102"/>
                    </a:lnTo>
                    <a:lnTo>
                      <a:pt x="28" y="102"/>
                    </a:lnTo>
                    <a:lnTo>
                      <a:pt x="30" y="102"/>
                    </a:lnTo>
                    <a:lnTo>
                      <a:pt x="33" y="103"/>
                    </a:lnTo>
                    <a:lnTo>
                      <a:pt x="38" y="103"/>
                    </a:lnTo>
                    <a:lnTo>
                      <a:pt x="43" y="101"/>
                    </a:lnTo>
                    <a:lnTo>
                      <a:pt x="45" y="98"/>
                    </a:lnTo>
                    <a:lnTo>
                      <a:pt x="47" y="96"/>
                    </a:lnTo>
                    <a:lnTo>
                      <a:pt x="52" y="90"/>
                    </a:lnTo>
                    <a:lnTo>
                      <a:pt x="55" y="90"/>
                    </a:lnTo>
                    <a:lnTo>
                      <a:pt x="56" y="87"/>
                    </a:lnTo>
                    <a:lnTo>
                      <a:pt x="59" y="82"/>
                    </a:lnTo>
                    <a:lnTo>
                      <a:pt x="60" y="79"/>
                    </a:lnTo>
                    <a:lnTo>
                      <a:pt x="63" y="73"/>
                    </a:lnTo>
                    <a:lnTo>
                      <a:pt x="64" y="71"/>
                    </a:lnTo>
                    <a:lnTo>
                      <a:pt x="63" y="68"/>
                    </a:lnTo>
                    <a:lnTo>
                      <a:pt x="65" y="63"/>
                    </a:lnTo>
                    <a:lnTo>
                      <a:pt x="70" y="60"/>
                    </a:lnTo>
                    <a:lnTo>
                      <a:pt x="80" y="55"/>
                    </a:lnTo>
                    <a:lnTo>
                      <a:pt x="90" y="54"/>
                    </a:lnTo>
                    <a:lnTo>
                      <a:pt x="88" y="52"/>
                    </a:lnTo>
                    <a:lnTo>
                      <a:pt x="86" y="51"/>
                    </a:lnTo>
                    <a:lnTo>
                      <a:pt x="85" y="47"/>
                    </a:lnTo>
                    <a:lnTo>
                      <a:pt x="85" y="46"/>
                    </a:lnTo>
                    <a:lnTo>
                      <a:pt x="87" y="44"/>
                    </a:lnTo>
                    <a:lnTo>
                      <a:pt x="89" y="42"/>
                    </a:lnTo>
                    <a:lnTo>
                      <a:pt x="93" y="39"/>
                    </a:lnTo>
                    <a:lnTo>
                      <a:pt x="96" y="33"/>
                    </a:lnTo>
                    <a:lnTo>
                      <a:pt x="102" y="27"/>
                    </a:lnTo>
                    <a:lnTo>
                      <a:pt x="102" y="27"/>
                    </a:lnTo>
                    <a:lnTo>
                      <a:pt x="104" y="24"/>
                    </a:lnTo>
                    <a:lnTo>
                      <a:pt x="106" y="21"/>
                    </a:lnTo>
                    <a:lnTo>
                      <a:pt x="105" y="18"/>
                    </a:lnTo>
                    <a:lnTo>
                      <a:pt x="103" y="16"/>
                    </a:lnTo>
                    <a:lnTo>
                      <a:pt x="105" y="12"/>
                    </a:lnTo>
                    <a:lnTo>
                      <a:pt x="103" y="13"/>
                    </a:lnTo>
                    <a:lnTo>
                      <a:pt x="103" y="12"/>
                    </a:lnTo>
                    <a:lnTo>
                      <a:pt x="105" y="11"/>
                    </a:lnTo>
                    <a:lnTo>
                      <a:pt x="106" y="9"/>
                    </a:lnTo>
                    <a:lnTo>
                      <a:pt x="103" y="9"/>
                    </a:lnTo>
                    <a:lnTo>
                      <a:pt x="103" y="11"/>
                    </a:lnTo>
                    <a:lnTo>
                      <a:pt x="99" y="12"/>
                    </a:lnTo>
                    <a:lnTo>
                      <a:pt x="101" y="12"/>
                    </a:lnTo>
                    <a:lnTo>
                      <a:pt x="99" y="9"/>
                    </a:lnTo>
                    <a:lnTo>
                      <a:pt x="103" y="7"/>
                    </a:lnTo>
                    <a:lnTo>
                      <a:pt x="97" y="9"/>
                    </a:lnTo>
                    <a:lnTo>
                      <a:pt x="93" y="12"/>
                    </a:lnTo>
                    <a:lnTo>
                      <a:pt x="90" y="12"/>
                    </a:lnTo>
                    <a:lnTo>
                      <a:pt x="89" y="10"/>
                    </a:lnTo>
                    <a:lnTo>
                      <a:pt x="89" y="8"/>
                    </a:lnTo>
                    <a:lnTo>
                      <a:pt x="89" y="4"/>
                    </a:lnTo>
                    <a:lnTo>
                      <a:pt x="86" y="5"/>
                    </a:lnTo>
                    <a:lnTo>
                      <a:pt x="85" y="3"/>
                    </a:lnTo>
                    <a:lnTo>
                      <a:pt x="86" y="0"/>
                    </a:lnTo>
                    <a:lnTo>
                      <a:pt x="84" y="2"/>
                    </a:lnTo>
                    <a:lnTo>
                      <a:pt x="81" y="2"/>
                    </a:lnTo>
                    <a:lnTo>
                      <a:pt x="78" y="4"/>
                    </a:lnTo>
                    <a:lnTo>
                      <a:pt x="77" y="7"/>
                    </a:lnTo>
                    <a:lnTo>
                      <a:pt x="77" y="12"/>
                    </a:lnTo>
                    <a:lnTo>
                      <a:pt x="75" y="17"/>
                    </a:lnTo>
                    <a:lnTo>
                      <a:pt x="72" y="19"/>
                    </a:lnTo>
                    <a:lnTo>
                      <a:pt x="68" y="21"/>
                    </a:lnTo>
                    <a:lnTo>
                      <a:pt x="65" y="29"/>
                    </a:lnTo>
                    <a:lnTo>
                      <a:pt x="64" y="33"/>
                    </a:lnTo>
                    <a:lnTo>
                      <a:pt x="63" y="34"/>
                    </a:lnTo>
                    <a:lnTo>
                      <a:pt x="61" y="36"/>
                    </a:lnTo>
                    <a:lnTo>
                      <a:pt x="59" y="39"/>
                    </a:lnTo>
                    <a:lnTo>
                      <a:pt x="56" y="41"/>
                    </a:lnTo>
                    <a:lnTo>
                      <a:pt x="53" y="42"/>
                    </a:lnTo>
                    <a:lnTo>
                      <a:pt x="51" y="45"/>
                    </a:lnTo>
                    <a:lnTo>
                      <a:pt x="45" y="48"/>
                    </a:lnTo>
                    <a:lnTo>
                      <a:pt x="43" y="51"/>
                    </a:lnTo>
                    <a:lnTo>
                      <a:pt x="39" y="52"/>
                    </a:lnTo>
                    <a:lnTo>
                      <a:pt x="31" y="56"/>
                    </a:lnTo>
                    <a:lnTo>
                      <a:pt x="26" y="57"/>
                    </a:lnTo>
                    <a:lnTo>
                      <a:pt x="24" y="61"/>
                    </a:lnTo>
                    <a:lnTo>
                      <a:pt x="21" y="63"/>
                    </a:lnTo>
                    <a:lnTo>
                      <a:pt x="19" y="65"/>
                    </a:lnTo>
                    <a:lnTo>
                      <a:pt x="19" y="6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36" name="Freeform 202">
                <a:extLst>
                  <a:ext uri="{FF2B5EF4-FFF2-40B4-BE49-F238E27FC236}">
                    <a16:creationId xmlns:a16="http://schemas.microsoft.com/office/drawing/2014/main" id="{425D45A4-69E9-4BB7-8B86-3D08A28284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50" y="3297"/>
                <a:ext cx="80" cy="113"/>
              </a:xfrm>
              <a:custGeom>
                <a:avLst/>
                <a:gdLst>
                  <a:gd name="T0" fmla="*/ 27 w 80"/>
                  <a:gd name="T1" fmla="*/ 37 h 113"/>
                  <a:gd name="T2" fmla="*/ 28 w 80"/>
                  <a:gd name="T3" fmla="*/ 34 h 113"/>
                  <a:gd name="T4" fmla="*/ 28 w 80"/>
                  <a:gd name="T5" fmla="*/ 30 h 113"/>
                  <a:gd name="T6" fmla="*/ 26 w 80"/>
                  <a:gd name="T7" fmla="*/ 26 h 113"/>
                  <a:gd name="T8" fmla="*/ 25 w 80"/>
                  <a:gd name="T9" fmla="*/ 21 h 113"/>
                  <a:gd name="T10" fmla="*/ 22 w 80"/>
                  <a:gd name="T11" fmla="*/ 13 h 113"/>
                  <a:gd name="T12" fmla="*/ 17 w 80"/>
                  <a:gd name="T13" fmla="*/ 10 h 113"/>
                  <a:gd name="T14" fmla="*/ 11 w 80"/>
                  <a:gd name="T15" fmla="*/ 8 h 113"/>
                  <a:gd name="T16" fmla="*/ 3 w 80"/>
                  <a:gd name="T17" fmla="*/ 1 h 113"/>
                  <a:gd name="T18" fmla="*/ 5 w 80"/>
                  <a:gd name="T19" fmla="*/ 8 h 113"/>
                  <a:gd name="T20" fmla="*/ 9 w 80"/>
                  <a:gd name="T21" fmla="*/ 17 h 113"/>
                  <a:gd name="T22" fmla="*/ 9 w 80"/>
                  <a:gd name="T23" fmla="*/ 17 h 113"/>
                  <a:gd name="T24" fmla="*/ 17 w 80"/>
                  <a:gd name="T25" fmla="*/ 26 h 113"/>
                  <a:gd name="T26" fmla="*/ 22 w 80"/>
                  <a:gd name="T27" fmla="*/ 26 h 113"/>
                  <a:gd name="T28" fmla="*/ 21 w 80"/>
                  <a:gd name="T29" fmla="*/ 29 h 113"/>
                  <a:gd name="T30" fmla="*/ 20 w 80"/>
                  <a:gd name="T31" fmla="*/ 30 h 113"/>
                  <a:gd name="T32" fmla="*/ 24 w 80"/>
                  <a:gd name="T33" fmla="*/ 37 h 113"/>
                  <a:gd name="T34" fmla="*/ 27 w 80"/>
                  <a:gd name="T35" fmla="*/ 43 h 113"/>
                  <a:gd name="T36" fmla="*/ 28 w 80"/>
                  <a:gd name="T37" fmla="*/ 47 h 113"/>
                  <a:gd name="T38" fmla="*/ 28 w 80"/>
                  <a:gd name="T39" fmla="*/ 53 h 113"/>
                  <a:gd name="T40" fmla="*/ 26 w 80"/>
                  <a:gd name="T41" fmla="*/ 62 h 113"/>
                  <a:gd name="T42" fmla="*/ 25 w 80"/>
                  <a:gd name="T43" fmla="*/ 69 h 113"/>
                  <a:gd name="T44" fmla="*/ 18 w 80"/>
                  <a:gd name="T45" fmla="*/ 72 h 113"/>
                  <a:gd name="T46" fmla="*/ 14 w 80"/>
                  <a:gd name="T47" fmla="*/ 77 h 113"/>
                  <a:gd name="T48" fmla="*/ 18 w 80"/>
                  <a:gd name="T49" fmla="*/ 80 h 113"/>
                  <a:gd name="T50" fmla="*/ 24 w 80"/>
                  <a:gd name="T51" fmla="*/ 83 h 113"/>
                  <a:gd name="T52" fmla="*/ 29 w 80"/>
                  <a:gd name="T53" fmla="*/ 86 h 113"/>
                  <a:gd name="T54" fmla="*/ 34 w 80"/>
                  <a:gd name="T55" fmla="*/ 90 h 113"/>
                  <a:gd name="T56" fmla="*/ 34 w 80"/>
                  <a:gd name="T57" fmla="*/ 98 h 113"/>
                  <a:gd name="T58" fmla="*/ 29 w 80"/>
                  <a:gd name="T59" fmla="*/ 104 h 113"/>
                  <a:gd name="T60" fmla="*/ 27 w 80"/>
                  <a:gd name="T61" fmla="*/ 107 h 113"/>
                  <a:gd name="T62" fmla="*/ 29 w 80"/>
                  <a:gd name="T63" fmla="*/ 111 h 113"/>
                  <a:gd name="T64" fmla="*/ 34 w 80"/>
                  <a:gd name="T65" fmla="*/ 112 h 113"/>
                  <a:gd name="T66" fmla="*/ 43 w 80"/>
                  <a:gd name="T67" fmla="*/ 109 h 113"/>
                  <a:gd name="T68" fmla="*/ 48 w 80"/>
                  <a:gd name="T69" fmla="*/ 100 h 113"/>
                  <a:gd name="T70" fmla="*/ 52 w 80"/>
                  <a:gd name="T71" fmla="*/ 96 h 113"/>
                  <a:gd name="T72" fmla="*/ 56 w 80"/>
                  <a:gd name="T73" fmla="*/ 90 h 113"/>
                  <a:gd name="T74" fmla="*/ 56 w 80"/>
                  <a:gd name="T75" fmla="*/ 78 h 113"/>
                  <a:gd name="T76" fmla="*/ 61 w 80"/>
                  <a:gd name="T77" fmla="*/ 73 h 113"/>
                  <a:gd name="T78" fmla="*/ 69 w 80"/>
                  <a:gd name="T79" fmla="*/ 72 h 113"/>
                  <a:gd name="T80" fmla="*/ 71 w 80"/>
                  <a:gd name="T81" fmla="*/ 71 h 113"/>
                  <a:gd name="T82" fmla="*/ 73 w 80"/>
                  <a:gd name="T83" fmla="*/ 66 h 113"/>
                  <a:gd name="T84" fmla="*/ 77 w 80"/>
                  <a:gd name="T85" fmla="*/ 61 h 113"/>
                  <a:gd name="T86" fmla="*/ 78 w 80"/>
                  <a:gd name="T87" fmla="*/ 52 h 113"/>
                  <a:gd name="T88" fmla="*/ 74 w 80"/>
                  <a:gd name="T89" fmla="*/ 48 h 113"/>
                  <a:gd name="T90" fmla="*/ 67 w 80"/>
                  <a:gd name="T91" fmla="*/ 54 h 113"/>
                  <a:gd name="T92" fmla="*/ 60 w 80"/>
                  <a:gd name="T93" fmla="*/ 55 h 113"/>
                  <a:gd name="T94" fmla="*/ 47 w 80"/>
                  <a:gd name="T95" fmla="*/ 51 h 113"/>
                  <a:gd name="T96" fmla="*/ 44 w 80"/>
                  <a:gd name="T97" fmla="*/ 46 h 113"/>
                  <a:gd name="T98" fmla="*/ 44 w 80"/>
                  <a:gd name="T99" fmla="*/ 40 h 113"/>
                  <a:gd name="T100" fmla="*/ 41 w 80"/>
                  <a:gd name="T101" fmla="*/ 35 h 113"/>
                  <a:gd name="T102" fmla="*/ 37 w 80"/>
                  <a:gd name="T103" fmla="*/ 36 h 113"/>
                  <a:gd name="T104" fmla="*/ 36 w 80"/>
                  <a:gd name="T105" fmla="*/ 43 h 113"/>
                  <a:gd name="T106" fmla="*/ 30 w 80"/>
                  <a:gd name="T107" fmla="*/ 38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80" h="113">
                    <a:moveTo>
                      <a:pt x="30" y="38"/>
                    </a:moveTo>
                    <a:lnTo>
                      <a:pt x="27" y="37"/>
                    </a:lnTo>
                    <a:lnTo>
                      <a:pt x="28" y="36"/>
                    </a:lnTo>
                    <a:lnTo>
                      <a:pt x="28" y="34"/>
                    </a:lnTo>
                    <a:lnTo>
                      <a:pt x="28" y="34"/>
                    </a:lnTo>
                    <a:lnTo>
                      <a:pt x="28" y="30"/>
                    </a:lnTo>
                    <a:lnTo>
                      <a:pt x="28" y="28"/>
                    </a:lnTo>
                    <a:lnTo>
                      <a:pt x="26" y="26"/>
                    </a:lnTo>
                    <a:lnTo>
                      <a:pt x="22" y="20"/>
                    </a:lnTo>
                    <a:lnTo>
                      <a:pt x="25" y="21"/>
                    </a:lnTo>
                    <a:lnTo>
                      <a:pt x="24" y="17"/>
                    </a:lnTo>
                    <a:lnTo>
                      <a:pt x="22" y="13"/>
                    </a:lnTo>
                    <a:lnTo>
                      <a:pt x="20" y="12"/>
                    </a:lnTo>
                    <a:lnTo>
                      <a:pt x="17" y="10"/>
                    </a:lnTo>
                    <a:lnTo>
                      <a:pt x="14" y="9"/>
                    </a:lnTo>
                    <a:lnTo>
                      <a:pt x="11" y="8"/>
                    </a:lnTo>
                    <a:lnTo>
                      <a:pt x="7" y="5"/>
                    </a:lnTo>
                    <a:lnTo>
                      <a:pt x="3" y="1"/>
                    </a:lnTo>
                    <a:lnTo>
                      <a:pt x="0" y="0"/>
                    </a:lnTo>
                    <a:lnTo>
                      <a:pt x="5" y="8"/>
                    </a:lnTo>
                    <a:lnTo>
                      <a:pt x="7" y="13"/>
                    </a:lnTo>
                    <a:lnTo>
                      <a:pt x="9" y="17"/>
                    </a:lnTo>
                    <a:lnTo>
                      <a:pt x="11" y="13"/>
                    </a:lnTo>
                    <a:lnTo>
                      <a:pt x="9" y="17"/>
                    </a:lnTo>
                    <a:lnTo>
                      <a:pt x="17" y="28"/>
                    </a:lnTo>
                    <a:lnTo>
                      <a:pt x="17" y="26"/>
                    </a:lnTo>
                    <a:lnTo>
                      <a:pt x="20" y="27"/>
                    </a:lnTo>
                    <a:lnTo>
                      <a:pt x="22" y="26"/>
                    </a:lnTo>
                    <a:lnTo>
                      <a:pt x="24" y="28"/>
                    </a:lnTo>
                    <a:lnTo>
                      <a:pt x="21" y="29"/>
                    </a:lnTo>
                    <a:lnTo>
                      <a:pt x="24" y="31"/>
                    </a:lnTo>
                    <a:lnTo>
                      <a:pt x="20" y="30"/>
                    </a:lnTo>
                    <a:lnTo>
                      <a:pt x="20" y="31"/>
                    </a:lnTo>
                    <a:lnTo>
                      <a:pt x="24" y="37"/>
                    </a:lnTo>
                    <a:lnTo>
                      <a:pt x="29" y="39"/>
                    </a:lnTo>
                    <a:lnTo>
                      <a:pt x="27" y="43"/>
                    </a:lnTo>
                    <a:lnTo>
                      <a:pt x="28" y="45"/>
                    </a:lnTo>
                    <a:lnTo>
                      <a:pt x="28" y="47"/>
                    </a:lnTo>
                    <a:lnTo>
                      <a:pt x="28" y="51"/>
                    </a:lnTo>
                    <a:lnTo>
                      <a:pt x="28" y="53"/>
                    </a:lnTo>
                    <a:lnTo>
                      <a:pt x="28" y="55"/>
                    </a:lnTo>
                    <a:lnTo>
                      <a:pt x="26" y="62"/>
                    </a:lnTo>
                    <a:lnTo>
                      <a:pt x="26" y="66"/>
                    </a:lnTo>
                    <a:lnTo>
                      <a:pt x="25" y="69"/>
                    </a:lnTo>
                    <a:lnTo>
                      <a:pt x="22" y="71"/>
                    </a:lnTo>
                    <a:lnTo>
                      <a:pt x="18" y="72"/>
                    </a:lnTo>
                    <a:lnTo>
                      <a:pt x="14" y="73"/>
                    </a:lnTo>
                    <a:lnTo>
                      <a:pt x="14" y="77"/>
                    </a:lnTo>
                    <a:lnTo>
                      <a:pt x="16" y="79"/>
                    </a:lnTo>
                    <a:lnTo>
                      <a:pt x="18" y="80"/>
                    </a:lnTo>
                    <a:lnTo>
                      <a:pt x="21" y="81"/>
                    </a:lnTo>
                    <a:lnTo>
                      <a:pt x="24" y="83"/>
                    </a:lnTo>
                    <a:lnTo>
                      <a:pt x="26" y="85"/>
                    </a:lnTo>
                    <a:lnTo>
                      <a:pt x="29" y="86"/>
                    </a:lnTo>
                    <a:lnTo>
                      <a:pt x="31" y="87"/>
                    </a:lnTo>
                    <a:lnTo>
                      <a:pt x="34" y="90"/>
                    </a:lnTo>
                    <a:lnTo>
                      <a:pt x="35" y="91"/>
                    </a:lnTo>
                    <a:lnTo>
                      <a:pt x="34" y="98"/>
                    </a:lnTo>
                    <a:lnTo>
                      <a:pt x="31" y="102"/>
                    </a:lnTo>
                    <a:lnTo>
                      <a:pt x="29" y="104"/>
                    </a:lnTo>
                    <a:lnTo>
                      <a:pt x="29" y="105"/>
                    </a:lnTo>
                    <a:lnTo>
                      <a:pt x="27" y="107"/>
                    </a:lnTo>
                    <a:lnTo>
                      <a:pt x="28" y="107"/>
                    </a:lnTo>
                    <a:lnTo>
                      <a:pt x="29" y="111"/>
                    </a:lnTo>
                    <a:lnTo>
                      <a:pt x="33" y="109"/>
                    </a:lnTo>
                    <a:lnTo>
                      <a:pt x="34" y="112"/>
                    </a:lnTo>
                    <a:lnTo>
                      <a:pt x="36" y="113"/>
                    </a:lnTo>
                    <a:lnTo>
                      <a:pt x="43" y="109"/>
                    </a:lnTo>
                    <a:lnTo>
                      <a:pt x="45" y="106"/>
                    </a:lnTo>
                    <a:lnTo>
                      <a:pt x="48" y="100"/>
                    </a:lnTo>
                    <a:lnTo>
                      <a:pt x="48" y="99"/>
                    </a:lnTo>
                    <a:lnTo>
                      <a:pt x="52" y="96"/>
                    </a:lnTo>
                    <a:lnTo>
                      <a:pt x="54" y="92"/>
                    </a:lnTo>
                    <a:lnTo>
                      <a:pt x="56" y="90"/>
                    </a:lnTo>
                    <a:lnTo>
                      <a:pt x="59" y="83"/>
                    </a:lnTo>
                    <a:lnTo>
                      <a:pt x="56" y="78"/>
                    </a:lnTo>
                    <a:lnTo>
                      <a:pt x="59" y="75"/>
                    </a:lnTo>
                    <a:lnTo>
                      <a:pt x="61" y="73"/>
                    </a:lnTo>
                    <a:lnTo>
                      <a:pt x="64" y="72"/>
                    </a:lnTo>
                    <a:lnTo>
                      <a:pt x="69" y="72"/>
                    </a:lnTo>
                    <a:lnTo>
                      <a:pt x="71" y="74"/>
                    </a:lnTo>
                    <a:lnTo>
                      <a:pt x="71" y="71"/>
                    </a:lnTo>
                    <a:lnTo>
                      <a:pt x="71" y="66"/>
                    </a:lnTo>
                    <a:lnTo>
                      <a:pt x="73" y="66"/>
                    </a:lnTo>
                    <a:lnTo>
                      <a:pt x="76" y="63"/>
                    </a:lnTo>
                    <a:lnTo>
                      <a:pt x="77" y="61"/>
                    </a:lnTo>
                    <a:lnTo>
                      <a:pt x="77" y="55"/>
                    </a:lnTo>
                    <a:lnTo>
                      <a:pt x="78" y="52"/>
                    </a:lnTo>
                    <a:lnTo>
                      <a:pt x="80" y="49"/>
                    </a:lnTo>
                    <a:lnTo>
                      <a:pt x="74" y="48"/>
                    </a:lnTo>
                    <a:lnTo>
                      <a:pt x="69" y="51"/>
                    </a:lnTo>
                    <a:lnTo>
                      <a:pt x="67" y="54"/>
                    </a:lnTo>
                    <a:lnTo>
                      <a:pt x="63" y="55"/>
                    </a:lnTo>
                    <a:lnTo>
                      <a:pt x="60" y="55"/>
                    </a:lnTo>
                    <a:lnTo>
                      <a:pt x="50" y="51"/>
                    </a:lnTo>
                    <a:lnTo>
                      <a:pt x="47" y="51"/>
                    </a:lnTo>
                    <a:lnTo>
                      <a:pt x="45" y="48"/>
                    </a:lnTo>
                    <a:lnTo>
                      <a:pt x="44" y="46"/>
                    </a:lnTo>
                    <a:lnTo>
                      <a:pt x="43" y="43"/>
                    </a:lnTo>
                    <a:lnTo>
                      <a:pt x="44" y="40"/>
                    </a:lnTo>
                    <a:lnTo>
                      <a:pt x="43" y="38"/>
                    </a:lnTo>
                    <a:lnTo>
                      <a:pt x="41" y="35"/>
                    </a:lnTo>
                    <a:lnTo>
                      <a:pt x="37" y="34"/>
                    </a:lnTo>
                    <a:lnTo>
                      <a:pt x="37" y="36"/>
                    </a:lnTo>
                    <a:lnTo>
                      <a:pt x="38" y="42"/>
                    </a:lnTo>
                    <a:lnTo>
                      <a:pt x="36" y="43"/>
                    </a:lnTo>
                    <a:lnTo>
                      <a:pt x="33" y="38"/>
                    </a:lnTo>
                    <a:lnTo>
                      <a:pt x="30" y="38"/>
                    </a:lnTo>
                    <a:lnTo>
                      <a:pt x="30" y="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37" name="Freeform 203">
                <a:extLst>
                  <a:ext uri="{FF2B5EF4-FFF2-40B4-BE49-F238E27FC236}">
                    <a16:creationId xmlns:a16="http://schemas.microsoft.com/office/drawing/2014/main" id="{E2D45C62-977E-4D27-9E96-1D9F4B927E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91" y="1740"/>
                <a:ext cx="94" cy="62"/>
              </a:xfrm>
              <a:custGeom>
                <a:avLst/>
                <a:gdLst>
                  <a:gd name="T0" fmla="*/ 52 w 94"/>
                  <a:gd name="T1" fmla="*/ 19 h 62"/>
                  <a:gd name="T2" fmla="*/ 56 w 94"/>
                  <a:gd name="T3" fmla="*/ 22 h 62"/>
                  <a:gd name="T4" fmla="*/ 63 w 94"/>
                  <a:gd name="T5" fmla="*/ 26 h 62"/>
                  <a:gd name="T6" fmla="*/ 69 w 94"/>
                  <a:gd name="T7" fmla="*/ 27 h 62"/>
                  <a:gd name="T8" fmla="*/ 74 w 94"/>
                  <a:gd name="T9" fmla="*/ 35 h 62"/>
                  <a:gd name="T10" fmla="*/ 73 w 94"/>
                  <a:gd name="T11" fmla="*/ 43 h 62"/>
                  <a:gd name="T12" fmla="*/ 79 w 94"/>
                  <a:gd name="T13" fmla="*/ 40 h 62"/>
                  <a:gd name="T14" fmla="*/ 87 w 94"/>
                  <a:gd name="T15" fmla="*/ 40 h 62"/>
                  <a:gd name="T16" fmla="*/ 89 w 94"/>
                  <a:gd name="T17" fmla="*/ 45 h 62"/>
                  <a:gd name="T18" fmla="*/ 94 w 94"/>
                  <a:gd name="T19" fmla="*/ 48 h 62"/>
                  <a:gd name="T20" fmla="*/ 84 w 94"/>
                  <a:gd name="T21" fmla="*/ 54 h 62"/>
                  <a:gd name="T22" fmla="*/ 72 w 94"/>
                  <a:gd name="T23" fmla="*/ 50 h 62"/>
                  <a:gd name="T24" fmla="*/ 67 w 94"/>
                  <a:gd name="T25" fmla="*/ 49 h 62"/>
                  <a:gd name="T26" fmla="*/ 65 w 94"/>
                  <a:gd name="T27" fmla="*/ 44 h 62"/>
                  <a:gd name="T28" fmla="*/ 56 w 94"/>
                  <a:gd name="T29" fmla="*/ 41 h 62"/>
                  <a:gd name="T30" fmla="*/ 54 w 94"/>
                  <a:gd name="T31" fmla="*/ 39 h 62"/>
                  <a:gd name="T32" fmla="*/ 48 w 94"/>
                  <a:gd name="T33" fmla="*/ 41 h 62"/>
                  <a:gd name="T34" fmla="*/ 47 w 94"/>
                  <a:gd name="T35" fmla="*/ 47 h 62"/>
                  <a:gd name="T36" fmla="*/ 42 w 94"/>
                  <a:gd name="T37" fmla="*/ 52 h 62"/>
                  <a:gd name="T38" fmla="*/ 37 w 94"/>
                  <a:gd name="T39" fmla="*/ 54 h 62"/>
                  <a:gd name="T40" fmla="*/ 30 w 94"/>
                  <a:gd name="T41" fmla="*/ 60 h 62"/>
                  <a:gd name="T42" fmla="*/ 25 w 94"/>
                  <a:gd name="T43" fmla="*/ 62 h 62"/>
                  <a:gd name="T44" fmla="*/ 21 w 94"/>
                  <a:gd name="T45" fmla="*/ 58 h 62"/>
                  <a:gd name="T46" fmla="*/ 21 w 94"/>
                  <a:gd name="T47" fmla="*/ 50 h 62"/>
                  <a:gd name="T48" fmla="*/ 19 w 94"/>
                  <a:gd name="T49" fmla="*/ 48 h 62"/>
                  <a:gd name="T50" fmla="*/ 13 w 94"/>
                  <a:gd name="T51" fmla="*/ 50 h 62"/>
                  <a:gd name="T52" fmla="*/ 5 w 94"/>
                  <a:gd name="T53" fmla="*/ 52 h 62"/>
                  <a:gd name="T54" fmla="*/ 0 w 94"/>
                  <a:gd name="T55" fmla="*/ 52 h 62"/>
                  <a:gd name="T56" fmla="*/ 3 w 94"/>
                  <a:gd name="T57" fmla="*/ 46 h 62"/>
                  <a:gd name="T58" fmla="*/ 11 w 94"/>
                  <a:gd name="T59" fmla="*/ 41 h 62"/>
                  <a:gd name="T60" fmla="*/ 11 w 94"/>
                  <a:gd name="T61" fmla="*/ 36 h 62"/>
                  <a:gd name="T62" fmla="*/ 14 w 94"/>
                  <a:gd name="T63" fmla="*/ 22 h 62"/>
                  <a:gd name="T64" fmla="*/ 14 w 94"/>
                  <a:gd name="T65" fmla="*/ 17 h 62"/>
                  <a:gd name="T66" fmla="*/ 14 w 94"/>
                  <a:gd name="T67" fmla="*/ 9 h 62"/>
                  <a:gd name="T68" fmla="*/ 19 w 94"/>
                  <a:gd name="T69" fmla="*/ 1 h 62"/>
                  <a:gd name="T70" fmla="*/ 27 w 94"/>
                  <a:gd name="T71" fmla="*/ 4 h 62"/>
                  <a:gd name="T72" fmla="*/ 27 w 94"/>
                  <a:gd name="T73" fmla="*/ 10 h 62"/>
                  <a:gd name="T74" fmla="*/ 30 w 94"/>
                  <a:gd name="T75" fmla="*/ 14 h 62"/>
                  <a:gd name="T76" fmla="*/ 35 w 94"/>
                  <a:gd name="T77" fmla="*/ 11 h 62"/>
                  <a:gd name="T78" fmla="*/ 42 w 94"/>
                  <a:gd name="T79" fmla="*/ 15 h 62"/>
                  <a:gd name="T80" fmla="*/ 50 w 94"/>
                  <a:gd name="T81" fmla="*/ 17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94" h="62">
                    <a:moveTo>
                      <a:pt x="50" y="17"/>
                    </a:moveTo>
                    <a:lnTo>
                      <a:pt x="52" y="19"/>
                    </a:lnTo>
                    <a:lnTo>
                      <a:pt x="54" y="21"/>
                    </a:lnTo>
                    <a:lnTo>
                      <a:pt x="56" y="22"/>
                    </a:lnTo>
                    <a:lnTo>
                      <a:pt x="61" y="26"/>
                    </a:lnTo>
                    <a:lnTo>
                      <a:pt x="63" y="26"/>
                    </a:lnTo>
                    <a:lnTo>
                      <a:pt x="67" y="26"/>
                    </a:lnTo>
                    <a:lnTo>
                      <a:pt x="69" y="27"/>
                    </a:lnTo>
                    <a:lnTo>
                      <a:pt x="74" y="31"/>
                    </a:lnTo>
                    <a:lnTo>
                      <a:pt x="74" y="35"/>
                    </a:lnTo>
                    <a:lnTo>
                      <a:pt x="76" y="39"/>
                    </a:lnTo>
                    <a:lnTo>
                      <a:pt x="73" y="43"/>
                    </a:lnTo>
                    <a:lnTo>
                      <a:pt x="76" y="41"/>
                    </a:lnTo>
                    <a:lnTo>
                      <a:pt x="79" y="40"/>
                    </a:lnTo>
                    <a:lnTo>
                      <a:pt x="85" y="43"/>
                    </a:lnTo>
                    <a:lnTo>
                      <a:pt x="87" y="40"/>
                    </a:lnTo>
                    <a:lnTo>
                      <a:pt x="90" y="43"/>
                    </a:lnTo>
                    <a:lnTo>
                      <a:pt x="89" y="45"/>
                    </a:lnTo>
                    <a:lnTo>
                      <a:pt x="91" y="46"/>
                    </a:lnTo>
                    <a:lnTo>
                      <a:pt x="94" y="48"/>
                    </a:lnTo>
                    <a:lnTo>
                      <a:pt x="91" y="49"/>
                    </a:lnTo>
                    <a:lnTo>
                      <a:pt x="84" y="54"/>
                    </a:lnTo>
                    <a:lnTo>
                      <a:pt x="78" y="52"/>
                    </a:lnTo>
                    <a:lnTo>
                      <a:pt x="72" y="50"/>
                    </a:lnTo>
                    <a:lnTo>
                      <a:pt x="70" y="49"/>
                    </a:lnTo>
                    <a:lnTo>
                      <a:pt x="67" y="49"/>
                    </a:lnTo>
                    <a:lnTo>
                      <a:pt x="64" y="49"/>
                    </a:lnTo>
                    <a:lnTo>
                      <a:pt x="65" y="44"/>
                    </a:lnTo>
                    <a:lnTo>
                      <a:pt x="60" y="43"/>
                    </a:lnTo>
                    <a:lnTo>
                      <a:pt x="56" y="41"/>
                    </a:lnTo>
                    <a:lnTo>
                      <a:pt x="56" y="38"/>
                    </a:lnTo>
                    <a:lnTo>
                      <a:pt x="54" y="39"/>
                    </a:lnTo>
                    <a:lnTo>
                      <a:pt x="51" y="39"/>
                    </a:lnTo>
                    <a:lnTo>
                      <a:pt x="48" y="41"/>
                    </a:lnTo>
                    <a:lnTo>
                      <a:pt x="48" y="45"/>
                    </a:lnTo>
                    <a:lnTo>
                      <a:pt x="47" y="47"/>
                    </a:lnTo>
                    <a:lnTo>
                      <a:pt x="45" y="48"/>
                    </a:lnTo>
                    <a:lnTo>
                      <a:pt x="42" y="52"/>
                    </a:lnTo>
                    <a:lnTo>
                      <a:pt x="39" y="52"/>
                    </a:lnTo>
                    <a:lnTo>
                      <a:pt x="37" y="54"/>
                    </a:lnTo>
                    <a:lnTo>
                      <a:pt x="36" y="56"/>
                    </a:lnTo>
                    <a:lnTo>
                      <a:pt x="30" y="60"/>
                    </a:lnTo>
                    <a:lnTo>
                      <a:pt x="28" y="61"/>
                    </a:lnTo>
                    <a:lnTo>
                      <a:pt x="25" y="62"/>
                    </a:lnTo>
                    <a:lnTo>
                      <a:pt x="22" y="61"/>
                    </a:lnTo>
                    <a:lnTo>
                      <a:pt x="21" y="58"/>
                    </a:lnTo>
                    <a:lnTo>
                      <a:pt x="21" y="56"/>
                    </a:lnTo>
                    <a:lnTo>
                      <a:pt x="21" y="50"/>
                    </a:lnTo>
                    <a:lnTo>
                      <a:pt x="20" y="47"/>
                    </a:lnTo>
                    <a:lnTo>
                      <a:pt x="19" y="48"/>
                    </a:lnTo>
                    <a:lnTo>
                      <a:pt x="16" y="49"/>
                    </a:lnTo>
                    <a:lnTo>
                      <a:pt x="13" y="50"/>
                    </a:lnTo>
                    <a:lnTo>
                      <a:pt x="8" y="49"/>
                    </a:lnTo>
                    <a:lnTo>
                      <a:pt x="5" y="52"/>
                    </a:lnTo>
                    <a:lnTo>
                      <a:pt x="3" y="52"/>
                    </a:lnTo>
                    <a:lnTo>
                      <a:pt x="0" y="52"/>
                    </a:lnTo>
                    <a:lnTo>
                      <a:pt x="0" y="48"/>
                    </a:lnTo>
                    <a:lnTo>
                      <a:pt x="3" y="46"/>
                    </a:lnTo>
                    <a:lnTo>
                      <a:pt x="5" y="44"/>
                    </a:lnTo>
                    <a:lnTo>
                      <a:pt x="11" y="41"/>
                    </a:lnTo>
                    <a:lnTo>
                      <a:pt x="13" y="39"/>
                    </a:lnTo>
                    <a:lnTo>
                      <a:pt x="11" y="36"/>
                    </a:lnTo>
                    <a:lnTo>
                      <a:pt x="11" y="28"/>
                    </a:lnTo>
                    <a:lnTo>
                      <a:pt x="14" y="22"/>
                    </a:lnTo>
                    <a:lnTo>
                      <a:pt x="13" y="20"/>
                    </a:lnTo>
                    <a:lnTo>
                      <a:pt x="14" y="17"/>
                    </a:lnTo>
                    <a:lnTo>
                      <a:pt x="13" y="14"/>
                    </a:lnTo>
                    <a:lnTo>
                      <a:pt x="14" y="9"/>
                    </a:lnTo>
                    <a:lnTo>
                      <a:pt x="17" y="4"/>
                    </a:lnTo>
                    <a:lnTo>
                      <a:pt x="19" y="1"/>
                    </a:lnTo>
                    <a:lnTo>
                      <a:pt x="22" y="0"/>
                    </a:lnTo>
                    <a:lnTo>
                      <a:pt x="27" y="4"/>
                    </a:lnTo>
                    <a:lnTo>
                      <a:pt x="29" y="6"/>
                    </a:lnTo>
                    <a:lnTo>
                      <a:pt x="27" y="10"/>
                    </a:lnTo>
                    <a:lnTo>
                      <a:pt x="29" y="12"/>
                    </a:lnTo>
                    <a:lnTo>
                      <a:pt x="30" y="14"/>
                    </a:lnTo>
                    <a:lnTo>
                      <a:pt x="34" y="13"/>
                    </a:lnTo>
                    <a:lnTo>
                      <a:pt x="35" y="11"/>
                    </a:lnTo>
                    <a:lnTo>
                      <a:pt x="40" y="12"/>
                    </a:lnTo>
                    <a:lnTo>
                      <a:pt x="42" y="15"/>
                    </a:lnTo>
                    <a:lnTo>
                      <a:pt x="46" y="17"/>
                    </a:lnTo>
                    <a:lnTo>
                      <a:pt x="50" y="17"/>
                    </a:lnTo>
                    <a:lnTo>
                      <a:pt x="50" y="1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38" name="Freeform 204">
                <a:extLst>
                  <a:ext uri="{FF2B5EF4-FFF2-40B4-BE49-F238E27FC236}">
                    <a16:creationId xmlns:a16="http://schemas.microsoft.com/office/drawing/2014/main" id="{77B46D1F-07FF-4500-94D6-1AF3B6AE35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77" y="2670"/>
                <a:ext cx="29" cy="55"/>
              </a:xfrm>
              <a:custGeom>
                <a:avLst/>
                <a:gdLst>
                  <a:gd name="T0" fmla="*/ 11 w 29"/>
                  <a:gd name="T1" fmla="*/ 55 h 55"/>
                  <a:gd name="T2" fmla="*/ 14 w 29"/>
                  <a:gd name="T3" fmla="*/ 52 h 55"/>
                  <a:gd name="T4" fmla="*/ 18 w 29"/>
                  <a:gd name="T5" fmla="*/ 51 h 55"/>
                  <a:gd name="T6" fmla="*/ 21 w 29"/>
                  <a:gd name="T7" fmla="*/ 51 h 55"/>
                  <a:gd name="T8" fmla="*/ 27 w 29"/>
                  <a:gd name="T9" fmla="*/ 47 h 55"/>
                  <a:gd name="T10" fmla="*/ 29 w 29"/>
                  <a:gd name="T11" fmla="*/ 41 h 55"/>
                  <a:gd name="T12" fmla="*/ 29 w 29"/>
                  <a:gd name="T13" fmla="*/ 35 h 55"/>
                  <a:gd name="T14" fmla="*/ 28 w 29"/>
                  <a:gd name="T15" fmla="*/ 33 h 55"/>
                  <a:gd name="T16" fmla="*/ 28 w 29"/>
                  <a:gd name="T17" fmla="*/ 33 h 55"/>
                  <a:gd name="T18" fmla="*/ 27 w 29"/>
                  <a:gd name="T19" fmla="*/ 30 h 55"/>
                  <a:gd name="T20" fmla="*/ 24 w 29"/>
                  <a:gd name="T21" fmla="*/ 26 h 55"/>
                  <a:gd name="T22" fmla="*/ 22 w 29"/>
                  <a:gd name="T23" fmla="*/ 22 h 55"/>
                  <a:gd name="T24" fmla="*/ 20 w 29"/>
                  <a:gd name="T25" fmla="*/ 19 h 55"/>
                  <a:gd name="T26" fmla="*/ 18 w 29"/>
                  <a:gd name="T27" fmla="*/ 13 h 55"/>
                  <a:gd name="T28" fmla="*/ 15 w 29"/>
                  <a:gd name="T29" fmla="*/ 11 h 55"/>
                  <a:gd name="T30" fmla="*/ 12 w 29"/>
                  <a:gd name="T31" fmla="*/ 6 h 55"/>
                  <a:gd name="T32" fmla="*/ 4 w 29"/>
                  <a:gd name="T33" fmla="*/ 0 h 55"/>
                  <a:gd name="T34" fmla="*/ 3 w 29"/>
                  <a:gd name="T35" fmla="*/ 3 h 55"/>
                  <a:gd name="T36" fmla="*/ 6 w 29"/>
                  <a:gd name="T37" fmla="*/ 4 h 55"/>
                  <a:gd name="T38" fmla="*/ 9 w 29"/>
                  <a:gd name="T39" fmla="*/ 5 h 55"/>
                  <a:gd name="T40" fmla="*/ 9 w 29"/>
                  <a:gd name="T41" fmla="*/ 5 h 55"/>
                  <a:gd name="T42" fmla="*/ 6 w 29"/>
                  <a:gd name="T43" fmla="*/ 5 h 55"/>
                  <a:gd name="T44" fmla="*/ 4 w 29"/>
                  <a:gd name="T45" fmla="*/ 7 h 55"/>
                  <a:gd name="T46" fmla="*/ 4 w 29"/>
                  <a:gd name="T47" fmla="*/ 9 h 55"/>
                  <a:gd name="T48" fmla="*/ 2 w 29"/>
                  <a:gd name="T49" fmla="*/ 13 h 55"/>
                  <a:gd name="T50" fmla="*/ 3 w 29"/>
                  <a:gd name="T51" fmla="*/ 15 h 55"/>
                  <a:gd name="T52" fmla="*/ 2 w 29"/>
                  <a:gd name="T53" fmla="*/ 20 h 55"/>
                  <a:gd name="T54" fmla="*/ 1 w 29"/>
                  <a:gd name="T55" fmla="*/ 23 h 55"/>
                  <a:gd name="T56" fmla="*/ 1 w 29"/>
                  <a:gd name="T57" fmla="*/ 26 h 55"/>
                  <a:gd name="T58" fmla="*/ 0 w 29"/>
                  <a:gd name="T59" fmla="*/ 23 h 55"/>
                  <a:gd name="T60" fmla="*/ 0 w 29"/>
                  <a:gd name="T61" fmla="*/ 29 h 55"/>
                  <a:gd name="T62" fmla="*/ 1 w 29"/>
                  <a:gd name="T63" fmla="*/ 33 h 55"/>
                  <a:gd name="T64" fmla="*/ 1 w 29"/>
                  <a:gd name="T65" fmla="*/ 38 h 55"/>
                  <a:gd name="T66" fmla="*/ 1 w 29"/>
                  <a:gd name="T67" fmla="*/ 41 h 55"/>
                  <a:gd name="T68" fmla="*/ 3 w 29"/>
                  <a:gd name="T69" fmla="*/ 46 h 55"/>
                  <a:gd name="T70" fmla="*/ 3 w 29"/>
                  <a:gd name="T71" fmla="*/ 48 h 55"/>
                  <a:gd name="T72" fmla="*/ 5 w 29"/>
                  <a:gd name="T73" fmla="*/ 52 h 55"/>
                  <a:gd name="T74" fmla="*/ 9 w 29"/>
                  <a:gd name="T75" fmla="*/ 54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29" h="55">
                    <a:moveTo>
                      <a:pt x="9" y="54"/>
                    </a:moveTo>
                    <a:lnTo>
                      <a:pt x="11" y="55"/>
                    </a:lnTo>
                    <a:lnTo>
                      <a:pt x="13" y="54"/>
                    </a:lnTo>
                    <a:lnTo>
                      <a:pt x="14" y="52"/>
                    </a:lnTo>
                    <a:lnTo>
                      <a:pt x="17" y="51"/>
                    </a:lnTo>
                    <a:lnTo>
                      <a:pt x="18" y="51"/>
                    </a:lnTo>
                    <a:lnTo>
                      <a:pt x="21" y="51"/>
                    </a:lnTo>
                    <a:lnTo>
                      <a:pt x="21" y="51"/>
                    </a:lnTo>
                    <a:lnTo>
                      <a:pt x="27" y="47"/>
                    </a:lnTo>
                    <a:lnTo>
                      <a:pt x="27" y="47"/>
                    </a:lnTo>
                    <a:lnTo>
                      <a:pt x="28" y="43"/>
                    </a:lnTo>
                    <a:lnTo>
                      <a:pt x="29" y="41"/>
                    </a:lnTo>
                    <a:lnTo>
                      <a:pt x="29" y="39"/>
                    </a:lnTo>
                    <a:lnTo>
                      <a:pt x="29" y="35"/>
                    </a:lnTo>
                    <a:lnTo>
                      <a:pt x="28" y="33"/>
                    </a:lnTo>
                    <a:lnTo>
                      <a:pt x="28" y="33"/>
                    </a:lnTo>
                    <a:lnTo>
                      <a:pt x="28" y="33"/>
                    </a:lnTo>
                    <a:lnTo>
                      <a:pt x="28" y="33"/>
                    </a:lnTo>
                    <a:lnTo>
                      <a:pt x="28" y="32"/>
                    </a:lnTo>
                    <a:lnTo>
                      <a:pt x="27" y="30"/>
                    </a:lnTo>
                    <a:lnTo>
                      <a:pt x="27" y="30"/>
                    </a:lnTo>
                    <a:lnTo>
                      <a:pt x="24" y="26"/>
                    </a:lnTo>
                    <a:lnTo>
                      <a:pt x="23" y="25"/>
                    </a:lnTo>
                    <a:lnTo>
                      <a:pt x="22" y="22"/>
                    </a:lnTo>
                    <a:lnTo>
                      <a:pt x="20" y="20"/>
                    </a:lnTo>
                    <a:lnTo>
                      <a:pt x="20" y="19"/>
                    </a:lnTo>
                    <a:lnTo>
                      <a:pt x="19" y="16"/>
                    </a:lnTo>
                    <a:lnTo>
                      <a:pt x="18" y="13"/>
                    </a:lnTo>
                    <a:lnTo>
                      <a:pt x="15" y="13"/>
                    </a:lnTo>
                    <a:lnTo>
                      <a:pt x="15" y="11"/>
                    </a:lnTo>
                    <a:lnTo>
                      <a:pt x="14" y="8"/>
                    </a:lnTo>
                    <a:lnTo>
                      <a:pt x="12" y="6"/>
                    </a:lnTo>
                    <a:lnTo>
                      <a:pt x="6" y="3"/>
                    </a:lnTo>
                    <a:lnTo>
                      <a:pt x="4" y="0"/>
                    </a:lnTo>
                    <a:lnTo>
                      <a:pt x="3" y="0"/>
                    </a:lnTo>
                    <a:lnTo>
                      <a:pt x="3" y="3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9" y="5"/>
                    </a:lnTo>
                    <a:lnTo>
                      <a:pt x="9" y="5"/>
                    </a:lnTo>
                    <a:lnTo>
                      <a:pt x="10" y="5"/>
                    </a:lnTo>
                    <a:lnTo>
                      <a:pt x="9" y="5"/>
                    </a:lnTo>
                    <a:lnTo>
                      <a:pt x="9" y="5"/>
                    </a:lnTo>
                    <a:lnTo>
                      <a:pt x="6" y="5"/>
                    </a:lnTo>
                    <a:lnTo>
                      <a:pt x="4" y="4"/>
                    </a:lnTo>
                    <a:lnTo>
                      <a:pt x="4" y="7"/>
                    </a:lnTo>
                    <a:lnTo>
                      <a:pt x="5" y="9"/>
                    </a:lnTo>
                    <a:lnTo>
                      <a:pt x="4" y="9"/>
                    </a:lnTo>
                    <a:lnTo>
                      <a:pt x="3" y="12"/>
                    </a:lnTo>
                    <a:lnTo>
                      <a:pt x="2" y="13"/>
                    </a:lnTo>
                    <a:lnTo>
                      <a:pt x="2" y="15"/>
                    </a:lnTo>
                    <a:lnTo>
                      <a:pt x="3" y="15"/>
                    </a:lnTo>
                    <a:lnTo>
                      <a:pt x="2" y="19"/>
                    </a:lnTo>
                    <a:lnTo>
                      <a:pt x="2" y="20"/>
                    </a:lnTo>
                    <a:lnTo>
                      <a:pt x="1" y="22"/>
                    </a:lnTo>
                    <a:lnTo>
                      <a:pt x="1" y="23"/>
                    </a:lnTo>
                    <a:lnTo>
                      <a:pt x="1" y="25"/>
                    </a:lnTo>
                    <a:lnTo>
                      <a:pt x="1" y="26"/>
                    </a:lnTo>
                    <a:lnTo>
                      <a:pt x="0" y="26"/>
                    </a:lnTo>
                    <a:lnTo>
                      <a:pt x="0" y="23"/>
                    </a:lnTo>
                    <a:lnTo>
                      <a:pt x="0" y="26"/>
                    </a:lnTo>
                    <a:lnTo>
                      <a:pt x="0" y="29"/>
                    </a:lnTo>
                    <a:lnTo>
                      <a:pt x="1" y="31"/>
                    </a:lnTo>
                    <a:lnTo>
                      <a:pt x="1" y="33"/>
                    </a:lnTo>
                    <a:lnTo>
                      <a:pt x="1" y="35"/>
                    </a:lnTo>
                    <a:lnTo>
                      <a:pt x="1" y="38"/>
                    </a:lnTo>
                    <a:lnTo>
                      <a:pt x="2" y="40"/>
                    </a:lnTo>
                    <a:lnTo>
                      <a:pt x="1" y="41"/>
                    </a:lnTo>
                    <a:lnTo>
                      <a:pt x="2" y="43"/>
                    </a:lnTo>
                    <a:lnTo>
                      <a:pt x="3" y="46"/>
                    </a:lnTo>
                    <a:lnTo>
                      <a:pt x="3" y="47"/>
                    </a:lnTo>
                    <a:lnTo>
                      <a:pt x="3" y="48"/>
                    </a:lnTo>
                    <a:lnTo>
                      <a:pt x="4" y="50"/>
                    </a:lnTo>
                    <a:lnTo>
                      <a:pt x="5" y="52"/>
                    </a:lnTo>
                    <a:lnTo>
                      <a:pt x="9" y="54"/>
                    </a:lnTo>
                    <a:lnTo>
                      <a:pt x="9" y="5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239" name="Freeform 205">
                <a:extLst>
                  <a:ext uri="{FF2B5EF4-FFF2-40B4-BE49-F238E27FC236}">
                    <a16:creationId xmlns:a16="http://schemas.microsoft.com/office/drawing/2014/main" id="{E8F804E6-8A12-4E24-ABEA-07499C84A6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88" y="2132"/>
                <a:ext cx="10" cy="23"/>
              </a:xfrm>
              <a:custGeom>
                <a:avLst/>
                <a:gdLst>
                  <a:gd name="T0" fmla="*/ 4 w 10"/>
                  <a:gd name="T1" fmla="*/ 3 h 23"/>
                  <a:gd name="T2" fmla="*/ 5 w 10"/>
                  <a:gd name="T3" fmla="*/ 3 h 23"/>
                  <a:gd name="T4" fmla="*/ 6 w 10"/>
                  <a:gd name="T5" fmla="*/ 3 h 23"/>
                  <a:gd name="T6" fmla="*/ 8 w 10"/>
                  <a:gd name="T7" fmla="*/ 3 h 23"/>
                  <a:gd name="T8" fmla="*/ 9 w 10"/>
                  <a:gd name="T9" fmla="*/ 6 h 23"/>
                  <a:gd name="T10" fmla="*/ 9 w 10"/>
                  <a:gd name="T11" fmla="*/ 8 h 23"/>
                  <a:gd name="T12" fmla="*/ 9 w 10"/>
                  <a:gd name="T13" fmla="*/ 7 h 23"/>
                  <a:gd name="T14" fmla="*/ 9 w 10"/>
                  <a:gd name="T15" fmla="*/ 6 h 23"/>
                  <a:gd name="T16" fmla="*/ 9 w 10"/>
                  <a:gd name="T17" fmla="*/ 4 h 23"/>
                  <a:gd name="T18" fmla="*/ 10 w 10"/>
                  <a:gd name="T19" fmla="*/ 4 h 23"/>
                  <a:gd name="T20" fmla="*/ 10 w 10"/>
                  <a:gd name="T21" fmla="*/ 7 h 23"/>
                  <a:gd name="T22" fmla="*/ 10 w 10"/>
                  <a:gd name="T23" fmla="*/ 12 h 23"/>
                  <a:gd name="T24" fmla="*/ 9 w 10"/>
                  <a:gd name="T25" fmla="*/ 14 h 23"/>
                  <a:gd name="T26" fmla="*/ 8 w 10"/>
                  <a:gd name="T27" fmla="*/ 16 h 23"/>
                  <a:gd name="T28" fmla="*/ 6 w 10"/>
                  <a:gd name="T29" fmla="*/ 17 h 23"/>
                  <a:gd name="T30" fmla="*/ 6 w 10"/>
                  <a:gd name="T31" fmla="*/ 16 h 23"/>
                  <a:gd name="T32" fmla="*/ 6 w 10"/>
                  <a:gd name="T33" fmla="*/ 19 h 23"/>
                  <a:gd name="T34" fmla="*/ 8 w 10"/>
                  <a:gd name="T35" fmla="*/ 22 h 23"/>
                  <a:gd name="T36" fmla="*/ 6 w 10"/>
                  <a:gd name="T37" fmla="*/ 20 h 23"/>
                  <a:gd name="T38" fmla="*/ 5 w 10"/>
                  <a:gd name="T39" fmla="*/ 21 h 23"/>
                  <a:gd name="T40" fmla="*/ 4 w 10"/>
                  <a:gd name="T41" fmla="*/ 21 h 23"/>
                  <a:gd name="T42" fmla="*/ 4 w 10"/>
                  <a:gd name="T43" fmla="*/ 22 h 23"/>
                  <a:gd name="T44" fmla="*/ 2 w 10"/>
                  <a:gd name="T45" fmla="*/ 23 h 23"/>
                  <a:gd name="T46" fmla="*/ 1 w 10"/>
                  <a:gd name="T47" fmla="*/ 21 h 23"/>
                  <a:gd name="T48" fmla="*/ 1 w 10"/>
                  <a:gd name="T49" fmla="*/ 20 h 23"/>
                  <a:gd name="T50" fmla="*/ 1 w 10"/>
                  <a:gd name="T51" fmla="*/ 19 h 23"/>
                  <a:gd name="T52" fmla="*/ 0 w 10"/>
                  <a:gd name="T53" fmla="*/ 19 h 23"/>
                  <a:gd name="T54" fmla="*/ 0 w 10"/>
                  <a:gd name="T55" fmla="*/ 17 h 23"/>
                  <a:gd name="T56" fmla="*/ 1 w 10"/>
                  <a:gd name="T57" fmla="*/ 19 h 23"/>
                  <a:gd name="T58" fmla="*/ 2 w 10"/>
                  <a:gd name="T59" fmla="*/ 19 h 23"/>
                  <a:gd name="T60" fmla="*/ 3 w 10"/>
                  <a:gd name="T61" fmla="*/ 20 h 23"/>
                  <a:gd name="T62" fmla="*/ 3 w 10"/>
                  <a:gd name="T63" fmla="*/ 17 h 23"/>
                  <a:gd name="T64" fmla="*/ 2 w 10"/>
                  <a:gd name="T65" fmla="*/ 16 h 23"/>
                  <a:gd name="T66" fmla="*/ 1 w 10"/>
                  <a:gd name="T67" fmla="*/ 17 h 23"/>
                  <a:gd name="T68" fmla="*/ 1 w 10"/>
                  <a:gd name="T69" fmla="*/ 15 h 23"/>
                  <a:gd name="T70" fmla="*/ 2 w 10"/>
                  <a:gd name="T71" fmla="*/ 14 h 23"/>
                  <a:gd name="T72" fmla="*/ 2 w 10"/>
                  <a:gd name="T73" fmla="*/ 13 h 23"/>
                  <a:gd name="T74" fmla="*/ 3 w 10"/>
                  <a:gd name="T75" fmla="*/ 13 h 23"/>
                  <a:gd name="T76" fmla="*/ 3 w 10"/>
                  <a:gd name="T77" fmla="*/ 12 h 23"/>
                  <a:gd name="T78" fmla="*/ 2 w 10"/>
                  <a:gd name="T79" fmla="*/ 13 h 23"/>
                  <a:gd name="T80" fmla="*/ 1 w 10"/>
                  <a:gd name="T81" fmla="*/ 13 h 23"/>
                  <a:gd name="T82" fmla="*/ 0 w 10"/>
                  <a:gd name="T83" fmla="*/ 12 h 23"/>
                  <a:gd name="T84" fmla="*/ 1 w 10"/>
                  <a:gd name="T85" fmla="*/ 12 h 23"/>
                  <a:gd name="T86" fmla="*/ 2 w 10"/>
                  <a:gd name="T87" fmla="*/ 11 h 23"/>
                  <a:gd name="T88" fmla="*/ 1 w 10"/>
                  <a:gd name="T89" fmla="*/ 10 h 23"/>
                  <a:gd name="T90" fmla="*/ 1 w 10"/>
                  <a:gd name="T91" fmla="*/ 8 h 23"/>
                  <a:gd name="T92" fmla="*/ 1 w 10"/>
                  <a:gd name="T93" fmla="*/ 7 h 23"/>
                  <a:gd name="T94" fmla="*/ 1 w 10"/>
                  <a:gd name="T95" fmla="*/ 6 h 23"/>
                  <a:gd name="T96" fmla="*/ 1 w 10"/>
                  <a:gd name="T97" fmla="*/ 5 h 23"/>
                  <a:gd name="T98" fmla="*/ 2 w 10"/>
                  <a:gd name="T99" fmla="*/ 4 h 23"/>
                  <a:gd name="T100" fmla="*/ 3 w 10"/>
                  <a:gd name="T101" fmla="*/ 3 h 23"/>
                  <a:gd name="T102" fmla="*/ 4 w 10"/>
                  <a:gd name="T103" fmla="*/ 3 h 23"/>
                  <a:gd name="T104" fmla="*/ 3 w 10"/>
                  <a:gd name="T105" fmla="*/ 2 h 23"/>
                  <a:gd name="T106" fmla="*/ 3 w 10"/>
                  <a:gd name="T107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0" h="23">
                    <a:moveTo>
                      <a:pt x="4" y="0"/>
                    </a:moveTo>
                    <a:lnTo>
                      <a:pt x="4" y="0"/>
                    </a:lnTo>
                    <a:lnTo>
                      <a:pt x="4" y="3"/>
                    </a:lnTo>
                    <a:lnTo>
                      <a:pt x="4" y="3"/>
                    </a:lnTo>
                    <a:lnTo>
                      <a:pt x="4" y="3"/>
                    </a:lnTo>
                    <a:lnTo>
                      <a:pt x="5" y="3"/>
                    </a:lnTo>
                    <a:lnTo>
                      <a:pt x="5" y="3"/>
                    </a:lnTo>
                    <a:lnTo>
                      <a:pt x="5" y="3"/>
                    </a:lnTo>
                    <a:lnTo>
                      <a:pt x="5" y="3"/>
                    </a:lnTo>
                    <a:lnTo>
                      <a:pt x="5" y="3"/>
                    </a:lnTo>
                    <a:lnTo>
                      <a:pt x="5" y="3"/>
                    </a:lnTo>
                    <a:lnTo>
                      <a:pt x="6" y="3"/>
                    </a:lnTo>
                    <a:lnTo>
                      <a:pt x="6" y="3"/>
                    </a:lnTo>
                    <a:lnTo>
                      <a:pt x="8" y="3"/>
                    </a:lnTo>
                    <a:lnTo>
                      <a:pt x="8" y="3"/>
                    </a:lnTo>
                    <a:lnTo>
                      <a:pt x="8" y="3"/>
                    </a:lnTo>
                    <a:lnTo>
                      <a:pt x="8" y="3"/>
                    </a:lnTo>
                    <a:lnTo>
                      <a:pt x="8" y="3"/>
                    </a:lnTo>
                    <a:lnTo>
                      <a:pt x="9" y="3"/>
                    </a:lnTo>
                    <a:lnTo>
                      <a:pt x="9" y="6"/>
                    </a:lnTo>
                    <a:lnTo>
                      <a:pt x="8" y="6"/>
                    </a:lnTo>
                    <a:lnTo>
                      <a:pt x="9" y="7"/>
                    </a:lnTo>
                    <a:lnTo>
                      <a:pt x="9" y="7"/>
                    </a:lnTo>
                    <a:lnTo>
                      <a:pt x="9" y="8"/>
                    </a:lnTo>
                    <a:lnTo>
                      <a:pt x="9" y="8"/>
                    </a:lnTo>
                    <a:lnTo>
                      <a:pt x="9" y="8"/>
                    </a:lnTo>
                    <a:lnTo>
                      <a:pt x="9" y="8"/>
                    </a:lnTo>
                    <a:lnTo>
                      <a:pt x="9" y="7"/>
                    </a:lnTo>
                    <a:lnTo>
                      <a:pt x="9" y="7"/>
                    </a:lnTo>
                    <a:lnTo>
                      <a:pt x="9" y="6"/>
                    </a:lnTo>
                    <a:lnTo>
                      <a:pt x="9" y="6"/>
                    </a:lnTo>
                    <a:lnTo>
                      <a:pt x="9" y="6"/>
                    </a:lnTo>
                    <a:lnTo>
                      <a:pt x="9" y="5"/>
                    </a:lnTo>
                    <a:lnTo>
                      <a:pt x="9" y="5"/>
                    </a:lnTo>
                    <a:lnTo>
                      <a:pt x="9" y="5"/>
                    </a:lnTo>
                    <a:lnTo>
                      <a:pt x="9" y="4"/>
                    </a:lnTo>
                    <a:lnTo>
                      <a:pt x="9" y="4"/>
                    </a:lnTo>
                    <a:lnTo>
                      <a:pt x="9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5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7"/>
                    </a:lnTo>
                    <a:lnTo>
                      <a:pt x="10" y="7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3"/>
                    </a:lnTo>
                    <a:lnTo>
                      <a:pt x="10" y="13"/>
                    </a:lnTo>
                    <a:lnTo>
                      <a:pt x="9" y="14"/>
                    </a:lnTo>
                    <a:lnTo>
                      <a:pt x="9" y="14"/>
                    </a:lnTo>
                    <a:lnTo>
                      <a:pt x="9" y="15"/>
                    </a:lnTo>
                    <a:lnTo>
                      <a:pt x="8" y="15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7"/>
                    </a:lnTo>
                    <a:lnTo>
                      <a:pt x="8" y="17"/>
                    </a:lnTo>
                    <a:lnTo>
                      <a:pt x="6" y="17"/>
                    </a:lnTo>
                    <a:lnTo>
                      <a:pt x="6" y="17"/>
                    </a:lnTo>
                    <a:lnTo>
                      <a:pt x="6" y="17"/>
                    </a:lnTo>
                    <a:lnTo>
                      <a:pt x="6" y="17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7"/>
                    </a:lnTo>
                    <a:lnTo>
                      <a:pt x="6" y="17"/>
                    </a:lnTo>
                    <a:lnTo>
                      <a:pt x="6" y="19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8" y="21"/>
                    </a:lnTo>
                    <a:lnTo>
                      <a:pt x="8" y="22"/>
                    </a:lnTo>
                    <a:lnTo>
                      <a:pt x="6" y="22"/>
                    </a:lnTo>
                    <a:lnTo>
                      <a:pt x="6" y="21"/>
                    </a:lnTo>
                    <a:lnTo>
                      <a:pt x="6" y="21"/>
                    </a:lnTo>
                    <a:lnTo>
                      <a:pt x="6" y="20"/>
                    </a:lnTo>
                    <a:lnTo>
                      <a:pt x="6" y="21"/>
                    </a:lnTo>
                    <a:lnTo>
                      <a:pt x="6" y="21"/>
                    </a:lnTo>
                    <a:lnTo>
                      <a:pt x="6" y="21"/>
                    </a:lnTo>
                    <a:lnTo>
                      <a:pt x="5" y="21"/>
                    </a:lnTo>
                    <a:lnTo>
                      <a:pt x="5" y="21"/>
                    </a:lnTo>
                    <a:lnTo>
                      <a:pt x="5" y="20"/>
                    </a:lnTo>
                    <a:lnTo>
                      <a:pt x="4" y="20"/>
                    </a:lnTo>
                    <a:lnTo>
                      <a:pt x="4" y="21"/>
                    </a:lnTo>
                    <a:lnTo>
                      <a:pt x="4" y="21"/>
                    </a:lnTo>
                    <a:lnTo>
                      <a:pt x="4" y="21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3"/>
                    </a:lnTo>
                    <a:lnTo>
                      <a:pt x="4" y="23"/>
                    </a:lnTo>
                    <a:lnTo>
                      <a:pt x="4" y="23"/>
                    </a:lnTo>
                    <a:lnTo>
                      <a:pt x="2" y="23"/>
                    </a:lnTo>
                    <a:lnTo>
                      <a:pt x="2" y="23"/>
                    </a:lnTo>
                    <a:lnTo>
                      <a:pt x="1" y="23"/>
                    </a:lnTo>
                    <a:lnTo>
                      <a:pt x="1" y="22"/>
                    </a:lnTo>
                    <a:lnTo>
                      <a:pt x="1" y="21"/>
                    </a:lnTo>
                    <a:lnTo>
                      <a:pt x="1" y="21"/>
                    </a:lnTo>
                    <a:lnTo>
                      <a:pt x="1" y="21"/>
                    </a:lnTo>
                    <a:lnTo>
                      <a:pt x="1" y="20"/>
                    </a:lnTo>
                    <a:lnTo>
                      <a:pt x="1" y="20"/>
                    </a:lnTo>
                    <a:lnTo>
                      <a:pt x="1" y="20"/>
                    </a:lnTo>
                    <a:lnTo>
                      <a:pt x="1" y="20"/>
                    </a:lnTo>
                    <a:lnTo>
                      <a:pt x="1" y="19"/>
                    </a:lnTo>
                    <a:lnTo>
                      <a:pt x="1" y="19"/>
                    </a:lnTo>
                    <a:lnTo>
                      <a:pt x="0" y="19"/>
                    </a:lnTo>
                    <a:lnTo>
                      <a:pt x="0" y="19"/>
                    </a:lnTo>
                    <a:lnTo>
                      <a:pt x="0" y="19"/>
                    </a:lnTo>
                    <a:lnTo>
                      <a:pt x="0" y="19"/>
                    </a:lnTo>
                    <a:lnTo>
                      <a:pt x="0" y="19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0" y="19"/>
                    </a:lnTo>
                    <a:lnTo>
                      <a:pt x="1" y="19"/>
                    </a:lnTo>
                    <a:lnTo>
                      <a:pt x="2" y="19"/>
                    </a:lnTo>
                    <a:lnTo>
                      <a:pt x="2" y="19"/>
                    </a:lnTo>
                    <a:lnTo>
                      <a:pt x="2" y="19"/>
                    </a:lnTo>
                    <a:lnTo>
                      <a:pt x="2" y="19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3" y="20"/>
                    </a:lnTo>
                    <a:lnTo>
                      <a:pt x="3" y="20"/>
                    </a:lnTo>
                    <a:lnTo>
                      <a:pt x="3" y="19"/>
                    </a:lnTo>
                    <a:lnTo>
                      <a:pt x="3" y="17"/>
                    </a:lnTo>
                    <a:lnTo>
                      <a:pt x="3" y="17"/>
                    </a:lnTo>
                    <a:lnTo>
                      <a:pt x="3" y="16"/>
                    </a:lnTo>
                    <a:lnTo>
                      <a:pt x="3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7"/>
                    </a:lnTo>
                    <a:lnTo>
                      <a:pt x="1" y="17"/>
                    </a:lnTo>
                    <a:lnTo>
                      <a:pt x="1" y="16"/>
                    </a:lnTo>
                    <a:lnTo>
                      <a:pt x="1" y="16"/>
                    </a:lnTo>
                    <a:lnTo>
                      <a:pt x="1" y="15"/>
                    </a:lnTo>
                    <a:lnTo>
                      <a:pt x="1" y="15"/>
                    </a:lnTo>
                    <a:lnTo>
                      <a:pt x="1" y="15"/>
                    </a:lnTo>
                    <a:lnTo>
                      <a:pt x="2" y="15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2" y="13"/>
                    </a:lnTo>
                    <a:lnTo>
                      <a:pt x="2" y="13"/>
                    </a:lnTo>
                    <a:lnTo>
                      <a:pt x="3" y="13"/>
                    </a:lnTo>
                    <a:lnTo>
                      <a:pt x="3" y="13"/>
                    </a:lnTo>
                    <a:lnTo>
                      <a:pt x="3" y="13"/>
                    </a:lnTo>
                    <a:lnTo>
                      <a:pt x="3" y="13"/>
                    </a:lnTo>
                    <a:lnTo>
                      <a:pt x="3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3" y="12"/>
                    </a:lnTo>
                    <a:lnTo>
                      <a:pt x="3" y="12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13"/>
                    </a:lnTo>
                    <a:lnTo>
                      <a:pt x="2" y="13"/>
                    </a:lnTo>
                    <a:lnTo>
                      <a:pt x="1" y="13"/>
                    </a:lnTo>
                    <a:lnTo>
                      <a:pt x="1" y="13"/>
                    </a:lnTo>
                    <a:lnTo>
                      <a:pt x="1" y="13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1" y="12"/>
                    </a:lnTo>
                    <a:lnTo>
                      <a:pt x="1" y="12"/>
                    </a:lnTo>
                    <a:lnTo>
                      <a:pt x="1" y="11"/>
                    </a:lnTo>
                    <a:lnTo>
                      <a:pt x="2" y="11"/>
                    </a:lnTo>
                    <a:lnTo>
                      <a:pt x="2" y="11"/>
                    </a:lnTo>
                    <a:lnTo>
                      <a:pt x="2" y="11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1" y="10"/>
                    </a:lnTo>
                    <a:lnTo>
                      <a:pt x="1" y="10"/>
                    </a:lnTo>
                    <a:lnTo>
                      <a:pt x="1" y="8"/>
                    </a:lnTo>
                    <a:lnTo>
                      <a:pt x="1" y="8"/>
                    </a:lnTo>
                    <a:lnTo>
                      <a:pt x="1" y="8"/>
                    </a:lnTo>
                    <a:lnTo>
                      <a:pt x="1" y="8"/>
                    </a:lnTo>
                    <a:lnTo>
                      <a:pt x="1" y="7"/>
                    </a:lnTo>
                    <a:lnTo>
                      <a:pt x="1" y="7"/>
                    </a:lnTo>
                    <a:lnTo>
                      <a:pt x="1" y="7"/>
                    </a:lnTo>
                    <a:lnTo>
                      <a:pt x="1" y="6"/>
                    </a:lnTo>
                    <a:lnTo>
                      <a:pt x="1" y="6"/>
                    </a:lnTo>
                    <a:lnTo>
                      <a:pt x="1" y="6"/>
                    </a:lnTo>
                    <a:lnTo>
                      <a:pt x="1" y="6"/>
                    </a:lnTo>
                    <a:lnTo>
                      <a:pt x="1" y="6"/>
                    </a:lnTo>
                    <a:lnTo>
                      <a:pt x="1" y="6"/>
                    </a:lnTo>
                    <a:lnTo>
                      <a:pt x="1" y="5"/>
                    </a:lnTo>
                    <a:lnTo>
                      <a:pt x="1" y="5"/>
                    </a:lnTo>
                    <a:lnTo>
                      <a:pt x="2" y="5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4" y="3"/>
                    </a:lnTo>
                    <a:lnTo>
                      <a:pt x="4" y="3"/>
                    </a:lnTo>
                    <a:lnTo>
                      <a:pt x="4" y="3"/>
                    </a:lnTo>
                    <a:lnTo>
                      <a:pt x="4" y="3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3" y="2"/>
                    </a:lnTo>
                    <a:lnTo>
                      <a:pt x="3" y="2"/>
                    </a:lnTo>
                    <a:lnTo>
                      <a:pt x="3" y="2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90000"/>
                  </a:lnSpc>
                </a:pPr>
                <a:endParaRPr lang="en-US"/>
              </a:p>
            </p:txBody>
          </p:sp>
        </p:grpSp>
        <p:sp>
          <p:nvSpPr>
            <p:cNvPr id="7" name="Freeform 207">
              <a:extLst>
                <a:ext uri="{FF2B5EF4-FFF2-40B4-BE49-F238E27FC236}">
                  <a16:creationId xmlns:a16="http://schemas.microsoft.com/office/drawing/2014/main" id="{09FB67DB-EA93-4577-A443-38479F2DB9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1275" y="2009775"/>
              <a:ext cx="671512" cy="342900"/>
            </a:xfrm>
            <a:custGeom>
              <a:avLst/>
              <a:gdLst>
                <a:gd name="T0" fmla="*/ 381 w 423"/>
                <a:gd name="T1" fmla="*/ 10 h 216"/>
                <a:gd name="T2" fmla="*/ 322 w 423"/>
                <a:gd name="T3" fmla="*/ 16 h 216"/>
                <a:gd name="T4" fmla="*/ 317 w 423"/>
                <a:gd name="T5" fmla="*/ 5 h 216"/>
                <a:gd name="T6" fmla="*/ 267 w 423"/>
                <a:gd name="T7" fmla="*/ 1 h 216"/>
                <a:gd name="T8" fmla="*/ 230 w 423"/>
                <a:gd name="T9" fmla="*/ 2 h 216"/>
                <a:gd name="T10" fmla="*/ 215 w 423"/>
                <a:gd name="T11" fmla="*/ 22 h 216"/>
                <a:gd name="T12" fmla="*/ 162 w 423"/>
                <a:gd name="T13" fmla="*/ 6 h 216"/>
                <a:gd name="T14" fmla="*/ 151 w 423"/>
                <a:gd name="T15" fmla="*/ 10 h 216"/>
                <a:gd name="T16" fmla="*/ 133 w 423"/>
                <a:gd name="T17" fmla="*/ 22 h 216"/>
                <a:gd name="T18" fmla="*/ 164 w 423"/>
                <a:gd name="T19" fmla="*/ 40 h 216"/>
                <a:gd name="T20" fmla="*/ 127 w 423"/>
                <a:gd name="T21" fmla="*/ 35 h 216"/>
                <a:gd name="T22" fmla="*/ 87 w 423"/>
                <a:gd name="T23" fmla="*/ 28 h 216"/>
                <a:gd name="T24" fmla="*/ 86 w 423"/>
                <a:gd name="T25" fmla="*/ 40 h 216"/>
                <a:gd name="T26" fmla="*/ 37 w 423"/>
                <a:gd name="T27" fmla="*/ 40 h 216"/>
                <a:gd name="T28" fmla="*/ 15 w 423"/>
                <a:gd name="T29" fmla="*/ 50 h 216"/>
                <a:gd name="T30" fmla="*/ 42 w 423"/>
                <a:gd name="T31" fmla="*/ 52 h 216"/>
                <a:gd name="T32" fmla="*/ 35 w 423"/>
                <a:gd name="T33" fmla="*/ 62 h 216"/>
                <a:gd name="T34" fmla="*/ 60 w 423"/>
                <a:gd name="T35" fmla="*/ 68 h 216"/>
                <a:gd name="T36" fmla="*/ 66 w 423"/>
                <a:gd name="T37" fmla="*/ 70 h 216"/>
                <a:gd name="T38" fmla="*/ 73 w 423"/>
                <a:gd name="T39" fmla="*/ 75 h 216"/>
                <a:gd name="T40" fmla="*/ 121 w 423"/>
                <a:gd name="T41" fmla="*/ 67 h 216"/>
                <a:gd name="T42" fmla="*/ 85 w 423"/>
                <a:gd name="T43" fmla="*/ 84 h 216"/>
                <a:gd name="T44" fmla="*/ 133 w 423"/>
                <a:gd name="T45" fmla="*/ 77 h 216"/>
                <a:gd name="T46" fmla="*/ 156 w 423"/>
                <a:gd name="T47" fmla="*/ 79 h 216"/>
                <a:gd name="T48" fmla="*/ 202 w 423"/>
                <a:gd name="T49" fmla="*/ 57 h 216"/>
                <a:gd name="T50" fmla="*/ 211 w 423"/>
                <a:gd name="T51" fmla="*/ 75 h 216"/>
                <a:gd name="T52" fmla="*/ 182 w 423"/>
                <a:gd name="T53" fmla="*/ 84 h 216"/>
                <a:gd name="T54" fmla="*/ 129 w 423"/>
                <a:gd name="T55" fmla="*/ 99 h 216"/>
                <a:gd name="T56" fmla="*/ 150 w 423"/>
                <a:gd name="T57" fmla="*/ 115 h 216"/>
                <a:gd name="T58" fmla="*/ 88 w 423"/>
                <a:gd name="T59" fmla="*/ 93 h 216"/>
                <a:gd name="T60" fmla="*/ 83 w 423"/>
                <a:gd name="T61" fmla="*/ 111 h 216"/>
                <a:gd name="T62" fmla="*/ 105 w 423"/>
                <a:gd name="T63" fmla="*/ 134 h 216"/>
                <a:gd name="T64" fmla="*/ 127 w 423"/>
                <a:gd name="T65" fmla="*/ 142 h 216"/>
                <a:gd name="T66" fmla="*/ 78 w 423"/>
                <a:gd name="T67" fmla="*/ 138 h 216"/>
                <a:gd name="T68" fmla="*/ 79 w 423"/>
                <a:gd name="T69" fmla="*/ 161 h 216"/>
                <a:gd name="T70" fmla="*/ 99 w 423"/>
                <a:gd name="T71" fmla="*/ 161 h 216"/>
                <a:gd name="T72" fmla="*/ 95 w 423"/>
                <a:gd name="T73" fmla="*/ 176 h 216"/>
                <a:gd name="T74" fmla="*/ 58 w 423"/>
                <a:gd name="T75" fmla="*/ 167 h 216"/>
                <a:gd name="T76" fmla="*/ 58 w 423"/>
                <a:gd name="T77" fmla="*/ 188 h 216"/>
                <a:gd name="T78" fmla="*/ 48 w 423"/>
                <a:gd name="T79" fmla="*/ 204 h 216"/>
                <a:gd name="T80" fmla="*/ 83 w 423"/>
                <a:gd name="T81" fmla="*/ 211 h 216"/>
                <a:gd name="T82" fmla="*/ 119 w 423"/>
                <a:gd name="T83" fmla="*/ 209 h 216"/>
                <a:gd name="T84" fmla="*/ 144 w 423"/>
                <a:gd name="T85" fmla="*/ 207 h 216"/>
                <a:gd name="T86" fmla="*/ 190 w 423"/>
                <a:gd name="T87" fmla="*/ 203 h 216"/>
                <a:gd name="T88" fmla="*/ 161 w 423"/>
                <a:gd name="T89" fmla="*/ 186 h 216"/>
                <a:gd name="T90" fmla="*/ 152 w 423"/>
                <a:gd name="T91" fmla="*/ 183 h 216"/>
                <a:gd name="T92" fmla="*/ 190 w 423"/>
                <a:gd name="T93" fmla="*/ 164 h 216"/>
                <a:gd name="T94" fmla="*/ 224 w 423"/>
                <a:gd name="T95" fmla="*/ 156 h 216"/>
                <a:gd name="T96" fmla="*/ 229 w 423"/>
                <a:gd name="T97" fmla="*/ 136 h 216"/>
                <a:gd name="T98" fmla="*/ 194 w 423"/>
                <a:gd name="T99" fmla="*/ 132 h 216"/>
                <a:gd name="T100" fmla="*/ 199 w 423"/>
                <a:gd name="T101" fmla="*/ 128 h 216"/>
                <a:gd name="T102" fmla="*/ 239 w 423"/>
                <a:gd name="T103" fmla="*/ 132 h 216"/>
                <a:gd name="T104" fmla="*/ 203 w 423"/>
                <a:gd name="T105" fmla="*/ 121 h 216"/>
                <a:gd name="T106" fmla="*/ 235 w 423"/>
                <a:gd name="T107" fmla="*/ 119 h 216"/>
                <a:gd name="T108" fmla="*/ 252 w 423"/>
                <a:gd name="T109" fmla="*/ 108 h 216"/>
                <a:gd name="T110" fmla="*/ 292 w 423"/>
                <a:gd name="T111" fmla="*/ 100 h 216"/>
                <a:gd name="T112" fmla="*/ 299 w 423"/>
                <a:gd name="T113" fmla="*/ 93 h 216"/>
                <a:gd name="T114" fmla="*/ 339 w 423"/>
                <a:gd name="T115" fmla="*/ 72 h 216"/>
                <a:gd name="T116" fmla="*/ 350 w 423"/>
                <a:gd name="T117" fmla="*/ 57 h 216"/>
                <a:gd name="T118" fmla="*/ 305 w 423"/>
                <a:gd name="T119" fmla="*/ 64 h 216"/>
                <a:gd name="T120" fmla="*/ 323 w 423"/>
                <a:gd name="T121" fmla="*/ 53 h 216"/>
                <a:gd name="T122" fmla="*/ 360 w 423"/>
                <a:gd name="T123" fmla="*/ 49 h 216"/>
                <a:gd name="T124" fmla="*/ 408 w 423"/>
                <a:gd name="T125" fmla="*/ 36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23" h="216">
                  <a:moveTo>
                    <a:pt x="421" y="25"/>
                  </a:moveTo>
                  <a:lnTo>
                    <a:pt x="419" y="23"/>
                  </a:lnTo>
                  <a:lnTo>
                    <a:pt x="416" y="22"/>
                  </a:lnTo>
                  <a:lnTo>
                    <a:pt x="415" y="22"/>
                  </a:lnTo>
                  <a:lnTo>
                    <a:pt x="411" y="22"/>
                  </a:lnTo>
                  <a:lnTo>
                    <a:pt x="409" y="22"/>
                  </a:lnTo>
                  <a:lnTo>
                    <a:pt x="406" y="22"/>
                  </a:lnTo>
                  <a:lnTo>
                    <a:pt x="402" y="21"/>
                  </a:lnTo>
                  <a:lnTo>
                    <a:pt x="400" y="21"/>
                  </a:lnTo>
                  <a:lnTo>
                    <a:pt x="397" y="22"/>
                  </a:lnTo>
                  <a:lnTo>
                    <a:pt x="394" y="23"/>
                  </a:lnTo>
                  <a:lnTo>
                    <a:pt x="391" y="23"/>
                  </a:lnTo>
                  <a:lnTo>
                    <a:pt x="394" y="23"/>
                  </a:lnTo>
                  <a:lnTo>
                    <a:pt x="395" y="19"/>
                  </a:lnTo>
                  <a:lnTo>
                    <a:pt x="392" y="18"/>
                  </a:lnTo>
                  <a:lnTo>
                    <a:pt x="390" y="15"/>
                  </a:lnTo>
                  <a:lnTo>
                    <a:pt x="386" y="14"/>
                  </a:lnTo>
                  <a:lnTo>
                    <a:pt x="390" y="13"/>
                  </a:lnTo>
                  <a:lnTo>
                    <a:pt x="390" y="10"/>
                  </a:lnTo>
                  <a:lnTo>
                    <a:pt x="386" y="9"/>
                  </a:lnTo>
                  <a:lnTo>
                    <a:pt x="383" y="9"/>
                  </a:lnTo>
                  <a:lnTo>
                    <a:pt x="381" y="10"/>
                  </a:lnTo>
                  <a:lnTo>
                    <a:pt x="377" y="12"/>
                  </a:lnTo>
                  <a:lnTo>
                    <a:pt x="375" y="12"/>
                  </a:lnTo>
                  <a:lnTo>
                    <a:pt x="372" y="10"/>
                  </a:lnTo>
                  <a:lnTo>
                    <a:pt x="369" y="9"/>
                  </a:lnTo>
                  <a:lnTo>
                    <a:pt x="373" y="8"/>
                  </a:lnTo>
                  <a:lnTo>
                    <a:pt x="369" y="7"/>
                  </a:lnTo>
                  <a:lnTo>
                    <a:pt x="366" y="8"/>
                  </a:lnTo>
                  <a:lnTo>
                    <a:pt x="364" y="10"/>
                  </a:lnTo>
                  <a:lnTo>
                    <a:pt x="361" y="12"/>
                  </a:lnTo>
                  <a:lnTo>
                    <a:pt x="358" y="9"/>
                  </a:lnTo>
                  <a:lnTo>
                    <a:pt x="356" y="10"/>
                  </a:lnTo>
                  <a:lnTo>
                    <a:pt x="352" y="10"/>
                  </a:lnTo>
                  <a:lnTo>
                    <a:pt x="350" y="12"/>
                  </a:lnTo>
                  <a:lnTo>
                    <a:pt x="347" y="13"/>
                  </a:lnTo>
                  <a:lnTo>
                    <a:pt x="344" y="14"/>
                  </a:lnTo>
                  <a:lnTo>
                    <a:pt x="342" y="14"/>
                  </a:lnTo>
                  <a:lnTo>
                    <a:pt x="339" y="15"/>
                  </a:lnTo>
                  <a:lnTo>
                    <a:pt x="335" y="16"/>
                  </a:lnTo>
                  <a:lnTo>
                    <a:pt x="333" y="16"/>
                  </a:lnTo>
                  <a:lnTo>
                    <a:pt x="327" y="16"/>
                  </a:lnTo>
                  <a:lnTo>
                    <a:pt x="324" y="16"/>
                  </a:lnTo>
                  <a:lnTo>
                    <a:pt x="322" y="16"/>
                  </a:lnTo>
                  <a:lnTo>
                    <a:pt x="318" y="17"/>
                  </a:lnTo>
                  <a:lnTo>
                    <a:pt x="321" y="15"/>
                  </a:lnTo>
                  <a:lnTo>
                    <a:pt x="324" y="15"/>
                  </a:lnTo>
                  <a:lnTo>
                    <a:pt x="326" y="14"/>
                  </a:lnTo>
                  <a:lnTo>
                    <a:pt x="330" y="14"/>
                  </a:lnTo>
                  <a:lnTo>
                    <a:pt x="333" y="13"/>
                  </a:lnTo>
                  <a:lnTo>
                    <a:pt x="335" y="13"/>
                  </a:lnTo>
                  <a:lnTo>
                    <a:pt x="339" y="12"/>
                  </a:lnTo>
                  <a:lnTo>
                    <a:pt x="341" y="12"/>
                  </a:lnTo>
                  <a:lnTo>
                    <a:pt x="348" y="9"/>
                  </a:lnTo>
                  <a:lnTo>
                    <a:pt x="349" y="7"/>
                  </a:lnTo>
                  <a:lnTo>
                    <a:pt x="347" y="6"/>
                  </a:lnTo>
                  <a:lnTo>
                    <a:pt x="343" y="6"/>
                  </a:lnTo>
                  <a:lnTo>
                    <a:pt x="341" y="6"/>
                  </a:lnTo>
                  <a:lnTo>
                    <a:pt x="338" y="6"/>
                  </a:lnTo>
                  <a:lnTo>
                    <a:pt x="335" y="6"/>
                  </a:lnTo>
                  <a:lnTo>
                    <a:pt x="332" y="6"/>
                  </a:lnTo>
                  <a:lnTo>
                    <a:pt x="329" y="6"/>
                  </a:lnTo>
                  <a:lnTo>
                    <a:pt x="326" y="7"/>
                  </a:lnTo>
                  <a:lnTo>
                    <a:pt x="323" y="5"/>
                  </a:lnTo>
                  <a:lnTo>
                    <a:pt x="321" y="4"/>
                  </a:lnTo>
                  <a:lnTo>
                    <a:pt x="317" y="5"/>
                  </a:lnTo>
                  <a:lnTo>
                    <a:pt x="315" y="5"/>
                  </a:lnTo>
                  <a:lnTo>
                    <a:pt x="312" y="4"/>
                  </a:lnTo>
                  <a:lnTo>
                    <a:pt x="306" y="5"/>
                  </a:lnTo>
                  <a:lnTo>
                    <a:pt x="303" y="2"/>
                  </a:lnTo>
                  <a:lnTo>
                    <a:pt x="299" y="0"/>
                  </a:lnTo>
                  <a:lnTo>
                    <a:pt x="293" y="0"/>
                  </a:lnTo>
                  <a:lnTo>
                    <a:pt x="291" y="1"/>
                  </a:lnTo>
                  <a:lnTo>
                    <a:pt x="288" y="1"/>
                  </a:lnTo>
                  <a:lnTo>
                    <a:pt x="284" y="1"/>
                  </a:lnTo>
                  <a:lnTo>
                    <a:pt x="282" y="2"/>
                  </a:lnTo>
                  <a:lnTo>
                    <a:pt x="279" y="4"/>
                  </a:lnTo>
                  <a:lnTo>
                    <a:pt x="282" y="6"/>
                  </a:lnTo>
                  <a:lnTo>
                    <a:pt x="286" y="7"/>
                  </a:lnTo>
                  <a:lnTo>
                    <a:pt x="288" y="8"/>
                  </a:lnTo>
                  <a:lnTo>
                    <a:pt x="284" y="8"/>
                  </a:lnTo>
                  <a:lnTo>
                    <a:pt x="282" y="7"/>
                  </a:lnTo>
                  <a:lnTo>
                    <a:pt x="279" y="7"/>
                  </a:lnTo>
                  <a:lnTo>
                    <a:pt x="275" y="5"/>
                  </a:lnTo>
                  <a:lnTo>
                    <a:pt x="277" y="1"/>
                  </a:lnTo>
                  <a:lnTo>
                    <a:pt x="273" y="1"/>
                  </a:lnTo>
                  <a:lnTo>
                    <a:pt x="270" y="1"/>
                  </a:lnTo>
                  <a:lnTo>
                    <a:pt x="267" y="1"/>
                  </a:lnTo>
                  <a:lnTo>
                    <a:pt x="264" y="1"/>
                  </a:lnTo>
                  <a:lnTo>
                    <a:pt x="262" y="1"/>
                  </a:lnTo>
                  <a:lnTo>
                    <a:pt x="258" y="2"/>
                  </a:lnTo>
                  <a:lnTo>
                    <a:pt x="255" y="4"/>
                  </a:lnTo>
                  <a:lnTo>
                    <a:pt x="253" y="5"/>
                  </a:lnTo>
                  <a:lnTo>
                    <a:pt x="249" y="6"/>
                  </a:lnTo>
                  <a:lnTo>
                    <a:pt x="253" y="8"/>
                  </a:lnTo>
                  <a:lnTo>
                    <a:pt x="255" y="10"/>
                  </a:lnTo>
                  <a:lnTo>
                    <a:pt x="258" y="12"/>
                  </a:lnTo>
                  <a:lnTo>
                    <a:pt x="264" y="14"/>
                  </a:lnTo>
                  <a:lnTo>
                    <a:pt x="261" y="14"/>
                  </a:lnTo>
                  <a:lnTo>
                    <a:pt x="258" y="13"/>
                  </a:lnTo>
                  <a:lnTo>
                    <a:pt x="255" y="13"/>
                  </a:lnTo>
                  <a:lnTo>
                    <a:pt x="253" y="12"/>
                  </a:lnTo>
                  <a:lnTo>
                    <a:pt x="249" y="10"/>
                  </a:lnTo>
                  <a:lnTo>
                    <a:pt x="247" y="9"/>
                  </a:lnTo>
                  <a:lnTo>
                    <a:pt x="245" y="7"/>
                  </a:lnTo>
                  <a:lnTo>
                    <a:pt x="241" y="5"/>
                  </a:lnTo>
                  <a:lnTo>
                    <a:pt x="239" y="4"/>
                  </a:lnTo>
                  <a:lnTo>
                    <a:pt x="236" y="4"/>
                  </a:lnTo>
                  <a:lnTo>
                    <a:pt x="232" y="2"/>
                  </a:lnTo>
                  <a:lnTo>
                    <a:pt x="230" y="2"/>
                  </a:lnTo>
                  <a:lnTo>
                    <a:pt x="228" y="4"/>
                  </a:lnTo>
                  <a:lnTo>
                    <a:pt x="226" y="4"/>
                  </a:lnTo>
                  <a:lnTo>
                    <a:pt x="215" y="2"/>
                  </a:lnTo>
                  <a:lnTo>
                    <a:pt x="213" y="2"/>
                  </a:lnTo>
                  <a:lnTo>
                    <a:pt x="210" y="4"/>
                  </a:lnTo>
                  <a:lnTo>
                    <a:pt x="206" y="4"/>
                  </a:lnTo>
                  <a:lnTo>
                    <a:pt x="201" y="4"/>
                  </a:lnTo>
                  <a:lnTo>
                    <a:pt x="197" y="6"/>
                  </a:lnTo>
                  <a:lnTo>
                    <a:pt x="201" y="7"/>
                  </a:lnTo>
                  <a:lnTo>
                    <a:pt x="203" y="7"/>
                  </a:lnTo>
                  <a:lnTo>
                    <a:pt x="206" y="9"/>
                  </a:lnTo>
                  <a:lnTo>
                    <a:pt x="210" y="12"/>
                  </a:lnTo>
                  <a:lnTo>
                    <a:pt x="212" y="12"/>
                  </a:lnTo>
                  <a:lnTo>
                    <a:pt x="215" y="12"/>
                  </a:lnTo>
                  <a:lnTo>
                    <a:pt x="212" y="14"/>
                  </a:lnTo>
                  <a:lnTo>
                    <a:pt x="215" y="15"/>
                  </a:lnTo>
                  <a:lnTo>
                    <a:pt x="218" y="16"/>
                  </a:lnTo>
                  <a:lnTo>
                    <a:pt x="221" y="17"/>
                  </a:lnTo>
                  <a:lnTo>
                    <a:pt x="223" y="18"/>
                  </a:lnTo>
                  <a:lnTo>
                    <a:pt x="221" y="18"/>
                  </a:lnTo>
                  <a:lnTo>
                    <a:pt x="218" y="21"/>
                  </a:lnTo>
                  <a:lnTo>
                    <a:pt x="215" y="22"/>
                  </a:lnTo>
                  <a:lnTo>
                    <a:pt x="212" y="23"/>
                  </a:lnTo>
                  <a:lnTo>
                    <a:pt x="214" y="21"/>
                  </a:lnTo>
                  <a:lnTo>
                    <a:pt x="216" y="18"/>
                  </a:lnTo>
                  <a:lnTo>
                    <a:pt x="213" y="17"/>
                  </a:lnTo>
                  <a:lnTo>
                    <a:pt x="211" y="16"/>
                  </a:lnTo>
                  <a:lnTo>
                    <a:pt x="207" y="16"/>
                  </a:lnTo>
                  <a:lnTo>
                    <a:pt x="205" y="14"/>
                  </a:lnTo>
                  <a:lnTo>
                    <a:pt x="202" y="12"/>
                  </a:lnTo>
                  <a:lnTo>
                    <a:pt x="199" y="9"/>
                  </a:lnTo>
                  <a:lnTo>
                    <a:pt x="196" y="9"/>
                  </a:lnTo>
                  <a:lnTo>
                    <a:pt x="194" y="8"/>
                  </a:lnTo>
                  <a:lnTo>
                    <a:pt x="190" y="7"/>
                  </a:lnTo>
                  <a:lnTo>
                    <a:pt x="187" y="9"/>
                  </a:lnTo>
                  <a:lnTo>
                    <a:pt x="185" y="8"/>
                  </a:lnTo>
                  <a:lnTo>
                    <a:pt x="182" y="6"/>
                  </a:lnTo>
                  <a:lnTo>
                    <a:pt x="179" y="7"/>
                  </a:lnTo>
                  <a:lnTo>
                    <a:pt x="176" y="8"/>
                  </a:lnTo>
                  <a:lnTo>
                    <a:pt x="175" y="6"/>
                  </a:lnTo>
                  <a:lnTo>
                    <a:pt x="171" y="5"/>
                  </a:lnTo>
                  <a:lnTo>
                    <a:pt x="169" y="6"/>
                  </a:lnTo>
                  <a:lnTo>
                    <a:pt x="165" y="6"/>
                  </a:lnTo>
                  <a:lnTo>
                    <a:pt x="162" y="6"/>
                  </a:lnTo>
                  <a:lnTo>
                    <a:pt x="159" y="7"/>
                  </a:lnTo>
                  <a:lnTo>
                    <a:pt x="161" y="9"/>
                  </a:lnTo>
                  <a:lnTo>
                    <a:pt x="164" y="9"/>
                  </a:lnTo>
                  <a:lnTo>
                    <a:pt x="168" y="10"/>
                  </a:lnTo>
                  <a:lnTo>
                    <a:pt x="164" y="10"/>
                  </a:lnTo>
                  <a:lnTo>
                    <a:pt x="168" y="14"/>
                  </a:lnTo>
                  <a:lnTo>
                    <a:pt x="170" y="14"/>
                  </a:lnTo>
                  <a:lnTo>
                    <a:pt x="173" y="15"/>
                  </a:lnTo>
                  <a:lnTo>
                    <a:pt x="177" y="15"/>
                  </a:lnTo>
                  <a:lnTo>
                    <a:pt x="179" y="15"/>
                  </a:lnTo>
                  <a:lnTo>
                    <a:pt x="182" y="15"/>
                  </a:lnTo>
                  <a:lnTo>
                    <a:pt x="180" y="16"/>
                  </a:lnTo>
                  <a:lnTo>
                    <a:pt x="177" y="15"/>
                  </a:lnTo>
                  <a:lnTo>
                    <a:pt x="175" y="16"/>
                  </a:lnTo>
                  <a:lnTo>
                    <a:pt x="171" y="15"/>
                  </a:lnTo>
                  <a:lnTo>
                    <a:pt x="168" y="15"/>
                  </a:lnTo>
                  <a:lnTo>
                    <a:pt x="164" y="14"/>
                  </a:lnTo>
                  <a:lnTo>
                    <a:pt x="162" y="15"/>
                  </a:lnTo>
                  <a:lnTo>
                    <a:pt x="159" y="13"/>
                  </a:lnTo>
                  <a:lnTo>
                    <a:pt x="156" y="12"/>
                  </a:lnTo>
                  <a:lnTo>
                    <a:pt x="153" y="10"/>
                  </a:lnTo>
                  <a:lnTo>
                    <a:pt x="151" y="10"/>
                  </a:lnTo>
                  <a:lnTo>
                    <a:pt x="147" y="10"/>
                  </a:lnTo>
                  <a:lnTo>
                    <a:pt x="144" y="10"/>
                  </a:lnTo>
                  <a:lnTo>
                    <a:pt x="144" y="13"/>
                  </a:lnTo>
                  <a:lnTo>
                    <a:pt x="147" y="14"/>
                  </a:lnTo>
                  <a:lnTo>
                    <a:pt x="150" y="16"/>
                  </a:lnTo>
                  <a:lnTo>
                    <a:pt x="153" y="18"/>
                  </a:lnTo>
                  <a:lnTo>
                    <a:pt x="150" y="19"/>
                  </a:lnTo>
                  <a:lnTo>
                    <a:pt x="147" y="18"/>
                  </a:lnTo>
                  <a:lnTo>
                    <a:pt x="144" y="17"/>
                  </a:lnTo>
                  <a:lnTo>
                    <a:pt x="141" y="16"/>
                  </a:lnTo>
                  <a:lnTo>
                    <a:pt x="138" y="16"/>
                  </a:lnTo>
                  <a:lnTo>
                    <a:pt x="135" y="15"/>
                  </a:lnTo>
                  <a:lnTo>
                    <a:pt x="133" y="16"/>
                  </a:lnTo>
                  <a:lnTo>
                    <a:pt x="132" y="18"/>
                  </a:lnTo>
                  <a:lnTo>
                    <a:pt x="135" y="19"/>
                  </a:lnTo>
                  <a:lnTo>
                    <a:pt x="137" y="21"/>
                  </a:lnTo>
                  <a:lnTo>
                    <a:pt x="141" y="21"/>
                  </a:lnTo>
                  <a:lnTo>
                    <a:pt x="143" y="22"/>
                  </a:lnTo>
                  <a:lnTo>
                    <a:pt x="141" y="22"/>
                  </a:lnTo>
                  <a:lnTo>
                    <a:pt x="139" y="22"/>
                  </a:lnTo>
                  <a:lnTo>
                    <a:pt x="136" y="21"/>
                  </a:lnTo>
                  <a:lnTo>
                    <a:pt x="133" y="22"/>
                  </a:lnTo>
                  <a:lnTo>
                    <a:pt x="130" y="21"/>
                  </a:lnTo>
                  <a:lnTo>
                    <a:pt x="127" y="23"/>
                  </a:lnTo>
                  <a:lnTo>
                    <a:pt x="127" y="26"/>
                  </a:lnTo>
                  <a:lnTo>
                    <a:pt x="130" y="27"/>
                  </a:lnTo>
                  <a:lnTo>
                    <a:pt x="133" y="28"/>
                  </a:lnTo>
                  <a:lnTo>
                    <a:pt x="136" y="30"/>
                  </a:lnTo>
                  <a:lnTo>
                    <a:pt x="138" y="31"/>
                  </a:lnTo>
                  <a:lnTo>
                    <a:pt x="142" y="32"/>
                  </a:lnTo>
                  <a:lnTo>
                    <a:pt x="144" y="32"/>
                  </a:lnTo>
                  <a:lnTo>
                    <a:pt x="147" y="33"/>
                  </a:lnTo>
                  <a:lnTo>
                    <a:pt x="150" y="34"/>
                  </a:lnTo>
                  <a:lnTo>
                    <a:pt x="153" y="35"/>
                  </a:lnTo>
                  <a:lnTo>
                    <a:pt x="155" y="36"/>
                  </a:lnTo>
                  <a:lnTo>
                    <a:pt x="159" y="36"/>
                  </a:lnTo>
                  <a:lnTo>
                    <a:pt x="161" y="36"/>
                  </a:lnTo>
                  <a:lnTo>
                    <a:pt x="164" y="39"/>
                  </a:lnTo>
                  <a:lnTo>
                    <a:pt x="168" y="40"/>
                  </a:lnTo>
                  <a:lnTo>
                    <a:pt x="170" y="41"/>
                  </a:lnTo>
                  <a:lnTo>
                    <a:pt x="173" y="44"/>
                  </a:lnTo>
                  <a:lnTo>
                    <a:pt x="170" y="44"/>
                  </a:lnTo>
                  <a:lnTo>
                    <a:pt x="167" y="42"/>
                  </a:lnTo>
                  <a:lnTo>
                    <a:pt x="164" y="40"/>
                  </a:lnTo>
                  <a:lnTo>
                    <a:pt x="161" y="39"/>
                  </a:lnTo>
                  <a:lnTo>
                    <a:pt x="159" y="39"/>
                  </a:lnTo>
                  <a:lnTo>
                    <a:pt x="155" y="39"/>
                  </a:lnTo>
                  <a:lnTo>
                    <a:pt x="153" y="36"/>
                  </a:lnTo>
                  <a:lnTo>
                    <a:pt x="151" y="36"/>
                  </a:lnTo>
                  <a:lnTo>
                    <a:pt x="147" y="35"/>
                  </a:lnTo>
                  <a:lnTo>
                    <a:pt x="142" y="34"/>
                  </a:lnTo>
                  <a:lnTo>
                    <a:pt x="139" y="33"/>
                  </a:lnTo>
                  <a:lnTo>
                    <a:pt x="136" y="32"/>
                  </a:lnTo>
                  <a:lnTo>
                    <a:pt x="134" y="32"/>
                  </a:lnTo>
                  <a:lnTo>
                    <a:pt x="130" y="30"/>
                  </a:lnTo>
                  <a:lnTo>
                    <a:pt x="128" y="28"/>
                  </a:lnTo>
                  <a:lnTo>
                    <a:pt x="125" y="28"/>
                  </a:lnTo>
                  <a:lnTo>
                    <a:pt x="122" y="31"/>
                  </a:lnTo>
                  <a:lnTo>
                    <a:pt x="125" y="32"/>
                  </a:lnTo>
                  <a:lnTo>
                    <a:pt x="127" y="35"/>
                  </a:lnTo>
                  <a:lnTo>
                    <a:pt x="130" y="35"/>
                  </a:lnTo>
                  <a:lnTo>
                    <a:pt x="133" y="35"/>
                  </a:lnTo>
                  <a:lnTo>
                    <a:pt x="136" y="36"/>
                  </a:lnTo>
                  <a:lnTo>
                    <a:pt x="134" y="36"/>
                  </a:lnTo>
                  <a:lnTo>
                    <a:pt x="130" y="35"/>
                  </a:lnTo>
                  <a:lnTo>
                    <a:pt x="127" y="35"/>
                  </a:lnTo>
                  <a:lnTo>
                    <a:pt x="125" y="35"/>
                  </a:lnTo>
                  <a:lnTo>
                    <a:pt x="121" y="35"/>
                  </a:lnTo>
                  <a:lnTo>
                    <a:pt x="121" y="32"/>
                  </a:lnTo>
                  <a:lnTo>
                    <a:pt x="119" y="31"/>
                  </a:lnTo>
                  <a:lnTo>
                    <a:pt x="117" y="28"/>
                  </a:lnTo>
                  <a:lnTo>
                    <a:pt x="113" y="27"/>
                  </a:lnTo>
                  <a:lnTo>
                    <a:pt x="111" y="26"/>
                  </a:lnTo>
                  <a:lnTo>
                    <a:pt x="109" y="25"/>
                  </a:lnTo>
                  <a:lnTo>
                    <a:pt x="105" y="26"/>
                  </a:lnTo>
                  <a:lnTo>
                    <a:pt x="102" y="25"/>
                  </a:lnTo>
                  <a:lnTo>
                    <a:pt x="99" y="24"/>
                  </a:lnTo>
                  <a:lnTo>
                    <a:pt x="96" y="23"/>
                  </a:lnTo>
                  <a:lnTo>
                    <a:pt x="99" y="23"/>
                  </a:lnTo>
                  <a:lnTo>
                    <a:pt x="100" y="23"/>
                  </a:lnTo>
                  <a:lnTo>
                    <a:pt x="96" y="22"/>
                  </a:lnTo>
                  <a:lnTo>
                    <a:pt x="93" y="22"/>
                  </a:lnTo>
                  <a:lnTo>
                    <a:pt x="91" y="22"/>
                  </a:lnTo>
                  <a:lnTo>
                    <a:pt x="87" y="23"/>
                  </a:lnTo>
                  <a:lnTo>
                    <a:pt x="84" y="24"/>
                  </a:lnTo>
                  <a:lnTo>
                    <a:pt x="87" y="26"/>
                  </a:lnTo>
                  <a:lnTo>
                    <a:pt x="90" y="28"/>
                  </a:lnTo>
                  <a:lnTo>
                    <a:pt x="87" y="28"/>
                  </a:lnTo>
                  <a:lnTo>
                    <a:pt x="84" y="30"/>
                  </a:lnTo>
                  <a:lnTo>
                    <a:pt x="82" y="30"/>
                  </a:lnTo>
                  <a:lnTo>
                    <a:pt x="78" y="31"/>
                  </a:lnTo>
                  <a:lnTo>
                    <a:pt x="75" y="31"/>
                  </a:lnTo>
                  <a:lnTo>
                    <a:pt x="73" y="31"/>
                  </a:lnTo>
                  <a:lnTo>
                    <a:pt x="69" y="32"/>
                  </a:lnTo>
                  <a:lnTo>
                    <a:pt x="73" y="34"/>
                  </a:lnTo>
                  <a:lnTo>
                    <a:pt x="75" y="34"/>
                  </a:lnTo>
                  <a:lnTo>
                    <a:pt x="77" y="34"/>
                  </a:lnTo>
                  <a:lnTo>
                    <a:pt x="81" y="35"/>
                  </a:lnTo>
                  <a:lnTo>
                    <a:pt x="83" y="36"/>
                  </a:lnTo>
                  <a:lnTo>
                    <a:pt x="86" y="36"/>
                  </a:lnTo>
                  <a:lnTo>
                    <a:pt x="92" y="36"/>
                  </a:lnTo>
                  <a:lnTo>
                    <a:pt x="95" y="38"/>
                  </a:lnTo>
                  <a:lnTo>
                    <a:pt x="98" y="39"/>
                  </a:lnTo>
                  <a:lnTo>
                    <a:pt x="98" y="41"/>
                  </a:lnTo>
                  <a:lnTo>
                    <a:pt x="96" y="39"/>
                  </a:lnTo>
                  <a:lnTo>
                    <a:pt x="94" y="39"/>
                  </a:lnTo>
                  <a:lnTo>
                    <a:pt x="95" y="41"/>
                  </a:lnTo>
                  <a:lnTo>
                    <a:pt x="93" y="39"/>
                  </a:lnTo>
                  <a:lnTo>
                    <a:pt x="90" y="38"/>
                  </a:lnTo>
                  <a:lnTo>
                    <a:pt x="86" y="40"/>
                  </a:lnTo>
                  <a:lnTo>
                    <a:pt x="90" y="42"/>
                  </a:lnTo>
                  <a:lnTo>
                    <a:pt x="86" y="41"/>
                  </a:lnTo>
                  <a:lnTo>
                    <a:pt x="84" y="39"/>
                  </a:lnTo>
                  <a:lnTo>
                    <a:pt x="81" y="38"/>
                  </a:lnTo>
                  <a:lnTo>
                    <a:pt x="78" y="36"/>
                  </a:lnTo>
                  <a:lnTo>
                    <a:pt x="75" y="36"/>
                  </a:lnTo>
                  <a:lnTo>
                    <a:pt x="71" y="36"/>
                  </a:lnTo>
                  <a:lnTo>
                    <a:pt x="69" y="39"/>
                  </a:lnTo>
                  <a:lnTo>
                    <a:pt x="66" y="40"/>
                  </a:lnTo>
                  <a:lnTo>
                    <a:pt x="69" y="41"/>
                  </a:lnTo>
                  <a:lnTo>
                    <a:pt x="66" y="40"/>
                  </a:lnTo>
                  <a:lnTo>
                    <a:pt x="64" y="40"/>
                  </a:lnTo>
                  <a:lnTo>
                    <a:pt x="64" y="36"/>
                  </a:lnTo>
                  <a:lnTo>
                    <a:pt x="61" y="35"/>
                  </a:lnTo>
                  <a:lnTo>
                    <a:pt x="58" y="35"/>
                  </a:lnTo>
                  <a:lnTo>
                    <a:pt x="56" y="35"/>
                  </a:lnTo>
                  <a:lnTo>
                    <a:pt x="52" y="35"/>
                  </a:lnTo>
                  <a:lnTo>
                    <a:pt x="50" y="35"/>
                  </a:lnTo>
                  <a:lnTo>
                    <a:pt x="47" y="35"/>
                  </a:lnTo>
                  <a:lnTo>
                    <a:pt x="44" y="36"/>
                  </a:lnTo>
                  <a:lnTo>
                    <a:pt x="41" y="38"/>
                  </a:lnTo>
                  <a:lnTo>
                    <a:pt x="37" y="40"/>
                  </a:lnTo>
                  <a:lnTo>
                    <a:pt x="35" y="41"/>
                  </a:lnTo>
                  <a:lnTo>
                    <a:pt x="37" y="42"/>
                  </a:lnTo>
                  <a:lnTo>
                    <a:pt x="35" y="44"/>
                  </a:lnTo>
                  <a:lnTo>
                    <a:pt x="32" y="43"/>
                  </a:lnTo>
                  <a:lnTo>
                    <a:pt x="30" y="41"/>
                  </a:lnTo>
                  <a:lnTo>
                    <a:pt x="26" y="42"/>
                  </a:lnTo>
                  <a:lnTo>
                    <a:pt x="25" y="41"/>
                  </a:lnTo>
                  <a:lnTo>
                    <a:pt x="22" y="41"/>
                  </a:lnTo>
                  <a:lnTo>
                    <a:pt x="19" y="42"/>
                  </a:lnTo>
                  <a:lnTo>
                    <a:pt x="17" y="43"/>
                  </a:lnTo>
                  <a:lnTo>
                    <a:pt x="14" y="43"/>
                  </a:lnTo>
                  <a:lnTo>
                    <a:pt x="11" y="45"/>
                  </a:lnTo>
                  <a:lnTo>
                    <a:pt x="8" y="45"/>
                  </a:lnTo>
                  <a:lnTo>
                    <a:pt x="5" y="45"/>
                  </a:lnTo>
                  <a:lnTo>
                    <a:pt x="2" y="49"/>
                  </a:lnTo>
                  <a:lnTo>
                    <a:pt x="0" y="50"/>
                  </a:lnTo>
                  <a:lnTo>
                    <a:pt x="0" y="51"/>
                  </a:lnTo>
                  <a:lnTo>
                    <a:pt x="4" y="51"/>
                  </a:lnTo>
                  <a:lnTo>
                    <a:pt x="6" y="53"/>
                  </a:lnTo>
                  <a:lnTo>
                    <a:pt x="9" y="53"/>
                  </a:lnTo>
                  <a:lnTo>
                    <a:pt x="11" y="53"/>
                  </a:lnTo>
                  <a:lnTo>
                    <a:pt x="15" y="50"/>
                  </a:lnTo>
                  <a:lnTo>
                    <a:pt x="17" y="49"/>
                  </a:lnTo>
                  <a:lnTo>
                    <a:pt x="21" y="49"/>
                  </a:lnTo>
                  <a:lnTo>
                    <a:pt x="24" y="49"/>
                  </a:lnTo>
                  <a:lnTo>
                    <a:pt x="26" y="50"/>
                  </a:lnTo>
                  <a:lnTo>
                    <a:pt x="28" y="50"/>
                  </a:lnTo>
                  <a:lnTo>
                    <a:pt x="32" y="51"/>
                  </a:lnTo>
                  <a:lnTo>
                    <a:pt x="28" y="51"/>
                  </a:lnTo>
                  <a:lnTo>
                    <a:pt x="26" y="52"/>
                  </a:lnTo>
                  <a:lnTo>
                    <a:pt x="24" y="52"/>
                  </a:lnTo>
                  <a:lnTo>
                    <a:pt x="21" y="53"/>
                  </a:lnTo>
                  <a:lnTo>
                    <a:pt x="17" y="55"/>
                  </a:lnTo>
                  <a:lnTo>
                    <a:pt x="15" y="57"/>
                  </a:lnTo>
                  <a:lnTo>
                    <a:pt x="17" y="57"/>
                  </a:lnTo>
                  <a:lnTo>
                    <a:pt x="21" y="59"/>
                  </a:lnTo>
                  <a:lnTo>
                    <a:pt x="24" y="58"/>
                  </a:lnTo>
                  <a:lnTo>
                    <a:pt x="26" y="57"/>
                  </a:lnTo>
                  <a:lnTo>
                    <a:pt x="27" y="57"/>
                  </a:lnTo>
                  <a:lnTo>
                    <a:pt x="31" y="56"/>
                  </a:lnTo>
                  <a:lnTo>
                    <a:pt x="33" y="55"/>
                  </a:lnTo>
                  <a:lnTo>
                    <a:pt x="36" y="55"/>
                  </a:lnTo>
                  <a:lnTo>
                    <a:pt x="39" y="53"/>
                  </a:lnTo>
                  <a:lnTo>
                    <a:pt x="42" y="52"/>
                  </a:lnTo>
                  <a:lnTo>
                    <a:pt x="44" y="52"/>
                  </a:lnTo>
                  <a:lnTo>
                    <a:pt x="48" y="52"/>
                  </a:lnTo>
                  <a:lnTo>
                    <a:pt x="50" y="52"/>
                  </a:lnTo>
                  <a:lnTo>
                    <a:pt x="53" y="52"/>
                  </a:lnTo>
                  <a:lnTo>
                    <a:pt x="57" y="53"/>
                  </a:lnTo>
                  <a:lnTo>
                    <a:pt x="59" y="53"/>
                  </a:lnTo>
                  <a:lnTo>
                    <a:pt x="61" y="55"/>
                  </a:lnTo>
                  <a:lnTo>
                    <a:pt x="59" y="53"/>
                  </a:lnTo>
                  <a:lnTo>
                    <a:pt x="57" y="53"/>
                  </a:lnTo>
                  <a:lnTo>
                    <a:pt x="53" y="53"/>
                  </a:lnTo>
                  <a:lnTo>
                    <a:pt x="50" y="53"/>
                  </a:lnTo>
                  <a:lnTo>
                    <a:pt x="48" y="53"/>
                  </a:lnTo>
                  <a:lnTo>
                    <a:pt x="44" y="53"/>
                  </a:lnTo>
                  <a:lnTo>
                    <a:pt x="41" y="56"/>
                  </a:lnTo>
                  <a:lnTo>
                    <a:pt x="39" y="56"/>
                  </a:lnTo>
                  <a:lnTo>
                    <a:pt x="35" y="58"/>
                  </a:lnTo>
                  <a:lnTo>
                    <a:pt x="32" y="58"/>
                  </a:lnTo>
                  <a:lnTo>
                    <a:pt x="30" y="59"/>
                  </a:lnTo>
                  <a:lnTo>
                    <a:pt x="27" y="60"/>
                  </a:lnTo>
                  <a:lnTo>
                    <a:pt x="30" y="61"/>
                  </a:lnTo>
                  <a:lnTo>
                    <a:pt x="33" y="61"/>
                  </a:lnTo>
                  <a:lnTo>
                    <a:pt x="35" y="62"/>
                  </a:lnTo>
                  <a:lnTo>
                    <a:pt x="39" y="62"/>
                  </a:lnTo>
                  <a:lnTo>
                    <a:pt x="41" y="62"/>
                  </a:lnTo>
                  <a:lnTo>
                    <a:pt x="37" y="62"/>
                  </a:lnTo>
                  <a:lnTo>
                    <a:pt x="35" y="64"/>
                  </a:lnTo>
                  <a:lnTo>
                    <a:pt x="32" y="64"/>
                  </a:lnTo>
                  <a:lnTo>
                    <a:pt x="30" y="62"/>
                  </a:lnTo>
                  <a:lnTo>
                    <a:pt x="26" y="62"/>
                  </a:lnTo>
                  <a:lnTo>
                    <a:pt x="24" y="64"/>
                  </a:lnTo>
                  <a:lnTo>
                    <a:pt x="22" y="66"/>
                  </a:lnTo>
                  <a:lnTo>
                    <a:pt x="24" y="68"/>
                  </a:lnTo>
                  <a:lnTo>
                    <a:pt x="26" y="69"/>
                  </a:lnTo>
                  <a:lnTo>
                    <a:pt x="28" y="70"/>
                  </a:lnTo>
                  <a:lnTo>
                    <a:pt x="31" y="70"/>
                  </a:lnTo>
                  <a:lnTo>
                    <a:pt x="34" y="70"/>
                  </a:lnTo>
                  <a:lnTo>
                    <a:pt x="36" y="70"/>
                  </a:lnTo>
                  <a:lnTo>
                    <a:pt x="40" y="69"/>
                  </a:lnTo>
                  <a:lnTo>
                    <a:pt x="42" y="69"/>
                  </a:lnTo>
                  <a:lnTo>
                    <a:pt x="45" y="69"/>
                  </a:lnTo>
                  <a:lnTo>
                    <a:pt x="48" y="68"/>
                  </a:lnTo>
                  <a:lnTo>
                    <a:pt x="54" y="68"/>
                  </a:lnTo>
                  <a:lnTo>
                    <a:pt x="57" y="68"/>
                  </a:lnTo>
                  <a:lnTo>
                    <a:pt x="60" y="68"/>
                  </a:lnTo>
                  <a:lnTo>
                    <a:pt x="62" y="68"/>
                  </a:lnTo>
                  <a:lnTo>
                    <a:pt x="73" y="67"/>
                  </a:lnTo>
                  <a:lnTo>
                    <a:pt x="75" y="66"/>
                  </a:lnTo>
                  <a:lnTo>
                    <a:pt x="78" y="65"/>
                  </a:lnTo>
                  <a:lnTo>
                    <a:pt x="81" y="64"/>
                  </a:lnTo>
                  <a:lnTo>
                    <a:pt x="84" y="62"/>
                  </a:lnTo>
                  <a:lnTo>
                    <a:pt x="86" y="62"/>
                  </a:lnTo>
                  <a:lnTo>
                    <a:pt x="90" y="61"/>
                  </a:lnTo>
                  <a:lnTo>
                    <a:pt x="92" y="61"/>
                  </a:lnTo>
                  <a:lnTo>
                    <a:pt x="95" y="60"/>
                  </a:lnTo>
                  <a:lnTo>
                    <a:pt x="98" y="62"/>
                  </a:lnTo>
                  <a:lnTo>
                    <a:pt x="95" y="62"/>
                  </a:lnTo>
                  <a:lnTo>
                    <a:pt x="92" y="64"/>
                  </a:lnTo>
                  <a:lnTo>
                    <a:pt x="90" y="64"/>
                  </a:lnTo>
                  <a:lnTo>
                    <a:pt x="86" y="65"/>
                  </a:lnTo>
                  <a:lnTo>
                    <a:pt x="84" y="66"/>
                  </a:lnTo>
                  <a:lnTo>
                    <a:pt x="81" y="68"/>
                  </a:lnTo>
                  <a:lnTo>
                    <a:pt x="78" y="68"/>
                  </a:lnTo>
                  <a:lnTo>
                    <a:pt x="75" y="69"/>
                  </a:lnTo>
                  <a:lnTo>
                    <a:pt x="71" y="70"/>
                  </a:lnTo>
                  <a:lnTo>
                    <a:pt x="69" y="70"/>
                  </a:lnTo>
                  <a:lnTo>
                    <a:pt x="66" y="70"/>
                  </a:lnTo>
                  <a:lnTo>
                    <a:pt x="64" y="72"/>
                  </a:lnTo>
                  <a:lnTo>
                    <a:pt x="60" y="72"/>
                  </a:lnTo>
                  <a:lnTo>
                    <a:pt x="58" y="70"/>
                  </a:lnTo>
                  <a:lnTo>
                    <a:pt x="54" y="70"/>
                  </a:lnTo>
                  <a:lnTo>
                    <a:pt x="49" y="70"/>
                  </a:lnTo>
                  <a:lnTo>
                    <a:pt x="43" y="70"/>
                  </a:lnTo>
                  <a:lnTo>
                    <a:pt x="40" y="72"/>
                  </a:lnTo>
                  <a:lnTo>
                    <a:pt x="37" y="72"/>
                  </a:lnTo>
                  <a:lnTo>
                    <a:pt x="35" y="73"/>
                  </a:lnTo>
                  <a:lnTo>
                    <a:pt x="36" y="75"/>
                  </a:lnTo>
                  <a:lnTo>
                    <a:pt x="41" y="77"/>
                  </a:lnTo>
                  <a:lnTo>
                    <a:pt x="44" y="78"/>
                  </a:lnTo>
                  <a:lnTo>
                    <a:pt x="48" y="79"/>
                  </a:lnTo>
                  <a:lnTo>
                    <a:pt x="50" y="81"/>
                  </a:lnTo>
                  <a:lnTo>
                    <a:pt x="53" y="81"/>
                  </a:lnTo>
                  <a:lnTo>
                    <a:pt x="56" y="82"/>
                  </a:lnTo>
                  <a:lnTo>
                    <a:pt x="59" y="83"/>
                  </a:lnTo>
                  <a:lnTo>
                    <a:pt x="61" y="83"/>
                  </a:lnTo>
                  <a:lnTo>
                    <a:pt x="65" y="82"/>
                  </a:lnTo>
                  <a:lnTo>
                    <a:pt x="67" y="79"/>
                  </a:lnTo>
                  <a:lnTo>
                    <a:pt x="70" y="77"/>
                  </a:lnTo>
                  <a:lnTo>
                    <a:pt x="73" y="75"/>
                  </a:lnTo>
                  <a:lnTo>
                    <a:pt x="75" y="74"/>
                  </a:lnTo>
                  <a:lnTo>
                    <a:pt x="78" y="72"/>
                  </a:lnTo>
                  <a:lnTo>
                    <a:pt x="82" y="70"/>
                  </a:lnTo>
                  <a:lnTo>
                    <a:pt x="84" y="69"/>
                  </a:lnTo>
                  <a:lnTo>
                    <a:pt x="87" y="69"/>
                  </a:lnTo>
                  <a:lnTo>
                    <a:pt x="90" y="69"/>
                  </a:lnTo>
                  <a:lnTo>
                    <a:pt x="92" y="68"/>
                  </a:lnTo>
                  <a:lnTo>
                    <a:pt x="95" y="68"/>
                  </a:lnTo>
                  <a:lnTo>
                    <a:pt x="101" y="68"/>
                  </a:lnTo>
                  <a:lnTo>
                    <a:pt x="104" y="67"/>
                  </a:lnTo>
                  <a:lnTo>
                    <a:pt x="108" y="67"/>
                  </a:lnTo>
                  <a:lnTo>
                    <a:pt x="111" y="67"/>
                  </a:lnTo>
                  <a:lnTo>
                    <a:pt x="113" y="67"/>
                  </a:lnTo>
                  <a:lnTo>
                    <a:pt x="117" y="66"/>
                  </a:lnTo>
                  <a:lnTo>
                    <a:pt x="119" y="66"/>
                  </a:lnTo>
                  <a:lnTo>
                    <a:pt x="122" y="66"/>
                  </a:lnTo>
                  <a:lnTo>
                    <a:pt x="125" y="65"/>
                  </a:lnTo>
                  <a:lnTo>
                    <a:pt x="127" y="65"/>
                  </a:lnTo>
                  <a:lnTo>
                    <a:pt x="130" y="65"/>
                  </a:lnTo>
                  <a:lnTo>
                    <a:pt x="127" y="66"/>
                  </a:lnTo>
                  <a:lnTo>
                    <a:pt x="125" y="67"/>
                  </a:lnTo>
                  <a:lnTo>
                    <a:pt x="121" y="67"/>
                  </a:lnTo>
                  <a:lnTo>
                    <a:pt x="119" y="67"/>
                  </a:lnTo>
                  <a:lnTo>
                    <a:pt x="113" y="68"/>
                  </a:lnTo>
                  <a:lnTo>
                    <a:pt x="110" y="68"/>
                  </a:lnTo>
                  <a:lnTo>
                    <a:pt x="107" y="68"/>
                  </a:lnTo>
                  <a:lnTo>
                    <a:pt x="104" y="69"/>
                  </a:lnTo>
                  <a:lnTo>
                    <a:pt x="101" y="69"/>
                  </a:lnTo>
                  <a:lnTo>
                    <a:pt x="99" y="69"/>
                  </a:lnTo>
                  <a:lnTo>
                    <a:pt x="95" y="69"/>
                  </a:lnTo>
                  <a:lnTo>
                    <a:pt x="93" y="70"/>
                  </a:lnTo>
                  <a:lnTo>
                    <a:pt x="90" y="70"/>
                  </a:lnTo>
                  <a:lnTo>
                    <a:pt x="86" y="72"/>
                  </a:lnTo>
                  <a:lnTo>
                    <a:pt x="83" y="73"/>
                  </a:lnTo>
                  <a:lnTo>
                    <a:pt x="81" y="75"/>
                  </a:lnTo>
                  <a:lnTo>
                    <a:pt x="78" y="77"/>
                  </a:lnTo>
                  <a:lnTo>
                    <a:pt x="75" y="78"/>
                  </a:lnTo>
                  <a:lnTo>
                    <a:pt x="73" y="81"/>
                  </a:lnTo>
                  <a:lnTo>
                    <a:pt x="71" y="84"/>
                  </a:lnTo>
                  <a:lnTo>
                    <a:pt x="74" y="84"/>
                  </a:lnTo>
                  <a:lnTo>
                    <a:pt x="77" y="85"/>
                  </a:lnTo>
                  <a:lnTo>
                    <a:pt x="79" y="85"/>
                  </a:lnTo>
                  <a:lnTo>
                    <a:pt x="83" y="84"/>
                  </a:lnTo>
                  <a:lnTo>
                    <a:pt x="85" y="84"/>
                  </a:lnTo>
                  <a:lnTo>
                    <a:pt x="83" y="85"/>
                  </a:lnTo>
                  <a:lnTo>
                    <a:pt x="85" y="85"/>
                  </a:lnTo>
                  <a:lnTo>
                    <a:pt x="88" y="86"/>
                  </a:lnTo>
                  <a:lnTo>
                    <a:pt x="92" y="86"/>
                  </a:lnTo>
                  <a:lnTo>
                    <a:pt x="94" y="86"/>
                  </a:lnTo>
                  <a:lnTo>
                    <a:pt x="98" y="86"/>
                  </a:lnTo>
                  <a:lnTo>
                    <a:pt x="100" y="86"/>
                  </a:lnTo>
                  <a:lnTo>
                    <a:pt x="103" y="86"/>
                  </a:lnTo>
                  <a:lnTo>
                    <a:pt x="105" y="85"/>
                  </a:lnTo>
                  <a:lnTo>
                    <a:pt x="109" y="85"/>
                  </a:lnTo>
                  <a:lnTo>
                    <a:pt x="111" y="84"/>
                  </a:lnTo>
                  <a:lnTo>
                    <a:pt x="112" y="82"/>
                  </a:lnTo>
                  <a:lnTo>
                    <a:pt x="112" y="78"/>
                  </a:lnTo>
                  <a:lnTo>
                    <a:pt x="116" y="77"/>
                  </a:lnTo>
                  <a:lnTo>
                    <a:pt x="118" y="77"/>
                  </a:lnTo>
                  <a:lnTo>
                    <a:pt x="116" y="81"/>
                  </a:lnTo>
                  <a:lnTo>
                    <a:pt x="118" y="81"/>
                  </a:lnTo>
                  <a:lnTo>
                    <a:pt x="121" y="79"/>
                  </a:lnTo>
                  <a:lnTo>
                    <a:pt x="124" y="79"/>
                  </a:lnTo>
                  <a:lnTo>
                    <a:pt x="127" y="79"/>
                  </a:lnTo>
                  <a:lnTo>
                    <a:pt x="129" y="78"/>
                  </a:lnTo>
                  <a:lnTo>
                    <a:pt x="133" y="77"/>
                  </a:lnTo>
                  <a:lnTo>
                    <a:pt x="135" y="76"/>
                  </a:lnTo>
                  <a:lnTo>
                    <a:pt x="138" y="77"/>
                  </a:lnTo>
                  <a:lnTo>
                    <a:pt x="135" y="78"/>
                  </a:lnTo>
                  <a:lnTo>
                    <a:pt x="133" y="79"/>
                  </a:lnTo>
                  <a:lnTo>
                    <a:pt x="129" y="79"/>
                  </a:lnTo>
                  <a:lnTo>
                    <a:pt x="126" y="81"/>
                  </a:lnTo>
                  <a:lnTo>
                    <a:pt x="124" y="82"/>
                  </a:lnTo>
                  <a:lnTo>
                    <a:pt x="120" y="83"/>
                  </a:lnTo>
                  <a:lnTo>
                    <a:pt x="120" y="85"/>
                  </a:lnTo>
                  <a:lnTo>
                    <a:pt x="122" y="85"/>
                  </a:lnTo>
                  <a:lnTo>
                    <a:pt x="126" y="85"/>
                  </a:lnTo>
                  <a:lnTo>
                    <a:pt x="129" y="85"/>
                  </a:lnTo>
                  <a:lnTo>
                    <a:pt x="132" y="84"/>
                  </a:lnTo>
                  <a:lnTo>
                    <a:pt x="135" y="84"/>
                  </a:lnTo>
                  <a:lnTo>
                    <a:pt x="137" y="84"/>
                  </a:lnTo>
                  <a:lnTo>
                    <a:pt x="141" y="84"/>
                  </a:lnTo>
                  <a:lnTo>
                    <a:pt x="143" y="83"/>
                  </a:lnTo>
                  <a:lnTo>
                    <a:pt x="146" y="83"/>
                  </a:lnTo>
                  <a:lnTo>
                    <a:pt x="149" y="82"/>
                  </a:lnTo>
                  <a:lnTo>
                    <a:pt x="152" y="82"/>
                  </a:lnTo>
                  <a:lnTo>
                    <a:pt x="154" y="81"/>
                  </a:lnTo>
                  <a:lnTo>
                    <a:pt x="156" y="79"/>
                  </a:lnTo>
                  <a:lnTo>
                    <a:pt x="160" y="79"/>
                  </a:lnTo>
                  <a:lnTo>
                    <a:pt x="163" y="78"/>
                  </a:lnTo>
                  <a:lnTo>
                    <a:pt x="165" y="77"/>
                  </a:lnTo>
                  <a:lnTo>
                    <a:pt x="169" y="76"/>
                  </a:lnTo>
                  <a:lnTo>
                    <a:pt x="171" y="74"/>
                  </a:lnTo>
                  <a:lnTo>
                    <a:pt x="175" y="72"/>
                  </a:lnTo>
                  <a:lnTo>
                    <a:pt x="172" y="69"/>
                  </a:lnTo>
                  <a:lnTo>
                    <a:pt x="176" y="67"/>
                  </a:lnTo>
                  <a:lnTo>
                    <a:pt x="173" y="66"/>
                  </a:lnTo>
                  <a:lnTo>
                    <a:pt x="170" y="65"/>
                  </a:lnTo>
                  <a:lnTo>
                    <a:pt x="172" y="66"/>
                  </a:lnTo>
                  <a:lnTo>
                    <a:pt x="176" y="66"/>
                  </a:lnTo>
                  <a:lnTo>
                    <a:pt x="178" y="67"/>
                  </a:lnTo>
                  <a:lnTo>
                    <a:pt x="181" y="67"/>
                  </a:lnTo>
                  <a:lnTo>
                    <a:pt x="182" y="64"/>
                  </a:lnTo>
                  <a:lnTo>
                    <a:pt x="185" y="62"/>
                  </a:lnTo>
                  <a:lnTo>
                    <a:pt x="187" y="61"/>
                  </a:lnTo>
                  <a:lnTo>
                    <a:pt x="190" y="59"/>
                  </a:lnTo>
                  <a:lnTo>
                    <a:pt x="193" y="59"/>
                  </a:lnTo>
                  <a:lnTo>
                    <a:pt x="196" y="58"/>
                  </a:lnTo>
                  <a:lnTo>
                    <a:pt x="199" y="57"/>
                  </a:lnTo>
                  <a:lnTo>
                    <a:pt x="202" y="57"/>
                  </a:lnTo>
                  <a:lnTo>
                    <a:pt x="205" y="57"/>
                  </a:lnTo>
                  <a:lnTo>
                    <a:pt x="202" y="58"/>
                  </a:lnTo>
                  <a:lnTo>
                    <a:pt x="199" y="59"/>
                  </a:lnTo>
                  <a:lnTo>
                    <a:pt x="196" y="59"/>
                  </a:lnTo>
                  <a:lnTo>
                    <a:pt x="194" y="60"/>
                  </a:lnTo>
                  <a:lnTo>
                    <a:pt x="190" y="62"/>
                  </a:lnTo>
                  <a:lnTo>
                    <a:pt x="188" y="65"/>
                  </a:lnTo>
                  <a:lnTo>
                    <a:pt x="185" y="66"/>
                  </a:lnTo>
                  <a:lnTo>
                    <a:pt x="182" y="68"/>
                  </a:lnTo>
                  <a:lnTo>
                    <a:pt x="179" y="69"/>
                  </a:lnTo>
                  <a:lnTo>
                    <a:pt x="178" y="73"/>
                  </a:lnTo>
                  <a:lnTo>
                    <a:pt x="179" y="75"/>
                  </a:lnTo>
                  <a:lnTo>
                    <a:pt x="182" y="75"/>
                  </a:lnTo>
                  <a:lnTo>
                    <a:pt x="185" y="75"/>
                  </a:lnTo>
                  <a:lnTo>
                    <a:pt x="188" y="74"/>
                  </a:lnTo>
                  <a:lnTo>
                    <a:pt x="190" y="74"/>
                  </a:lnTo>
                  <a:lnTo>
                    <a:pt x="194" y="74"/>
                  </a:lnTo>
                  <a:lnTo>
                    <a:pt x="196" y="74"/>
                  </a:lnTo>
                  <a:lnTo>
                    <a:pt x="199" y="74"/>
                  </a:lnTo>
                  <a:lnTo>
                    <a:pt x="202" y="74"/>
                  </a:lnTo>
                  <a:lnTo>
                    <a:pt x="209" y="74"/>
                  </a:lnTo>
                  <a:lnTo>
                    <a:pt x="211" y="75"/>
                  </a:lnTo>
                  <a:lnTo>
                    <a:pt x="209" y="76"/>
                  </a:lnTo>
                  <a:lnTo>
                    <a:pt x="202" y="76"/>
                  </a:lnTo>
                  <a:lnTo>
                    <a:pt x="198" y="76"/>
                  </a:lnTo>
                  <a:lnTo>
                    <a:pt x="196" y="76"/>
                  </a:lnTo>
                  <a:lnTo>
                    <a:pt x="193" y="76"/>
                  </a:lnTo>
                  <a:lnTo>
                    <a:pt x="189" y="77"/>
                  </a:lnTo>
                  <a:lnTo>
                    <a:pt x="182" y="78"/>
                  </a:lnTo>
                  <a:lnTo>
                    <a:pt x="180" y="78"/>
                  </a:lnTo>
                  <a:lnTo>
                    <a:pt x="178" y="79"/>
                  </a:lnTo>
                  <a:lnTo>
                    <a:pt x="175" y="79"/>
                  </a:lnTo>
                  <a:lnTo>
                    <a:pt x="169" y="82"/>
                  </a:lnTo>
                  <a:lnTo>
                    <a:pt x="165" y="83"/>
                  </a:lnTo>
                  <a:lnTo>
                    <a:pt x="169" y="84"/>
                  </a:lnTo>
                  <a:lnTo>
                    <a:pt x="172" y="83"/>
                  </a:lnTo>
                  <a:lnTo>
                    <a:pt x="176" y="83"/>
                  </a:lnTo>
                  <a:lnTo>
                    <a:pt x="178" y="83"/>
                  </a:lnTo>
                  <a:lnTo>
                    <a:pt x="181" y="83"/>
                  </a:lnTo>
                  <a:lnTo>
                    <a:pt x="184" y="83"/>
                  </a:lnTo>
                  <a:lnTo>
                    <a:pt x="187" y="84"/>
                  </a:lnTo>
                  <a:lnTo>
                    <a:pt x="190" y="84"/>
                  </a:lnTo>
                  <a:lnTo>
                    <a:pt x="188" y="84"/>
                  </a:lnTo>
                  <a:lnTo>
                    <a:pt x="182" y="84"/>
                  </a:lnTo>
                  <a:lnTo>
                    <a:pt x="179" y="85"/>
                  </a:lnTo>
                  <a:lnTo>
                    <a:pt x="173" y="85"/>
                  </a:lnTo>
                  <a:lnTo>
                    <a:pt x="171" y="85"/>
                  </a:lnTo>
                  <a:lnTo>
                    <a:pt x="168" y="85"/>
                  </a:lnTo>
                  <a:lnTo>
                    <a:pt x="164" y="85"/>
                  </a:lnTo>
                  <a:lnTo>
                    <a:pt x="162" y="85"/>
                  </a:lnTo>
                  <a:lnTo>
                    <a:pt x="159" y="87"/>
                  </a:lnTo>
                  <a:lnTo>
                    <a:pt x="156" y="87"/>
                  </a:lnTo>
                  <a:lnTo>
                    <a:pt x="153" y="89"/>
                  </a:lnTo>
                  <a:lnTo>
                    <a:pt x="151" y="89"/>
                  </a:lnTo>
                  <a:lnTo>
                    <a:pt x="145" y="89"/>
                  </a:lnTo>
                  <a:lnTo>
                    <a:pt x="142" y="90"/>
                  </a:lnTo>
                  <a:lnTo>
                    <a:pt x="139" y="90"/>
                  </a:lnTo>
                  <a:lnTo>
                    <a:pt x="136" y="90"/>
                  </a:lnTo>
                  <a:lnTo>
                    <a:pt x="133" y="91"/>
                  </a:lnTo>
                  <a:lnTo>
                    <a:pt x="130" y="91"/>
                  </a:lnTo>
                  <a:lnTo>
                    <a:pt x="127" y="91"/>
                  </a:lnTo>
                  <a:lnTo>
                    <a:pt x="124" y="91"/>
                  </a:lnTo>
                  <a:lnTo>
                    <a:pt x="121" y="93"/>
                  </a:lnTo>
                  <a:lnTo>
                    <a:pt x="124" y="95"/>
                  </a:lnTo>
                  <a:lnTo>
                    <a:pt x="127" y="98"/>
                  </a:lnTo>
                  <a:lnTo>
                    <a:pt x="129" y="99"/>
                  </a:lnTo>
                  <a:lnTo>
                    <a:pt x="133" y="101"/>
                  </a:lnTo>
                  <a:lnTo>
                    <a:pt x="135" y="102"/>
                  </a:lnTo>
                  <a:lnTo>
                    <a:pt x="138" y="103"/>
                  </a:lnTo>
                  <a:lnTo>
                    <a:pt x="141" y="103"/>
                  </a:lnTo>
                  <a:lnTo>
                    <a:pt x="144" y="104"/>
                  </a:lnTo>
                  <a:lnTo>
                    <a:pt x="142" y="107"/>
                  </a:lnTo>
                  <a:lnTo>
                    <a:pt x="141" y="110"/>
                  </a:lnTo>
                  <a:lnTo>
                    <a:pt x="144" y="111"/>
                  </a:lnTo>
                  <a:lnTo>
                    <a:pt x="146" y="111"/>
                  </a:lnTo>
                  <a:lnTo>
                    <a:pt x="149" y="112"/>
                  </a:lnTo>
                  <a:lnTo>
                    <a:pt x="152" y="113"/>
                  </a:lnTo>
                  <a:lnTo>
                    <a:pt x="154" y="113"/>
                  </a:lnTo>
                  <a:lnTo>
                    <a:pt x="158" y="112"/>
                  </a:lnTo>
                  <a:lnTo>
                    <a:pt x="161" y="112"/>
                  </a:lnTo>
                  <a:lnTo>
                    <a:pt x="163" y="111"/>
                  </a:lnTo>
                  <a:lnTo>
                    <a:pt x="165" y="112"/>
                  </a:lnTo>
                  <a:lnTo>
                    <a:pt x="163" y="113"/>
                  </a:lnTo>
                  <a:lnTo>
                    <a:pt x="162" y="113"/>
                  </a:lnTo>
                  <a:lnTo>
                    <a:pt x="159" y="113"/>
                  </a:lnTo>
                  <a:lnTo>
                    <a:pt x="156" y="115"/>
                  </a:lnTo>
                  <a:lnTo>
                    <a:pt x="153" y="116"/>
                  </a:lnTo>
                  <a:lnTo>
                    <a:pt x="150" y="115"/>
                  </a:lnTo>
                  <a:lnTo>
                    <a:pt x="147" y="115"/>
                  </a:lnTo>
                  <a:lnTo>
                    <a:pt x="144" y="113"/>
                  </a:lnTo>
                  <a:lnTo>
                    <a:pt x="141" y="115"/>
                  </a:lnTo>
                  <a:lnTo>
                    <a:pt x="138" y="112"/>
                  </a:lnTo>
                  <a:lnTo>
                    <a:pt x="135" y="109"/>
                  </a:lnTo>
                  <a:lnTo>
                    <a:pt x="134" y="107"/>
                  </a:lnTo>
                  <a:lnTo>
                    <a:pt x="130" y="105"/>
                  </a:lnTo>
                  <a:lnTo>
                    <a:pt x="128" y="103"/>
                  </a:lnTo>
                  <a:lnTo>
                    <a:pt x="125" y="102"/>
                  </a:lnTo>
                  <a:lnTo>
                    <a:pt x="122" y="101"/>
                  </a:lnTo>
                  <a:lnTo>
                    <a:pt x="120" y="100"/>
                  </a:lnTo>
                  <a:lnTo>
                    <a:pt x="117" y="98"/>
                  </a:lnTo>
                  <a:lnTo>
                    <a:pt x="115" y="96"/>
                  </a:lnTo>
                  <a:lnTo>
                    <a:pt x="111" y="94"/>
                  </a:lnTo>
                  <a:lnTo>
                    <a:pt x="109" y="94"/>
                  </a:lnTo>
                  <a:lnTo>
                    <a:pt x="105" y="94"/>
                  </a:lnTo>
                  <a:lnTo>
                    <a:pt x="103" y="93"/>
                  </a:lnTo>
                  <a:lnTo>
                    <a:pt x="100" y="93"/>
                  </a:lnTo>
                  <a:lnTo>
                    <a:pt x="96" y="94"/>
                  </a:lnTo>
                  <a:lnTo>
                    <a:pt x="94" y="94"/>
                  </a:lnTo>
                  <a:lnTo>
                    <a:pt x="91" y="94"/>
                  </a:lnTo>
                  <a:lnTo>
                    <a:pt x="88" y="93"/>
                  </a:lnTo>
                  <a:lnTo>
                    <a:pt x="83" y="92"/>
                  </a:lnTo>
                  <a:lnTo>
                    <a:pt x="79" y="92"/>
                  </a:lnTo>
                  <a:lnTo>
                    <a:pt x="77" y="92"/>
                  </a:lnTo>
                  <a:lnTo>
                    <a:pt x="74" y="94"/>
                  </a:lnTo>
                  <a:lnTo>
                    <a:pt x="73" y="96"/>
                  </a:lnTo>
                  <a:lnTo>
                    <a:pt x="73" y="100"/>
                  </a:lnTo>
                  <a:lnTo>
                    <a:pt x="75" y="102"/>
                  </a:lnTo>
                  <a:lnTo>
                    <a:pt x="77" y="102"/>
                  </a:lnTo>
                  <a:lnTo>
                    <a:pt x="79" y="102"/>
                  </a:lnTo>
                  <a:lnTo>
                    <a:pt x="83" y="103"/>
                  </a:lnTo>
                  <a:lnTo>
                    <a:pt x="86" y="103"/>
                  </a:lnTo>
                  <a:lnTo>
                    <a:pt x="88" y="105"/>
                  </a:lnTo>
                  <a:lnTo>
                    <a:pt x="86" y="104"/>
                  </a:lnTo>
                  <a:lnTo>
                    <a:pt x="83" y="104"/>
                  </a:lnTo>
                  <a:lnTo>
                    <a:pt x="81" y="103"/>
                  </a:lnTo>
                  <a:lnTo>
                    <a:pt x="78" y="103"/>
                  </a:lnTo>
                  <a:lnTo>
                    <a:pt x="75" y="104"/>
                  </a:lnTo>
                  <a:lnTo>
                    <a:pt x="75" y="107"/>
                  </a:lnTo>
                  <a:lnTo>
                    <a:pt x="75" y="110"/>
                  </a:lnTo>
                  <a:lnTo>
                    <a:pt x="77" y="110"/>
                  </a:lnTo>
                  <a:lnTo>
                    <a:pt x="81" y="111"/>
                  </a:lnTo>
                  <a:lnTo>
                    <a:pt x="83" y="111"/>
                  </a:lnTo>
                  <a:lnTo>
                    <a:pt x="86" y="111"/>
                  </a:lnTo>
                  <a:lnTo>
                    <a:pt x="90" y="112"/>
                  </a:lnTo>
                  <a:lnTo>
                    <a:pt x="92" y="113"/>
                  </a:lnTo>
                  <a:lnTo>
                    <a:pt x="95" y="116"/>
                  </a:lnTo>
                  <a:lnTo>
                    <a:pt x="96" y="118"/>
                  </a:lnTo>
                  <a:lnTo>
                    <a:pt x="100" y="119"/>
                  </a:lnTo>
                  <a:lnTo>
                    <a:pt x="102" y="122"/>
                  </a:lnTo>
                  <a:lnTo>
                    <a:pt x="103" y="125"/>
                  </a:lnTo>
                  <a:lnTo>
                    <a:pt x="104" y="127"/>
                  </a:lnTo>
                  <a:lnTo>
                    <a:pt x="108" y="128"/>
                  </a:lnTo>
                  <a:lnTo>
                    <a:pt x="111" y="129"/>
                  </a:lnTo>
                  <a:lnTo>
                    <a:pt x="113" y="132"/>
                  </a:lnTo>
                  <a:lnTo>
                    <a:pt x="117" y="132"/>
                  </a:lnTo>
                  <a:lnTo>
                    <a:pt x="113" y="133"/>
                  </a:lnTo>
                  <a:lnTo>
                    <a:pt x="111" y="132"/>
                  </a:lnTo>
                  <a:lnTo>
                    <a:pt x="108" y="130"/>
                  </a:lnTo>
                  <a:lnTo>
                    <a:pt x="104" y="129"/>
                  </a:lnTo>
                  <a:lnTo>
                    <a:pt x="102" y="128"/>
                  </a:lnTo>
                  <a:lnTo>
                    <a:pt x="99" y="130"/>
                  </a:lnTo>
                  <a:lnTo>
                    <a:pt x="100" y="133"/>
                  </a:lnTo>
                  <a:lnTo>
                    <a:pt x="103" y="134"/>
                  </a:lnTo>
                  <a:lnTo>
                    <a:pt x="105" y="134"/>
                  </a:lnTo>
                  <a:lnTo>
                    <a:pt x="109" y="135"/>
                  </a:lnTo>
                  <a:lnTo>
                    <a:pt x="111" y="135"/>
                  </a:lnTo>
                  <a:lnTo>
                    <a:pt x="115" y="135"/>
                  </a:lnTo>
                  <a:lnTo>
                    <a:pt x="117" y="135"/>
                  </a:lnTo>
                  <a:lnTo>
                    <a:pt x="120" y="135"/>
                  </a:lnTo>
                  <a:lnTo>
                    <a:pt x="122" y="135"/>
                  </a:lnTo>
                  <a:lnTo>
                    <a:pt x="128" y="136"/>
                  </a:lnTo>
                  <a:lnTo>
                    <a:pt x="132" y="136"/>
                  </a:lnTo>
                  <a:lnTo>
                    <a:pt x="134" y="136"/>
                  </a:lnTo>
                  <a:lnTo>
                    <a:pt x="137" y="133"/>
                  </a:lnTo>
                  <a:lnTo>
                    <a:pt x="139" y="132"/>
                  </a:lnTo>
                  <a:lnTo>
                    <a:pt x="143" y="132"/>
                  </a:lnTo>
                  <a:lnTo>
                    <a:pt x="139" y="135"/>
                  </a:lnTo>
                  <a:lnTo>
                    <a:pt x="138" y="137"/>
                  </a:lnTo>
                  <a:lnTo>
                    <a:pt x="135" y="137"/>
                  </a:lnTo>
                  <a:lnTo>
                    <a:pt x="133" y="138"/>
                  </a:lnTo>
                  <a:lnTo>
                    <a:pt x="129" y="138"/>
                  </a:lnTo>
                  <a:lnTo>
                    <a:pt x="126" y="138"/>
                  </a:lnTo>
                  <a:lnTo>
                    <a:pt x="124" y="137"/>
                  </a:lnTo>
                  <a:lnTo>
                    <a:pt x="121" y="139"/>
                  </a:lnTo>
                  <a:lnTo>
                    <a:pt x="124" y="141"/>
                  </a:lnTo>
                  <a:lnTo>
                    <a:pt x="127" y="142"/>
                  </a:lnTo>
                  <a:lnTo>
                    <a:pt x="129" y="141"/>
                  </a:lnTo>
                  <a:lnTo>
                    <a:pt x="133" y="142"/>
                  </a:lnTo>
                  <a:lnTo>
                    <a:pt x="129" y="144"/>
                  </a:lnTo>
                  <a:lnTo>
                    <a:pt x="132" y="146"/>
                  </a:lnTo>
                  <a:lnTo>
                    <a:pt x="128" y="145"/>
                  </a:lnTo>
                  <a:lnTo>
                    <a:pt x="126" y="143"/>
                  </a:lnTo>
                  <a:lnTo>
                    <a:pt x="122" y="142"/>
                  </a:lnTo>
                  <a:lnTo>
                    <a:pt x="120" y="142"/>
                  </a:lnTo>
                  <a:lnTo>
                    <a:pt x="118" y="139"/>
                  </a:lnTo>
                  <a:lnTo>
                    <a:pt x="115" y="139"/>
                  </a:lnTo>
                  <a:lnTo>
                    <a:pt x="111" y="138"/>
                  </a:lnTo>
                  <a:lnTo>
                    <a:pt x="109" y="137"/>
                  </a:lnTo>
                  <a:lnTo>
                    <a:pt x="105" y="137"/>
                  </a:lnTo>
                  <a:lnTo>
                    <a:pt x="103" y="137"/>
                  </a:lnTo>
                  <a:lnTo>
                    <a:pt x="100" y="137"/>
                  </a:lnTo>
                  <a:lnTo>
                    <a:pt x="98" y="136"/>
                  </a:lnTo>
                  <a:lnTo>
                    <a:pt x="95" y="136"/>
                  </a:lnTo>
                  <a:lnTo>
                    <a:pt x="92" y="136"/>
                  </a:lnTo>
                  <a:lnTo>
                    <a:pt x="90" y="136"/>
                  </a:lnTo>
                  <a:lnTo>
                    <a:pt x="86" y="137"/>
                  </a:lnTo>
                  <a:lnTo>
                    <a:pt x="81" y="138"/>
                  </a:lnTo>
                  <a:lnTo>
                    <a:pt x="78" y="138"/>
                  </a:lnTo>
                  <a:lnTo>
                    <a:pt x="75" y="139"/>
                  </a:lnTo>
                  <a:lnTo>
                    <a:pt x="71" y="139"/>
                  </a:lnTo>
                  <a:lnTo>
                    <a:pt x="69" y="141"/>
                  </a:lnTo>
                  <a:lnTo>
                    <a:pt x="67" y="144"/>
                  </a:lnTo>
                  <a:lnTo>
                    <a:pt x="68" y="146"/>
                  </a:lnTo>
                  <a:lnTo>
                    <a:pt x="66" y="146"/>
                  </a:lnTo>
                  <a:lnTo>
                    <a:pt x="62" y="149"/>
                  </a:lnTo>
                  <a:lnTo>
                    <a:pt x="60" y="151"/>
                  </a:lnTo>
                  <a:lnTo>
                    <a:pt x="60" y="154"/>
                  </a:lnTo>
                  <a:lnTo>
                    <a:pt x="62" y="156"/>
                  </a:lnTo>
                  <a:lnTo>
                    <a:pt x="65" y="158"/>
                  </a:lnTo>
                  <a:lnTo>
                    <a:pt x="62" y="160"/>
                  </a:lnTo>
                  <a:lnTo>
                    <a:pt x="65" y="160"/>
                  </a:lnTo>
                  <a:lnTo>
                    <a:pt x="68" y="160"/>
                  </a:lnTo>
                  <a:lnTo>
                    <a:pt x="71" y="160"/>
                  </a:lnTo>
                  <a:lnTo>
                    <a:pt x="74" y="156"/>
                  </a:lnTo>
                  <a:lnTo>
                    <a:pt x="77" y="158"/>
                  </a:lnTo>
                  <a:lnTo>
                    <a:pt x="79" y="156"/>
                  </a:lnTo>
                  <a:lnTo>
                    <a:pt x="83" y="154"/>
                  </a:lnTo>
                  <a:lnTo>
                    <a:pt x="81" y="156"/>
                  </a:lnTo>
                  <a:lnTo>
                    <a:pt x="77" y="159"/>
                  </a:lnTo>
                  <a:lnTo>
                    <a:pt x="79" y="161"/>
                  </a:lnTo>
                  <a:lnTo>
                    <a:pt x="83" y="161"/>
                  </a:lnTo>
                  <a:lnTo>
                    <a:pt x="85" y="160"/>
                  </a:lnTo>
                  <a:lnTo>
                    <a:pt x="88" y="160"/>
                  </a:lnTo>
                  <a:lnTo>
                    <a:pt x="91" y="158"/>
                  </a:lnTo>
                  <a:lnTo>
                    <a:pt x="93" y="155"/>
                  </a:lnTo>
                  <a:lnTo>
                    <a:pt x="95" y="152"/>
                  </a:lnTo>
                  <a:lnTo>
                    <a:pt x="96" y="150"/>
                  </a:lnTo>
                  <a:lnTo>
                    <a:pt x="99" y="147"/>
                  </a:lnTo>
                  <a:lnTo>
                    <a:pt x="98" y="150"/>
                  </a:lnTo>
                  <a:lnTo>
                    <a:pt x="96" y="152"/>
                  </a:lnTo>
                  <a:lnTo>
                    <a:pt x="100" y="153"/>
                  </a:lnTo>
                  <a:lnTo>
                    <a:pt x="96" y="154"/>
                  </a:lnTo>
                  <a:lnTo>
                    <a:pt x="98" y="156"/>
                  </a:lnTo>
                  <a:lnTo>
                    <a:pt x="100" y="156"/>
                  </a:lnTo>
                  <a:lnTo>
                    <a:pt x="103" y="156"/>
                  </a:lnTo>
                  <a:lnTo>
                    <a:pt x="105" y="159"/>
                  </a:lnTo>
                  <a:lnTo>
                    <a:pt x="103" y="158"/>
                  </a:lnTo>
                  <a:lnTo>
                    <a:pt x="100" y="158"/>
                  </a:lnTo>
                  <a:lnTo>
                    <a:pt x="98" y="158"/>
                  </a:lnTo>
                  <a:lnTo>
                    <a:pt x="95" y="158"/>
                  </a:lnTo>
                  <a:lnTo>
                    <a:pt x="95" y="161"/>
                  </a:lnTo>
                  <a:lnTo>
                    <a:pt x="99" y="161"/>
                  </a:lnTo>
                  <a:lnTo>
                    <a:pt x="101" y="161"/>
                  </a:lnTo>
                  <a:lnTo>
                    <a:pt x="104" y="161"/>
                  </a:lnTo>
                  <a:lnTo>
                    <a:pt x="101" y="161"/>
                  </a:lnTo>
                  <a:lnTo>
                    <a:pt x="99" y="162"/>
                  </a:lnTo>
                  <a:lnTo>
                    <a:pt x="95" y="162"/>
                  </a:lnTo>
                  <a:lnTo>
                    <a:pt x="93" y="162"/>
                  </a:lnTo>
                  <a:lnTo>
                    <a:pt x="90" y="162"/>
                  </a:lnTo>
                  <a:lnTo>
                    <a:pt x="87" y="164"/>
                  </a:lnTo>
                  <a:lnTo>
                    <a:pt x="87" y="167"/>
                  </a:lnTo>
                  <a:lnTo>
                    <a:pt x="93" y="166"/>
                  </a:lnTo>
                  <a:lnTo>
                    <a:pt x="95" y="166"/>
                  </a:lnTo>
                  <a:lnTo>
                    <a:pt x="95" y="167"/>
                  </a:lnTo>
                  <a:lnTo>
                    <a:pt x="93" y="167"/>
                  </a:lnTo>
                  <a:lnTo>
                    <a:pt x="91" y="169"/>
                  </a:lnTo>
                  <a:lnTo>
                    <a:pt x="93" y="169"/>
                  </a:lnTo>
                  <a:lnTo>
                    <a:pt x="91" y="171"/>
                  </a:lnTo>
                  <a:lnTo>
                    <a:pt x="93" y="173"/>
                  </a:lnTo>
                  <a:lnTo>
                    <a:pt x="95" y="175"/>
                  </a:lnTo>
                  <a:lnTo>
                    <a:pt x="95" y="175"/>
                  </a:lnTo>
                  <a:lnTo>
                    <a:pt x="95" y="175"/>
                  </a:lnTo>
                  <a:lnTo>
                    <a:pt x="95" y="175"/>
                  </a:lnTo>
                  <a:lnTo>
                    <a:pt x="95" y="176"/>
                  </a:lnTo>
                  <a:lnTo>
                    <a:pt x="94" y="176"/>
                  </a:lnTo>
                  <a:lnTo>
                    <a:pt x="91" y="176"/>
                  </a:lnTo>
                  <a:lnTo>
                    <a:pt x="88" y="177"/>
                  </a:lnTo>
                  <a:lnTo>
                    <a:pt x="91" y="177"/>
                  </a:lnTo>
                  <a:lnTo>
                    <a:pt x="94" y="179"/>
                  </a:lnTo>
                  <a:lnTo>
                    <a:pt x="95" y="178"/>
                  </a:lnTo>
                  <a:lnTo>
                    <a:pt x="95" y="181"/>
                  </a:lnTo>
                  <a:lnTo>
                    <a:pt x="93" y="181"/>
                  </a:lnTo>
                  <a:lnTo>
                    <a:pt x="90" y="180"/>
                  </a:lnTo>
                  <a:lnTo>
                    <a:pt x="87" y="179"/>
                  </a:lnTo>
                  <a:lnTo>
                    <a:pt x="84" y="179"/>
                  </a:lnTo>
                  <a:lnTo>
                    <a:pt x="84" y="177"/>
                  </a:lnTo>
                  <a:lnTo>
                    <a:pt x="83" y="173"/>
                  </a:lnTo>
                  <a:lnTo>
                    <a:pt x="79" y="171"/>
                  </a:lnTo>
                  <a:lnTo>
                    <a:pt x="77" y="169"/>
                  </a:lnTo>
                  <a:lnTo>
                    <a:pt x="74" y="168"/>
                  </a:lnTo>
                  <a:lnTo>
                    <a:pt x="71" y="167"/>
                  </a:lnTo>
                  <a:lnTo>
                    <a:pt x="69" y="167"/>
                  </a:lnTo>
                  <a:lnTo>
                    <a:pt x="66" y="167"/>
                  </a:lnTo>
                  <a:lnTo>
                    <a:pt x="64" y="167"/>
                  </a:lnTo>
                  <a:lnTo>
                    <a:pt x="60" y="167"/>
                  </a:lnTo>
                  <a:lnTo>
                    <a:pt x="58" y="167"/>
                  </a:lnTo>
                  <a:lnTo>
                    <a:pt x="54" y="168"/>
                  </a:lnTo>
                  <a:lnTo>
                    <a:pt x="52" y="169"/>
                  </a:lnTo>
                  <a:lnTo>
                    <a:pt x="51" y="171"/>
                  </a:lnTo>
                  <a:lnTo>
                    <a:pt x="52" y="175"/>
                  </a:lnTo>
                  <a:lnTo>
                    <a:pt x="54" y="176"/>
                  </a:lnTo>
                  <a:lnTo>
                    <a:pt x="58" y="177"/>
                  </a:lnTo>
                  <a:lnTo>
                    <a:pt x="57" y="179"/>
                  </a:lnTo>
                  <a:lnTo>
                    <a:pt x="58" y="183"/>
                  </a:lnTo>
                  <a:lnTo>
                    <a:pt x="61" y="183"/>
                  </a:lnTo>
                  <a:lnTo>
                    <a:pt x="64" y="181"/>
                  </a:lnTo>
                  <a:lnTo>
                    <a:pt x="67" y="181"/>
                  </a:lnTo>
                  <a:lnTo>
                    <a:pt x="69" y="183"/>
                  </a:lnTo>
                  <a:lnTo>
                    <a:pt x="67" y="183"/>
                  </a:lnTo>
                  <a:lnTo>
                    <a:pt x="64" y="184"/>
                  </a:lnTo>
                  <a:lnTo>
                    <a:pt x="67" y="186"/>
                  </a:lnTo>
                  <a:lnTo>
                    <a:pt x="69" y="187"/>
                  </a:lnTo>
                  <a:lnTo>
                    <a:pt x="73" y="187"/>
                  </a:lnTo>
                  <a:lnTo>
                    <a:pt x="69" y="188"/>
                  </a:lnTo>
                  <a:lnTo>
                    <a:pt x="67" y="187"/>
                  </a:lnTo>
                  <a:lnTo>
                    <a:pt x="64" y="187"/>
                  </a:lnTo>
                  <a:lnTo>
                    <a:pt x="61" y="189"/>
                  </a:lnTo>
                  <a:lnTo>
                    <a:pt x="58" y="188"/>
                  </a:lnTo>
                  <a:lnTo>
                    <a:pt x="56" y="188"/>
                  </a:lnTo>
                  <a:lnTo>
                    <a:pt x="52" y="189"/>
                  </a:lnTo>
                  <a:lnTo>
                    <a:pt x="50" y="188"/>
                  </a:lnTo>
                  <a:lnTo>
                    <a:pt x="47" y="190"/>
                  </a:lnTo>
                  <a:lnTo>
                    <a:pt x="44" y="192"/>
                  </a:lnTo>
                  <a:lnTo>
                    <a:pt x="41" y="193"/>
                  </a:lnTo>
                  <a:lnTo>
                    <a:pt x="35" y="195"/>
                  </a:lnTo>
                  <a:lnTo>
                    <a:pt x="33" y="196"/>
                  </a:lnTo>
                  <a:lnTo>
                    <a:pt x="33" y="199"/>
                  </a:lnTo>
                  <a:lnTo>
                    <a:pt x="34" y="202"/>
                  </a:lnTo>
                  <a:lnTo>
                    <a:pt x="31" y="205"/>
                  </a:lnTo>
                  <a:lnTo>
                    <a:pt x="36" y="209"/>
                  </a:lnTo>
                  <a:lnTo>
                    <a:pt x="40" y="209"/>
                  </a:lnTo>
                  <a:lnTo>
                    <a:pt x="42" y="209"/>
                  </a:lnTo>
                  <a:lnTo>
                    <a:pt x="44" y="205"/>
                  </a:lnTo>
                  <a:lnTo>
                    <a:pt x="45" y="207"/>
                  </a:lnTo>
                  <a:lnTo>
                    <a:pt x="47" y="205"/>
                  </a:lnTo>
                  <a:lnTo>
                    <a:pt x="45" y="203"/>
                  </a:lnTo>
                  <a:lnTo>
                    <a:pt x="44" y="199"/>
                  </a:lnTo>
                  <a:lnTo>
                    <a:pt x="47" y="198"/>
                  </a:lnTo>
                  <a:lnTo>
                    <a:pt x="47" y="202"/>
                  </a:lnTo>
                  <a:lnTo>
                    <a:pt x="48" y="204"/>
                  </a:lnTo>
                  <a:lnTo>
                    <a:pt x="49" y="206"/>
                  </a:lnTo>
                  <a:lnTo>
                    <a:pt x="48" y="210"/>
                  </a:lnTo>
                  <a:lnTo>
                    <a:pt x="50" y="210"/>
                  </a:lnTo>
                  <a:lnTo>
                    <a:pt x="53" y="211"/>
                  </a:lnTo>
                  <a:lnTo>
                    <a:pt x="56" y="210"/>
                  </a:lnTo>
                  <a:lnTo>
                    <a:pt x="59" y="211"/>
                  </a:lnTo>
                  <a:lnTo>
                    <a:pt x="61" y="211"/>
                  </a:lnTo>
                  <a:lnTo>
                    <a:pt x="60" y="207"/>
                  </a:lnTo>
                  <a:lnTo>
                    <a:pt x="60" y="205"/>
                  </a:lnTo>
                  <a:lnTo>
                    <a:pt x="62" y="207"/>
                  </a:lnTo>
                  <a:lnTo>
                    <a:pt x="66" y="210"/>
                  </a:lnTo>
                  <a:lnTo>
                    <a:pt x="69" y="210"/>
                  </a:lnTo>
                  <a:lnTo>
                    <a:pt x="71" y="210"/>
                  </a:lnTo>
                  <a:lnTo>
                    <a:pt x="73" y="207"/>
                  </a:lnTo>
                  <a:lnTo>
                    <a:pt x="75" y="205"/>
                  </a:lnTo>
                  <a:lnTo>
                    <a:pt x="73" y="203"/>
                  </a:lnTo>
                  <a:lnTo>
                    <a:pt x="75" y="204"/>
                  </a:lnTo>
                  <a:lnTo>
                    <a:pt x="78" y="206"/>
                  </a:lnTo>
                  <a:lnTo>
                    <a:pt x="75" y="207"/>
                  </a:lnTo>
                  <a:lnTo>
                    <a:pt x="77" y="210"/>
                  </a:lnTo>
                  <a:lnTo>
                    <a:pt x="81" y="210"/>
                  </a:lnTo>
                  <a:lnTo>
                    <a:pt x="83" y="211"/>
                  </a:lnTo>
                  <a:lnTo>
                    <a:pt x="86" y="211"/>
                  </a:lnTo>
                  <a:lnTo>
                    <a:pt x="88" y="212"/>
                  </a:lnTo>
                  <a:lnTo>
                    <a:pt x="92" y="212"/>
                  </a:lnTo>
                  <a:lnTo>
                    <a:pt x="94" y="212"/>
                  </a:lnTo>
                  <a:lnTo>
                    <a:pt x="98" y="212"/>
                  </a:lnTo>
                  <a:lnTo>
                    <a:pt x="100" y="212"/>
                  </a:lnTo>
                  <a:lnTo>
                    <a:pt x="103" y="211"/>
                  </a:lnTo>
                  <a:lnTo>
                    <a:pt x="98" y="210"/>
                  </a:lnTo>
                  <a:lnTo>
                    <a:pt x="95" y="207"/>
                  </a:lnTo>
                  <a:lnTo>
                    <a:pt x="95" y="205"/>
                  </a:lnTo>
                  <a:lnTo>
                    <a:pt x="98" y="206"/>
                  </a:lnTo>
                  <a:lnTo>
                    <a:pt x="100" y="209"/>
                  </a:lnTo>
                  <a:lnTo>
                    <a:pt x="103" y="209"/>
                  </a:lnTo>
                  <a:lnTo>
                    <a:pt x="105" y="207"/>
                  </a:lnTo>
                  <a:lnTo>
                    <a:pt x="105" y="205"/>
                  </a:lnTo>
                  <a:lnTo>
                    <a:pt x="104" y="202"/>
                  </a:lnTo>
                  <a:lnTo>
                    <a:pt x="108" y="203"/>
                  </a:lnTo>
                  <a:lnTo>
                    <a:pt x="109" y="206"/>
                  </a:lnTo>
                  <a:lnTo>
                    <a:pt x="111" y="207"/>
                  </a:lnTo>
                  <a:lnTo>
                    <a:pt x="113" y="209"/>
                  </a:lnTo>
                  <a:lnTo>
                    <a:pt x="117" y="209"/>
                  </a:lnTo>
                  <a:lnTo>
                    <a:pt x="119" y="209"/>
                  </a:lnTo>
                  <a:lnTo>
                    <a:pt x="119" y="206"/>
                  </a:lnTo>
                  <a:lnTo>
                    <a:pt x="117" y="203"/>
                  </a:lnTo>
                  <a:lnTo>
                    <a:pt x="117" y="201"/>
                  </a:lnTo>
                  <a:lnTo>
                    <a:pt x="119" y="203"/>
                  </a:lnTo>
                  <a:lnTo>
                    <a:pt x="121" y="205"/>
                  </a:lnTo>
                  <a:lnTo>
                    <a:pt x="121" y="209"/>
                  </a:lnTo>
                  <a:lnTo>
                    <a:pt x="125" y="210"/>
                  </a:lnTo>
                  <a:lnTo>
                    <a:pt x="130" y="210"/>
                  </a:lnTo>
                  <a:lnTo>
                    <a:pt x="133" y="206"/>
                  </a:lnTo>
                  <a:lnTo>
                    <a:pt x="134" y="204"/>
                  </a:lnTo>
                  <a:lnTo>
                    <a:pt x="130" y="203"/>
                  </a:lnTo>
                  <a:lnTo>
                    <a:pt x="128" y="202"/>
                  </a:lnTo>
                  <a:lnTo>
                    <a:pt x="127" y="198"/>
                  </a:lnTo>
                  <a:lnTo>
                    <a:pt x="129" y="201"/>
                  </a:lnTo>
                  <a:lnTo>
                    <a:pt x="133" y="203"/>
                  </a:lnTo>
                  <a:lnTo>
                    <a:pt x="135" y="203"/>
                  </a:lnTo>
                  <a:lnTo>
                    <a:pt x="138" y="202"/>
                  </a:lnTo>
                  <a:lnTo>
                    <a:pt x="135" y="204"/>
                  </a:lnTo>
                  <a:lnTo>
                    <a:pt x="135" y="206"/>
                  </a:lnTo>
                  <a:lnTo>
                    <a:pt x="138" y="207"/>
                  </a:lnTo>
                  <a:lnTo>
                    <a:pt x="141" y="207"/>
                  </a:lnTo>
                  <a:lnTo>
                    <a:pt x="144" y="207"/>
                  </a:lnTo>
                  <a:lnTo>
                    <a:pt x="146" y="206"/>
                  </a:lnTo>
                  <a:lnTo>
                    <a:pt x="150" y="207"/>
                  </a:lnTo>
                  <a:lnTo>
                    <a:pt x="153" y="209"/>
                  </a:lnTo>
                  <a:lnTo>
                    <a:pt x="151" y="211"/>
                  </a:lnTo>
                  <a:lnTo>
                    <a:pt x="149" y="214"/>
                  </a:lnTo>
                  <a:lnTo>
                    <a:pt x="150" y="216"/>
                  </a:lnTo>
                  <a:lnTo>
                    <a:pt x="155" y="215"/>
                  </a:lnTo>
                  <a:lnTo>
                    <a:pt x="158" y="215"/>
                  </a:lnTo>
                  <a:lnTo>
                    <a:pt x="161" y="214"/>
                  </a:lnTo>
                  <a:lnTo>
                    <a:pt x="163" y="214"/>
                  </a:lnTo>
                  <a:lnTo>
                    <a:pt x="165" y="213"/>
                  </a:lnTo>
                  <a:lnTo>
                    <a:pt x="168" y="212"/>
                  </a:lnTo>
                  <a:lnTo>
                    <a:pt x="170" y="212"/>
                  </a:lnTo>
                  <a:lnTo>
                    <a:pt x="173" y="212"/>
                  </a:lnTo>
                  <a:lnTo>
                    <a:pt x="175" y="209"/>
                  </a:lnTo>
                  <a:lnTo>
                    <a:pt x="178" y="207"/>
                  </a:lnTo>
                  <a:lnTo>
                    <a:pt x="180" y="204"/>
                  </a:lnTo>
                  <a:lnTo>
                    <a:pt x="182" y="205"/>
                  </a:lnTo>
                  <a:lnTo>
                    <a:pt x="182" y="207"/>
                  </a:lnTo>
                  <a:lnTo>
                    <a:pt x="186" y="206"/>
                  </a:lnTo>
                  <a:lnTo>
                    <a:pt x="188" y="205"/>
                  </a:lnTo>
                  <a:lnTo>
                    <a:pt x="190" y="203"/>
                  </a:lnTo>
                  <a:lnTo>
                    <a:pt x="193" y="201"/>
                  </a:lnTo>
                  <a:lnTo>
                    <a:pt x="194" y="198"/>
                  </a:lnTo>
                  <a:lnTo>
                    <a:pt x="193" y="195"/>
                  </a:lnTo>
                  <a:lnTo>
                    <a:pt x="190" y="193"/>
                  </a:lnTo>
                  <a:lnTo>
                    <a:pt x="188" y="192"/>
                  </a:lnTo>
                  <a:lnTo>
                    <a:pt x="185" y="193"/>
                  </a:lnTo>
                  <a:lnTo>
                    <a:pt x="182" y="195"/>
                  </a:lnTo>
                  <a:lnTo>
                    <a:pt x="180" y="197"/>
                  </a:lnTo>
                  <a:lnTo>
                    <a:pt x="177" y="197"/>
                  </a:lnTo>
                  <a:lnTo>
                    <a:pt x="178" y="194"/>
                  </a:lnTo>
                  <a:lnTo>
                    <a:pt x="175" y="194"/>
                  </a:lnTo>
                  <a:lnTo>
                    <a:pt x="171" y="194"/>
                  </a:lnTo>
                  <a:lnTo>
                    <a:pt x="175" y="192"/>
                  </a:lnTo>
                  <a:lnTo>
                    <a:pt x="177" y="189"/>
                  </a:lnTo>
                  <a:lnTo>
                    <a:pt x="175" y="186"/>
                  </a:lnTo>
                  <a:lnTo>
                    <a:pt x="171" y="186"/>
                  </a:lnTo>
                  <a:lnTo>
                    <a:pt x="169" y="185"/>
                  </a:lnTo>
                  <a:lnTo>
                    <a:pt x="165" y="186"/>
                  </a:lnTo>
                  <a:lnTo>
                    <a:pt x="163" y="187"/>
                  </a:lnTo>
                  <a:lnTo>
                    <a:pt x="162" y="188"/>
                  </a:lnTo>
                  <a:lnTo>
                    <a:pt x="159" y="189"/>
                  </a:lnTo>
                  <a:lnTo>
                    <a:pt x="161" y="186"/>
                  </a:lnTo>
                  <a:lnTo>
                    <a:pt x="158" y="186"/>
                  </a:lnTo>
                  <a:lnTo>
                    <a:pt x="155" y="185"/>
                  </a:lnTo>
                  <a:lnTo>
                    <a:pt x="150" y="184"/>
                  </a:lnTo>
                  <a:lnTo>
                    <a:pt x="146" y="185"/>
                  </a:lnTo>
                  <a:lnTo>
                    <a:pt x="144" y="186"/>
                  </a:lnTo>
                  <a:lnTo>
                    <a:pt x="141" y="187"/>
                  </a:lnTo>
                  <a:lnTo>
                    <a:pt x="138" y="187"/>
                  </a:lnTo>
                  <a:lnTo>
                    <a:pt x="136" y="185"/>
                  </a:lnTo>
                  <a:lnTo>
                    <a:pt x="134" y="184"/>
                  </a:lnTo>
                  <a:lnTo>
                    <a:pt x="136" y="184"/>
                  </a:lnTo>
                  <a:lnTo>
                    <a:pt x="139" y="184"/>
                  </a:lnTo>
                  <a:lnTo>
                    <a:pt x="142" y="184"/>
                  </a:lnTo>
                  <a:lnTo>
                    <a:pt x="145" y="181"/>
                  </a:lnTo>
                  <a:lnTo>
                    <a:pt x="142" y="181"/>
                  </a:lnTo>
                  <a:lnTo>
                    <a:pt x="139" y="179"/>
                  </a:lnTo>
                  <a:lnTo>
                    <a:pt x="141" y="177"/>
                  </a:lnTo>
                  <a:lnTo>
                    <a:pt x="138" y="173"/>
                  </a:lnTo>
                  <a:lnTo>
                    <a:pt x="141" y="176"/>
                  </a:lnTo>
                  <a:lnTo>
                    <a:pt x="144" y="178"/>
                  </a:lnTo>
                  <a:lnTo>
                    <a:pt x="146" y="180"/>
                  </a:lnTo>
                  <a:lnTo>
                    <a:pt x="150" y="181"/>
                  </a:lnTo>
                  <a:lnTo>
                    <a:pt x="152" y="183"/>
                  </a:lnTo>
                  <a:lnTo>
                    <a:pt x="155" y="184"/>
                  </a:lnTo>
                  <a:lnTo>
                    <a:pt x="158" y="184"/>
                  </a:lnTo>
                  <a:lnTo>
                    <a:pt x="161" y="184"/>
                  </a:lnTo>
                  <a:lnTo>
                    <a:pt x="163" y="184"/>
                  </a:lnTo>
                  <a:lnTo>
                    <a:pt x="164" y="184"/>
                  </a:lnTo>
                  <a:lnTo>
                    <a:pt x="167" y="184"/>
                  </a:lnTo>
                  <a:lnTo>
                    <a:pt x="170" y="184"/>
                  </a:lnTo>
                  <a:lnTo>
                    <a:pt x="172" y="184"/>
                  </a:lnTo>
                  <a:lnTo>
                    <a:pt x="176" y="184"/>
                  </a:lnTo>
                  <a:lnTo>
                    <a:pt x="178" y="181"/>
                  </a:lnTo>
                  <a:lnTo>
                    <a:pt x="181" y="184"/>
                  </a:lnTo>
                  <a:lnTo>
                    <a:pt x="184" y="181"/>
                  </a:lnTo>
                  <a:lnTo>
                    <a:pt x="187" y="180"/>
                  </a:lnTo>
                  <a:lnTo>
                    <a:pt x="189" y="179"/>
                  </a:lnTo>
                  <a:lnTo>
                    <a:pt x="190" y="176"/>
                  </a:lnTo>
                  <a:lnTo>
                    <a:pt x="194" y="175"/>
                  </a:lnTo>
                  <a:lnTo>
                    <a:pt x="190" y="171"/>
                  </a:lnTo>
                  <a:lnTo>
                    <a:pt x="192" y="169"/>
                  </a:lnTo>
                  <a:lnTo>
                    <a:pt x="188" y="167"/>
                  </a:lnTo>
                  <a:lnTo>
                    <a:pt x="185" y="166"/>
                  </a:lnTo>
                  <a:lnTo>
                    <a:pt x="188" y="163"/>
                  </a:lnTo>
                  <a:lnTo>
                    <a:pt x="190" y="164"/>
                  </a:lnTo>
                  <a:lnTo>
                    <a:pt x="194" y="164"/>
                  </a:lnTo>
                  <a:lnTo>
                    <a:pt x="196" y="164"/>
                  </a:lnTo>
                  <a:lnTo>
                    <a:pt x="202" y="164"/>
                  </a:lnTo>
                  <a:lnTo>
                    <a:pt x="205" y="166"/>
                  </a:lnTo>
                  <a:lnTo>
                    <a:pt x="207" y="164"/>
                  </a:lnTo>
                  <a:lnTo>
                    <a:pt x="211" y="164"/>
                  </a:lnTo>
                  <a:lnTo>
                    <a:pt x="213" y="163"/>
                  </a:lnTo>
                  <a:lnTo>
                    <a:pt x="216" y="163"/>
                  </a:lnTo>
                  <a:lnTo>
                    <a:pt x="219" y="164"/>
                  </a:lnTo>
                  <a:lnTo>
                    <a:pt x="222" y="162"/>
                  </a:lnTo>
                  <a:lnTo>
                    <a:pt x="222" y="159"/>
                  </a:lnTo>
                  <a:lnTo>
                    <a:pt x="219" y="159"/>
                  </a:lnTo>
                  <a:lnTo>
                    <a:pt x="216" y="159"/>
                  </a:lnTo>
                  <a:lnTo>
                    <a:pt x="214" y="159"/>
                  </a:lnTo>
                  <a:lnTo>
                    <a:pt x="211" y="159"/>
                  </a:lnTo>
                  <a:lnTo>
                    <a:pt x="209" y="156"/>
                  </a:lnTo>
                  <a:lnTo>
                    <a:pt x="211" y="155"/>
                  </a:lnTo>
                  <a:lnTo>
                    <a:pt x="213" y="156"/>
                  </a:lnTo>
                  <a:lnTo>
                    <a:pt x="216" y="156"/>
                  </a:lnTo>
                  <a:lnTo>
                    <a:pt x="219" y="156"/>
                  </a:lnTo>
                  <a:lnTo>
                    <a:pt x="222" y="156"/>
                  </a:lnTo>
                  <a:lnTo>
                    <a:pt x="224" y="156"/>
                  </a:lnTo>
                  <a:lnTo>
                    <a:pt x="228" y="154"/>
                  </a:lnTo>
                  <a:lnTo>
                    <a:pt x="230" y="152"/>
                  </a:lnTo>
                  <a:lnTo>
                    <a:pt x="228" y="151"/>
                  </a:lnTo>
                  <a:lnTo>
                    <a:pt x="224" y="150"/>
                  </a:lnTo>
                  <a:lnTo>
                    <a:pt x="222" y="150"/>
                  </a:lnTo>
                  <a:lnTo>
                    <a:pt x="219" y="150"/>
                  </a:lnTo>
                  <a:lnTo>
                    <a:pt x="215" y="149"/>
                  </a:lnTo>
                  <a:lnTo>
                    <a:pt x="213" y="147"/>
                  </a:lnTo>
                  <a:lnTo>
                    <a:pt x="210" y="147"/>
                  </a:lnTo>
                  <a:lnTo>
                    <a:pt x="213" y="146"/>
                  </a:lnTo>
                  <a:lnTo>
                    <a:pt x="216" y="147"/>
                  </a:lnTo>
                  <a:lnTo>
                    <a:pt x="219" y="147"/>
                  </a:lnTo>
                  <a:lnTo>
                    <a:pt x="224" y="147"/>
                  </a:lnTo>
                  <a:lnTo>
                    <a:pt x="228" y="147"/>
                  </a:lnTo>
                  <a:lnTo>
                    <a:pt x="231" y="147"/>
                  </a:lnTo>
                  <a:lnTo>
                    <a:pt x="233" y="146"/>
                  </a:lnTo>
                  <a:lnTo>
                    <a:pt x="236" y="145"/>
                  </a:lnTo>
                  <a:lnTo>
                    <a:pt x="233" y="144"/>
                  </a:lnTo>
                  <a:lnTo>
                    <a:pt x="235" y="141"/>
                  </a:lnTo>
                  <a:lnTo>
                    <a:pt x="235" y="138"/>
                  </a:lnTo>
                  <a:lnTo>
                    <a:pt x="232" y="137"/>
                  </a:lnTo>
                  <a:lnTo>
                    <a:pt x="229" y="136"/>
                  </a:lnTo>
                  <a:lnTo>
                    <a:pt x="227" y="136"/>
                  </a:lnTo>
                  <a:lnTo>
                    <a:pt x="223" y="136"/>
                  </a:lnTo>
                  <a:lnTo>
                    <a:pt x="221" y="136"/>
                  </a:lnTo>
                  <a:lnTo>
                    <a:pt x="218" y="137"/>
                  </a:lnTo>
                  <a:lnTo>
                    <a:pt x="215" y="136"/>
                  </a:lnTo>
                  <a:lnTo>
                    <a:pt x="212" y="137"/>
                  </a:lnTo>
                  <a:lnTo>
                    <a:pt x="215" y="136"/>
                  </a:lnTo>
                  <a:lnTo>
                    <a:pt x="218" y="136"/>
                  </a:lnTo>
                  <a:lnTo>
                    <a:pt x="221" y="134"/>
                  </a:lnTo>
                  <a:lnTo>
                    <a:pt x="218" y="133"/>
                  </a:lnTo>
                  <a:lnTo>
                    <a:pt x="215" y="133"/>
                  </a:lnTo>
                  <a:lnTo>
                    <a:pt x="213" y="133"/>
                  </a:lnTo>
                  <a:lnTo>
                    <a:pt x="206" y="133"/>
                  </a:lnTo>
                  <a:lnTo>
                    <a:pt x="201" y="134"/>
                  </a:lnTo>
                  <a:lnTo>
                    <a:pt x="197" y="134"/>
                  </a:lnTo>
                  <a:lnTo>
                    <a:pt x="195" y="134"/>
                  </a:lnTo>
                  <a:lnTo>
                    <a:pt x="192" y="136"/>
                  </a:lnTo>
                  <a:lnTo>
                    <a:pt x="189" y="138"/>
                  </a:lnTo>
                  <a:lnTo>
                    <a:pt x="187" y="139"/>
                  </a:lnTo>
                  <a:lnTo>
                    <a:pt x="188" y="137"/>
                  </a:lnTo>
                  <a:lnTo>
                    <a:pt x="192" y="135"/>
                  </a:lnTo>
                  <a:lnTo>
                    <a:pt x="194" y="132"/>
                  </a:lnTo>
                  <a:lnTo>
                    <a:pt x="192" y="132"/>
                  </a:lnTo>
                  <a:lnTo>
                    <a:pt x="188" y="132"/>
                  </a:lnTo>
                  <a:lnTo>
                    <a:pt x="185" y="132"/>
                  </a:lnTo>
                  <a:lnTo>
                    <a:pt x="182" y="132"/>
                  </a:lnTo>
                  <a:lnTo>
                    <a:pt x="179" y="132"/>
                  </a:lnTo>
                  <a:lnTo>
                    <a:pt x="185" y="130"/>
                  </a:lnTo>
                  <a:lnTo>
                    <a:pt x="188" y="132"/>
                  </a:lnTo>
                  <a:lnTo>
                    <a:pt x="192" y="132"/>
                  </a:lnTo>
                  <a:lnTo>
                    <a:pt x="194" y="132"/>
                  </a:lnTo>
                  <a:lnTo>
                    <a:pt x="197" y="133"/>
                  </a:lnTo>
                  <a:lnTo>
                    <a:pt x="199" y="132"/>
                  </a:lnTo>
                  <a:lnTo>
                    <a:pt x="203" y="132"/>
                  </a:lnTo>
                  <a:lnTo>
                    <a:pt x="209" y="130"/>
                  </a:lnTo>
                  <a:lnTo>
                    <a:pt x="211" y="130"/>
                  </a:lnTo>
                  <a:lnTo>
                    <a:pt x="214" y="130"/>
                  </a:lnTo>
                  <a:lnTo>
                    <a:pt x="216" y="130"/>
                  </a:lnTo>
                  <a:lnTo>
                    <a:pt x="214" y="129"/>
                  </a:lnTo>
                  <a:lnTo>
                    <a:pt x="211" y="129"/>
                  </a:lnTo>
                  <a:lnTo>
                    <a:pt x="209" y="128"/>
                  </a:lnTo>
                  <a:lnTo>
                    <a:pt x="205" y="128"/>
                  </a:lnTo>
                  <a:lnTo>
                    <a:pt x="203" y="128"/>
                  </a:lnTo>
                  <a:lnTo>
                    <a:pt x="199" y="128"/>
                  </a:lnTo>
                  <a:lnTo>
                    <a:pt x="196" y="128"/>
                  </a:lnTo>
                  <a:lnTo>
                    <a:pt x="194" y="127"/>
                  </a:lnTo>
                  <a:lnTo>
                    <a:pt x="192" y="127"/>
                  </a:lnTo>
                  <a:lnTo>
                    <a:pt x="188" y="127"/>
                  </a:lnTo>
                  <a:lnTo>
                    <a:pt x="192" y="127"/>
                  </a:lnTo>
                  <a:lnTo>
                    <a:pt x="194" y="127"/>
                  </a:lnTo>
                  <a:lnTo>
                    <a:pt x="197" y="127"/>
                  </a:lnTo>
                  <a:lnTo>
                    <a:pt x="201" y="127"/>
                  </a:lnTo>
                  <a:lnTo>
                    <a:pt x="203" y="127"/>
                  </a:lnTo>
                  <a:lnTo>
                    <a:pt x="206" y="127"/>
                  </a:lnTo>
                  <a:lnTo>
                    <a:pt x="210" y="127"/>
                  </a:lnTo>
                  <a:lnTo>
                    <a:pt x="212" y="127"/>
                  </a:lnTo>
                  <a:lnTo>
                    <a:pt x="214" y="127"/>
                  </a:lnTo>
                  <a:lnTo>
                    <a:pt x="218" y="127"/>
                  </a:lnTo>
                  <a:lnTo>
                    <a:pt x="220" y="130"/>
                  </a:lnTo>
                  <a:lnTo>
                    <a:pt x="223" y="132"/>
                  </a:lnTo>
                  <a:lnTo>
                    <a:pt x="226" y="132"/>
                  </a:lnTo>
                  <a:lnTo>
                    <a:pt x="229" y="132"/>
                  </a:lnTo>
                  <a:lnTo>
                    <a:pt x="231" y="132"/>
                  </a:lnTo>
                  <a:lnTo>
                    <a:pt x="233" y="132"/>
                  </a:lnTo>
                  <a:lnTo>
                    <a:pt x="236" y="133"/>
                  </a:lnTo>
                  <a:lnTo>
                    <a:pt x="239" y="132"/>
                  </a:lnTo>
                  <a:lnTo>
                    <a:pt x="237" y="129"/>
                  </a:lnTo>
                  <a:lnTo>
                    <a:pt x="235" y="127"/>
                  </a:lnTo>
                  <a:lnTo>
                    <a:pt x="237" y="126"/>
                  </a:lnTo>
                  <a:lnTo>
                    <a:pt x="235" y="126"/>
                  </a:lnTo>
                  <a:lnTo>
                    <a:pt x="231" y="126"/>
                  </a:lnTo>
                  <a:lnTo>
                    <a:pt x="229" y="126"/>
                  </a:lnTo>
                  <a:lnTo>
                    <a:pt x="223" y="126"/>
                  </a:lnTo>
                  <a:lnTo>
                    <a:pt x="220" y="126"/>
                  </a:lnTo>
                  <a:lnTo>
                    <a:pt x="218" y="125"/>
                  </a:lnTo>
                  <a:lnTo>
                    <a:pt x="214" y="125"/>
                  </a:lnTo>
                  <a:lnTo>
                    <a:pt x="212" y="125"/>
                  </a:lnTo>
                  <a:lnTo>
                    <a:pt x="206" y="125"/>
                  </a:lnTo>
                  <a:lnTo>
                    <a:pt x="203" y="125"/>
                  </a:lnTo>
                  <a:lnTo>
                    <a:pt x="201" y="125"/>
                  </a:lnTo>
                  <a:lnTo>
                    <a:pt x="197" y="124"/>
                  </a:lnTo>
                  <a:lnTo>
                    <a:pt x="195" y="124"/>
                  </a:lnTo>
                  <a:lnTo>
                    <a:pt x="192" y="122"/>
                  </a:lnTo>
                  <a:lnTo>
                    <a:pt x="195" y="122"/>
                  </a:lnTo>
                  <a:lnTo>
                    <a:pt x="198" y="122"/>
                  </a:lnTo>
                  <a:lnTo>
                    <a:pt x="201" y="122"/>
                  </a:lnTo>
                  <a:lnTo>
                    <a:pt x="201" y="119"/>
                  </a:lnTo>
                  <a:lnTo>
                    <a:pt x="203" y="121"/>
                  </a:lnTo>
                  <a:lnTo>
                    <a:pt x="206" y="122"/>
                  </a:lnTo>
                  <a:lnTo>
                    <a:pt x="210" y="122"/>
                  </a:lnTo>
                  <a:lnTo>
                    <a:pt x="212" y="122"/>
                  </a:lnTo>
                  <a:lnTo>
                    <a:pt x="214" y="122"/>
                  </a:lnTo>
                  <a:lnTo>
                    <a:pt x="218" y="121"/>
                  </a:lnTo>
                  <a:lnTo>
                    <a:pt x="214" y="119"/>
                  </a:lnTo>
                  <a:lnTo>
                    <a:pt x="212" y="119"/>
                  </a:lnTo>
                  <a:lnTo>
                    <a:pt x="210" y="119"/>
                  </a:lnTo>
                  <a:lnTo>
                    <a:pt x="206" y="118"/>
                  </a:lnTo>
                  <a:lnTo>
                    <a:pt x="204" y="117"/>
                  </a:lnTo>
                  <a:lnTo>
                    <a:pt x="206" y="118"/>
                  </a:lnTo>
                  <a:lnTo>
                    <a:pt x="210" y="117"/>
                  </a:lnTo>
                  <a:lnTo>
                    <a:pt x="212" y="118"/>
                  </a:lnTo>
                  <a:lnTo>
                    <a:pt x="215" y="118"/>
                  </a:lnTo>
                  <a:lnTo>
                    <a:pt x="218" y="120"/>
                  </a:lnTo>
                  <a:lnTo>
                    <a:pt x="221" y="119"/>
                  </a:lnTo>
                  <a:lnTo>
                    <a:pt x="223" y="120"/>
                  </a:lnTo>
                  <a:lnTo>
                    <a:pt x="226" y="121"/>
                  </a:lnTo>
                  <a:lnTo>
                    <a:pt x="229" y="121"/>
                  </a:lnTo>
                  <a:lnTo>
                    <a:pt x="231" y="121"/>
                  </a:lnTo>
                  <a:lnTo>
                    <a:pt x="231" y="119"/>
                  </a:lnTo>
                  <a:lnTo>
                    <a:pt x="235" y="119"/>
                  </a:lnTo>
                  <a:lnTo>
                    <a:pt x="237" y="119"/>
                  </a:lnTo>
                  <a:lnTo>
                    <a:pt x="240" y="119"/>
                  </a:lnTo>
                  <a:lnTo>
                    <a:pt x="244" y="119"/>
                  </a:lnTo>
                  <a:lnTo>
                    <a:pt x="246" y="119"/>
                  </a:lnTo>
                  <a:lnTo>
                    <a:pt x="246" y="116"/>
                  </a:lnTo>
                  <a:lnTo>
                    <a:pt x="248" y="118"/>
                  </a:lnTo>
                  <a:lnTo>
                    <a:pt x="252" y="118"/>
                  </a:lnTo>
                  <a:lnTo>
                    <a:pt x="255" y="118"/>
                  </a:lnTo>
                  <a:lnTo>
                    <a:pt x="257" y="116"/>
                  </a:lnTo>
                  <a:lnTo>
                    <a:pt x="257" y="113"/>
                  </a:lnTo>
                  <a:lnTo>
                    <a:pt x="254" y="111"/>
                  </a:lnTo>
                  <a:lnTo>
                    <a:pt x="252" y="110"/>
                  </a:lnTo>
                  <a:lnTo>
                    <a:pt x="248" y="110"/>
                  </a:lnTo>
                  <a:lnTo>
                    <a:pt x="246" y="109"/>
                  </a:lnTo>
                  <a:lnTo>
                    <a:pt x="243" y="109"/>
                  </a:lnTo>
                  <a:lnTo>
                    <a:pt x="239" y="109"/>
                  </a:lnTo>
                  <a:lnTo>
                    <a:pt x="237" y="109"/>
                  </a:lnTo>
                  <a:lnTo>
                    <a:pt x="233" y="107"/>
                  </a:lnTo>
                  <a:lnTo>
                    <a:pt x="239" y="107"/>
                  </a:lnTo>
                  <a:lnTo>
                    <a:pt x="243" y="105"/>
                  </a:lnTo>
                  <a:lnTo>
                    <a:pt x="245" y="105"/>
                  </a:lnTo>
                  <a:lnTo>
                    <a:pt x="252" y="108"/>
                  </a:lnTo>
                  <a:lnTo>
                    <a:pt x="254" y="108"/>
                  </a:lnTo>
                  <a:lnTo>
                    <a:pt x="257" y="108"/>
                  </a:lnTo>
                  <a:lnTo>
                    <a:pt x="260" y="108"/>
                  </a:lnTo>
                  <a:lnTo>
                    <a:pt x="260" y="110"/>
                  </a:lnTo>
                  <a:lnTo>
                    <a:pt x="263" y="112"/>
                  </a:lnTo>
                  <a:lnTo>
                    <a:pt x="265" y="112"/>
                  </a:lnTo>
                  <a:lnTo>
                    <a:pt x="269" y="112"/>
                  </a:lnTo>
                  <a:lnTo>
                    <a:pt x="271" y="112"/>
                  </a:lnTo>
                  <a:lnTo>
                    <a:pt x="274" y="111"/>
                  </a:lnTo>
                  <a:lnTo>
                    <a:pt x="277" y="111"/>
                  </a:lnTo>
                  <a:lnTo>
                    <a:pt x="280" y="110"/>
                  </a:lnTo>
                  <a:lnTo>
                    <a:pt x="282" y="110"/>
                  </a:lnTo>
                  <a:lnTo>
                    <a:pt x="286" y="108"/>
                  </a:lnTo>
                  <a:lnTo>
                    <a:pt x="287" y="105"/>
                  </a:lnTo>
                  <a:lnTo>
                    <a:pt x="283" y="105"/>
                  </a:lnTo>
                  <a:lnTo>
                    <a:pt x="281" y="105"/>
                  </a:lnTo>
                  <a:lnTo>
                    <a:pt x="283" y="103"/>
                  </a:lnTo>
                  <a:lnTo>
                    <a:pt x="287" y="103"/>
                  </a:lnTo>
                  <a:lnTo>
                    <a:pt x="290" y="103"/>
                  </a:lnTo>
                  <a:lnTo>
                    <a:pt x="291" y="102"/>
                  </a:lnTo>
                  <a:lnTo>
                    <a:pt x="290" y="102"/>
                  </a:lnTo>
                  <a:lnTo>
                    <a:pt x="292" y="100"/>
                  </a:lnTo>
                  <a:lnTo>
                    <a:pt x="290" y="98"/>
                  </a:lnTo>
                  <a:lnTo>
                    <a:pt x="284" y="99"/>
                  </a:lnTo>
                  <a:lnTo>
                    <a:pt x="281" y="100"/>
                  </a:lnTo>
                  <a:lnTo>
                    <a:pt x="278" y="100"/>
                  </a:lnTo>
                  <a:lnTo>
                    <a:pt x="275" y="100"/>
                  </a:lnTo>
                  <a:lnTo>
                    <a:pt x="272" y="101"/>
                  </a:lnTo>
                  <a:lnTo>
                    <a:pt x="270" y="101"/>
                  </a:lnTo>
                  <a:lnTo>
                    <a:pt x="266" y="100"/>
                  </a:lnTo>
                  <a:lnTo>
                    <a:pt x="272" y="100"/>
                  </a:lnTo>
                  <a:lnTo>
                    <a:pt x="270" y="98"/>
                  </a:lnTo>
                  <a:lnTo>
                    <a:pt x="266" y="96"/>
                  </a:lnTo>
                  <a:lnTo>
                    <a:pt x="269" y="96"/>
                  </a:lnTo>
                  <a:lnTo>
                    <a:pt x="272" y="96"/>
                  </a:lnTo>
                  <a:lnTo>
                    <a:pt x="274" y="99"/>
                  </a:lnTo>
                  <a:lnTo>
                    <a:pt x="278" y="99"/>
                  </a:lnTo>
                  <a:lnTo>
                    <a:pt x="280" y="98"/>
                  </a:lnTo>
                  <a:lnTo>
                    <a:pt x="283" y="98"/>
                  </a:lnTo>
                  <a:lnTo>
                    <a:pt x="286" y="96"/>
                  </a:lnTo>
                  <a:lnTo>
                    <a:pt x="289" y="96"/>
                  </a:lnTo>
                  <a:lnTo>
                    <a:pt x="291" y="96"/>
                  </a:lnTo>
                  <a:lnTo>
                    <a:pt x="298" y="96"/>
                  </a:lnTo>
                  <a:lnTo>
                    <a:pt x="299" y="93"/>
                  </a:lnTo>
                  <a:lnTo>
                    <a:pt x="296" y="93"/>
                  </a:lnTo>
                  <a:lnTo>
                    <a:pt x="293" y="92"/>
                  </a:lnTo>
                  <a:lnTo>
                    <a:pt x="293" y="89"/>
                  </a:lnTo>
                  <a:lnTo>
                    <a:pt x="291" y="86"/>
                  </a:lnTo>
                  <a:lnTo>
                    <a:pt x="293" y="86"/>
                  </a:lnTo>
                  <a:lnTo>
                    <a:pt x="296" y="89"/>
                  </a:lnTo>
                  <a:lnTo>
                    <a:pt x="296" y="92"/>
                  </a:lnTo>
                  <a:lnTo>
                    <a:pt x="299" y="92"/>
                  </a:lnTo>
                  <a:lnTo>
                    <a:pt x="303" y="91"/>
                  </a:lnTo>
                  <a:lnTo>
                    <a:pt x="305" y="91"/>
                  </a:lnTo>
                  <a:lnTo>
                    <a:pt x="308" y="90"/>
                  </a:lnTo>
                  <a:lnTo>
                    <a:pt x="310" y="87"/>
                  </a:lnTo>
                  <a:lnTo>
                    <a:pt x="313" y="85"/>
                  </a:lnTo>
                  <a:lnTo>
                    <a:pt x="316" y="83"/>
                  </a:lnTo>
                  <a:lnTo>
                    <a:pt x="318" y="81"/>
                  </a:lnTo>
                  <a:lnTo>
                    <a:pt x="322" y="79"/>
                  </a:lnTo>
                  <a:lnTo>
                    <a:pt x="325" y="78"/>
                  </a:lnTo>
                  <a:lnTo>
                    <a:pt x="327" y="77"/>
                  </a:lnTo>
                  <a:lnTo>
                    <a:pt x="331" y="75"/>
                  </a:lnTo>
                  <a:lnTo>
                    <a:pt x="333" y="75"/>
                  </a:lnTo>
                  <a:lnTo>
                    <a:pt x="337" y="73"/>
                  </a:lnTo>
                  <a:lnTo>
                    <a:pt x="339" y="72"/>
                  </a:lnTo>
                  <a:lnTo>
                    <a:pt x="342" y="70"/>
                  </a:lnTo>
                  <a:lnTo>
                    <a:pt x="344" y="70"/>
                  </a:lnTo>
                  <a:lnTo>
                    <a:pt x="348" y="68"/>
                  </a:lnTo>
                  <a:lnTo>
                    <a:pt x="350" y="66"/>
                  </a:lnTo>
                  <a:lnTo>
                    <a:pt x="352" y="65"/>
                  </a:lnTo>
                  <a:lnTo>
                    <a:pt x="356" y="64"/>
                  </a:lnTo>
                  <a:lnTo>
                    <a:pt x="359" y="62"/>
                  </a:lnTo>
                  <a:lnTo>
                    <a:pt x="361" y="62"/>
                  </a:lnTo>
                  <a:lnTo>
                    <a:pt x="365" y="61"/>
                  </a:lnTo>
                  <a:lnTo>
                    <a:pt x="367" y="60"/>
                  </a:lnTo>
                  <a:lnTo>
                    <a:pt x="371" y="59"/>
                  </a:lnTo>
                  <a:lnTo>
                    <a:pt x="373" y="58"/>
                  </a:lnTo>
                  <a:lnTo>
                    <a:pt x="375" y="56"/>
                  </a:lnTo>
                  <a:lnTo>
                    <a:pt x="375" y="53"/>
                  </a:lnTo>
                  <a:lnTo>
                    <a:pt x="369" y="53"/>
                  </a:lnTo>
                  <a:lnTo>
                    <a:pt x="366" y="53"/>
                  </a:lnTo>
                  <a:lnTo>
                    <a:pt x="364" y="53"/>
                  </a:lnTo>
                  <a:lnTo>
                    <a:pt x="361" y="55"/>
                  </a:lnTo>
                  <a:lnTo>
                    <a:pt x="358" y="55"/>
                  </a:lnTo>
                  <a:lnTo>
                    <a:pt x="356" y="56"/>
                  </a:lnTo>
                  <a:lnTo>
                    <a:pt x="352" y="56"/>
                  </a:lnTo>
                  <a:lnTo>
                    <a:pt x="350" y="57"/>
                  </a:lnTo>
                  <a:lnTo>
                    <a:pt x="347" y="57"/>
                  </a:lnTo>
                  <a:lnTo>
                    <a:pt x="340" y="58"/>
                  </a:lnTo>
                  <a:lnTo>
                    <a:pt x="338" y="58"/>
                  </a:lnTo>
                  <a:lnTo>
                    <a:pt x="334" y="59"/>
                  </a:lnTo>
                  <a:lnTo>
                    <a:pt x="332" y="60"/>
                  </a:lnTo>
                  <a:lnTo>
                    <a:pt x="330" y="60"/>
                  </a:lnTo>
                  <a:lnTo>
                    <a:pt x="326" y="61"/>
                  </a:lnTo>
                  <a:lnTo>
                    <a:pt x="324" y="61"/>
                  </a:lnTo>
                  <a:lnTo>
                    <a:pt x="321" y="62"/>
                  </a:lnTo>
                  <a:lnTo>
                    <a:pt x="318" y="62"/>
                  </a:lnTo>
                  <a:lnTo>
                    <a:pt x="315" y="64"/>
                  </a:lnTo>
                  <a:lnTo>
                    <a:pt x="313" y="64"/>
                  </a:lnTo>
                  <a:lnTo>
                    <a:pt x="309" y="65"/>
                  </a:lnTo>
                  <a:lnTo>
                    <a:pt x="306" y="65"/>
                  </a:lnTo>
                  <a:lnTo>
                    <a:pt x="304" y="66"/>
                  </a:lnTo>
                  <a:lnTo>
                    <a:pt x="300" y="67"/>
                  </a:lnTo>
                  <a:lnTo>
                    <a:pt x="299" y="67"/>
                  </a:lnTo>
                  <a:lnTo>
                    <a:pt x="303" y="66"/>
                  </a:lnTo>
                  <a:lnTo>
                    <a:pt x="299" y="66"/>
                  </a:lnTo>
                  <a:lnTo>
                    <a:pt x="297" y="65"/>
                  </a:lnTo>
                  <a:lnTo>
                    <a:pt x="299" y="65"/>
                  </a:lnTo>
                  <a:lnTo>
                    <a:pt x="305" y="64"/>
                  </a:lnTo>
                  <a:lnTo>
                    <a:pt x="308" y="62"/>
                  </a:lnTo>
                  <a:lnTo>
                    <a:pt x="312" y="62"/>
                  </a:lnTo>
                  <a:lnTo>
                    <a:pt x="314" y="62"/>
                  </a:lnTo>
                  <a:lnTo>
                    <a:pt x="317" y="61"/>
                  </a:lnTo>
                  <a:lnTo>
                    <a:pt x="321" y="61"/>
                  </a:lnTo>
                  <a:lnTo>
                    <a:pt x="323" y="60"/>
                  </a:lnTo>
                  <a:lnTo>
                    <a:pt x="326" y="59"/>
                  </a:lnTo>
                  <a:lnTo>
                    <a:pt x="330" y="58"/>
                  </a:lnTo>
                  <a:lnTo>
                    <a:pt x="332" y="58"/>
                  </a:lnTo>
                  <a:lnTo>
                    <a:pt x="334" y="57"/>
                  </a:lnTo>
                  <a:lnTo>
                    <a:pt x="338" y="56"/>
                  </a:lnTo>
                  <a:lnTo>
                    <a:pt x="340" y="56"/>
                  </a:lnTo>
                  <a:lnTo>
                    <a:pt x="343" y="55"/>
                  </a:lnTo>
                  <a:lnTo>
                    <a:pt x="347" y="53"/>
                  </a:lnTo>
                  <a:lnTo>
                    <a:pt x="343" y="53"/>
                  </a:lnTo>
                  <a:lnTo>
                    <a:pt x="340" y="52"/>
                  </a:lnTo>
                  <a:lnTo>
                    <a:pt x="338" y="52"/>
                  </a:lnTo>
                  <a:lnTo>
                    <a:pt x="334" y="52"/>
                  </a:lnTo>
                  <a:lnTo>
                    <a:pt x="332" y="52"/>
                  </a:lnTo>
                  <a:lnTo>
                    <a:pt x="329" y="53"/>
                  </a:lnTo>
                  <a:lnTo>
                    <a:pt x="325" y="53"/>
                  </a:lnTo>
                  <a:lnTo>
                    <a:pt x="323" y="53"/>
                  </a:lnTo>
                  <a:lnTo>
                    <a:pt x="320" y="53"/>
                  </a:lnTo>
                  <a:lnTo>
                    <a:pt x="317" y="53"/>
                  </a:lnTo>
                  <a:lnTo>
                    <a:pt x="321" y="53"/>
                  </a:lnTo>
                  <a:lnTo>
                    <a:pt x="317" y="50"/>
                  </a:lnTo>
                  <a:lnTo>
                    <a:pt x="312" y="49"/>
                  </a:lnTo>
                  <a:lnTo>
                    <a:pt x="314" y="49"/>
                  </a:lnTo>
                  <a:lnTo>
                    <a:pt x="317" y="50"/>
                  </a:lnTo>
                  <a:lnTo>
                    <a:pt x="321" y="51"/>
                  </a:lnTo>
                  <a:lnTo>
                    <a:pt x="323" y="52"/>
                  </a:lnTo>
                  <a:lnTo>
                    <a:pt x="325" y="52"/>
                  </a:lnTo>
                  <a:lnTo>
                    <a:pt x="329" y="52"/>
                  </a:lnTo>
                  <a:lnTo>
                    <a:pt x="332" y="51"/>
                  </a:lnTo>
                  <a:lnTo>
                    <a:pt x="334" y="51"/>
                  </a:lnTo>
                  <a:lnTo>
                    <a:pt x="338" y="51"/>
                  </a:lnTo>
                  <a:lnTo>
                    <a:pt x="340" y="51"/>
                  </a:lnTo>
                  <a:lnTo>
                    <a:pt x="343" y="51"/>
                  </a:lnTo>
                  <a:lnTo>
                    <a:pt x="346" y="50"/>
                  </a:lnTo>
                  <a:lnTo>
                    <a:pt x="349" y="50"/>
                  </a:lnTo>
                  <a:lnTo>
                    <a:pt x="351" y="50"/>
                  </a:lnTo>
                  <a:lnTo>
                    <a:pt x="355" y="49"/>
                  </a:lnTo>
                  <a:lnTo>
                    <a:pt x="357" y="50"/>
                  </a:lnTo>
                  <a:lnTo>
                    <a:pt x="360" y="49"/>
                  </a:lnTo>
                  <a:lnTo>
                    <a:pt x="363" y="49"/>
                  </a:lnTo>
                  <a:lnTo>
                    <a:pt x="360" y="49"/>
                  </a:lnTo>
                  <a:lnTo>
                    <a:pt x="355" y="49"/>
                  </a:lnTo>
                  <a:lnTo>
                    <a:pt x="357" y="48"/>
                  </a:lnTo>
                  <a:lnTo>
                    <a:pt x="360" y="48"/>
                  </a:lnTo>
                  <a:lnTo>
                    <a:pt x="363" y="47"/>
                  </a:lnTo>
                  <a:lnTo>
                    <a:pt x="366" y="47"/>
                  </a:lnTo>
                  <a:lnTo>
                    <a:pt x="368" y="47"/>
                  </a:lnTo>
                  <a:lnTo>
                    <a:pt x="372" y="47"/>
                  </a:lnTo>
                  <a:lnTo>
                    <a:pt x="374" y="47"/>
                  </a:lnTo>
                  <a:lnTo>
                    <a:pt x="377" y="47"/>
                  </a:lnTo>
                  <a:lnTo>
                    <a:pt x="380" y="47"/>
                  </a:lnTo>
                  <a:lnTo>
                    <a:pt x="383" y="44"/>
                  </a:lnTo>
                  <a:lnTo>
                    <a:pt x="385" y="44"/>
                  </a:lnTo>
                  <a:lnTo>
                    <a:pt x="389" y="42"/>
                  </a:lnTo>
                  <a:lnTo>
                    <a:pt x="391" y="42"/>
                  </a:lnTo>
                  <a:lnTo>
                    <a:pt x="394" y="41"/>
                  </a:lnTo>
                  <a:lnTo>
                    <a:pt x="397" y="40"/>
                  </a:lnTo>
                  <a:lnTo>
                    <a:pt x="400" y="40"/>
                  </a:lnTo>
                  <a:lnTo>
                    <a:pt x="402" y="39"/>
                  </a:lnTo>
                  <a:lnTo>
                    <a:pt x="406" y="38"/>
                  </a:lnTo>
                  <a:lnTo>
                    <a:pt x="408" y="36"/>
                  </a:lnTo>
                  <a:lnTo>
                    <a:pt x="414" y="33"/>
                  </a:lnTo>
                  <a:lnTo>
                    <a:pt x="417" y="32"/>
                  </a:lnTo>
                  <a:lnTo>
                    <a:pt x="419" y="31"/>
                  </a:lnTo>
                  <a:lnTo>
                    <a:pt x="423" y="28"/>
                  </a:lnTo>
                  <a:lnTo>
                    <a:pt x="421" y="25"/>
                  </a:lnTo>
                  <a:close/>
                  <a:moveTo>
                    <a:pt x="99" y="166"/>
                  </a:moveTo>
                  <a:lnTo>
                    <a:pt x="101" y="166"/>
                  </a:lnTo>
                  <a:lnTo>
                    <a:pt x="99" y="167"/>
                  </a:lnTo>
                  <a:lnTo>
                    <a:pt x="98" y="167"/>
                  </a:lnTo>
                  <a:lnTo>
                    <a:pt x="101" y="166"/>
                  </a:lnTo>
                  <a:lnTo>
                    <a:pt x="96" y="166"/>
                  </a:lnTo>
                  <a:lnTo>
                    <a:pt x="99" y="1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8" name="Freeform 208">
              <a:extLst>
                <a:ext uri="{FF2B5EF4-FFF2-40B4-BE49-F238E27FC236}">
                  <a16:creationId xmlns:a16="http://schemas.microsoft.com/office/drawing/2014/main" id="{5BBB452F-967C-4EDE-9442-85C10173DBA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43250" y="3273425"/>
              <a:ext cx="1382712" cy="246063"/>
            </a:xfrm>
            <a:custGeom>
              <a:avLst/>
              <a:gdLst>
                <a:gd name="T0" fmla="*/ 25 w 871"/>
                <a:gd name="T1" fmla="*/ 26 h 155"/>
                <a:gd name="T2" fmla="*/ 29 w 871"/>
                <a:gd name="T3" fmla="*/ 31 h 155"/>
                <a:gd name="T4" fmla="*/ 26 w 871"/>
                <a:gd name="T5" fmla="*/ 29 h 155"/>
                <a:gd name="T6" fmla="*/ 26 w 871"/>
                <a:gd name="T7" fmla="*/ 24 h 155"/>
                <a:gd name="T8" fmla="*/ 5 w 871"/>
                <a:gd name="T9" fmla="*/ 5 h 155"/>
                <a:gd name="T10" fmla="*/ 0 w 871"/>
                <a:gd name="T11" fmla="*/ 0 h 155"/>
                <a:gd name="T12" fmla="*/ 4 w 871"/>
                <a:gd name="T13" fmla="*/ 5 h 155"/>
                <a:gd name="T14" fmla="*/ 5 w 871"/>
                <a:gd name="T15" fmla="*/ 5 h 155"/>
                <a:gd name="T16" fmla="*/ 29 w 871"/>
                <a:gd name="T17" fmla="*/ 30 h 155"/>
                <a:gd name="T18" fmla="*/ 28 w 871"/>
                <a:gd name="T19" fmla="*/ 27 h 155"/>
                <a:gd name="T20" fmla="*/ 411 w 871"/>
                <a:gd name="T21" fmla="*/ 9 h 155"/>
                <a:gd name="T22" fmla="*/ 411 w 871"/>
                <a:gd name="T23" fmla="*/ 9 h 155"/>
                <a:gd name="T24" fmla="*/ 464 w 871"/>
                <a:gd name="T25" fmla="*/ 50 h 155"/>
                <a:gd name="T26" fmla="*/ 464 w 871"/>
                <a:gd name="T27" fmla="*/ 50 h 155"/>
                <a:gd name="T28" fmla="*/ 503 w 871"/>
                <a:gd name="T29" fmla="*/ 16 h 155"/>
                <a:gd name="T30" fmla="*/ 503 w 871"/>
                <a:gd name="T31" fmla="*/ 16 h 155"/>
                <a:gd name="T32" fmla="*/ 503 w 871"/>
                <a:gd name="T33" fmla="*/ 16 h 155"/>
                <a:gd name="T34" fmla="*/ 497 w 871"/>
                <a:gd name="T35" fmla="*/ 44 h 155"/>
                <a:gd name="T36" fmla="*/ 491 w 871"/>
                <a:gd name="T37" fmla="*/ 46 h 155"/>
                <a:gd name="T38" fmla="*/ 495 w 871"/>
                <a:gd name="T39" fmla="*/ 41 h 155"/>
                <a:gd name="T40" fmla="*/ 500 w 871"/>
                <a:gd name="T41" fmla="*/ 40 h 155"/>
                <a:gd name="T42" fmla="*/ 500 w 871"/>
                <a:gd name="T43" fmla="*/ 41 h 155"/>
                <a:gd name="T44" fmla="*/ 499 w 871"/>
                <a:gd name="T45" fmla="*/ 42 h 155"/>
                <a:gd name="T46" fmla="*/ 557 w 871"/>
                <a:gd name="T47" fmla="*/ 61 h 155"/>
                <a:gd name="T48" fmla="*/ 555 w 871"/>
                <a:gd name="T49" fmla="*/ 63 h 155"/>
                <a:gd name="T50" fmla="*/ 556 w 871"/>
                <a:gd name="T51" fmla="*/ 64 h 155"/>
                <a:gd name="T52" fmla="*/ 561 w 871"/>
                <a:gd name="T53" fmla="*/ 66 h 155"/>
                <a:gd name="T54" fmla="*/ 558 w 871"/>
                <a:gd name="T55" fmla="*/ 64 h 155"/>
                <a:gd name="T56" fmla="*/ 559 w 871"/>
                <a:gd name="T57" fmla="*/ 64 h 155"/>
                <a:gd name="T58" fmla="*/ 587 w 871"/>
                <a:gd name="T59" fmla="*/ 72 h 155"/>
                <a:gd name="T60" fmla="*/ 583 w 871"/>
                <a:gd name="T61" fmla="*/ 67 h 155"/>
                <a:gd name="T62" fmla="*/ 579 w 871"/>
                <a:gd name="T63" fmla="*/ 67 h 155"/>
                <a:gd name="T64" fmla="*/ 573 w 871"/>
                <a:gd name="T65" fmla="*/ 68 h 155"/>
                <a:gd name="T66" fmla="*/ 568 w 871"/>
                <a:gd name="T67" fmla="*/ 66 h 155"/>
                <a:gd name="T68" fmla="*/ 568 w 871"/>
                <a:gd name="T69" fmla="*/ 68 h 155"/>
                <a:gd name="T70" fmla="*/ 573 w 871"/>
                <a:gd name="T71" fmla="*/ 69 h 155"/>
                <a:gd name="T72" fmla="*/ 579 w 871"/>
                <a:gd name="T73" fmla="*/ 72 h 155"/>
                <a:gd name="T74" fmla="*/ 584 w 871"/>
                <a:gd name="T75" fmla="*/ 70 h 155"/>
                <a:gd name="T76" fmla="*/ 584 w 871"/>
                <a:gd name="T77" fmla="*/ 74 h 155"/>
                <a:gd name="T78" fmla="*/ 658 w 871"/>
                <a:gd name="T79" fmla="*/ 95 h 155"/>
                <a:gd name="T80" fmla="*/ 659 w 871"/>
                <a:gd name="T81" fmla="*/ 95 h 155"/>
                <a:gd name="T82" fmla="*/ 658 w 871"/>
                <a:gd name="T83" fmla="*/ 95 h 155"/>
                <a:gd name="T84" fmla="*/ 733 w 871"/>
                <a:gd name="T85" fmla="*/ 50 h 155"/>
                <a:gd name="T86" fmla="*/ 735 w 871"/>
                <a:gd name="T87" fmla="*/ 48 h 155"/>
                <a:gd name="T88" fmla="*/ 729 w 871"/>
                <a:gd name="T89" fmla="*/ 138 h 155"/>
                <a:gd name="T90" fmla="*/ 729 w 871"/>
                <a:gd name="T91" fmla="*/ 138 h 155"/>
                <a:gd name="T92" fmla="*/ 729 w 871"/>
                <a:gd name="T93" fmla="*/ 138 h 155"/>
                <a:gd name="T94" fmla="*/ 696 w 871"/>
                <a:gd name="T95" fmla="*/ 154 h 155"/>
                <a:gd name="T96" fmla="*/ 691 w 871"/>
                <a:gd name="T97" fmla="*/ 155 h 155"/>
                <a:gd name="T98" fmla="*/ 694 w 871"/>
                <a:gd name="T99" fmla="*/ 152 h 155"/>
                <a:gd name="T100" fmla="*/ 700 w 871"/>
                <a:gd name="T101" fmla="*/ 151 h 155"/>
                <a:gd name="T102" fmla="*/ 706 w 871"/>
                <a:gd name="T103" fmla="*/ 150 h 155"/>
                <a:gd name="T104" fmla="*/ 711 w 871"/>
                <a:gd name="T105" fmla="*/ 149 h 155"/>
                <a:gd name="T106" fmla="*/ 711 w 871"/>
                <a:gd name="T107" fmla="*/ 150 h 155"/>
                <a:gd name="T108" fmla="*/ 716 w 871"/>
                <a:gd name="T109" fmla="*/ 147 h 155"/>
                <a:gd name="T110" fmla="*/ 713 w 871"/>
                <a:gd name="T111" fmla="*/ 151 h 155"/>
                <a:gd name="T112" fmla="*/ 708 w 871"/>
                <a:gd name="T113" fmla="*/ 152 h 155"/>
                <a:gd name="T114" fmla="*/ 703 w 871"/>
                <a:gd name="T115" fmla="*/ 154 h 155"/>
                <a:gd name="T116" fmla="*/ 700 w 871"/>
                <a:gd name="T117" fmla="*/ 154 h 155"/>
                <a:gd name="T118" fmla="*/ 871 w 871"/>
                <a:gd name="T119" fmla="*/ 73 h 155"/>
                <a:gd name="T120" fmla="*/ 871 w 871"/>
                <a:gd name="T121" fmla="*/ 73 h 155"/>
                <a:gd name="T122" fmla="*/ 871 w 871"/>
                <a:gd name="T123" fmla="*/ 73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871" h="155">
                  <a:moveTo>
                    <a:pt x="26" y="24"/>
                  </a:moveTo>
                  <a:lnTo>
                    <a:pt x="25" y="26"/>
                  </a:lnTo>
                  <a:lnTo>
                    <a:pt x="27" y="30"/>
                  </a:lnTo>
                  <a:lnTo>
                    <a:pt x="29" y="31"/>
                  </a:lnTo>
                  <a:lnTo>
                    <a:pt x="27" y="31"/>
                  </a:lnTo>
                  <a:lnTo>
                    <a:pt x="26" y="29"/>
                  </a:lnTo>
                  <a:lnTo>
                    <a:pt x="25" y="25"/>
                  </a:lnTo>
                  <a:lnTo>
                    <a:pt x="26" y="24"/>
                  </a:lnTo>
                  <a:lnTo>
                    <a:pt x="26" y="24"/>
                  </a:lnTo>
                  <a:close/>
                  <a:moveTo>
                    <a:pt x="5" y="5"/>
                  </a:moveTo>
                  <a:lnTo>
                    <a:pt x="2" y="1"/>
                  </a:lnTo>
                  <a:lnTo>
                    <a:pt x="0" y="0"/>
                  </a:lnTo>
                  <a:lnTo>
                    <a:pt x="2" y="3"/>
                  </a:lnTo>
                  <a:lnTo>
                    <a:pt x="4" y="5"/>
                  </a:lnTo>
                  <a:lnTo>
                    <a:pt x="5" y="5"/>
                  </a:lnTo>
                  <a:lnTo>
                    <a:pt x="5" y="5"/>
                  </a:lnTo>
                  <a:close/>
                  <a:moveTo>
                    <a:pt x="28" y="27"/>
                  </a:moveTo>
                  <a:lnTo>
                    <a:pt x="29" y="30"/>
                  </a:lnTo>
                  <a:lnTo>
                    <a:pt x="27" y="27"/>
                  </a:lnTo>
                  <a:lnTo>
                    <a:pt x="28" y="27"/>
                  </a:lnTo>
                  <a:lnTo>
                    <a:pt x="28" y="27"/>
                  </a:lnTo>
                  <a:close/>
                  <a:moveTo>
                    <a:pt x="411" y="9"/>
                  </a:moveTo>
                  <a:lnTo>
                    <a:pt x="409" y="12"/>
                  </a:lnTo>
                  <a:lnTo>
                    <a:pt x="411" y="9"/>
                  </a:lnTo>
                  <a:lnTo>
                    <a:pt x="411" y="9"/>
                  </a:lnTo>
                  <a:close/>
                  <a:moveTo>
                    <a:pt x="464" y="50"/>
                  </a:moveTo>
                  <a:lnTo>
                    <a:pt x="461" y="52"/>
                  </a:lnTo>
                  <a:lnTo>
                    <a:pt x="464" y="50"/>
                  </a:lnTo>
                  <a:lnTo>
                    <a:pt x="464" y="50"/>
                  </a:lnTo>
                  <a:close/>
                  <a:moveTo>
                    <a:pt x="503" y="16"/>
                  </a:moveTo>
                  <a:lnTo>
                    <a:pt x="500" y="17"/>
                  </a:lnTo>
                  <a:lnTo>
                    <a:pt x="503" y="16"/>
                  </a:lnTo>
                  <a:lnTo>
                    <a:pt x="503" y="16"/>
                  </a:lnTo>
                  <a:lnTo>
                    <a:pt x="503" y="16"/>
                  </a:lnTo>
                  <a:close/>
                  <a:moveTo>
                    <a:pt x="499" y="42"/>
                  </a:moveTo>
                  <a:lnTo>
                    <a:pt x="497" y="44"/>
                  </a:lnTo>
                  <a:lnTo>
                    <a:pt x="495" y="47"/>
                  </a:lnTo>
                  <a:lnTo>
                    <a:pt x="491" y="46"/>
                  </a:lnTo>
                  <a:lnTo>
                    <a:pt x="493" y="43"/>
                  </a:lnTo>
                  <a:lnTo>
                    <a:pt x="495" y="41"/>
                  </a:lnTo>
                  <a:lnTo>
                    <a:pt x="498" y="40"/>
                  </a:lnTo>
                  <a:lnTo>
                    <a:pt x="500" y="40"/>
                  </a:lnTo>
                  <a:lnTo>
                    <a:pt x="503" y="41"/>
                  </a:lnTo>
                  <a:lnTo>
                    <a:pt x="500" y="41"/>
                  </a:lnTo>
                  <a:lnTo>
                    <a:pt x="499" y="42"/>
                  </a:lnTo>
                  <a:lnTo>
                    <a:pt x="499" y="42"/>
                  </a:lnTo>
                  <a:close/>
                  <a:moveTo>
                    <a:pt x="556" y="64"/>
                  </a:moveTo>
                  <a:lnTo>
                    <a:pt x="557" y="61"/>
                  </a:lnTo>
                  <a:lnTo>
                    <a:pt x="554" y="60"/>
                  </a:lnTo>
                  <a:lnTo>
                    <a:pt x="555" y="63"/>
                  </a:lnTo>
                  <a:lnTo>
                    <a:pt x="556" y="64"/>
                  </a:lnTo>
                  <a:lnTo>
                    <a:pt x="556" y="64"/>
                  </a:lnTo>
                  <a:close/>
                  <a:moveTo>
                    <a:pt x="559" y="64"/>
                  </a:moveTo>
                  <a:lnTo>
                    <a:pt x="561" y="66"/>
                  </a:lnTo>
                  <a:lnTo>
                    <a:pt x="558" y="67"/>
                  </a:lnTo>
                  <a:lnTo>
                    <a:pt x="558" y="64"/>
                  </a:lnTo>
                  <a:lnTo>
                    <a:pt x="559" y="64"/>
                  </a:lnTo>
                  <a:lnTo>
                    <a:pt x="559" y="64"/>
                  </a:lnTo>
                  <a:close/>
                  <a:moveTo>
                    <a:pt x="584" y="74"/>
                  </a:moveTo>
                  <a:lnTo>
                    <a:pt x="587" y="72"/>
                  </a:lnTo>
                  <a:lnTo>
                    <a:pt x="587" y="68"/>
                  </a:lnTo>
                  <a:lnTo>
                    <a:pt x="583" y="67"/>
                  </a:lnTo>
                  <a:lnTo>
                    <a:pt x="581" y="66"/>
                  </a:lnTo>
                  <a:lnTo>
                    <a:pt x="579" y="67"/>
                  </a:lnTo>
                  <a:lnTo>
                    <a:pt x="575" y="67"/>
                  </a:lnTo>
                  <a:lnTo>
                    <a:pt x="573" y="68"/>
                  </a:lnTo>
                  <a:lnTo>
                    <a:pt x="571" y="66"/>
                  </a:lnTo>
                  <a:lnTo>
                    <a:pt x="568" y="66"/>
                  </a:lnTo>
                  <a:lnTo>
                    <a:pt x="565" y="67"/>
                  </a:lnTo>
                  <a:lnTo>
                    <a:pt x="568" y="68"/>
                  </a:lnTo>
                  <a:lnTo>
                    <a:pt x="571" y="69"/>
                  </a:lnTo>
                  <a:lnTo>
                    <a:pt x="573" y="69"/>
                  </a:lnTo>
                  <a:lnTo>
                    <a:pt x="576" y="70"/>
                  </a:lnTo>
                  <a:lnTo>
                    <a:pt x="579" y="72"/>
                  </a:lnTo>
                  <a:lnTo>
                    <a:pt x="581" y="73"/>
                  </a:lnTo>
                  <a:lnTo>
                    <a:pt x="584" y="70"/>
                  </a:lnTo>
                  <a:lnTo>
                    <a:pt x="583" y="74"/>
                  </a:lnTo>
                  <a:lnTo>
                    <a:pt x="584" y="74"/>
                  </a:lnTo>
                  <a:lnTo>
                    <a:pt x="584" y="74"/>
                  </a:lnTo>
                  <a:close/>
                  <a:moveTo>
                    <a:pt x="658" y="95"/>
                  </a:moveTo>
                  <a:lnTo>
                    <a:pt x="661" y="95"/>
                  </a:lnTo>
                  <a:lnTo>
                    <a:pt x="659" y="95"/>
                  </a:lnTo>
                  <a:lnTo>
                    <a:pt x="658" y="95"/>
                  </a:lnTo>
                  <a:lnTo>
                    <a:pt x="658" y="95"/>
                  </a:lnTo>
                  <a:close/>
                  <a:moveTo>
                    <a:pt x="735" y="48"/>
                  </a:moveTo>
                  <a:lnTo>
                    <a:pt x="733" y="50"/>
                  </a:lnTo>
                  <a:lnTo>
                    <a:pt x="734" y="48"/>
                  </a:lnTo>
                  <a:lnTo>
                    <a:pt x="735" y="48"/>
                  </a:lnTo>
                  <a:lnTo>
                    <a:pt x="735" y="48"/>
                  </a:lnTo>
                  <a:close/>
                  <a:moveTo>
                    <a:pt x="729" y="138"/>
                  </a:moveTo>
                  <a:lnTo>
                    <a:pt x="728" y="141"/>
                  </a:lnTo>
                  <a:lnTo>
                    <a:pt x="729" y="138"/>
                  </a:lnTo>
                  <a:lnTo>
                    <a:pt x="729" y="138"/>
                  </a:lnTo>
                  <a:lnTo>
                    <a:pt x="729" y="138"/>
                  </a:lnTo>
                  <a:close/>
                  <a:moveTo>
                    <a:pt x="700" y="154"/>
                  </a:moveTo>
                  <a:lnTo>
                    <a:pt x="696" y="154"/>
                  </a:lnTo>
                  <a:lnTo>
                    <a:pt x="694" y="155"/>
                  </a:lnTo>
                  <a:lnTo>
                    <a:pt x="691" y="155"/>
                  </a:lnTo>
                  <a:lnTo>
                    <a:pt x="692" y="153"/>
                  </a:lnTo>
                  <a:lnTo>
                    <a:pt x="694" y="152"/>
                  </a:lnTo>
                  <a:lnTo>
                    <a:pt x="698" y="150"/>
                  </a:lnTo>
                  <a:lnTo>
                    <a:pt x="700" y="151"/>
                  </a:lnTo>
                  <a:lnTo>
                    <a:pt x="703" y="150"/>
                  </a:lnTo>
                  <a:lnTo>
                    <a:pt x="706" y="150"/>
                  </a:lnTo>
                  <a:lnTo>
                    <a:pt x="708" y="150"/>
                  </a:lnTo>
                  <a:lnTo>
                    <a:pt x="711" y="149"/>
                  </a:lnTo>
                  <a:lnTo>
                    <a:pt x="713" y="147"/>
                  </a:lnTo>
                  <a:lnTo>
                    <a:pt x="711" y="150"/>
                  </a:lnTo>
                  <a:lnTo>
                    <a:pt x="713" y="149"/>
                  </a:lnTo>
                  <a:lnTo>
                    <a:pt x="716" y="147"/>
                  </a:lnTo>
                  <a:lnTo>
                    <a:pt x="719" y="149"/>
                  </a:lnTo>
                  <a:lnTo>
                    <a:pt x="713" y="151"/>
                  </a:lnTo>
                  <a:lnTo>
                    <a:pt x="711" y="152"/>
                  </a:lnTo>
                  <a:lnTo>
                    <a:pt x="708" y="152"/>
                  </a:lnTo>
                  <a:lnTo>
                    <a:pt x="706" y="153"/>
                  </a:lnTo>
                  <a:lnTo>
                    <a:pt x="703" y="154"/>
                  </a:lnTo>
                  <a:lnTo>
                    <a:pt x="700" y="154"/>
                  </a:lnTo>
                  <a:lnTo>
                    <a:pt x="700" y="154"/>
                  </a:lnTo>
                  <a:lnTo>
                    <a:pt x="700" y="154"/>
                  </a:lnTo>
                  <a:close/>
                  <a:moveTo>
                    <a:pt x="871" y="73"/>
                  </a:moveTo>
                  <a:lnTo>
                    <a:pt x="867" y="74"/>
                  </a:lnTo>
                  <a:lnTo>
                    <a:pt x="871" y="73"/>
                  </a:lnTo>
                  <a:lnTo>
                    <a:pt x="871" y="73"/>
                  </a:lnTo>
                  <a:lnTo>
                    <a:pt x="871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9" name="Freeform 209">
              <a:extLst>
                <a:ext uri="{FF2B5EF4-FFF2-40B4-BE49-F238E27FC236}">
                  <a16:creationId xmlns:a16="http://schemas.microsoft.com/office/drawing/2014/main" id="{0C101803-4D1A-4137-B686-6F779CCB90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84438" y="3016250"/>
              <a:ext cx="534987" cy="109538"/>
            </a:xfrm>
            <a:custGeom>
              <a:avLst/>
              <a:gdLst>
                <a:gd name="T0" fmla="*/ 22 w 337"/>
                <a:gd name="T1" fmla="*/ 23 h 69"/>
                <a:gd name="T2" fmla="*/ 27 w 337"/>
                <a:gd name="T3" fmla="*/ 21 h 69"/>
                <a:gd name="T4" fmla="*/ 27 w 337"/>
                <a:gd name="T5" fmla="*/ 17 h 69"/>
                <a:gd name="T6" fmla="*/ 27 w 337"/>
                <a:gd name="T7" fmla="*/ 17 h 69"/>
                <a:gd name="T8" fmla="*/ 33 w 337"/>
                <a:gd name="T9" fmla="*/ 18 h 69"/>
                <a:gd name="T10" fmla="*/ 33 w 337"/>
                <a:gd name="T11" fmla="*/ 15 h 69"/>
                <a:gd name="T12" fmla="*/ 32 w 337"/>
                <a:gd name="T13" fmla="*/ 9 h 69"/>
                <a:gd name="T14" fmla="*/ 26 w 337"/>
                <a:gd name="T15" fmla="*/ 11 h 69"/>
                <a:gd name="T16" fmla="*/ 21 w 337"/>
                <a:gd name="T17" fmla="*/ 7 h 69"/>
                <a:gd name="T18" fmla="*/ 22 w 337"/>
                <a:gd name="T19" fmla="*/ 13 h 69"/>
                <a:gd name="T20" fmla="*/ 18 w 337"/>
                <a:gd name="T21" fmla="*/ 13 h 69"/>
                <a:gd name="T22" fmla="*/ 14 w 337"/>
                <a:gd name="T23" fmla="*/ 9 h 69"/>
                <a:gd name="T24" fmla="*/ 14 w 337"/>
                <a:gd name="T25" fmla="*/ 13 h 69"/>
                <a:gd name="T26" fmla="*/ 13 w 337"/>
                <a:gd name="T27" fmla="*/ 18 h 69"/>
                <a:gd name="T28" fmla="*/ 13 w 337"/>
                <a:gd name="T29" fmla="*/ 20 h 69"/>
                <a:gd name="T30" fmla="*/ 10 w 337"/>
                <a:gd name="T31" fmla="*/ 14 h 69"/>
                <a:gd name="T32" fmla="*/ 3 w 337"/>
                <a:gd name="T33" fmla="*/ 17 h 69"/>
                <a:gd name="T34" fmla="*/ 3 w 337"/>
                <a:gd name="T35" fmla="*/ 22 h 69"/>
                <a:gd name="T36" fmla="*/ 6 w 337"/>
                <a:gd name="T37" fmla="*/ 28 h 69"/>
                <a:gd name="T38" fmla="*/ 9 w 337"/>
                <a:gd name="T39" fmla="*/ 25 h 69"/>
                <a:gd name="T40" fmla="*/ 9 w 337"/>
                <a:gd name="T41" fmla="*/ 24 h 69"/>
                <a:gd name="T42" fmla="*/ 12 w 337"/>
                <a:gd name="T43" fmla="*/ 25 h 69"/>
                <a:gd name="T44" fmla="*/ 12 w 337"/>
                <a:gd name="T45" fmla="*/ 26 h 69"/>
                <a:gd name="T46" fmla="*/ 8 w 337"/>
                <a:gd name="T47" fmla="*/ 32 h 69"/>
                <a:gd name="T48" fmla="*/ 14 w 337"/>
                <a:gd name="T49" fmla="*/ 30 h 69"/>
                <a:gd name="T50" fmla="*/ 14 w 337"/>
                <a:gd name="T51" fmla="*/ 26 h 69"/>
                <a:gd name="T52" fmla="*/ 19 w 337"/>
                <a:gd name="T53" fmla="*/ 24 h 69"/>
                <a:gd name="T54" fmla="*/ 278 w 337"/>
                <a:gd name="T55" fmla="*/ 0 h 69"/>
                <a:gd name="T56" fmla="*/ 278 w 337"/>
                <a:gd name="T57" fmla="*/ 3 h 69"/>
                <a:gd name="T58" fmla="*/ 278 w 337"/>
                <a:gd name="T59" fmla="*/ 0 h 69"/>
                <a:gd name="T60" fmla="*/ 252 w 337"/>
                <a:gd name="T61" fmla="*/ 8 h 69"/>
                <a:gd name="T62" fmla="*/ 251 w 337"/>
                <a:gd name="T63" fmla="*/ 5 h 69"/>
                <a:gd name="T64" fmla="*/ 302 w 337"/>
                <a:gd name="T65" fmla="*/ 31 h 69"/>
                <a:gd name="T66" fmla="*/ 303 w 337"/>
                <a:gd name="T67" fmla="*/ 37 h 69"/>
                <a:gd name="T68" fmla="*/ 299 w 337"/>
                <a:gd name="T69" fmla="*/ 33 h 69"/>
                <a:gd name="T70" fmla="*/ 302 w 337"/>
                <a:gd name="T71" fmla="*/ 31 h 69"/>
                <a:gd name="T72" fmla="*/ 303 w 337"/>
                <a:gd name="T73" fmla="*/ 38 h 69"/>
                <a:gd name="T74" fmla="*/ 300 w 337"/>
                <a:gd name="T75" fmla="*/ 42 h 69"/>
                <a:gd name="T76" fmla="*/ 300 w 337"/>
                <a:gd name="T77" fmla="*/ 38 h 69"/>
                <a:gd name="T78" fmla="*/ 303 w 337"/>
                <a:gd name="T79" fmla="*/ 38 h 69"/>
                <a:gd name="T80" fmla="*/ 311 w 337"/>
                <a:gd name="T81" fmla="*/ 40 h 69"/>
                <a:gd name="T82" fmla="*/ 309 w 337"/>
                <a:gd name="T83" fmla="*/ 43 h 69"/>
                <a:gd name="T84" fmla="*/ 307 w 337"/>
                <a:gd name="T85" fmla="*/ 39 h 69"/>
                <a:gd name="T86" fmla="*/ 307 w 337"/>
                <a:gd name="T87" fmla="*/ 37 h 69"/>
                <a:gd name="T88" fmla="*/ 305 w 337"/>
                <a:gd name="T89" fmla="*/ 42 h 69"/>
                <a:gd name="T90" fmla="*/ 309 w 337"/>
                <a:gd name="T91" fmla="*/ 46 h 69"/>
                <a:gd name="T92" fmla="*/ 304 w 337"/>
                <a:gd name="T93" fmla="*/ 45 h 69"/>
                <a:gd name="T94" fmla="*/ 305 w 337"/>
                <a:gd name="T95" fmla="*/ 40 h 69"/>
                <a:gd name="T96" fmla="*/ 307 w 337"/>
                <a:gd name="T97" fmla="*/ 40 h 69"/>
                <a:gd name="T98" fmla="*/ 337 w 337"/>
                <a:gd name="T99" fmla="*/ 68 h 69"/>
                <a:gd name="T100" fmla="*/ 336 w 337"/>
                <a:gd name="T101" fmla="*/ 67 h 69"/>
                <a:gd name="T102" fmla="*/ 337 w 337"/>
                <a:gd name="T103" fmla="*/ 65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37" h="69">
                  <a:moveTo>
                    <a:pt x="19" y="24"/>
                  </a:moveTo>
                  <a:lnTo>
                    <a:pt x="22" y="23"/>
                  </a:lnTo>
                  <a:lnTo>
                    <a:pt x="25" y="22"/>
                  </a:lnTo>
                  <a:lnTo>
                    <a:pt x="27" y="21"/>
                  </a:lnTo>
                  <a:lnTo>
                    <a:pt x="30" y="20"/>
                  </a:lnTo>
                  <a:lnTo>
                    <a:pt x="27" y="17"/>
                  </a:lnTo>
                  <a:lnTo>
                    <a:pt x="25" y="18"/>
                  </a:lnTo>
                  <a:lnTo>
                    <a:pt x="27" y="17"/>
                  </a:lnTo>
                  <a:lnTo>
                    <a:pt x="30" y="17"/>
                  </a:lnTo>
                  <a:lnTo>
                    <a:pt x="33" y="18"/>
                  </a:lnTo>
                  <a:lnTo>
                    <a:pt x="35" y="16"/>
                  </a:lnTo>
                  <a:lnTo>
                    <a:pt x="33" y="15"/>
                  </a:lnTo>
                  <a:lnTo>
                    <a:pt x="32" y="12"/>
                  </a:lnTo>
                  <a:lnTo>
                    <a:pt x="32" y="9"/>
                  </a:lnTo>
                  <a:lnTo>
                    <a:pt x="30" y="9"/>
                  </a:lnTo>
                  <a:lnTo>
                    <a:pt x="26" y="11"/>
                  </a:lnTo>
                  <a:lnTo>
                    <a:pt x="24" y="8"/>
                  </a:lnTo>
                  <a:lnTo>
                    <a:pt x="21" y="7"/>
                  </a:lnTo>
                  <a:lnTo>
                    <a:pt x="23" y="9"/>
                  </a:lnTo>
                  <a:lnTo>
                    <a:pt x="22" y="13"/>
                  </a:lnTo>
                  <a:lnTo>
                    <a:pt x="19" y="11"/>
                  </a:lnTo>
                  <a:lnTo>
                    <a:pt x="18" y="13"/>
                  </a:lnTo>
                  <a:lnTo>
                    <a:pt x="17" y="11"/>
                  </a:lnTo>
                  <a:lnTo>
                    <a:pt x="14" y="9"/>
                  </a:lnTo>
                  <a:lnTo>
                    <a:pt x="12" y="12"/>
                  </a:lnTo>
                  <a:lnTo>
                    <a:pt x="14" y="13"/>
                  </a:lnTo>
                  <a:lnTo>
                    <a:pt x="15" y="16"/>
                  </a:lnTo>
                  <a:lnTo>
                    <a:pt x="13" y="18"/>
                  </a:lnTo>
                  <a:lnTo>
                    <a:pt x="16" y="21"/>
                  </a:lnTo>
                  <a:lnTo>
                    <a:pt x="13" y="20"/>
                  </a:lnTo>
                  <a:lnTo>
                    <a:pt x="12" y="16"/>
                  </a:lnTo>
                  <a:lnTo>
                    <a:pt x="10" y="14"/>
                  </a:lnTo>
                  <a:lnTo>
                    <a:pt x="7" y="14"/>
                  </a:lnTo>
                  <a:lnTo>
                    <a:pt x="3" y="17"/>
                  </a:lnTo>
                  <a:lnTo>
                    <a:pt x="0" y="20"/>
                  </a:lnTo>
                  <a:lnTo>
                    <a:pt x="3" y="22"/>
                  </a:lnTo>
                  <a:lnTo>
                    <a:pt x="4" y="25"/>
                  </a:lnTo>
                  <a:lnTo>
                    <a:pt x="6" y="28"/>
                  </a:lnTo>
                  <a:lnTo>
                    <a:pt x="8" y="28"/>
                  </a:lnTo>
                  <a:lnTo>
                    <a:pt x="9" y="25"/>
                  </a:lnTo>
                  <a:lnTo>
                    <a:pt x="7" y="24"/>
                  </a:lnTo>
                  <a:lnTo>
                    <a:pt x="9" y="24"/>
                  </a:lnTo>
                  <a:lnTo>
                    <a:pt x="9" y="26"/>
                  </a:lnTo>
                  <a:lnTo>
                    <a:pt x="12" y="25"/>
                  </a:lnTo>
                  <a:lnTo>
                    <a:pt x="14" y="24"/>
                  </a:lnTo>
                  <a:lnTo>
                    <a:pt x="12" y="26"/>
                  </a:lnTo>
                  <a:lnTo>
                    <a:pt x="10" y="29"/>
                  </a:lnTo>
                  <a:lnTo>
                    <a:pt x="8" y="32"/>
                  </a:lnTo>
                  <a:lnTo>
                    <a:pt x="12" y="32"/>
                  </a:lnTo>
                  <a:lnTo>
                    <a:pt x="14" y="30"/>
                  </a:lnTo>
                  <a:lnTo>
                    <a:pt x="17" y="28"/>
                  </a:lnTo>
                  <a:lnTo>
                    <a:pt x="14" y="26"/>
                  </a:lnTo>
                  <a:lnTo>
                    <a:pt x="17" y="25"/>
                  </a:lnTo>
                  <a:lnTo>
                    <a:pt x="19" y="24"/>
                  </a:lnTo>
                  <a:lnTo>
                    <a:pt x="19" y="24"/>
                  </a:lnTo>
                  <a:close/>
                  <a:moveTo>
                    <a:pt x="278" y="0"/>
                  </a:moveTo>
                  <a:lnTo>
                    <a:pt x="280" y="3"/>
                  </a:lnTo>
                  <a:lnTo>
                    <a:pt x="278" y="3"/>
                  </a:lnTo>
                  <a:lnTo>
                    <a:pt x="278" y="0"/>
                  </a:lnTo>
                  <a:lnTo>
                    <a:pt x="278" y="0"/>
                  </a:lnTo>
                  <a:close/>
                  <a:moveTo>
                    <a:pt x="251" y="5"/>
                  </a:moveTo>
                  <a:lnTo>
                    <a:pt x="252" y="8"/>
                  </a:lnTo>
                  <a:lnTo>
                    <a:pt x="251" y="5"/>
                  </a:lnTo>
                  <a:lnTo>
                    <a:pt x="251" y="5"/>
                  </a:lnTo>
                  <a:lnTo>
                    <a:pt x="251" y="5"/>
                  </a:lnTo>
                  <a:close/>
                  <a:moveTo>
                    <a:pt x="302" y="31"/>
                  </a:moveTo>
                  <a:lnTo>
                    <a:pt x="304" y="33"/>
                  </a:lnTo>
                  <a:lnTo>
                    <a:pt x="303" y="37"/>
                  </a:lnTo>
                  <a:lnTo>
                    <a:pt x="299" y="37"/>
                  </a:lnTo>
                  <a:lnTo>
                    <a:pt x="299" y="33"/>
                  </a:lnTo>
                  <a:lnTo>
                    <a:pt x="299" y="31"/>
                  </a:lnTo>
                  <a:lnTo>
                    <a:pt x="302" y="31"/>
                  </a:lnTo>
                  <a:lnTo>
                    <a:pt x="302" y="31"/>
                  </a:lnTo>
                  <a:close/>
                  <a:moveTo>
                    <a:pt x="303" y="38"/>
                  </a:moveTo>
                  <a:lnTo>
                    <a:pt x="304" y="40"/>
                  </a:lnTo>
                  <a:lnTo>
                    <a:pt x="300" y="42"/>
                  </a:lnTo>
                  <a:lnTo>
                    <a:pt x="298" y="40"/>
                  </a:lnTo>
                  <a:lnTo>
                    <a:pt x="300" y="38"/>
                  </a:lnTo>
                  <a:lnTo>
                    <a:pt x="303" y="38"/>
                  </a:lnTo>
                  <a:lnTo>
                    <a:pt x="303" y="38"/>
                  </a:lnTo>
                  <a:close/>
                  <a:moveTo>
                    <a:pt x="307" y="37"/>
                  </a:moveTo>
                  <a:lnTo>
                    <a:pt x="311" y="40"/>
                  </a:lnTo>
                  <a:lnTo>
                    <a:pt x="313" y="42"/>
                  </a:lnTo>
                  <a:lnTo>
                    <a:pt x="309" y="43"/>
                  </a:lnTo>
                  <a:lnTo>
                    <a:pt x="307" y="41"/>
                  </a:lnTo>
                  <a:lnTo>
                    <a:pt x="307" y="39"/>
                  </a:lnTo>
                  <a:lnTo>
                    <a:pt x="307" y="37"/>
                  </a:lnTo>
                  <a:lnTo>
                    <a:pt x="307" y="37"/>
                  </a:lnTo>
                  <a:close/>
                  <a:moveTo>
                    <a:pt x="307" y="40"/>
                  </a:moveTo>
                  <a:lnTo>
                    <a:pt x="305" y="42"/>
                  </a:lnTo>
                  <a:lnTo>
                    <a:pt x="308" y="42"/>
                  </a:lnTo>
                  <a:lnTo>
                    <a:pt x="309" y="46"/>
                  </a:lnTo>
                  <a:lnTo>
                    <a:pt x="307" y="47"/>
                  </a:lnTo>
                  <a:lnTo>
                    <a:pt x="304" y="45"/>
                  </a:lnTo>
                  <a:lnTo>
                    <a:pt x="303" y="42"/>
                  </a:lnTo>
                  <a:lnTo>
                    <a:pt x="305" y="40"/>
                  </a:lnTo>
                  <a:lnTo>
                    <a:pt x="307" y="40"/>
                  </a:lnTo>
                  <a:lnTo>
                    <a:pt x="307" y="40"/>
                  </a:lnTo>
                  <a:close/>
                  <a:moveTo>
                    <a:pt x="337" y="65"/>
                  </a:moveTo>
                  <a:lnTo>
                    <a:pt x="337" y="68"/>
                  </a:lnTo>
                  <a:lnTo>
                    <a:pt x="333" y="69"/>
                  </a:lnTo>
                  <a:lnTo>
                    <a:pt x="336" y="67"/>
                  </a:lnTo>
                  <a:lnTo>
                    <a:pt x="337" y="65"/>
                  </a:lnTo>
                  <a:lnTo>
                    <a:pt x="337" y="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10" name="Freeform 210">
              <a:extLst>
                <a:ext uri="{FF2B5EF4-FFF2-40B4-BE49-F238E27FC236}">
                  <a16:creationId xmlns:a16="http://schemas.microsoft.com/office/drawing/2014/main" id="{5B336565-924E-4550-9E60-A2D00953E6E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46325" y="2619375"/>
              <a:ext cx="2997200" cy="390525"/>
            </a:xfrm>
            <a:custGeom>
              <a:avLst/>
              <a:gdLst>
                <a:gd name="T0" fmla="*/ 1622 w 1888"/>
                <a:gd name="T1" fmla="*/ 198 h 246"/>
                <a:gd name="T2" fmla="*/ 1619 w 1888"/>
                <a:gd name="T3" fmla="*/ 198 h 246"/>
                <a:gd name="T4" fmla="*/ 1575 w 1888"/>
                <a:gd name="T5" fmla="*/ 198 h 246"/>
                <a:gd name="T6" fmla="*/ 1569 w 1888"/>
                <a:gd name="T7" fmla="*/ 201 h 246"/>
                <a:gd name="T8" fmla="*/ 1569 w 1888"/>
                <a:gd name="T9" fmla="*/ 199 h 246"/>
                <a:gd name="T10" fmla="*/ 1575 w 1888"/>
                <a:gd name="T11" fmla="*/ 197 h 246"/>
                <a:gd name="T12" fmla="*/ 1575 w 1888"/>
                <a:gd name="T13" fmla="*/ 198 h 246"/>
                <a:gd name="T14" fmla="*/ 1550 w 1888"/>
                <a:gd name="T15" fmla="*/ 203 h 246"/>
                <a:gd name="T16" fmla="*/ 1550 w 1888"/>
                <a:gd name="T17" fmla="*/ 199 h 246"/>
                <a:gd name="T18" fmla="*/ 1553 w 1888"/>
                <a:gd name="T19" fmla="*/ 201 h 246"/>
                <a:gd name="T20" fmla="*/ 1570 w 1888"/>
                <a:gd name="T21" fmla="*/ 203 h 246"/>
                <a:gd name="T22" fmla="*/ 1573 w 1888"/>
                <a:gd name="T23" fmla="*/ 201 h 246"/>
                <a:gd name="T24" fmla="*/ 1575 w 1888"/>
                <a:gd name="T25" fmla="*/ 204 h 246"/>
                <a:gd name="T26" fmla="*/ 1578 w 1888"/>
                <a:gd name="T27" fmla="*/ 203 h 246"/>
                <a:gd name="T28" fmla="*/ 1577 w 1888"/>
                <a:gd name="T29" fmla="*/ 204 h 246"/>
                <a:gd name="T30" fmla="*/ 1579 w 1888"/>
                <a:gd name="T31" fmla="*/ 203 h 246"/>
                <a:gd name="T32" fmla="*/ 1587 w 1888"/>
                <a:gd name="T33" fmla="*/ 212 h 246"/>
                <a:gd name="T34" fmla="*/ 1588 w 1888"/>
                <a:gd name="T35" fmla="*/ 210 h 246"/>
                <a:gd name="T36" fmla="*/ 1704 w 1888"/>
                <a:gd name="T37" fmla="*/ 93 h 246"/>
                <a:gd name="T38" fmla="*/ 1706 w 1888"/>
                <a:gd name="T39" fmla="*/ 88 h 246"/>
                <a:gd name="T40" fmla="*/ 1704 w 1888"/>
                <a:gd name="T41" fmla="*/ 93 h 246"/>
                <a:gd name="T42" fmla="*/ 1703 w 1888"/>
                <a:gd name="T43" fmla="*/ 94 h 246"/>
                <a:gd name="T44" fmla="*/ 1703 w 1888"/>
                <a:gd name="T45" fmla="*/ 94 h 246"/>
                <a:gd name="T46" fmla="*/ 1700 w 1888"/>
                <a:gd name="T47" fmla="*/ 97 h 246"/>
                <a:gd name="T48" fmla="*/ 1700 w 1888"/>
                <a:gd name="T49" fmla="*/ 95 h 246"/>
                <a:gd name="T50" fmla="*/ 1700 w 1888"/>
                <a:gd name="T51" fmla="*/ 97 h 246"/>
                <a:gd name="T52" fmla="*/ 1687 w 1888"/>
                <a:gd name="T53" fmla="*/ 96 h 246"/>
                <a:gd name="T54" fmla="*/ 1688 w 1888"/>
                <a:gd name="T55" fmla="*/ 92 h 246"/>
                <a:gd name="T56" fmla="*/ 1693 w 1888"/>
                <a:gd name="T57" fmla="*/ 92 h 246"/>
                <a:gd name="T58" fmla="*/ 1690 w 1888"/>
                <a:gd name="T59" fmla="*/ 95 h 246"/>
                <a:gd name="T60" fmla="*/ 1690 w 1888"/>
                <a:gd name="T61" fmla="*/ 97 h 246"/>
                <a:gd name="T62" fmla="*/ 1662 w 1888"/>
                <a:gd name="T63" fmla="*/ 103 h 246"/>
                <a:gd name="T64" fmla="*/ 1664 w 1888"/>
                <a:gd name="T65" fmla="*/ 104 h 246"/>
                <a:gd name="T66" fmla="*/ 1888 w 1888"/>
                <a:gd name="T67" fmla="*/ 0 h 246"/>
                <a:gd name="T68" fmla="*/ 1888 w 1888"/>
                <a:gd name="T69" fmla="*/ 0 h 246"/>
                <a:gd name="T70" fmla="*/ 1888 w 1888"/>
                <a:gd name="T71" fmla="*/ 0 h 246"/>
                <a:gd name="T72" fmla="*/ 3 w 1888"/>
                <a:gd name="T73" fmla="*/ 242 h 246"/>
                <a:gd name="T74" fmla="*/ 5 w 1888"/>
                <a:gd name="T75" fmla="*/ 244 h 246"/>
                <a:gd name="T76" fmla="*/ 0 w 1888"/>
                <a:gd name="T77" fmla="*/ 244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888" h="246">
                  <a:moveTo>
                    <a:pt x="1619" y="198"/>
                  </a:moveTo>
                  <a:lnTo>
                    <a:pt x="1622" y="198"/>
                  </a:lnTo>
                  <a:lnTo>
                    <a:pt x="1619" y="199"/>
                  </a:lnTo>
                  <a:lnTo>
                    <a:pt x="1619" y="198"/>
                  </a:lnTo>
                  <a:lnTo>
                    <a:pt x="1619" y="198"/>
                  </a:lnTo>
                  <a:close/>
                  <a:moveTo>
                    <a:pt x="1575" y="198"/>
                  </a:moveTo>
                  <a:lnTo>
                    <a:pt x="1571" y="199"/>
                  </a:lnTo>
                  <a:lnTo>
                    <a:pt x="1569" y="201"/>
                  </a:lnTo>
                  <a:lnTo>
                    <a:pt x="1565" y="202"/>
                  </a:lnTo>
                  <a:lnTo>
                    <a:pt x="1569" y="199"/>
                  </a:lnTo>
                  <a:lnTo>
                    <a:pt x="1571" y="198"/>
                  </a:lnTo>
                  <a:lnTo>
                    <a:pt x="1575" y="197"/>
                  </a:lnTo>
                  <a:lnTo>
                    <a:pt x="1575" y="198"/>
                  </a:lnTo>
                  <a:lnTo>
                    <a:pt x="1575" y="198"/>
                  </a:lnTo>
                  <a:close/>
                  <a:moveTo>
                    <a:pt x="1553" y="201"/>
                  </a:moveTo>
                  <a:lnTo>
                    <a:pt x="1550" y="203"/>
                  </a:lnTo>
                  <a:lnTo>
                    <a:pt x="1547" y="202"/>
                  </a:lnTo>
                  <a:lnTo>
                    <a:pt x="1550" y="199"/>
                  </a:lnTo>
                  <a:lnTo>
                    <a:pt x="1553" y="201"/>
                  </a:lnTo>
                  <a:lnTo>
                    <a:pt x="1553" y="201"/>
                  </a:lnTo>
                  <a:close/>
                  <a:moveTo>
                    <a:pt x="1573" y="201"/>
                  </a:moveTo>
                  <a:lnTo>
                    <a:pt x="1570" y="203"/>
                  </a:lnTo>
                  <a:lnTo>
                    <a:pt x="1573" y="201"/>
                  </a:lnTo>
                  <a:lnTo>
                    <a:pt x="1573" y="201"/>
                  </a:lnTo>
                  <a:close/>
                  <a:moveTo>
                    <a:pt x="1578" y="203"/>
                  </a:moveTo>
                  <a:lnTo>
                    <a:pt x="1575" y="204"/>
                  </a:lnTo>
                  <a:lnTo>
                    <a:pt x="1578" y="203"/>
                  </a:lnTo>
                  <a:lnTo>
                    <a:pt x="1578" y="203"/>
                  </a:lnTo>
                  <a:close/>
                  <a:moveTo>
                    <a:pt x="1579" y="203"/>
                  </a:moveTo>
                  <a:lnTo>
                    <a:pt x="1577" y="204"/>
                  </a:lnTo>
                  <a:lnTo>
                    <a:pt x="1579" y="203"/>
                  </a:lnTo>
                  <a:lnTo>
                    <a:pt x="1579" y="203"/>
                  </a:lnTo>
                  <a:close/>
                  <a:moveTo>
                    <a:pt x="1588" y="210"/>
                  </a:moveTo>
                  <a:lnTo>
                    <a:pt x="1587" y="212"/>
                  </a:lnTo>
                  <a:lnTo>
                    <a:pt x="1586" y="210"/>
                  </a:lnTo>
                  <a:lnTo>
                    <a:pt x="1588" y="210"/>
                  </a:lnTo>
                  <a:lnTo>
                    <a:pt x="1588" y="210"/>
                  </a:lnTo>
                  <a:close/>
                  <a:moveTo>
                    <a:pt x="1704" y="93"/>
                  </a:moveTo>
                  <a:lnTo>
                    <a:pt x="1704" y="90"/>
                  </a:lnTo>
                  <a:lnTo>
                    <a:pt x="1706" y="88"/>
                  </a:lnTo>
                  <a:lnTo>
                    <a:pt x="1706" y="92"/>
                  </a:lnTo>
                  <a:lnTo>
                    <a:pt x="1704" y="93"/>
                  </a:lnTo>
                  <a:lnTo>
                    <a:pt x="1704" y="93"/>
                  </a:lnTo>
                  <a:close/>
                  <a:moveTo>
                    <a:pt x="1703" y="94"/>
                  </a:moveTo>
                  <a:lnTo>
                    <a:pt x="1701" y="91"/>
                  </a:lnTo>
                  <a:lnTo>
                    <a:pt x="1703" y="94"/>
                  </a:lnTo>
                  <a:lnTo>
                    <a:pt x="1703" y="94"/>
                  </a:lnTo>
                  <a:close/>
                  <a:moveTo>
                    <a:pt x="1700" y="97"/>
                  </a:moveTo>
                  <a:lnTo>
                    <a:pt x="1698" y="94"/>
                  </a:lnTo>
                  <a:lnTo>
                    <a:pt x="1700" y="95"/>
                  </a:lnTo>
                  <a:lnTo>
                    <a:pt x="1700" y="97"/>
                  </a:lnTo>
                  <a:lnTo>
                    <a:pt x="1700" y="97"/>
                  </a:lnTo>
                  <a:close/>
                  <a:moveTo>
                    <a:pt x="1690" y="97"/>
                  </a:moveTo>
                  <a:lnTo>
                    <a:pt x="1687" y="96"/>
                  </a:lnTo>
                  <a:lnTo>
                    <a:pt x="1687" y="94"/>
                  </a:lnTo>
                  <a:lnTo>
                    <a:pt x="1688" y="92"/>
                  </a:lnTo>
                  <a:lnTo>
                    <a:pt x="1691" y="90"/>
                  </a:lnTo>
                  <a:lnTo>
                    <a:pt x="1693" y="92"/>
                  </a:lnTo>
                  <a:lnTo>
                    <a:pt x="1693" y="94"/>
                  </a:lnTo>
                  <a:lnTo>
                    <a:pt x="1690" y="95"/>
                  </a:lnTo>
                  <a:lnTo>
                    <a:pt x="1690" y="97"/>
                  </a:lnTo>
                  <a:lnTo>
                    <a:pt x="1690" y="97"/>
                  </a:lnTo>
                  <a:close/>
                  <a:moveTo>
                    <a:pt x="1664" y="104"/>
                  </a:moveTo>
                  <a:lnTo>
                    <a:pt x="1662" y="103"/>
                  </a:lnTo>
                  <a:lnTo>
                    <a:pt x="1664" y="103"/>
                  </a:lnTo>
                  <a:lnTo>
                    <a:pt x="1664" y="104"/>
                  </a:lnTo>
                  <a:lnTo>
                    <a:pt x="1664" y="104"/>
                  </a:lnTo>
                  <a:close/>
                  <a:moveTo>
                    <a:pt x="1888" y="0"/>
                  </a:moveTo>
                  <a:lnTo>
                    <a:pt x="1885" y="2"/>
                  </a:lnTo>
                  <a:lnTo>
                    <a:pt x="1888" y="0"/>
                  </a:lnTo>
                  <a:lnTo>
                    <a:pt x="1888" y="0"/>
                  </a:lnTo>
                  <a:lnTo>
                    <a:pt x="1888" y="0"/>
                  </a:lnTo>
                  <a:close/>
                  <a:moveTo>
                    <a:pt x="0" y="244"/>
                  </a:moveTo>
                  <a:lnTo>
                    <a:pt x="3" y="242"/>
                  </a:lnTo>
                  <a:lnTo>
                    <a:pt x="6" y="241"/>
                  </a:lnTo>
                  <a:lnTo>
                    <a:pt x="5" y="244"/>
                  </a:lnTo>
                  <a:lnTo>
                    <a:pt x="2" y="246"/>
                  </a:lnTo>
                  <a:lnTo>
                    <a:pt x="0" y="244"/>
                  </a:lnTo>
                  <a:lnTo>
                    <a:pt x="0" y="2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11" name="Freeform 211">
              <a:extLst>
                <a:ext uri="{FF2B5EF4-FFF2-40B4-BE49-F238E27FC236}">
                  <a16:creationId xmlns:a16="http://schemas.microsoft.com/office/drawing/2014/main" id="{0823EA6E-69D3-4AD5-90CC-291E0409C2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65600" y="2620963"/>
              <a:ext cx="331787" cy="258763"/>
            </a:xfrm>
            <a:custGeom>
              <a:avLst/>
              <a:gdLst>
                <a:gd name="T0" fmla="*/ 8 w 209"/>
                <a:gd name="T1" fmla="*/ 139 h 163"/>
                <a:gd name="T2" fmla="*/ 3 w 209"/>
                <a:gd name="T3" fmla="*/ 138 h 163"/>
                <a:gd name="T4" fmla="*/ 3 w 209"/>
                <a:gd name="T5" fmla="*/ 141 h 163"/>
                <a:gd name="T6" fmla="*/ 7 w 209"/>
                <a:gd name="T7" fmla="*/ 144 h 163"/>
                <a:gd name="T8" fmla="*/ 11 w 209"/>
                <a:gd name="T9" fmla="*/ 143 h 163"/>
                <a:gd name="T10" fmla="*/ 33 w 209"/>
                <a:gd name="T11" fmla="*/ 33 h 163"/>
                <a:gd name="T12" fmla="*/ 29 w 209"/>
                <a:gd name="T13" fmla="*/ 29 h 163"/>
                <a:gd name="T14" fmla="*/ 31 w 209"/>
                <a:gd name="T15" fmla="*/ 24 h 163"/>
                <a:gd name="T16" fmla="*/ 34 w 209"/>
                <a:gd name="T17" fmla="*/ 27 h 163"/>
                <a:gd name="T18" fmla="*/ 37 w 209"/>
                <a:gd name="T19" fmla="*/ 33 h 163"/>
                <a:gd name="T20" fmla="*/ 33 w 209"/>
                <a:gd name="T21" fmla="*/ 33 h 163"/>
                <a:gd name="T22" fmla="*/ 97 w 209"/>
                <a:gd name="T23" fmla="*/ 159 h 163"/>
                <a:gd name="T24" fmla="*/ 97 w 209"/>
                <a:gd name="T25" fmla="*/ 163 h 163"/>
                <a:gd name="T26" fmla="*/ 91 w 209"/>
                <a:gd name="T27" fmla="*/ 161 h 163"/>
                <a:gd name="T28" fmla="*/ 88 w 209"/>
                <a:gd name="T29" fmla="*/ 158 h 163"/>
                <a:gd name="T30" fmla="*/ 93 w 209"/>
                <a:gd name="T31" fmla="*/ 156 h 163"/>
                <a:gd name="T32" fmla="*/ 94 w 209"/>
                <a:gd name="T33" fmla="*/ 158 h 163"/>
                <a:gd name="T34" fmla="*/ 49 w 209"/>
                <a:gd name="T35" fmla="*/ 40 h 163"/>
                <a:gd name="T36" fmla="*/ 43 w 209"/>
                <a:gd name="T37" fmla="*/ 39 h 163"/>
                <a:gd name="T38" fmla="*/ 40 w 209"/>
                <a:gd name="T39" fmla="*/ 39 h 163"/>
                <a:gd name="T40" fmla="*/ 37 w 209"/>
                <a:gd name="T41" fmla="*/ 42 h 163"/>
                <a:gd name="T42" fmla="*/ 41 w 209"/>
                <a:gd name="T43" fmla="*/ 46 h 163"/>
                <a:gd name="T44" fmla="*/ 47 w 209"/>
                <a:gd name="T45" fmla="*/ 46 h 163"/>
                <a:gd name="T46" fmla="*/ 52 w 209"/>
                <a:gd name="T47" fmla="*/ 46 h 163"/>
                <a:gd name="T48" fmla="*/ 56 w 209"/>
                <a:gd name="T49" fmla="*/ 43 h 163"/>
                <a:gd name="T50" fmla="*/ 52 w 209"/>
                <a:gd name="T51" fmla="*/ 41 h 163"/>
                <a:gd name="T52" fmla="*/ 132 w 209"/>
                <a:gd name="T53" fmla="*/ 0 h 163"/>
                <a:gd name="T54" fmla="*/ 128 w 209"/>
                <a:gd name="T55" fmla="*/ 4 h 163"/>
                <a:gd name="T56" fmla="*/ 128 w 209"/>
                <a:gd name="T57" fmla="*/ 0 h 163"/>
                <a:gd name="T58" fmla="*/ 132 w 209"/>
                <a:gd name="T59" fmla="*/ 0 h 163"/>
                <a:gd name="T60" fmla="*/ 124 w 209"/>
                <a:gd name="T61" fmla="*/ 22 h 163"/>
                <a:gd name="T62" fmla="*/ 132 w 209"/>
                <a:gd name="T63" fmla="*/ 23 h 163"/>
                <a:gd name="T64" fmla="*/ 126 w 209"/>
                <a:gd name="T65" fmla="*/ 23 h 163"/>
                <a:gd name="T66" fmla="*/ 124 w 209"/>
                <a:gd name="T67" fmla="*/ 22 h 163"/>
                <a:gd name="T68" fmla="*/ 185 w 209"/>
                <a:gd name="T69" fmla="*/ 49 h 163"/>
                <a:gd name="T70" fmla="*/ 185 w 209"/>
                <a:gd name="T71" fmla="*/ 52 h 163"/>
                <a:gd name="T72" fmla="*/ 185 w 209"/>
                <a:gd name="T73" fmla="*/ 49 h 163"/>
                <a:gd name="T74" fmla="*/ 192 w 209"/>
                <a:gd name="T75" fmla="*/ 58 h 163"/>
                <a:gd name="T76" fmla="*/ 192 w 209"/>
                <a:gd name="T77" fmla="*/ 56 h 163"/>
                <a:gd name="T78" fmla="*/ 192 w 209"/>
                <a:gd name="T79" fmla="*/ 58 h 163"/>
                <a:gd name="T80" fmla="*/ 202 w 209"/>
                <a:gd name="T81" fmla="*/ 61 h 163"/>
                <a:gd name="T82" fmla="*/ 203 w 209"/>
                <a:gd name="T83" fmla="*/ 62 h 163"/>
                <a:gd name="T84" fmla="*/ 200 w 209"/>
                <a:gd name="T85" fmla="*/ 62 h 163"/>
                <a:gd name="T86" fmla="*/ 208 w 209"/>
                <a:gd name="T87" fmla="*/ 93 h 163"/>
                <a:gd name="T88" fmla="*/ 207 w 209"/>
                <a:gd name="T89" fmla="*/ 94 h 163"/>
                <a:gd name="T90" fmla="*/ 208 w 209"/>
                <a:gd name="T91" fmla="*/ 93 h 163"/>
                <a:gd name="T92" fmla="*/ 166 w 209"/>
                <a:gd name="T93" fmla="*/ 119 h 163"/>
                <a:gd name="T94" fmla="*/ 163 w 209"/>
                <a:gd name="T95" fmla="*/ 117 h 163"/>
                <a:gd name="T96" fmla="*/ 167 w 209"/>
                <a:gd name="T97" fmla="*/ 116 h 163"/>
                <a:gd name="T98" fmla="*/ 179 w 209"/>
                <a:gd name="T99" fmla="*/ 139 h 163"/>
                <a:gd name="T100" fmla="*/ 182 w 209"/>
                <a:gd name="T101" fmla="*/ 145 h 163"/>
                <a:gd name="T102" fmla="*/ 177 w 209"/>
                <a:gd name="T103" fmla="*/ 139 h 163"/>
                <a:gd name="T104" fmla="*/ 179 w 209"/>
                <a:gd name="T105" fmla="*/ 139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09" h="163">
                  <a:moveTo>
                    <a:pt x="11" y="143"/>
                  </a:moveTo>
                  <a:lnTo>
                    <a:pt x="8" y="139"/>
                  </a:lnTo>
                  <a:lnTo>
                    <a:pt x="6" y="138"/>
                  </a:lnTo>
                  <a:lnTo>
                    <a:pt x="3" y="138"/>
                  </a:lnTo>
                  <a:lnTo>
                    <a:pt x="0" y="138"/>
                  </a:lnTo>
                  <a:lnTo>
                    <a:pt x="3" y="141"/>
                  </a:lnTo>
                  <a:lnTo>
                    <a:pt x="5" y="143"/>
                  </a:lnTo>
                  <a:lnTo>
                    <a:pt x="7" y="144"/>
                  </a:lnTo>
                  <a:lnTo>
                    <a:pt x="11" y="145"/>
                  </a:lnTo>
                  <a:lnTo>
                    <a:pt x="11" y="143"/>
                  </a:lnTo>
                  <a:lnTo>
                    <a:pt x="11" y="143"/>
                  </a:lnTo>
                  <a:close/>
                  <a:moveTo>
                    <a:pt x="33" y="33"/>
                  </a:moveTo>
                  <a:lnTo>
                    <a:pt x="31" y="31"/>
                  </a:lnTo>
                  <a:lnTo>
                    <a:pt x="29" y="29"/>
                  </a:lnTo>
                  <a:lnTo>
                    <a:pt x="29" y="26"/>
                  </a:lnTo>
                  <a:lnTo>
                    <a:pt x="31" y="24"/>
                  </a:lnTo>
                  <a:lnTo>
                    <a:pt x="33" y="25"/>
                  </a:lnTo>
                  <a:lnTo>
                    <a:pt x="34" y="27"/>
                  </a:lnTo>
                  <a:lnTo>
                    <a:pt x="35" y="30"/>
                  </a:lnTo>
                  <a:lnTo>
                    <a:pt x="37" y="33"/>
                  </a:lnTo>
                  <a:lnTo>
                    <a:pt x="33" y="33"/>
                  </a:lnTo>
                  <a:lnTo>
                    <a:pt x="33" y="33"/>
                  </a:lnTo>
                  <a:close/>
                  <a:moveTo>
                    <a:pt x="94" y="158"/>
                  </a:moveTo>
                  <a:lnTo>
                    <a:pt x="97" y="159"/>
                  </a:lnTo>
                  <a:lnTo>
                    <a:pt x="99" y="161"/>
                  </a:lnTo>
                  <a:lnTo>
                    <a:pt x="97" y="163"/>
                  </a:lnTo>
                  <a:lnTo>
                    <a:pt x="93" y="162"/>
                  </a:lnTo>
                  <a:lnTo>
                    <a:pt x="91" y="161"/>
                  </a:lnTo>
                  <a:lnTo>
                    <a:pt x="90" y="159"/>
                  </a:lnTo>
                  <a:lnTo>
                    <a:pt x="88" y="158"/>
                  </a:lnTo>
                  <a:lnTo>
                    <a:pt x="90" y="156"/>
                  </a:lnTo>
                  <a:lnTo>
                    <a:pt x="93" y="156"/>
                  </a:lnTo>
                  <a:lnTo>
                    <a:pt x="94" y="158"/>
                  </a:lnTo>
                  <a:lnTo>
                    <a:pt x="94" y="158"/>
                  </a:lnTo>
                  <a:close/>
                  <a:moveTo>
                    <a:pt x="52" y="41"/>
                  </a:moveTo>
                  <a:lnTo>
                    <a:pt x="49" y="40"/>
                  </a:lnTo>
                  <a:lnTo>
                    <a:pt x="47" y="40"/>
                  </a:lnTo>
                  <a:lnTo>
                    <a:pt x="43" y="39"/>
                  </a:lnTo>
                  <a:lnTo>
                    <a:pt x="42" y="36"/>
                  </a:lnTo>
                  <a:lnTo>
                    <a:pt x="40" y="39"/>
                  </a:lnTo>
                  <a:lnTo>
                    <a:pt x="38" y="39"/>
                  </a:lnTo>
                  <a:lnTo>
                    <a:pt x="37" y="42"/>
                  </a:lnTo>
                  <a:lnTo>
                    <a:pt x="39" y="44"/>
                  </a:lnTo>
                  <a:lnTo>
                    <a:pt x="41" y="46"/>
                  </a:lnTo>
                  <a:lnTo>
                    <a:pt x="45" y="46"/>
                  </a:lnTo>
                  <a:lnTo>
                    <a:pt x="47" y="46"/>
                  </a:lnTo>
                  <a:lnTo>
                    <a:pt x="50" y="46"/>
                  </a:lnTo>
                  <a:lnTo>
                    <a:pt x="52" y="46"/>
                  </a:lnTo>
                  <a:lnTo>
                    <a:pt x="55" y="47"/>
                  </a:lnTo>
                  <a:lnTo>
                    <a:pt x="56" y="43"/>
                  </a:lnTo>
                  <a:lnTo>
                    <a:pt x="55" y="41"/>
                  </a:lnTo>
                  <a:lnTo>
                    <a:pt x="52" y="41"/>
                  </a:lnTo>
                  <a:lnTo>
                    <a:pt x="52" y="41"/>
                  </a:lnTo>
                  <a:close/>
                  <a:moveTo>
                    <a:pt x="132" y="0"/>
                  </a:moveTo>
                  <a:lnTo>
                    <a:pt x="132" y="2"/>
                  </a:lnTo>
                  <a:lnTo>
                    <a:pt x="128" y="4"/>
                  </a:lnTo>
                  <a:lnTo>
                    <a:pt x="126" y="4"/>
                  </a:lnTo>
                  <a:lnTo>
                    <a:pt x="128" y="0"/>
                  </a:lnTo>
                  <a:lnTo>
                    <a:pt x="132" y="1"/>
                  </a:lnTo>
                  <a:lnTo>
                    <a:pt x="132" y="0"/>
                  </a:lnTo>
                  <a:lnTo>
                    <a:pt x="132" y="0"/>
                  </a:lnTo>
                  <a:close/>
                  <a:moveTo>
                    <a:pt x="124" y="22"/>
                  </a:moveTo>
                  <a:lnTo>
                    <a:pt x="126" y="22"/>
                  </a:lnTo>
                  <a:lnTo>
                    <a:pt x="132" y="23"/>
                  </a:lnTo>
                  <a:lnTo>
                    <a:pt x="129" y="23"/>
                  </a:lnTo>
                  <a:lnTo>
                    <a:pt x="126" y="23"/>
                  </a:lnTo>
                  <a:lnTo>
                    <a:pt x="124" y="22"/>
                  </a:lnTo>
                  <a:lnTo>
                    <a:pt x="124" y="22"/>
                  </a:lnTo>
                  <a:lnTo>
                    <a:pt x="124" y="22"/>
                  </a:lnTo>
                  <a:close/>
                  <a:moveTo>
                    <a:pt x="185" y="49"/>
                  </a:moveTo>
                  <a:lnTo>
                    <a:pt x="187" y="52"/>
                  </a:lnTo>
                  <a:lnTo>
                    <a:pt x="185" y="52"/>
                  </a:lnTo>
                  <a:lnTo>
                    <a:pt x="185" y="50"/>
                  </a:lnTo>
                  <a:lnTo>
                    <a:pt x="185" y="49"/>
                  </a:lnTo>
                  <a:lnTo>
                    <a:pt x="185" y="49"/>
                  </a:lnTo>
                  <a:close/>
                  <a:moveTo>
                    <a:pt x="192" y="58"/>
                  </a:moveTo>
                  <a:lnTo>
                    <a:pt x="190" y="58"/>
                  </a:lnTo>
                  <a:lnTo>
                    <a:pt x="192" y="56"/>
                  </a:lnTo>
                  <a:lnTo>
                    <a:pt x="192" y="58"/>
                  </a:lnTo>
                  <a:lnTo>
                    <a:pt x="192" y="58"/>
                  </a:lnTo>
                  <a:close/>
                  <a:moveTo>
                    <a:pt x="200" y="62"/>
                  </a:moveTo>
                  <a:lnTo>
                    <a:pt x="202" y="61"/>
                  </a:lnTo>
                  <a:lnTo>
                    <a:pt x="204" y="60"/>
                  </a:lnTo>
                  <a:lnTo>
                    <a:pt x="203" y="62"/>
                  </a:lnTo>
                  <a:lnTo>
                    <a:pt x="200" y="64"/>
                  </a:lnTo>
                  <a:lnTo>
                    <a:pt x="200" y="62"/>
                  </a:lnTo>
                  <a:lnTo>
                    <a:pt x="200" y="62"/>
                  </a:lnTo>
                  <a:close/>
                  <a:moveTo>
                    <a:pt x="208" y="93"/>
                  </a:moveTo>
                  <a:lnTo>
                    <a:pt x="209" y="95"/>
                  </a:lnTo>
                  <a:lnTo>
                    <a:pt x="207" y="94"/>
                  </a:lnTo>
                  <a:lnTo>
                    <a:pt x="208" y="93"/>
                  </a:lnTo>
                  <a:lnTo>
                    <a:pt x="208" y="93"/>
                  </a:lnTo>
                  <a:close/>
                  <a:moveTo>
                    <a:pt x="167" y="116"/>
                  </a:moveTo>
                  <a:lnTo>
                    <a:pt x="166" y="119"/>
                  </a:lnTo>
                  <a:lnTo>
                    <a:pt x="163" y="120"/>
                  </a:lnTo>
                  <a:lnTo>
                    <a:pt x="163" y="117"/>
                  </a:lnTo>
                  <a:lnTo>
                    <a:pt x="166" y="116"/>
                  </a:lnTo>
                  <a:lnTo>
                    <a:pt x="167" y="116"/>
                  </a:lnTo>
                  <a:lnTo>
                    <a:pt x="167" y="116"/>
                  </a:lnTo>
                  <a:close/>
                  <a:moveTo>
                    <a:pt x="179" y="139"/>
                  </a:moveTo>
                  <a:lnTo>
                    <a:pt x="180" y="142"/>
                  </a:lnTo>
                  <a:lnTo>
                    <a:pt x="182" y="145"/>
                  </a:lnTo>
                  <a:lnTo>
                    <a:pt x="178" y="143"/>
                  </a:lnTo>
                  <a:lnTo>
                    <a:pt x="177" y="139"/>
                  </a:lnTo>
                  <a:lnTo>
                    <a:pt x="179" y="139"/>
                  </a:lnTo>
                  <a:lnTo>
                    <a:pt x="179" y="1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12" name="Freeform 212">
              <a:extLst>
                <a:ext uri="{FF2B5EF4-FFF2-40B4-BE49-F238E27FC236}">
                  <a16:creationId xmlns:a16="http://schemas.microsoft.com/office/drawing/2014/main" id="{A2BF80C5-77D7-4B29-ABE7-2EB04025FA3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86175" y="2614613"/>
              <a:ext cx="381000" cy="269875"/>
            </a:xfrm>
            <a:custGeom>
              <a:avLst/>
              <a:gdLst>
                <a:gd name="T0" fmla="*/ 58 w 240"/>
                <a:gd name="T1" fmla="*/ 62 h 170"/>
                <a:gd name="T2" fmla="*/ 120 w 240"/>
                <a:gd name="T3" fmla="*/ 146 h 170"/>
                <a:gd name="T4" fmla="*/ 120 w 240"/>
                <a:gd name="T5" fmla="*/ 146 h 170"/>
                <a:gd name="T6" fmla="*/ 117 w 240"/>
                <a:gd name="T7" fmla="*/ 164 h 170"/>
                <a:gd name="T8" fmla="*/ 101 w 240"/>
                <a:gd name="T9" fmla="*/ 170 h 170"/>
                <a:gd name="T10" fmla="*/ 101 w 240"/>
                <a:gd name="T11" fmla="*/ 170 h 170"/>
                <a:gd name="T12" fmla="*/ 43 w 240"/>
                <a:gd name="T13" fmla="*/ 34 h 170"/>
                <a:gd name="T14" fmla="*/ 51 w 240"/>
                <a:gd name="T15" fmla="*/ 27 h 170"/>
                <a:gd name="T16" fmla="*/ 59 w 240"/>
                <a:gd name="T17" fmla="*/ 25 h 170"/>
                <a:gd name="T18" fmla="*/ 50 w 240"/>
                <a:gd name="T19" fmla="*/ 23 h 170"/>
                <a:gd name="T20" fmla="*/ 47 w 240"/>
                <a:gd name="T21" fmla="*/ 16 h 170"/>
                <a:gd name="T22" fmla="*/ 44 w 240"/>
                <a:gd name="T23" fmla="*/ 13 h 170"/>
                <a:gd name="T24" fmla="*/ 36 w 240"/>
                <a:gd name="T25" fmla="*/ 9 h 170"/>
                <a:gd name="T26" fmla="*/ 28 w 240"/>
                <a:gd name="T27" fmla="*/ 5 h 170"/>
                <a:gd name="T28" fmla="*/ 23 w 240"/>
                <a:gd name="T29" fmla="*/ 0 h 170"/>
                <a:gd name="T30" fmla="*/ 16 w 240"/>
                <a:gd name="T31" fmla="*/ 4 h 170"/>
                <a:gd name="T32" fmla="*/ 17 w 240"/>
                <a:gd name="T33" fmla="*/ 9 h 170"/>
                <a:gd name="T34" fmla="*/ 15 w 240"/>
                <a:gd name="T35" fmla="*/ 12 h 170"/>
                <a:gd name="T36" fmla="*/ 8 w 240"/>
                <a:gd name="T37" fmla="*/ 17 h 170"/>
                <a:gd name="T38" fmla="*/ 0 w 240"/>
                <a:gd name="T39" fmla="*/ 19 h 170"/>
                <a:gd name="T40" fmla="*/ 6 w 240"/>
                <a:gd name="T41" fmla="*/ 25 h 170"/>
                <a:gd name="T42" fmla="*/ 11 w 240"/>
                <a:gd name="T43" fmla="*/ 26 h 170"/>
                <a:gd name="T44" fmla="*/ 17 w 240"/>
                <a:gd name="T45" fmla="*/ 27 h 170"/>
                <a:gd name="T46" fmla="*/ 25 w 240"/>
                <a:gd name="T47" fmla="*/ 30 h 170"/>
                <a:gd name="T48" fmla="*/ 33 w 240"/>
                <a:gd name="T49" fmla="*/ 31 h 170"/>
                <a:gd name="T50" fmla="*/ 41 w 240"/>
                <a:gd name="T51" fmla="*/ 34 h 170"/>
                <a:gd name="T52" fmla="*/ 234 w 240"/>
                <a:gd name="T53" fmla="*/ 1 h 170"/>
                <a:gd name="T54" fmla="*/ 231 w 240"/>
                <a:gd name="T55" fmla="*/ 0 h 170"/>
                <a:gd name="T56" fmla="*/ 219 w 240"/>
                <a:gd name="T57" fmla="*/ 2 h 170"/>
                <a:gd name="T58" fmla="*/ 240 w 240"/>
                <a:gd name="T59" fmla="*/ 37 h 170"/>
                <a:gd name="T60" fmla="*/ 240 w 240"/>
                <a:gd name="T61" fmla="*/ 37 h 170"/>
                <a:gd name="T62" fmla="*/ 179 w 240"/>
                <a:gd name="T63" fmla="*/ 44 h 170"/>
                <a:gd name="T64" fmla="*/ 177 w 240"/>
                <a:gd name="T65" fmla="*/ 51 h 170"/>
                <a:gd name="T66" fmla="*/ 173 w 240"/>
                <a:gd name="T67" fmla="*/ 44 h 170"/>
                <a:gd name="T68" fmla="*/ 177 w 240"/>
                <a:gd name="T69" fmla="*/ 38 h 170"/>
                <a:gd name="T70" fmla="*/ 179 w 240"/>
                <a:gd name="T71" fmla="*/ 40 h 170"/>
                <a:gd name="T72" fmla="*/ 222 w 240"/>
                <a:gd name="T73" fmla="*/ 83 h 170"/>
                <a:gd name="T74" fmla="*/ 226 w 240"/>
                <a:gd name="T75" fmla="*/ 85 h 170"/>
                <a:gd name="T76" fmla="*/ 222 w 240"/>
                <a:gd name="T77" fmla="*/ 94 h 170"/>
                <a:gd name="T78" fmla="*/ 213 w 240"/>
                <a:gd name="T79" fmla="*/ 90 h 170"/>
                <a:gd name="T80" fmla="*/ 219 w 240"/>
                <a:gd name="T81" fmla="*/ 96 h 170"/>
                <a:gd name="T82" fmla="*/ 215 w 240"/>
                <a:gd name="T83" fmla="*/ 98 h 170"/>
                <a:gd name="T84" fmla="*/ 211 w 240"/>
                <a:gd name="T85" fmla="*/ 94 h 170"/>
                <a:gd name="T86" fmla="*/ 206 w 240"/>
                <a:gd name="T87" fmla="*/ 88 h 170"/>
                <a:gd name="T88" fmla="*/ 213 w 240"/>
                <a:gd name="T89" fmla="*/ 9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40" h="170">
                  <a:moveTo>
                    <a:pt x="58" y="62"/>
                  </a:moveTo>
                  <a:lnTo>
                    <a:pt x="54" y="63"/>
                  </a:lnTo>
                  <a:lnTo>
                    <a:pt x="58" y="62"/>
                  </a:lnTo>
                  <a:lnTo>
                    <a:pt x="58" y="62"/>
                  </a:lnTo>
                  <a:lnTo>
                    <a:pt x="58" y="62"/>
                  </a:lnTo>
                  <a:close/>
                  <a:moveTo>
                    <a:pt x="120" y="146"/>
                  </a:moveTo>
                  <a:lnTo>
                    <a:pt x="118" y="146"/>
                  </a:lnTo>
                  <a:lnTo>
                    <a:pt x="120" y="146"/>
                  </a:lnTo>
                  <a:lnTo>
                    <a:pt x="120" y="146"/>
                  </a:lnTo>
                  <a:close/>
                  <a:moveTo>
                    <a:pt x="117" y="164"/>
                  </a:moveTo>
                  <a:lnTo>
                    <a:pt x="113" y="164"/>
                  </a:lnTo>
                  <a:lnTo>
                    <a:pt x="117" y="164"/>
                  </a:lnTo>
                  <a:lnTo>
                    <a:pt x="117" y="164"/>
                  </a:lnTo>
                  <a:lnTo>
                    <a:pt x="117" y="164"/>
                  </a:lnTo>
                  <a:close/>
                  <a:moveTo>
                    <a:pt x="101" y="170"/>
                  </a:moveTo>
                  <a:lnTo>
                    <a:pt x="97" y="170"/>
                  </a:lnTo>
                  <a:lnTo>
                    <a:pt x="101" y="170"/>
                  </a:lnTo>
                  <a:lnTo>
                    <a:pt x="101" y="170"/>
                  </a:lnTo>
                  <a:lnTo>
                    <a:pt x="101" y="170"/>
                  </a:lnTo>
                  <a:close/>
                  <a:moveTo>
                    <a:pt x="41" y="34"/>
                  </a:moveTo>
                  <a:lnTo>
                    <a:pt x="43" y="34"/>
                  </a:lnTo>
                  <a:lnTo>
                    <a:pt x="46" y="31"/>
                  </a:lnTo>
                  <a:lnTo>
                    <a:pt x="49" y="30"/>
                  </a:lnTo>
                  <a:lnTo>
                    <a:pt x="51" y="27"/>
                  </a:lnTo>
                  <a:lnTo>
                    <a:pt x="53" y="27"/>
                  </a:lnTo>
                  <a:lnTo>
                    <a:pt x="57" y="27"/>
                  </a:lnTo>
                  <a:lnTo>
                    <a:pt x="59" y="25"/>
                  </a:lnTo>
                  <a:lnTo>
                    <a:pt x="55" y="23"/>
                  </a:lnTo>
                  <a:lnTo>
                    <a:pt x="53" y="25"/>
                  </a:lnTo>
                  <a:lnTo>
                    <a:pt x="50" y="23"/>
                  </a:lnTo>
                  <a:lnTo>
                    <a:pt x="49" y="21"/>
                  </a:lnTo>
                  <a:lnTo>
                    <a:pt x="49" y="19"/>
                  </a:lnTo>
                  <a:lnTo>
                    <a:pt x="47" y="16"/>
                  </a:lnTo>
                  <a:lnTo>
                    <a:pt x="46" y="19"/>
                  </a:lnTo>
                  <a:lnTo>
                    <a:pt x="45" y="16"/>
                  </a:lnTo>
                  <a:lnTo>
                    <a:pt x="44" y="13"/>
                  </a:lnTo>
                  <a:lnTo>
                    <a:pt x="42" y="11"/>
                  </a:lnTo>
                  <a:lnTo>
                    <a:pt x="38" y="10"/>
                  </a:lnTo>
                  <a:lnTo>
                    <a:pt x="36" y="9"/>
                  </a:lnTo>
                  <a:lnTo>
                    <a:pt x="33" y="6"/>
                  </a:lnTo>
                  <a:lnTo>
                    <a:pt x="30" y="4"/>
                  </a:lnTo>
                  <a:lnTo>
                    <a:pt x="28" y="5"/>
                  </a:lnTo>
                  <a:lnTo>
                    <a:pt x="28" y="3"/>
                  </a:lnTo>
                  <a:lnTo>
                    <a:pt x="26" y="2"/>
                  </a:lnTo>
                  <a:lnTo>
                    <a:pt x="23" y="0"/>
                  </a:lnTo>
                  <a:lnTo>
                    <a:pt x="20" y="0"/>
                  </a:lnTo>
                  <a:lnTo>
                    <a:pt x="17" y="2"/>
                  </a:lnTo>
                  <a:lnTo>
                    <a:pt x="16" y="4"/>
                  </a:lnTo>
                  <a:lnTo>
                    <a:pt x="17" y="8"/>
                  </a:lnTo>
                  <a:lnTo>
                    <a:pt x="20" y="10"/>
                  </a:lnTo>
                  <a:lnTo>
                    <a:pt x="17" y="9"/>
                  </a:lnTo>
                  <a:lnTo>
                    <a:pt x="15" y="6"/>
                  </a:lnTo>
                  <a:lnTo>
                    <a:pt x="15" y="10"/>
                  </a:lnTo>
                  <a:lnTo>
                    <a:pt x="15" y="12"/>
                  </a:lnTo>
                  <a:lnTo>
                    <a:pt x="12" y="13"/>
                  </a:lnTo>
                  <a:lnTo>
                    <a:pt x="10" y="17"/>
                  </a:lnTo>
                  <a:lnTo>
                    <a:pt x="8" y="17"/>
                  </a:lnTo>
                  <a:lnTo>
                    <a:pt x="6" y="18"/>
                  </a:lnTo>
                  <a:lnTo>
                    <a:pt x="2" y="17"/>
                  </a:lnTo>
                  <a:lnTo>
                    <a:pt x="0" y="19"/>
                  </a:lnTo>
                  <a:lnTo>
                    <a:pt x="0" y="21"/>
                  </a:lnTo>
                  <a:lnTo>
                    <a:pt x="3" y="25"/>
                  </a:lnTo>
                  <a:lnTo>
                    <a:pt x="6" y="25"/>
                  </a:lnTo>
                  <a:lnTo>
                    <a:pt x="8" y="22"/>
                  </a:lnTo>
                  <a:lnTo>
                    <a:pt x="9" y="25"/>
                  </a:lnTo>
                  <a:lnTo>
                    <a:pt x="11" y="26"/>
                  </a:lnTo>
                  <a:lnTo>
                    <a:pt x="15" y="27"/>
                  </a:lnTo>
                  <a:lnTo>
                    <a:pt x="16" y="25"/>
                  </a:lnTo>
                  <a:lnTo>
                    <a:pt x="17" y="27"/>
                  </a:lnTo>
                  <a:lnTo>
                    <a:pt x="19" y="29"/>
                  </a:lnTo>
                  <a:lnTo>
                    <a:pt x="23" y="29"/>
                  </a:lnTo>
                  <a:lnTo>
                    <a:pt x="25" y="30"/>
                  </a:lnTo>
                  <a:lnTo>
                    <a:pt x="28" y="33"/>
                  </a:lnTo>
                  <a:lnTo>
                    <a:pt x="30" y="33"/>
                  </a:lnTo>
                  <a:lnTo>
                    <a:pt x="33" y="31"/>
                  </a:lnTo>
                  <a:lnTo>
                    <a:pt x="36" y="33"/>
                  </a:lnTo>
                  <a:lnTo>
                    <a:pt x="38" y="34"/>
                  </a:lnTo>
                  <a:lnTo>
                    <a:pt x="41" y="34"/>
                  </a:lnTo>
                  <a:lnTo>
                    <a:pt x="41" y="34"/>
                  </a:lnTo>
                  <a:close/>
                  <a:moveTo>
                    <a:pt x="231" y="0"/>
                  </a:moveTo>
                  <a:lnTo>
                    <a:pt x="234" y="1"/>
                  </a:lnTo>
                  <a:lnTo>
                    <a:pt x="231" y="1"/>
                  </a:lnTo>
                  <a:lnTo>
                    <a:pt x="231" y="0"/>
                  </a:lnTo>
                  <a:lnTo>
                    <a:pt x="231" y="0"/>
                  </a:lnTo>
                  <a:close/>
                  <a:moveTo>
                    <a:pt x="219" y="2"/>
                  </a:moveTo>
                  <a:lnTo>
                    <a:pt x="215" y="3"/>
                  </a:lnTo>
                  <a:lnTo>
                    <a:pt x="219" y="2"/>
                  </a:lnTo>
                  <a:lnTo>
                    <a:pt x="219" y="2"/>
                  </a:lnTo>
                  <a:lnTo>
                    <a:pt x="219" y="2"/>
                  </a:lnTo>
                  <a:close/>
                  <a:moveTo>
                    <a:pt x="240" y="37"/>
                  </a:moveTo>
                  <a:lnTo>
                    <a:pt x="237" y="37"/>
                  </a:lnTo>
                  <a:lnTo>
                    <a:pt x="239" y="36"/>
                  </a:lnTo>
                  <a:lnTo>
                    <a:pt x="240" y="37"/>
                  </a:lnTo>
                  <a:lnTo>
                    <a:pt x="240" y="37"/>
                  </a:lnTo>
                  <a:close/>
                  <a:moveTo>
                    <a:pt x="179" y="40"/>
                  </a:moveTo>
                  <a:lnTo>
                    <a:pt x="179" y="44"/>
                  </a:lnTo>
                  <a:lnTo>
                    <a:pt x="180" y="46"/>
                  </a:lnTo>
                  <a:lnTo>
                    <a:pt x="179" y="50"/>
                  </a:lnTo>
                  <a:lnTo>
                    <a:pt x="177" y="51"/>
                  </a:lnTo>
                  <a:lnTo>
                    <a:pt x="173" y="50"/>
                  </a:lnTo>
                  <a:lnTo>
                    <a:pt x="172" y="47"/>
                  </a:lnTo>
                  <a:lnTo>
                    <a:pt x="173" y="44"/>
                  </a:lnTo>
                  <a:lnTo>
                    <a:pt x="173" y="42"/>
                  </a:lnTo>
                  <a:lnTo>
                    <a:pt x="174" y="38"/>
                  </a:lnTo>
                  <a:lnTo>
                    <a:pt x="177" y="38"/>
                  </a:lnTo>
                  <a:lnTo>
                    <a:pt x="179" y="40"/>
                  </a:lnTo>
                  <a:lnTo>
                    <a:pt x="179" y="40"/>
                  </a:lnTo>
                  <a:lnTo>
                    <a:pt x="179" y="40"/>
                  </a:lnTo>
                  <a:close/>
                  <a:moveTo>
                    <a:pt x="226" y="85"/>
                  </a:moveTo>
                  <a:lnTo>
                    <a:pt x="224" y="86"/>
                  </a:lnTo>
                  <a:lnTo>
                    <a:pt x="222" y="83"/>
                  </a:lnTo>
                  <a:lnTo>
                    <a:pt x="225" y="85"/>
                  </a:lnTo>
                  <a:lnTo>
                    <a:pt x="226" y="85"/>
                  </a:lnTo>
                  <a:lnTo>
                    <a:pt x="226" y="85"/>
                  </a:lnTo>
                  <a:close/>
                  <a:moveTo>
                    <a:pt x="222" y="95"/>
                  </a:moveTo>
                  <a:lnTo>
                    <a:pt x="219" y="95"/>
                  </a:lnTo>
                  <a:lnTo>
                    <a:pt x="222" y="94"/>
                  </a:lnTo>
                  <a:lnTo>
                    <a:pt x="222" y="95"/>
                  </a:lnTo>
                  <a:lnTo>
                    <a:pt x="222" y="95"/>
                  </a:lnTo>
                  <a:close/>
                  <a:moveTo>
                    <a:pt x="213" y="90"/>
                  </a:moveTo>
                  <a:lnTo>
                    <a:pt x="216" y="93"/>
                  </a:lnTo>
                  <a:lnTo>
                    <a:pt x="215" y="95"/>
                  </a:lnTo>
                  <a:lnTo>
                    <a:pt x="219" y="96"/>
                  </a:lnTo>
                  <a:lnTo>
                    <a:pt x="221" y="97"/>
                  </a:lnTo>
                  <a:lnTo>
                    <a:pt x="219" y="98"/>
                  </a:lnTo>
                  <a:lnTo>
                    <a:pt x="215" y="98"/>
                  </a:lnTo>
                  <a:lnTo>
                    <a:pt x="215" y="96"/>
                  </a:lnTo>
                  <a:lnTo>
                    <a:pt x="213" y="97"/>
                  </a:lnTo>
                  <a:lnTo>
                    <a:pt x="211" y="94"/>
                  </a:lnTo>
                  <a:lnTo>
                    <a:pt x="209" y="91"/>
                  </a:lnTo>
                  <a:lnTo>
                    <a:pt x="207" y="90"/>
                  </a:lnTo>
                  <a:lnTo>
                    <a:pt x="206" y="88"/>
                  </a:lnTo>
                  <a:lnTo>
                    <a:pt x="208" y="88"/>
                  </a:lnTo>
                  <a:lnTo>
                    <a:pt x="212" y="89"/>
                  </a:lnTo>
                  <a:lnTo>
                    <a:pt x="213" y="90"/>
                  </a:lnTo>
                  <a:lnTo>
                    <a:pt x="213" y="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13" name="Freeform 213">
              <a:extLst>
                <a:ext uri="{FF2B5EF4-FFF2-40B4-BE49-F238E27FC236}">
                  <a16:creationId xmlns:a16="http://schemas.microsoft.com/office/drawing/2014/main" id="{A2579010-E89C-4064-964A-3989EF74F9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08350" y="2622550"/>
              <a:ext cx="468312" cy="306388"/>
            </a:xfrm>
            <a:custGeom>
              <a:avLst/>
              <a:gdLst>
                <a:gd name="T0" fmla="*/ 65 w 295"/>
                <a:gd name="T1" fmla="*/ 175 h 193"/>
                <a:gd name="T2" fmla="*/ 59 w 295"/>
                <a:gd name="T3" fmla="*/ 178 h 193"/>
                <a:gd name="T4" fmla="*/ 59 w 295"/>
                <a:gd name="T5" fmla="*/ 177 h 193"/>
                <a:gd name="T6" fmla="*/ 65 w 295"/>
                <a:gd name="T7" fmla="*/ 174 h 193"/>
                <a:gd name="T8" fmla="*/ 68 w 295"/>
                <a:gd name="T9" fmla="*/ 174 h 193"/>
                <a:gd name="T10" fmla="*/ 60 w 295"/>
                <a:gd name="T11" fmla="*/ 178 h 193"/>
                <a:gd name="T12" fmla="*/ 60 w 295"/>
                <a:gd name="T13" fmla="*/ 178 h 193"/>
                <a:gd name="T14" fmla="*/ 63 w 295"/>
                <a:gd name="T15" fmla="*/ 177 h 193"/>
                <a:gd name="T16" fmla="*/ 59 w 295"/>
                <a:gd name="T17" fmla="*/ 182 h 193"/>
                <a:gd name="T18" fmla="*/ 63 w 295"/>
                <a:gd name="T19" fmla="*/ 178 h 193"/>
                <a:gd name="T20" fmla="*/ 63 w 295"/>
                <a:gd name="T21" fmla="*/ 177 h 193"/>
                <a:gd name="T22" fmla="*/ 6 w 295"/>
                <a:gd name="T23" fmla="*/ 192 h 193"/>
                <a:gd name="T24" fmla="*/ 0 w 295"/>
                <a:gd name="T25" fmla="*/ 192 h 193"/>
                <a:gd name="T26" fmla="*/ 3 w 295"/>
                <a:gd name="T27" fmla="*/ 191 h 193"/>
                <a:gd name="T28" fmla="*/ 227 w 295"/>
                <a:gd name="T29" fmla="*/ 16 h 193"/>
                <a:gd name="T30" fmla="*/ 228 w 295"/>
                <a:gd name="T31" fmla="*/ 21 h 193"/>
                <a:gd name="T32" fmla="*/ 223 w 295"/>
                <a:gd name="T33" fmla="*/ 22 h 193"/>
                <a:gd name="T34" fmla="*/ 225 w 295"/>
                <a:gd name="T35" fmla="*/ 15 h 193"/>
                <a:gd name="T36" fmla="*/ 227 w 295"/>
                <a:gd name="T37" fmla="*/ 16 h 193"/>
                <a:gd name="T38" fmla="*/ 208 w 295"/>
                <a:gd name="T39" fmla="*/ 24 h 193"/>
                <a:gd name="T40" fmla="*/ 203 w 295"/>
                <a:gd name="T41" fmla="*/ 25 h 193"/>
                <a:gd name="T42" fmla="*/ 203 w 295"/>
                <a:gd name="T43" fmla="*/ 22 h 193"/>
                <a:gd name="T44" fmla="*/ 208 w 295"/>
                <a:gd name="T45" fmla="*/ 22 h 193"/>
                <a:gd name="T46" fmla="*/ 168 w 295"/>
                <a:gd name="T47" fmla="*/ 26 h 193"/>
                <a:gd name="T48" fmla="*/ 169 w 295"/>
                <a:gd name="T49" fmla="*/ 30 h 193"/>
                <a:gd name="T50" fmla="*/ 164 w 295"/>
                <a:gd name="T51" fmla="*/ 29 h 193"/>
                <a:gd name="T52" fmla="*/ 168 w 295"/>
                <a:gd name="T53" fmla="*/ 26 h 193"/>
                <a:gd name="T54" fmla="*/ 293 w 295"/>
                <a:gd name="T55" fmla="*/ 3 h 193"/>
                <a:gd name="T56" fmla="*/ 293 w 295"/>
                <a:gd name="T57" fmla="*/ 7 h 193"/>
                <a:gd name="T58" fmla="*/ 290 w 295"/>
                <a:gd name="T59" fmla="*/ 6 h 193"/>
                <a:gd name="T60" fmla="*/ 289 w 295"/>
                <a:gd name="T61" fmla="*/ 5 h 193"/>
                <a:gd name="T62" fmla="*/ 287 w 295"/>
                <a:gd name="T63" fmla="*/ 3 h 193"/>
                <a:gd name="T64" fmla="*/ 292 w 295"/>
                <a:gd name="T65" fmla="*/ 3 h 193"/>
                <a:gd name="T66" fmla="*/ 293 w 295"/>
                <a:gd name="T67" fmla="*/ 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95" h="193">
                  <a:moveTo>
                    <a:pt x="68" y="174"/>
                  </a:moveTo>
                  <a:lnTo>
                    <a:pt x="65" y="175"/>
                  </a:lnTo>
                  <a:lnTo>
                    <a:pt x="62" y="177"/>
                  </a:lnTo>
                  <a:lnTo>
                    <a:pt x="59" y="178"/>
                  </a:lnTo>
                  <a:lnTo>
                    <a:pt x="57" y="178"/>
                  </a:lnTo>
                  <a:lnTo>
                    <a:pt x="59" y="177"/>
                  </a:lnTo>
                  <a:lnTo>
                    <a:pt x="62" y="175"/>
                  </a:lnTo>
                  <a:lnTo>
                    <a:pt x="65" y="174"/>
                  </a:lnTo>
                  <a:lnTo>
                    <a:pt x="68" y="174"/>
                  </a:lnTo>
                  <a:lnTo>
                    <a:pt x="68" y="174"/>
                  </a:lnTo>
                  <a:lnTo>
                    <a:pt x="68" y="174"/>
                  </a:lnTo>
                  <a:close/>
                  <a:moveTo>
                    <a:pt x="60" y="178"/>
                  </a:moveTo>
                  <a:lnTo>
                    <a:pt x="58" y="180"/>
                  </a:lnTo>
                  <a:lnTo>
                    <a:pt x="60" y="178"/>
                  </a:lnTo>
                  <a:lnTo>
                    <a:pt x="60" y="178"/>
                  </a:lnTo>
                  <a:close/>
                  <a:moveTo>
                    <a:pt x="63" y="177"/>
                  </a:moveTo>
                  <a:lnTo>
                    <a:pt x="62" y="180"/>
                  </a:lnTo>
                  <a:lnTo>
                    <a:pt x="59" y="182"/>
                  </a:lnTo>
                  <a:lnTo>
                    <a:pt x="60" y="179"/>
                  </a:lnTo>
                  <a:lnTo>
                    <a:pt x="63" y="178"/>
                  </a:lnTo>
                  <a:lnTo>
                    <a:pt x="63" y="177"/>
                  </a:lnTo>
                  <a:lnTo>
                    <a:pt x="63" y="177"/>
                  </a:lnTo>
                  <a:close/>
                  <a:moveTo>
                    <a:pt x="3" y="191"/>
                  </a:moveTo>
                  <a:lnTo>
                    <a:pt x="6" y="192"/>
                  </a:lnTo>
                  <a:lnTo>
                    <a:pt x="3" y="193"/>
                  </a:lnTo>
                  <a:lnTo>
                    <a:pt x="0" y="192"/>
                  </a:lnTo>
                  <a:lnTo>
                    <a:pt x="3" y="191"/>
                  </a:lnTo>
                  <a:lnTo>
                    <a:pt x="3" y="191"/>
                  </a:lnTo>
                  <a:lnTo>
                    <a:pt x="3" y="191"/>
                  </a:lnTo>
                  <a:close/>
                  <a:moveTo>
                    <a:pt x="227" y="16"/>
                  </a:moveTo>
                  <a:lnTo>
                    <a:pt x="229" y="18"/>
                  </a:lnTo>
                  <a:lnTo>
                    <a:pt x="228" y="21"/>
                  </a:lnTo>
                  <a:lnTo>
                    <a:pt x="225" y="23"/>
                  </a:lnTo>
                  <a:lnTo>
                    <a:pt x="223" y="22"/>
                  </a:lnTo>
                  <a:lnTo>
                    <a:pt x="223" y="16"/>
                  </a:lnTo>
                  <a:lnTo>
                    <a:pt x="225" y="15"/>
                  </a:lnTo>
                  <a:lnTo>
                    <a:pt x="227" y="16"/>
                  </a:lnTo>
                  <a:lnTo>
                    <a:pt x="227" y="16"/>
                  </a:lnTo>
                  <a:close/>
                  <a:moveTo>
                    <a:pt x="208" y="22"/>
                  </a:moveTo>
                  <a:lnTo>
                    <a:pt x="208" y="24"/>
                  </a:lnTo>
                  <a:lnTo>
                    <a:pt x="205" y="26"/>
                  </a:lnTo>
                  <a:lnTo>
                    <a:pt x="203" y="25"/>
                  </a:lnTo>
                  <a:lnTo>
                    <a:pt x="199" y="24"/>
                  </a:lnTo>
                  <a:lnTo>
                    <a:pt x="203" y="22"/>
                  </a:lnTo>
                  <a:lnTo>
                    <a:pt x="205" y="21"/>
                  </a:lnTo>
                  <a:lnTo>
                    <a:pt x="208" y="22"/>
                  </a:lnTo>
                  <a:lnTo>
                    <a:pt x="208" y="22"/>
                  </a:lnTo>
                  <a:close/>
                  <a:moveTo>
                    <a:pt x="168" y="26"/>
                  </a:moveTo>
                  <a:lnTo>
                    <a:pt x="170" y="28"/>
                  </a:lnTo>
                  <a:lnTo>
                    <a:pt x="169" y="30"/>
                  </a:lnTo>
                  <a:lnTo>
                    <a:pt x="167" y="30"/>
                  </a:lnTo>
                  <a:lnTo>
                    <a:pt x="164" y="29"/>
                  </a:lnTo>
                  <a:lnTo>
                    <a:pt x="163" y="26"/>
                  </a:lnTo>
                  <a:lnTo>
                    <a:pt x="168" y="26"/>
                  </a:lnTo>
                  <a:lnTo>
                    <a:pt x="168" y="26"/>
                  </a:lnTo>
                  <a:close/>
                  <a:moveTo>
                    <a:pt x="293" y="3"/>
                  </a:moveTo>
                  <a:lnTo>
                    <a:pt x="295" y="5"/>
                  </a:lnTo>
                  <a:lnTo>
                    <a:pt x="293" y="7"/>
                  </a:lnTo>
                  <a:lnTo>
                    <a:pt x="290" y="8"/>
                  </a:lnTo>
                  <a:lnTo>
                    <a:pt x="290" y="6"/>
                  </a:lnTo>
                  <a:lnTo>
                    <a:pt x="290" y="3"/>
                  </a:lnTo>
                  <a:lnTo>
                    <a:pt x="289" y="5"/>
                  </a:lnTo>
                  <a:lnTo>
                    <a:pt x="285" y="5"/>
                  </a:lnTo>
                  <a:lnTo>
                    <a:pt x="287" y="3"/>
                  </a:lnTo>
                  <a:lnTo>
                    <a:pt x="290" y="0"/>
                  </a:lnTo>
                  <a:lnTo>
                    <a:pt x="292" y="3"/>
                  </a:lnTo>
                  <a:lnTo>
                    <a:pt x="293" y="3"/>
                  </a:lnTo>
                  <a:lnTo>
                    <a:pt x="293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14" name="Freeform 214">
              <a:extLst>
                <a:ext uri="{FF2B5EF4-FFF2-40B4-BE49-F238E27FC236}">
                  <a16:creationId xmlns:a16="http://schemas.microsoft.com/office/drawing/2014/main" id="{458904B7-FB9B-487B-A761-A7031ADCE58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46688" y="2574925"/>
              <a:ext cx="36512" cy="15875"/>
            </a:xfrm>
            <a:custGeom>
              <a:avLst/>
              <a:gdLst>
                <a:gd name="T0" fmla="*/ 6 w 23"/>
                <a:gd name="T1" fmla="*/ 0 h 10"/>
                <a:gd name="T2" fmla="*/ 4 w 23"/>
                <a:gd name="T3" fmla="*/ 2 h 10"/>
                <a:gd name="T4" fmla="*/ 0 w 23"/>
                <a:gd name="T5" fmla="*/ 3 h 10"/>
                <a:gd name="T6" fmla="*/ 0 w 23"/>
                <a:gd name="T7" fmla="*/ 1 h 10"/>
                <a:gd name="T8" fmla="*/ 2 w 23"/>
                <a:gd name="T9" fmla="*/ 0 h 10"/>
                <a:gd name="T10" fmla="*/ 5 w 23"/>
                <a:gd name="T11" fmla="*/ 0 h 10"/>
                <a:gd name="T12" fmla="*/ 6 w 23"/>
                <a:gd name="T13" fmla="*/ 0 h 10"/>
                <a:gd name="T14" fmla="*/ 6 w 23"/>
                <a:gd name="T15" fmla="*/ 0 h 10"/>
                <a:gd name="T16" fmla="*/ 23 w 23"/>
                <a:gd name="T17" fmla="*/ 9 h 10"/>
                <a:gd name="T18" fmla="*/ 19 w 23"/>
                <a:gd name="T19" fmla="*/ 10 h 10"/>
                <a:gd name="T20" fmla="*/ 22 w 23"/>
                <a:gd name="T21" fmla="*/ 9 h 10"/>
                <a:gd name="T22" fmla="*/ 23 w 23"/>
                <a:gd name="T23" fmla="*/ 9 h 10"/>
                <a:gd name="T24" fmla="*/ 23 w 23"/>
                <a:gd name="T25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" h="10">
                  <a:moveTo>
                    <a:pt x="6" y="0"/>
                  </a:moveTo>
                  <a:lnTo>
                    <a:pt x="4" y="2"/>
                  </a:lnTo>
                  <a:lnTo>
                    <a:pt x="0" y="3"/>
                  </a:lnTo>
                  <a:lnTo>
                    <a:pt x="0" y="1"/>
                  </a:lnTo>
                  <a:lnTo>
                    <a:pt x="2" y="0"/>
                  </a:lnTo>
                  <a:lnTo>
                    <a:pt x="5" y="0"/>
                  </a:lnTo>
                  <a:lnTo>
                    <a:pt x="6" y="0"/>
                  </a:lnTo>
                  <a:lnTo>
                    <a:pt x="6" y="0"/>
                  </a:lnTo>
                  <a:close/>
                  <a:moveTo>
                    <a:pt x="23" y="9"/>
                  </a:moveTo>
                  <a:lnTo>
                    <a:pt x="19" y="10"/>
                  </a:lnTo>
                  <a:lnTo>
                    <a:pt x="22" y="9"/>
                  </a:lnTo>
                  <a:lnTo>
                    <a:pt x="23" y="9"/>
                  </a:lnTo>
                  <a:lnTo>
                    <a:pt x="23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15" name="Freeform 215">
              <a:extLst>
                <a:ext uri="{FF2B5EF4-FFF2-40B4-BE49-F238E27FC236}">
                  <a16:creationId xmlns:a16="http://schemas.microsoft.com/office/drawing/2014/main" id="{1DCD93EB-88A5-4C54-B6AD-55B91DFCD12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2550" y="2454275"/>
              <a:ext cx="623887" cy="447675"/>
            </a:xfrm>
            <a:custGeom>
              <a:avLst/>
              <a:gdLst>
                <a:gd name="T0" fmla="*/ 17 w 393"/>
                <a:gd name="T1" fmla="*/ 72 h 282"/>
                <a:gd name="T2" fmla="*/ 43 w 393"/>
                <a:gd name="T3" fmla="*/ 88 h 282"/>
                <a:gd name="T4" fmla="*/ 79 w 393"/>
                <a:gd name="T5" fmla="*/ 98 h 282"/>
                <a:gd name="T6" fmla="*/ 108 w 393"/>
                <a:gd name="T7" fmla="*/ 95 h 282"/>
                <a:gd name="T8" fmla="*/ 139 w 393"/>
                <a:gd name="T9" fmla="*/ 100 h 282"/>
                <a:gd name="T10" fmla="*/ 159 w 393"/>
                <a:gd name="T11" fmla="*/ 89 h 282"/>
                <a:gd name="T12" fmla="*/ 185 w 393"/>
                <a:gd name="T13" fmla="*/ 110 h 282"/>
                <a:gd name="T14" fmla="*/ 207 w 393"/>
                <a:gd name="T15" fmla="*/ 120 h 282"/>
                <a:gd name="T16" fmla="*/ 234 w 393"/>
                <a:gd name="T17" fmla="*/ 144 h 282"/>
                <a:gd name="T18" fmla="*/ 258 w 393"/>
                <a:gd name="T19" fmla="*/ 169 h 282"/>
                <a:gd name="T20" fmla="*/ 265 w 393"/>
                <a:gd name="T21" fmla="*/ 184 h 282"/>
                <a:gd name="T22" fmla="*/ 227 w 393"/>
                <a:gd name="T23" fmla="*/ 180 h 282"/>
                <a:gd name="T24" fmla="*/ 195 w 393"/>
                <a:gd name="T25" fmla="*/ 209 h 282"/>
                <a:gd name="T26" fmla="*/ 168 w 393"/>
                <a:gd name="T27" fmla="*/ 212 h 282"/>
                <a:gd name="T28" fmla="*/ 203 w 393"/>
                <a:gd name="T29" fmla="*/ 226 h 282"/>
                <a:gd name="T30" fmla="*/ 229 w 393"/>
                <a:gd name="T31" fmla="*/ 224 h 282"/>
                <a:gd name="T32" fmla="*/ 249 w 393"/>
                <a:gd name="T33" fmla="*/ 252 h 282"/>
                <a:gd name="T34" fmla="*/ 301 w 393"/>
                <a:gd name="T35" fmla="*/ 275 h 282"/>
                <a:gd name="T36" fmla="*/ 312 w 393"/>
                <a:gd name="T37" fmla="*/ 261 h 282"/>
                <a:gd name="T38" fmla="*/ 306 w 393"/>
                <a:gd name="T39" fmla="*/ 246 h 282"/>
                <a:gd name="T40" fmla="*/ 340 w 393"/>
                <a:gd name="T41" fmla="*/ 267 h 282"/>
                <a:gd name="T42" fmla="*/ 349 w 393"/>
                <a:gd name="T43" fmla="*/ 249 h 282"/>
                <a:gd name="T44" fmla="*/ 331 w 393"/>
                <a:gd name="T45" fmla="*/ 220 h 282"/>
                <a:gd name="T46" fmla="*/ 303 w 393"/>
                <a:gd name="T47" fmla="*/ 201 h 282"/>
                <a:gd name="T48" fmla="*/ 305 w 393"/>
                <a:gd name="T49" fmla="*/ 184 h 282"/>
                <a:gd name="T50" fmla="*/ 329 w 393"/>
                <a:gd name="T51" fmla="*/ 189 h 282"/>
                <a:gd name="T52" fmla="*/ 339 w 393"/>
                <a:gd name="T53" fmla="*/ 194 h 282"/>
                <a:gd name="T54" fmla="*/ 350 w 393"/>
                <a:gd name="T55" fmla="*/ 208 h 282"/>
                <a:gd name="T56" fmla="*/ 369 w 393"/>
                <a:gd name="T57" fmla="*/ 200 h 282"/>
                <a:gd name="T58" fmla="*/ 379 w 393"/>
                <a:gd name="T59" fmla="*/ 186 h 282"/>
                <a:gd name="T60" fmla="*/ 386 w 393"/>
                <a:gd name="T61" fmla="*/ 172 h 282"/>
                <a:gd name="T62" fmla="*/ 363 w 393"/>
                <a:gd name="T63" fmla="*/ 171 h 282"/>
                <a:gd name="T64" fmla="*/ 350 w 393"/>
                <a:gd name="T65" fmla="*/ 164 h 282"/>
                <a:gd name="T66" fmla="*/ 342 w 393"/>
                <a:gd name="T67" fmla="*/ 152 h 282"/>
                <a:gd name="T68" fmla="*/ 320 w 393"/>
                <a:gd name="T69" fmla="*/ 148 h 282"/>
                <a:gd name="T70" fmla="*/ 312 w 393"/>
                <a:gd name="T71" fmla="*/ 136 h 282"/>
                <a:gd name="T72" fmla="*/ 297 w 393"/>
                <a:gd name="T73" fmla="*/ 129 h 282"/>
                <a:gd name="T74" fmla="*/ 300 w 393"/>
                <a:gd name="T75" fmla="*/ 119 h 282"/>
                <a:gd name="T76" fmla="*/ 291 w 393"/>
                <a:gd name="T77" fmla="*/ 114 h 282"/>
                <a:gd name="T78" fmla="*/ 289 w 393"/>
                <a:gd name="T79" fmla="*/ 109 h 282"/>
                <a:gd name="T80" fmla="*/ 312 w 393"/>
                <a:gd name="T81" fmla="*/ 100 h 282"/>
                <a:gd name="T82" fmla="*/ 284 w 393"/>
                <a:gd name="T83" fmla="*/ 100 h 282"/>
                <a:gd name="T84" fmla="*/ 282 w 393"/>
                <a:gd name="T85" fmla="*/ 92 h 282"/>
                <a:gd name="T86" fmla="*/ 274 w 393"/>
                <a:gd name="T87" fmla="*/ 77 h 282"/>
                <a:gd name="T88" fmla="*/ 253 w 393"/>
                <a:gd name="T89" fmla="*/ 84 h 282"/>
                <a:gd name="T90" fmla="*/ 238 w 393"/>
                <a:gd name="T91" fmla="*/ 78 h 282"/>
                <a:gd name="T92" fmla="*/ 228 w 393"/>
                <a:gd name="T93" fmla="*/ 73 h 282"/>
                <a:gd name="T94" fmla="*/ 220 w 393"/>
                <a:gd name="T95" fmla="*/ 59 h 282"/>
                <a:gd name="T96" fmla="*/ 205 w 393"/>
                <a:gd name="T97" fmla="*/ 57 h 282"/>
                <a:gd name="T98" fmla="*/ 201 w 393"/>
                <a:gd name="T99" fmla="*/ 45 h 282"/>
                <a:gd name="T100" fmla="*/ 184 w 393"/>
                <a:gd name="T101" fmla="*/ 32 h 282"/>
                <a:gd name="T102" fmla="*/ 166 w 393"/>
                <a:gd name="T103" fmla="*/ 41 h 282"/>
                <a:gd name="T104" fmla="*/ 156 w 393"/>
                <a:gd name="T105" fmla="*/ 44 h 282"/>
                <a:gd name="T106" fmla="*/ 137 w 393"/>
                <a:gd name="T107" fmla="*/ 43 h 282"/>
                <a:gd name="T108" fmla="*/ 127 w 393"/>
                <a:gd name="T109" fmla="*/ 34 h 282"/>
                <a:gd name="T110" fmla="*/ 95 w 393"/>
                <a:gd name="T111" fmla="*/ 4 h 282"/>
                <a:gd name="T112" fmla="*/ 83 w 393"/>
                <a:gd name="T113" fmla="*/ 20 h 282"/>
                <a:gd name="T114" fmla="*/ 67 w 393"/>
                <a:gd name="T115" fmla="*/ 24 h 282"/>
                <a:gd name="T116" fmla="*/ 69 w 393"/>
                <a:gd name="T117" fmla="*/ 42 h 282"/>
                <a:gd name="T118" fmla="*/ 69 w 393"/>
                <a:gd name="T119" fmla="*/ 72 h 282"/>
                <a:gd name="T120" fmla="*/ 64 w 393"/>
                <a:gd name="T121" fmla="*/ 61 h 282"/>
                <a:gd name="T122" fmla="*/ 70 w 393"/>
                <a:gd name="T123" fmla="*/ 2 h 282"/>
                <a:gd name="T124" fmla="*/ 9 w 393"/>
                <a:gd name="T125" fmla="*/ 23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93" h="282">
                  <a:moveTo>
                    <a:pt x="0" y="61"/>
                  </a:moveTo>
                  <a:lnTo>
                    <a:pt x="1" y="64"/>
                  </a:lnTo>
                  <a:lnTo>
                    <a:pt x="5" y="66"/>
                  </a:lnTo>
                  <a:lnTo>
                    <a:pt x="7" y="66"/>
                  </a:lnTo>
                  <a:lnTo>
                    <a:pt x="10" y="66"/>
                  </a:lnTo>
                  <a:lnTo>
                    <a:pt x="18" y="67"/>
                  </a:lnTo>
                  <a:lnTo>
                    <a:pt x="21" y="67"/>
                  </a:lnTo>
                  <a:lnTo>
                    <a:pt x="24" y="67"/>
                  </a:lnTo>
                  <a:lnTo>
                    <a:pt x="26" y="68"/>
                  </a:lnTo>
                  <a:lnTo>
                    <a:pt x="30" y="67"/>
                  </a:lnTo>
                  <a:lnTo>
                    <a:pt x="31" y="69"/>
                  </a:lnTo>
                  <a:lnTo>
                    <a:pt x="33" y="70"/>
                  </a:lnTo>
                  <a:lnTo>
                    <a:pt x="36" y="72"/>
                  </a:lnTo>
                  <a:lnTo>
                    <a:pt x="39" y="72"/>
                  </a:lnTo>
                  <a:lnTo>
                    <a:pt x="36" y="75"/>
                  </a:lnTo>
                  <a:lnTo>
                    <a:pt x="33" y="75"/>
                  </a:lnTo>
                  <a:lnTo>
                    <a:pt x="31" y="73"/>
                  </a:lnTo>
                  <a:lnTo>
                    <a:pt x="27" y="75"/>
                  </a:lnTo>
                  <a:lnTo>
                    <a:pt x="25" y="75"/>
                  </a:lnTo>
                  <a:lnTo>
                    <a:pt x="22" y="72"/>
                  </a:lnTo>
                  <a:lnTo>
                    <a:pt x="19" y="72"/>
                  </a:lnTo>
                  <a:lnTo>
                    <a:pt x="17" y="72"/>
                  </a:lnTo>
                  <a:lnTo>
                    <a:pt x="14" y="72"/>
                  </a:lnTo>
                  <a:lnTo>
                    <a:pt x="11" y="72"/>
                  </a:lnTo>
                  <a:lnTo>
                    <a:pt x="8" y="71"/>
                  </a:lnTo>
                  <a:lnTo>
                    <a:pt x="10" y="73"/>
                  </a:lnTo>
                  <a:lnTo>
                    <a:pt x="8" y="75"/>
                  </a:lnTo>
                  <a:lnTo>
                    <a:pt x="9" y="78"/>
                  </a:lnTo>
                  <a:lnTo>
                    <a:pt x="11" y="80"/>
                  </a:lnTo>
                  <a:lnTo>
                    <a:pt x="14" y="83"/>
                  </a:lnTo>
                  <a:lnTo>
                    <a:pt x="16" y="85"/>
                  </a:lnTo>
                  <a:lnTo>
                    <a:pt x="18" y="87"/>
                  </a:lnTo>
                  <a:lnTo>
                    <a:pt x="22" y="87"/>
                  </a:lnTo>
                  <a:lnTo>
                    <a:pt x="24" y="87"/>
                  </a:lnTo>
                  <a:lnTo>
                    <a:pt x="27" y="89"/>
                  </a:lnTo>
                  <a:lnTo>
                    <a:pt x="24" y="89"/>
                  </a:lnTo>
                  <a:lnTo>
                    <a:pt x="27" y="90"/>
                  </a:lnTo>
                  <a:lnTo>
                    <a:pt x="30" y="92"/>
                  </a:lnTo>
                  <a:lnTo>
                    <a:pt x="35" y="89"/>
                  </a:lnTo>
                  <a:lnTo>
                    <a:pt x="38" y="90"/>
                  </a:lnTo>
                  <a:lnTo>
                    <a:pt x="41" y="90"/>
                  </a:lnTo>
                  <a:lnTo>
                    <a:pt x="39" y="88"/>
                  </a:lnTo>
                  <a:lnTo>
                    <a:pt x="41" y="86"/>
                  </a:lnTo>
                  <a:lnTo>
                    <a:pt x="43" y="88"/>
                  </a:lnTo>
                  <a:lnTo>
                    <a:pt x="47" y="88"/>
                  </a:lnTo>
                  <a:lnTo>
                    <a:pt x="49" y="86"/>
                  </a:lnTo>
                  <a:lnTo>
                    <a:pt x="48" y="89"/>
                  </a:lnTo>
                  <a:lnTo>
                    <a:pt x="48" y="92"/>
                  </a:lnTo>
                  <a:lnTo>
                    <a:pt x="50" y="94"/>
                  </a:lnTo>
                  <a:lnTo>
                    <a:pt x="53" y="96"/>
                  </a:lnTo>
                  <a:lnTo>
                    <a:pt x="57" y="97"/>
                  </a:lnTo>
                  <a:lnTo>
                    <a:pt x="59" y="97"/>
                  </a:lnTo>
                  <a:lnTo>
                    <a:pt x="62" y="97"/>
                  </a:lnTo>
                  <a:lnTo>
                    <a:pt x="62" y="97"/>
                  </a:lnTo>
                  <a:lnTo>
                    <a:pt x="65" y="97"/>
                  </a:lnTo>
                  <a:lnTo>
                    <a:pt x="62" y="96"/>
                  </a:lnTo>
                  <a:lnTo>
                    <a:pt x="59" y="96"/>
                  </a:lnTo>
                  <a:lnTo>
                    <a:pt x="57" y="96"/>
                  </a:lnTo>
                  <a:lnTo>
                    <a:pt x="59" y="95"/>
                  </a:lnTo>
                  <a:lnTo>
                    <a:pt x="62" y="95"/>
                  </a:lnTo>
                  <a:lnTo>
                    <a:pt x="65" y="95"/>
                  </a:lnTo>
                  <a:lnTo>
                    <a:pt x="68" y="96"/>
                  </a:lnTo>
                  <a:lnTo>
                    <a:pt x="70" y="95"/>
                  </a:lnTo>
                  <a:lnTo>
                    <a:pt x="74" y="97"/>
                  </a:lnTo>
                  <a:lnTo>
                    <a:pt x="76" y="97"/>
                  </a:lnTo>
                  <a:lnTo>
                    <a:pt x="79" y="98"/>
                  </a:lnTo>
                  <a:lnTo>
                    <a:pt x="82" y="98"/>
                  </a:lnTo>
                  <a:lnTo>
                    <a:pt x="85" y="98"/>
                  </a:lnTo>
                  <a:lnTo>
                    <a:pt x="87" y="100"/>
                  </a:lnTo>
                  <a:lnTo>
                    <a:pt x="90" y="98"/>
                  </a:lnTo>
                  <a:lnTo>
                    <a:pt x="92" y="97"/>
                  </a:lnTo>
                  <a:lnTo>
                    <a:pt x="95" y="97"/>
                  </a:lnTo>
                  <a:lnTo>
                    <a:pt x="99" y="100"/>
                  </a:lnTo>
                  <a:lnTo>
                    <a:pt x="101" y="100"/>
                  </a:lnTo>
                  <a:lnTo>
                    <a:pt x="103" y="102"/>
                  </a:lnTo>
                  <a:lnTo>
                    <a:pt x="107" y="102"/>
                  </a:lnTo>
                  <a:lnTo>
                    <a:pt x="109" y="101"/>
                  </a:lnTo>
                  <a:lnTo>
                    <a:pt x="112" y="101"/>
                  </a:lnTo>
                  <a:lnTo>
                    <a:pt x="111" y="98"/>
                  </a:lnTo>
                  <a:lnTo>
                    <a:pt x="110" y="97"/>
                  </a:lnTo>
                  <a:lnTo>
                    <a:pt x="108" y="96"/>
                  </a:lnTo>
                  <a:lnTo>
                    <a:pt x="102" y="94"/>
                  </a:lnTo>
                  <a:lnTo>
                    <a:pt x="99" y="93"/>
                  </a:lnTo>
                  <a:lnTo>
                    <a:pt x="96" y="90"/>
                  </a:lnTo>
                  <a:lnTo>
                    <a:pt x="99" y="92"/>
                  </a:lnTo>
                  <a:lnTo>
                    <a:pt x="102" y="93"/>
                  </a:lnTo>
                  <a:lnTo>
                    <a:pt x="104" y="94"/>
                  </a:lnTo>
                  <a:lnTo>
                    <a:pt x="108" y="95"/>
                  </a:lnTo>
                  <a:lnTo>
                    <a:pt x="110" y="96"/>
                  </a:lnTo>
                  <a:lnTo>
                    <a:pt x="112" y="97"/>
                  </a:lnTo>
                  <a:lnTo>
                    <a:pt x="115" y="98"/>
                  </a:lnTo>
                  <a:lnTo>
                    <a:pt x="118" y="100"/>
                  </a:lnTo>
                  <a:lnTo>
                    <a:pt x="120" y="102"/>
                  </a:lnTo>
                  <a:lnTo>
                    <a:pt x="124" y="104"/>
                  </a:lnTo>
                  <a:lnTo>
                    <a:pt x="126" y="104"/>
                  </a:lnTo>
                  <a:lnTo>
                    <a:pt x="125" y="101"/>
                  </a:lnTo>
                  <a:lnTo>
                    <a:pt x="123" y="100"/>
                  </a:lnTo>
                  <a:lnTo>
                    <a:pt x="120" y="97"/>
                  </a:lnTo>
                  <a:lnTo>
                    <a:pt x="118" y="97"/>
                  </a:lnTo>
                  <a:lnTo>
                    <a:pt x="115" y="96"/>
                  </a:lnTo>
                  <a:lnTo>
                    <a:pt x="118" y="95"/>
                  </a:lnTo>
                  <a:lnTo>
                    <a:pt x="120" y="95"/>
                  </a:lnTo>
                  <a:lnTo>
                    <a:pt x="123" y="96"/>
                  </a:lnTo>
                  <a:lnTo>
                    <a:pt x="126" y="96"/>
                  </a:lnTo>
                  <a:lnTo>
                    <a:pt x="128" y="96"/>
                  </a:lnTo>
                  <a:lnTo>
                    <a:pt x="132" y="97"/>
                  </a:lnTo>
                  <a:lnTo>
                    <a:pt x="132" y="97"/>
                  </a:lnTo>
                  <a:lnTo>
                    <a:pt x="135" y="97"/>
                  </a:lnTo>
                  <a:lnTo>
                    <a:pt x="137" y="100"/>
                  </a:lnTo>
                  <a:lnTo>
                    <a:pt x="139" y="100"/>
                  </a:lnTo>
                  <a:lnTo>
                    <a:pt x="143" y="102"/>
                  </a:lnTo>
                  <a:lnTo>
                    <a:pt x="145" y="101"/>
                  </a:lnTo>
                  <a:lnTo>
                    <a:pt x="151" y="101"/>
                  </a:lnTo>
                  <a:lnTo>
                    <a:pt x="153" y="101"/>
                  </a:lnTo>
                  <a:lnTo>
                    <a:pt x="155" y="98"/>
                  </a:lnTo>
                  <a:lnTo>
                    <a:pt x="155" y="97"/>
                  </a:lnTo>
                  <a:lnTo>
                    <a:pt x="154" y="95"/>
                  </a:lnTo>
                  <a:lnTo>
                    <a:pt x="153" y="92"/>
                  </a:lnTo>
                  <a:lnTo>
                    <a:pt x="151" y="89"/>
                  </a:lnTo>
                  <a:lnTo>
                    <a:pt x="147" y="90"/>
                  </a:lnTo>
                  <a:lnTo>
                    <a:pt x="145" y="88"/>
                  </a:lnTo>
                  <a:lnTo>
                    <a:pt x="145" y="86"/>
                  </a:lnTo>
                  <a:lnTo>
                    <a:pt x="147" y="87"/>
                  </a:lnTo>
                  <a:lnTo>
                    <a:pt x="149" y="85"/>
                  </a:lnTo>
                  <a:lnTo>
                    <a:pt x="149" y="81"/>
                  </a:lnTo>
                  <a:lnTo>
                    <a:pt x="152" y="83"/>
                  </a:lnTo>
                  <a:lnTo>
                    <a:pt x="154" y="84"/>
                  </a:lnTo>
                  <a:lnTo>
                    <a:pt x="152" y="84"/>
                  </a:lnTo>
                  <a:lnTo>
                    <a:pt x="150" y="86"/>
                  </a:lnTo>
                  <a:lnTo>
                    <a:pt x="153" y="86"/>
                  </a:lnTo>
                  <a:lnTo>
                    <a:pt x="155" y="88"/>
                  </a:lnTo>
                  <a:lnTo>
                    <a:pt x="159" y="89"/>
                  </a:lnTo>
                  <a:lnTo>
                    <a:pt x="159" y="92"/>
                  </a:lnTo>
                  <a:lnTo>
                    <a:pt x="162" y="93"/>
                  </a:lnTo>
                  <a:lnTo>
                    <a:pt x="164" y="92"/>
                  </a:lnTo>
                  <a:lnTo>
                    <a:pt x="167" y="92"/>
                  </a:lnTo>
                  <a:lnTo>
                    <a:pt x="169" y="95"/>
                  </a:lnTo>
                  <a:lnTo>
                    <a:pt x="169" y="97"/>
                  </a:lnTo>
                  <a:lnTo>
                    <a:pt x="169" y="101"/>
                  </a:lnTo>
                  <a:lnTo>
                    <a:pt x="169" y="103"/>
                  </a:lnTo>
                  <a:lnTo>
                    <a:pt x="172" y="103"/>
                  </a:lnTo>
                  <a:lnTo>
                    <a:pt x="175" y="101"/>
                  </a:lnTo>
                  <a:lnTo>
                    <a:pt x="178" y="100"/>
                  </a:lnTo>
                  <a:lnTo>
                    <a:pt x="175" y="101"/>
                  </a:lnTo>
                  <a:lnTo>
                    <a:pt x="178" y="101"/>
                  </a:lnTo>
                  <a:lnTo>
                    <a:pt x="180" y="102"/>
                  </a:lnTo>
                  <a:lnTo>
                    <a:pt x="180" y="105"/>
                  </a:lnTo>
                  <a:lnTo>
                    <a:pt x="178" y="105"/>
                  </a:lnTo>
                  <a:lnTo>
                    <a:pt x="178" y="107"/>
                  </a:lnTo>
                  <a:lnTo>
                    <a:pt x="181" y="109"/>
                  </a:lnTo>
                  <a:lnTo>
                    <a:pt x="184" y="107"/>
                  </a:lnTo>
                  <a:lnTo>
                    <a:pt x="187" y="105"/>
                  </a:lnTo>
                  <a:lnTo>
                    <a:pt x="184" y="107"/>
                  </a:lnTo>
                  <a:lnTo>
                    <a:pt x="185" y="110"/>
                  </a:lnTo>
                  <a:lnTo>
                    <a:pt x="188" y="112"/>
                  </a:lnTo>
                  <a:lnTo>
                    <a:pt x="190" y="113"/>
                  </a:lnTo>
                  <a:lnTo>
                    <a:pt x="193" y="113"/>
                  </a:lnTo>
                  <a:lnTo>
                    <a:pt x="196" y="115"/>
                  </a:lnTo>
                  <a:lnTo>
                    <a:pt x="197" y="118"/>
                  </a:lnTo>
                  <a:lnTo>
                    <a:pt x="193" y="121"/>
                  </a:lnTo>
                  <a:lnTo>
                    <a:pt x="189" y="121"/>
                  </a:lnTo>
                  <a:lnTo>
                    <a:pt x="187" y="121"/>
                  </a:lnTo>
                  <a:lnTo>
                    <a:pt x="184" y="121"/>
                  </a:lnTo>
                  <a:lnTo>
                    <a:pt x="184" y="123"/>
                  </a:lnTo>
                  <a:lnTo>
                    <a:pt x="184" y="127"/>
                  </a:lnTo>
                  <a:lnTo>
                    <a:pt x="184" y="129"/>
                  </a:lnTo>
                  <a:lnTo>
                    <a:pt x="186" y="130"/>
                  </a:lnTo>
                  <a:lnTo>
                    <a:pt x="188" y="129"/>
                  </a:lnTo>
                  <a:lnTo>
                    <a:pt x="192" y="128"/>
                  </a:lnTo>
                  <a:lnTo>
                    <a:pt x="194" y="126"/>
                  </a:lnTo>
                  <a:lnTo>
                    <a:pt x="197" y="124"/>
                  </a:lnTo>
                  <a:lnTo>
                    <a:pt x="197" y="122"/>
                  </a:lnTo>
                  <a:lnTo>
                    <a:pt x="201" y="122"/>
                  </a:lnTo>
                  <a:lnTo>
                    <a:pt x="203" y="124"/>
                  </a:lnTo>
                  <a:lnTo>
                    <a:pt x="205" y="122"/>
                  </a:lnTo>
                  <a:lnTo>
                    <a:pt x="207" y="120"/>
                  </a:lnTo>
                  <a:lnTo>
                    <a:pt x="211" y="121"/>
                  </a:lnTo>
                  <a:lnTo>
                    <a:pt x="207" y="121"/>
                  </a:lnTo>
                  <a:lnTo>
                    <a:pt x="210" y="124"/>
                  </a:lnTo>
                  <a:lnTo>
                    <a:pt x="207" y="126"/>
                  </a:lnTo>
                  <a:lnTo>
                    <a:pt x="210" y="127"/>
                  </a:lnTo>
                  <a:lnTo>
                    <a:pt x="211" y="130"/>
                  </a:lnTo>
                  <a:lnTo>
                    <a:pt x="213" y="132"/>
                  </a:lnTo>
                  <a:lnTo>
                    <a:pt x="217" y="134"/>
                  </a:lnTo>
                  <a:lnTo>
                    <a:pt x="219" y="134"/>
                  </a:lnTo>
                  <a:lnTo>
                    <a:pt x="219" y="130"/>
                  </a:lnTo>
                  <a:lnTo>
                    <a:pt x="222" y="129"/>
                  </a:lnTo>
                  <a:lnTo>
                    <a:pt x="222" y="132"/>
                  </a:lnTo>
                  <a:lnTo>
                    <a:pt x="221" y="135"/>
                  </a:lnTo>
                  <a:lnTo>
                    <a:pt x="221" y="137"/>
                  </a:lnTo>
                  <a:lnTo>
                    <a:pt x="224" y="138"/>
                  </a:lnTo>
                  <a:lnTo>
                    <a:pt x="224" y="139"/>
                  </a:lnTo>
                  <a:lnTo>
                    <a:pt x="227" y="139"/>
                  </a:lnTo>
                  <a:lnTo>
                    <a:pt x="229" y="137"/>
                  </a:lnTo>
                  <a:lnTo>
                    <a:pt x="228" y="139"/>
                  </a:lnTo>
                  <a:lnTo>
                    <a:pt x="230" y="140"/>
                  </a:lnTo>
                  <a:lnTo>
                    <a:pt x="234" y="141"/>
                  </a:lnTo>
                  <a:lnTo>
                    <a:pt x="234" y="144"/>
                  </a:lnTo>
                  <a:lnTo>
                    <a:pt x="235" y="146"/>
                  </a:lnTo>
                  <a:lnTo>
                    <a:pt x="236" y="149"/>
                  </a:lnTo>
                  <a:lnTo>
                    <a:pt x="238" y="151"/>
                  </a:lnTo>
                  <a:lnTo>
                    <a:pt x="238" y="153"/>
                  </a:lnTo>
                  <a:lnTo>
                    <a:pt x="240" y="156"/>
                  </a:lnTo>
                  <a:lnTo>
                    <a:pt x="240" y="158"/>
                  </a:lnTo>
                  <a:lnTo>
                    <a:pt x="241" y="161"/>
                  </a:lnTo>
                  <a:lnTo>
                    <a:pt x="243" y="164"/>
                  </a:lnTo>
                  <a:lnTo>
                    <a:pt x="240" y="166"/>
                  </a:lnTo>
                  <a:lnTo>
                    <a:pt x="238" y="167"/>
                  </a:lnTo>
                  <a:lnTo>
                    <a:pt x="236" y="170"/>
                  </a:lnTo>
                  <a:lnTo>
                    <a:pt x="234" y="172"/>
                  </a:lnTo>
                  <a:lnTo>
                    <a:pt x="234" y="174"/>
                  </a:lnTo>
                  <a:lnTo>
                    <a:pt x="236" y="175"/>
                  </a:lnTo>
                  <a:lnTo>
                    <a:pt x="241" y="175"/>
                  </a:lnTo>
                  <a:lnTo>
                    <a:pt x="247" y="177"/>
                  </a:lnTo>
                  <a:lnTo>
                    <a:pt x="249" y="177"/>
                  </a:lnTo>
                  <a:lnTo>
                    <a:pt x="253" y="178"/>
                  </a:lnTo>
                  <a:lnTo>
                    <a:pt x="255" y="177"/>
                  </a:lnTo>
                  <a:lnTo>
                    <a:pt x="256" y="174"/>
                  </a:lnTo>
                  <a:lnTo>
                    <a:pt x="258" y="171"/>
                  </a:lnTo>
                  <a:lnTo>
                    <a:pt x="258" y="169"/>
                  </a:lnTo>
                  <a:lnTo>
                    <a:pt x="261" y="170"/>
                  </a:lnTo>
                  <a:lnTo>
                    <a:pt x="264" y="171"/>
                  </a:lnTo>
                  <a:lnTo>
                    <a:pt x="265" y="173"/>
                  </a:lnTo>
                  <a:lnTo>
                    <a:pt x="269" y="174"/>
                  </a:lnTo>
                  <a:lnTo>
                    <a:pt x="271" y="175"/>
                  </a:lnTo>
                  <a:lnTo>
                    <a:pt x="274" y="175"/>
                  </a:lnTo>
                  <a:lnTo>
                    <a:pt x="277" y="177"/>
                  </a:lnTo>
                  <a:lnTo>
                    <a:pt x="279" y="178"/>
                  </a:lnTo>
                  <a:lnTo>
                    <a:pt x="282" y="180"/>
                  </a:lnTo>
                  <a:lnTo>
                    <a:pt x="284" y="179"/>
                  </a:lnTo>
                  <a:lnTo>
                    <a:pt x="282" y="180"/>
                  </a:lnTo>
                  <a:lnTo>
                    <a:pt x="279" y="182"/>
                  </a:lnTo>
                  <a:lnTo>
                    <a:pt x="282" y="181"/>
                  </a:lnTo>
                  <a:lnTo>
                    <a:pt x="284" y="183"/>
                  </a:lnTo>
                  <a:lnTo>
                    <a:pt x="282" y="184"/>
                  </a:lnTo>
                  <a:lnTo>
                    <a:pt x="279" y="187"/>
                  </a:lnTo>
                  <a:lnTo>
                    <a:pt x="277" y="187"/>
                  </a:lnTo>
                  <a:lnTo>
                    <a:pt x="274" y="186"/>
                  </a:lnTo>
                  <a:lnTo>
                    <a:pt x="274" y="186"/>
                  </a:lnTo>
                  <a:lnTo>
                    <a:pt x="271" y="187"/>
                  </a:lnTo>
                  <a:lnTo>
                    <a:pt x="269" y="187"/>
                  </a:lnTo>
                  <a:lnTo>
                    <a:pt x="265" y="184"/>
                  </a:lnTo>
                  <a:lnTo>
                    <a:pt x="264" y="187"/>
                  </a:lnTo>
                  <a:lnTo>
                    <a:pt x="262" y="189"/>
                  </a:lnTo>
                  <a:lnTo>
                    <a:pt x="260" y="191"/>
                  </a:lnTo>
                  <a:lnTo>
                    <a:pt x="256" y="192"/>
                  </a:lnTo>
                  <a:lnTo>
                    <a:pt x="256" y="191"/>
                  </a:lnTo>
                  <a:lnTo>
                    <a:pt x="260" y="190"/>
                  </a:lnTo>
                  <a:lnTo>
                    <a:pt x="256" y="190"/>
                  </a:lnTo>
                  <a:lnTo>
                    <a:pt x="258" y="187"/>
                  </a:lnTo>
                  <a:lnTo>
                    <a:pt x="258" y="184"/>
                  </a:lnTo>
                  <a:lnTo>
                    <a:pt x="257" y="182"/>
                  </a:lnTo>
                  <a:lnTo>
                    <a:pt x="256" y="179"/>
                  </a:lnTo>
                  <a:lnTo>
                    <a:pt x="253" y="179"/>
                  </a:lnTo>
                  <a:lnTo>
                    <a:pt x="251" y="178"/>
                  </a:lnTo>
                  <a:lnTo>
                    <a:pt x="247" y="177"/>
                  </a:lnTo>
                  <a:lnTo>
                    <a:pt x="245" y="177"/>
                  </a:lnTo>
                  <a:lnTo>
                    <a:pt x="241" y="177"/>
                  </a:lnTo>
                  <a:lnTo>
                    <a:pt x="239" y="177"/>
                  </a:lnTo>
                  <a:lnTo>
                    <a:pt x="237" y="177"/>
                  </a:lnTo>
                  <a:lnTo>
                    <a:pt x="234" y="175"/>
                  </a:lnTo>
                  <a:lnTo>
                    <a:pt x="231" y="175"/>
                  </a:lnTo>
                  <a:lnTo>
                    <a:pt x="228" y="177"/>
                  </a:lnTo>
                  <a:lnTo>
                    <a:pt x="227" y="180"/>
                  </a:lnTo>
                  <a:lnTo>
                    <a:pt x="223" y="181"/>
                  </a:lnTo>
                  <a:lnTo>
                    <a:pt x="218" y="184"/>
                  </a:lnTo>
                  <a:lnTo>
                    <a:pt x="215" y="187"/>
                  </a:lnTo>
                  <a:lnTo>
                    <a:pt x="213" y="189"/>
                  </a:lnTo>
                  <a:lnTo>
                    <a:pt x="215" y="191"/>
                  </a:lnTo>
                  <a:lnTo>
                    <a:pt x="218" y="194"/>
                  </a:lnTo>
                  <a:lnTo>
                    <a:pt x="221" y="196"/>
                  </a:lnTo>
                  <a:lnTo>
                    <a:pt x="223" y="198"/>
                  </a:lnTo>
                  <a:lnTo>
                    <a:pt x="224" y="201"/>
                  </a:lnTo>
                  <a:lnTo>
                    <a:pt x="224" y="204"/>
                  </a:lnTo>
                  <a:lnTo>
                    <a:pt x="222" y="203"/>
                  </a:lnTo>
                  <a:lnTo>
                    <a:pt x="219" y="203"/>
                  </a:lnTo>
                  <a:lnTo>
                    <a:pt x="217" y="204"/>
                  </a:lnTo>
                  <a:lnTo>
                    <a:pt x="213" y="206"/>
                  </a:lnTo>
                  <a:lnTo>
                    <a:pt x="211" y="207"/>
                  </a:lnTo>
                  <a:lnTo>
                    <a:pt x="209" y="206"/>
                  </a:lnTo>
                  <a:lnTo>
                    <a:pt x="205" y="206"/>
                  </a:lnTo>
                  <a:lnTo>
                    <a:pt x="204" y="206"/>
                  </a:lnTo>
                  <a:lnTo>
                    <a:pt x="203" y="208"/>
                  </a:lnTo>
                  <a:lnTo>
                    <a:pt x="201" y="208"/>
                  </a:lnTo>
                  <a:lnTo>
                    <a:pt x="197" y="208"/>
                  </a:lnTo>
                  <a:lnTo>
                    <a:pt x="195" y="209"/>
                  </a:lnTo>
                  <a:lnTo>
                    <a:pt x="197" y="211"/>
                  </a:lnTo>
                  <a:lnTo>
                    <a:pt x="201" y="213"/>
                  </a:lnTo>
                  <a:lnTo>
                    <a:pt x="203" y="213"/>
                  </a:lnTo>
                  <a:lnTo>
                    <a:pt x="202" y="215"/>
                  </a:lnTo>
                  <a:lnTo>
                    <a:pt x="200" y="217"/>
                  </a:lnTo>
                  <a:lnTo>
                    <a:pt x="200" y="218"/>
                  </a:lnTo>
                  <a:lnTo>
                    <a:pt x="197" y="215"/>
                  </a:lnTo>
                  <a:lnTo>
                    <a:pt x="200" y="214"/>
                  </a:lnTo>
                  <a:lnTo>
                    <a:pt x="198" y="212"/>
                  </a:lnTo>
                  <a:lnTo>
                    <a:pt x="196" y="211"/>
                  </a:lnTo>
                  <a:lnTo>
                    <a:pt x="193" y="208"/>
                  </a:lnTo>
                  <a:lnTo>
                    <a:pt x="190" y="208"/>
                  </a:lnTo>
                  <a:lnTo>
                    <a:pt x="187" y="207"/>
                  </a:lnTo>
                  <a:lnTo>
                    <a:pt x="185" y="206"/>
                  </a:lnTo>
                  <a:lnTo>
                    <a:pt x="183" y="205"/>
                  </a:lnTo>
                  <a:lnTo>
                    <a:pt x="179" y="205"/>
                  </a:lnTo>
                  <a:lnTo>
                    <a:pt x="177" y="205"/>
                  </a:lnTo>
                  <a:lnTo>
                    <a:pt x="176" y="204"/>
                  </a:lnTo>
                  <a:lnTo>
                    <a:pt x="173" y="205"/>
                  </a:lnTo>
                  <a:lnTo>
                    <a:pt x="171" y="208"/>
                  </a:lnTo>
                  <a:lnTo>
                    <a:pt x="173" y="211"/>
                  </a:lnTo>
                  <a:lnTo>
                    <a:pt x="168" y="212"/>
                  </a:lnTo>
                  <a:lnTo>
                    <a:pt x="166" y="213"/>
                  </a:lnTo>
                  <a:lnTo>
                    <a:pt x="162" y="215"/>
                  </a:lnTo>
                  <a:lnTo>
                    <a:pt x="163" y="217"/>
                  </a:lnTo>
                  <a:lnTo>
                    <a:pt x="161" y="221"/>
                  </a:lnTo>
                  <a:lnTo>
                    <a:pt x="162" y="223"/>
                  </a:lnTo>
                  <a:lnTo>
                    <a:pt x="164" y="225"/>
                  </a:lnTo>
                  <a:lnTo>
                    <a:pt x="167" y="229"/>
                  </a:lnTo>
                  <a:lnTo>
                    <a:pt x="169" y="228"/>
                  </a:lnTo>
                  <a:lnTo>
                    <a:pt x="172" y="230"/>
                  </a:lnTo>
                  <a:lnTo>
                    <a:pt x="175" y="231"/>
                  </a:lnTo>
                  <a:lnTo>
                    <a:pt x="177" y="231"/>
                  </a:lnTo>
                  <a:lnTo>
                    <a:pt x="180" y="231"/>
                  </a:lnTo>
                  <a:lnTo>
                    <a:pt x="183" y="230"/>
                  </a:lnTo>
                  <a:lnTo>
                    <a:pt x="186" y="230"/>
                  </a:lnTo>
                  <a:lnTo>
                    <a:pt x="188" y="230"/>
                  </a:lnTo>
                  <a:lnTo>
                    <a:pt x="190" y="229"/>
                  </a:lnTo>
                  <a:lnTo>
                    <a:pt x="194" y="228"/>
                  </a:lnTo>
                  <a:lnTo>
                    <a:pt x="196" y="226"/>
                  </a:lnTo>
                  <a:lnTo>
                    <a:pt x="195" y="224"/>
                  </a:lnTo>
                  <a:lnTo>
                    <a:pt x="197" y="224"/>
                  </a:lnTo>
                  <a:lnTo>
                    <a:pt x="201" y="225"/>
                  </a:lnTo>
                  <a:lnTo>
                    <a:pt x="203" y="226"/>
                  </a:lnTo>
                  <a:lnTo>
                    <a:pt x="205" y="226"/>
                  </a:lnTo>
                  <a:lnTo>
                    <a:pt x="209" y="228"/>
                  </a:lnTo>
                  <a:lnTo>
                    <a:pt x="211" y="226"/>
                  </a:lnTo>
                  <a:lnTo>
                    <a:pt x="213" y="224"/>
                  </a:lnTo>
                  <a:lnTo>
                    <a:pt x="210" y="222"/>
                  </a:lnTo>
                  <a:lnTo>
                    <a:pt x="207" y="220"/>
                  </a:lnTo>
                  <a:lnTo>
                    <a:pt x="210" y="217"/>
                  </a:lnTo>
                  <a:lnTo>
                    <a:pt x="210" y="220"/>
                  </a:lnTo>
                  <a:lnTo>
                    <a:pt x="212" y="223"/>
                  </a:lnTo>
                  <a:lnTo>
                    <a:pt x="214" y="222"/>
                  </a:lnTo>
                  <a:lnTo>
                    <a:pt x="218" y="222"/>
                  </a:lnTo>
                  <a:lnTo>
                    <a:pt x="218" y="224"/>
                  </a:lnTo>
                  <a:lnTo>
                    <a:pt x="220" y="225"/>
                  </a:lnTo>
                  <a:lnTo>
                    <a:pt x="218" y="226"/>
                  </a:lnTo>
                  <a:lnTo>
                    <a:pt x="218" y="229"/>
                  </a:lnTo>
                  <a:lnTo>
                    <a:pt x="220" y="226"/>
                  </a:lnTo>
                  <a:lnTo>
                    <a:pt x="220" y="223"/>
                  </a:lnTo>
                  <a:lnTo>
                    <a:pt x="223" y="224"/>
                  </a:lnTo>
                  <a:lnTo>
                    <a:pt x="226" y="223"/>
                  </a:lnTo>
                  <a:lnTo>
                    <a:pt x="228" y="225"/>
                  </a:lnTo>
                  <a:lnTo>
                    <a:pt x="229" y="222"/>
                  </a:lnTo>
                  <a:lnTo>
                    <a:pt x="229" y="224"/>
                  </a:lnTo>
                  <a:lnTo>
                    <a:pt x="227" y="226"/>
                  </a:lnTo>
                  <a:lnTo>
                    <a:pt x="229" y="229"/>
                  </a:lnTo>
                  <a:lnTo>
                    <a:pt x="231" y="231"/>
                  </a:lnTo>
                  <a:lnTo>
                    <a:pt x="235" y="233"/>
                  </a:lnTo>
                  <a:lnTo>
                    <a:pt x="235" y="235"/>
                  </a:lnTo>
                  <a:lnTo>
                    <a:pt x="238" y="237"/>
                  </a:lnTo>
                  <a:lnTo>
                    <a:pt x="238" y="239"/>
                  </a:lnTo>
                  <a:lnTo>
                    <a:pt x="240" y="240"/>
                  </a:lnTo>
                  <a:lnTo>
                    <a:pt x="244" y="239"/>
                  </a:lnTo>
                  <a:lnTo>
                    <a:pt x="241" y="241"/>
                  </a:lnTo>
                  <a:lnTo>
                    <a:pt x="244" y="242"/>
                  </a:lnTo>
                  <a:lnTo>
                    <a:pt x="247" y="242"/>
                  </a:lnTo>
                  <a:lnTo>
                    <a:pt x="249" y="242"/>
                  </a:lnTo>
                  <a:lnTo>
                    <a:pt x="253" y="243"/>
                  </a:lnTo>
                  <a:lnTo>
                    <a:pt x="255" y="244"/>
                  </a:lnTo>
                  <a:lnTo>
                    <a:pt x="257" y="244"/>
                  </a:lnTo>
                  <a:lnTo>
                    <a:pt x="255" y="248"/>
                  </a:lnTo>
                  <a:lnTo>
                    <a:pt x="252" y="249"/>
                  </a:lnTo>
                  <a:lnTo>
                    <a:pt x="249" y="249"/>
                  </a:lnTo>
                  <a:lnTo>
                    <a:pt x="247" y="248"/>
                  </a:lnTo>
                  <a:lnTo>
                    <a:pt x="249" y="250"/>
                  </a:lnTo>
                  <a:lnTo>
                    <a:pt x="249" y="252"/>
                  </a:lnTo>
                  <a:lnTo>
                    <a:pt x="253" y="255"/>
                  </a:lnTo>
                  <a:lnTo>
                    <a:pt x="255" y="256"/>
                  </a:lnTo>
                  <a:lnTo>
                    <a:pt x="257" y="257"/>
                  </a:lnTo>
                  <a:lnTo>
                    <a:pt x="257" y="257"/>
                  </a:lnTo>
                  <a:lnTo>
                    <a:pt x="261" y="256"/>
                  </a:lnTo>
                  <a:lnTo>
                    <a:pt x="261" y="258"/>
                  </a:lnTo>
                  <a:lnTo>
                    <a:pt x="264" y="260"/>
                  </a:lnTo>
                  <a:lnTo>
                    <a:pt x="266" y="260"/>
                  </a:lnTo>
                  <a:lnTo>
                    <a:pt x="270" y="263"/>
                  </a:lnTo>
                  <a:lnTo>
                    <a:pt x="272" y="264"/>
                  </a:lnTo>
                  <a:lnTo>
                    <a:pt x="274" y="263"/>
                  </a:lnTo>
                  <a:lnTo>
                    <a:pt x="277" y="264"/>
                  </a:lnTo>
                  <a:lnTo>
                    <a:pt x="279" y="263"/>
                  </a:lnTo>
                  <a:lnTo>
                    <a:pt x="282" y="263"/>
                  </a:lnTo>
                  <a:lnTo>
                    <a:pt x="280" y="266"/>
                  </a:lnTo>
                  <a:lnTo>
                    <a:pt x="283" y="268"/>
                  </a:lnTo>
                  <a:lnTo>
                    <a:pt x="286" y="271"/>
                  </a:lnTo>
                  <a:lnTo>
                    <a:pt x="288" y="271"/>
                  </a:lnTo>
                  <a:lnTo>
                    <a:pt x="291" y="273"/>
                  </a:lnTo>
                  <a:lnTo>
                    <a:pt x="294" y="274"/>
                  </a:lnTo>
                  <a:lnTo>
                    <a:pt x="296" y="274"/>
                  </a:lnTo>
                  <a:lnTo>
                    <a:pt x="301" y="275"/>
                  </a:lnTo>
                  <a:lnTo>
                    <a:pt x="305" y="276"/>
                  </a:lnTo>
                  <a:lnTo>
                    <a:pt x="307" y="275"/>
                  </a:lnTo>
                  <a:lnTo>
                    <a:pt x="309" y="276"/>
                  </a:lnTo>
                  <a:lnTo>
                    <a:pt x="313" y="277"/>
                  </a:lnTo>
                  <a:lnTo>
                    <a:pt x="315" y="278"/>
                  </a:lnTo>
                  <a:lnTo>
                    <a:pt x="318" y="278"/>
                  </a:lnTo>
                  <a:lnTo>
                    <a:pt x="321" y="281"/>
                  </a:lnTo>
                  <a:lnTo>
                    <a:pt x="323" y="282"/>
                  </a:lnTo>
                  <a:lnTo>
                    <a:pt x="324" y="282"/>
                  </a:lnTo>
                  <a:lnTo>
                    <a:pt x="328" y="282"/>
                  </a:lnTo>
                  <a:lnTo>
                    <a:pt x="328" y="280"/>
                  </a:lnTo>
                  <a:lnTo>
                    <a:pt x="326" y="276"/>
                  </a:lnTo>
                  <a:lnTo>
                    <a:pt x="329" y="275"/>
                  </a:lnTo>
                  <a:lnTo>
                    <a:pt x="326" y="274"/>
                  </a:lnTo>
                  <a:lnTo>
                    <a:pt x="323" y="273"/>
                  </a:lnTo>
                  <a:lnTo>
                    <a:pt x="323" y="271"/>
                  </a:lnTo>
                  <a:lnTo>
                    <a:pt x="322" y="271"/>
                  </a:lnTo>
                  <a:lnTo>
                    <a:pt x="322" y="268"/>
                  </a:lnTo>
                  <a:lnTo>
                    <a:pt x="318" y="266"/>
                  </a:lnTo>
                  <a:lnTo>
                    <a:pt x="316" y="265"/>
                  </a:lnTo>
                  <a:lnTo>
                    <a:pt x="314" y="263"/>
                  </a:lnTo>
                  <a:lnTo>
                    <a:pt x="312" y="261"/>
                  </a:lnTo>
                  <a:lnTo>
                    <a:pt x="309" y="258"/>
                  </a:lnTo>
                  <a:lnTo>
                    <a:pt x="306" y="259"/>
                  </a:lnTo>
                  <a:lnTo>
                    <a:pt x="307" y="257"/>
                  </a:lnTo>
                  <a:lnTo>
                    <a:pt x="305" y="259"/>
                  </a:lnTo>
                  <a:lnTo>
                    <a:pt x="307" y="256"/>
                  </a:lnTo>
                  <a:lnTo>
                    <a:pt x="305" y="256"/>
                  </a:lnTo>
                  <a:lnTo>
                    <a:pt x="301" y="255"/>
                  </a:lnTo>
                  <a:lnTo>
                    <a:pt x="299" y="254"/>
                  </a:lnTo>
                  <a:lnTo>
                    <a:pt x="297" y="251"/>
                  </a:lnTo>
                  <a:lnTo>
                    <a:pt x="296" y="248"/>
                  </a:lnTo>
                  <a:lnTo>
                    <a:pt x="292" y="247"/>
                  </a:lnTo>
                  <a:lnTo>
                    <a:pt x="290" y="244"/>
                  </a:lnTo>
                  <a:lnTo>
                    <a:pt x="288" y="242"/>
                  </a:lnTo>
                  <a:lnTo>
                    <a:pt x="291" y="242"/>
                  </a:lnTo>
                  <a:lnTo>
                    <a:pt x="294" y="242"/>
                  </a:lnTo>
                  <a:lnTo>
                    <a:pt x="296" y="243"/>
                  </a:lnTo>
                  <a:lnTo>
                    <a:pt x="299" y="244"/>
                  </a:lnTo>
                  <a:lnTo>
                    <a:pt x="301" y="247"/>
                  </a:lnTo>
                  <a:lnTo>
                    <a:pt x="304" y="249"/>
                  </a:lnTo>
                  <a:lnTo>
                    <a:pt x="305" y="247"/>
                  </a:lnTo>
                  <a:lnTo>
                    <a:pt x="304" y="243"/>
                  </a:lnTo>
                  <a:lnTo>
                    <a:pt x="306" y="246"/>
                  </a:lnTo>
                  <a:lnTo>
                    <a:pt x="308" y="249"/>
                  </a:lnTo>
                  <a:lnTo>
                    <a:pt x="312" y="250"/>
                  </a:lnTo>
                  <a:lnTo>
                    <a:pt x="314" y="252"/>
                  </a:lnTo>
                  <a:lnTo>
                    <a:pt x="315" y="249"/>
                  </a:lnTo>
                  <a:lnTo>
                    <a:pt x="315" y="252"/>
                  </a:lnTo>
                  <a:lnTo>
                    <a:pt x="316" y="255"/>
                  </a:lnTo>
                  <a:lnTo>
                    <a:pt x="320" y="257"/>
                  </a:lnTo>
                  <a:lnTo>
                    <a:pt x="321" y="255"/>
                  </a:lnTo>
                  <a:lnTo>
                    <a:pt x="318" y="251"/>
                  </a:lnTo>
                  <a:lnTo>
                    <a:pt x="321" y="254"/>
                  </a:lnTo>
                  <a:lnTo>
                    <a:pt x="322" y="257"/>
                  </a:lnTo>
                  <a:lnTo>
                    <a:pt x="325" y="258"/>
                  </a:lnTo>
                  <a:lnTo>
                    <a:pt x="326" y="259"/>
                  </a:lnTo>
                  <a:lnTo>
                    <a:pt x="326" y="257"/>
                  </a:lnTo>
                  <a:lnTo>
                    <a:pt x="329" y="258"/>
                  </a:lnTo>
                  <a:lnTo>
                    <a:pt x="331" y="260"/>
                  </a:lnTo>
                  <a:lnTo>
                    <a:pt x="332" y="258"/>
                  </a:lnTo>
                  <a:lnTo>
                    <a:pt x="333" y="260"/>
                  </a:lnTo>
                  <a:lnTo>
                    <a:pt x="337" y="261"/>
                  </a:lnTo>
                  <a:lnTo>
                    <a:pt x="339" y="261"/>
                  </a:lnTo>
                  <a:lnTo>
                    <a:pt x="338" y="264"/>
                  </a:lnTo>
                  <a:lnTo>
                    <a:pt x="340" y="267"/>
                  </a:lnTo>
                  <a:lnTo>
                    <a:pt x="342" y="266"/>
                  </a:lnTo>
                  <a:lnTo>
                    <a:pt x="342" y="264"/>
                  </a:lnTo>
                  <a:lnTo>
                    <a:pt x="340" y="261"/>
                  </a:lnTo>
                  <a:lnTo>
                    <a:pt x="339" y="258"/>
                  </a:lnTo>
                  <a:lnTo>
                    <a:pt x="341" y="259"/>
                  </a:lnTo>
                  <a:lnTo>
                    <a:pt x="345" y="260"/>
                  </a:lnTo>
                  <a:lnTo>
                    <a:pt x="347" y="260"/>
                  </a:lnTo>
                  <a:lnTo>
                    <a:pt x="346" y="257"/>
                  </a:lnTo>
                  <a:lnTo>
                    <a:pt x="345" y="255"/>
                  </a:lnTo>
                  <a:lnTo>
                    <a:pt x="341" y="252"/>
                  </a:lnTo>
                  <a:lnTo>
                    <a:pt x="345" y="252"/>
                  </a:lnTo>
                  <a:lnTo>
                    <a:pt x="343" y="250"/>
                  </a:lnTo>
                  <a:lnTo>
                    <a:pt x="341" y="248"/>
                  </a:lnTo>
                  <a:lnTo>
                    <a:pt x="342" y="244"/>
                  </a:lnTo>
                  <a:lnTo>
                    <a:pt x="340" y="242"/>
                  </a:lnTo>
                  <a:lnTo>
                    <a:pt x="342" y="243"/>
                  </a:lnTo>
                  <a:lnTo>
                    <a:pt x="345" y="247"/>
                  </a:lnTo>
                  <a:lnTo>
                    <a:pt x="346" y="249"/>
                  </a:lnTo>
                  <a:lnTo>
                    <a:pt x="347" y="252"/>
                  </a:lnTo>
                  <a:lnTo>
                    <a:pt x="349" y="252"/>
                  </a:lnTo>
                  <a:lnTo>
                    <a:pt x="349" y="251"/>
                  </a:lnTo>
                  <a:lnTo>
                    <a:pt x="349" y="249"/>
                  </a:lnTo>
                  <a:lnTo>
                    <a:pt x="349" y="246"/>
                  </a:lnTo>
                  <a:lnTo>
                    <a:pt x="349" y="243"/>
                  </a:lnTo>
                  <a:lnTo>
                    <a:pt x="347" y="242"/>
                  </a:lnTo>
                  <a:lnTo>
                    <a:pt x="343" y="241"/>
                  </a:lnTo>
                  <a:lnTo>
                    <a:pt x="345" y="239"/>
                  </a:lnTo>
                  <a:lnTo>
                    <a:pt x="347" y="237"/>
                  </a:lnTo>
                  <a:lnTo>
                    <a:pt x="345" y="237"/>
                  </a:lnTo>
                  <a:lnTo>
                    <a:pt x="341" y="235"/>
                  </a:lnTo>
                  <a:lnTo>
                    <a:pt x="340" y="233"/>
                  </a:lnTo>
                  <a:lnTo>
                    <a:pt x="338" y="233"/>
                  </a:lnTo>
                  <a:lnTo>
                    <a:pt x="338" y="231"/>
                  </a:lnTo>
                  <a:lnTo>
                    <a:pt x="335" y="231"/>
                  </a:lnTo>
                  <a:lnTo>
                    <a:pt x="338" y="230"/>
                  </a:lnTo>
                  <a:lnTo>
                    <a:pt x="340" y="228"/>
                  </a:lnTo>
                  <a:lnTo>
                    <a:pt x="340" y="225"/>
                  </a:lnTo>
                  <a:lnTo>
                    <a:pt x="337" y="226"/>
                  </a:lnTo>
                  <a:lnTo>
                    <a:pt x="334" y="225"/>
                  </a:lnTo>
                  <a:lnTo>
                    <a:pt x="334" y="223"/>
                  </a:lnTo>
                  <a:lnTo>
                    <a:pt x="334" y="220"/>
                  </a:lnTo>
                  <a:lnTo>
                    <a:pt x="332" y="218"/>
                  </a:lnTo>
                  <a:lnTo>
                    <a:pt x="330" y="217"/>
                  </a:lnTo>
                  <a:lnTo>
                    <a:pt x="331" y="220"/>
                  </a:lnTo>
                  <a:lnTo>
                    <a:pt x="331" y="222"/>
                  </a:lnTo>
                  <a:lnTo>
                    <a:pt x="330" y="220"/>
                  </a:lnTo>
                  <a:lnTo>
                    <a:pt x="326" y="221"/>
                  </a:lnTo>
                  <a:lnTo>
                    <a:pt x="326" y="222"/>
                  </a:lnTo>
                  <a:lnTo>
                    <a:pt x="326" y="218"/>
                  </a:lnTo>
                  <a:lnTo>
                    <a:pt x="324" y="216"/>
                  </a:lnTo>
                  <a:lnTo>
                    <a:pt x="322" y="215"/>
                  </a:lnTo>
                  <a:lnTo>
                    <a:pt x="320" y="217"/>
                  </a:lnTo>
                  <a:lnTo>
                    <a:pt x="318" y="215"/>
                  </a:lnTo>
                  <a:lnTo>
                    <a:pt x="316" y="213"/>
                  </a:lnTo>
                  <a:lnTo>
                    <a:pt x="318" y="211"/>
                  </a:lnTo>
                  <a:lnTo>
                    <a:pt x="316" y="213"/>
                  </a:lnTo>
                  <a:lnTo>
                    <a:pt x="316" y="211"/>
                  </a:lnTo>
                  <a:lnTo>
                    <a:pt x="313" y="209"/>
                  </a:lnTo>
                  <a:lnTo>
                    <a:pt x="312" y="206"/>
                  </a:lnTo>
                  <a:lnTo>
                    <a:pt x="314" y="205"/>
                  </a:lnTo>
                  <a:lnTo>
                    <a:pt x="314" y="204"/>
                  </a:lnTo>
                  <a:lnTo>
                    <a:pt x="312" y="204"/>
                  </a:lnTo>
                  <a:lnTo>
                    <a:pt x="311" y="201"/>
                  </a:lnTo>
                  <a:lnTo>
                    <a:pt x="308" y="200"/>
                  </a:lnTo>
                  <a:lnTo>
                    <a:pt x="305" y="200"/>
                  </a:lnTo>
                  <a:lnTo>
                    <a:pt x="303" y="201"/>
                  </a:lnTo>
                  <a:lnTo>
                    <a:pt x="303" y="199"/>
                  </a:lnTo>
                  <a:lnTo>
                    <a:pt x="304" y="197"/>
                  </a:lnTo>
                  <a:lnTo>
                    <a:pt x="300" y="197"/>
                  </a:lnTo>
                  <a:lnTo>
                    <a:pt x="299" y="195"/>
                  </a:lnTo>
                  <a:lnTo>
                    <a:pt x="297" y="191"/>
                  </a:lnTo>
                  <a:lnTo>
                    <a:pt x="299" y="192"/>
                  </a:lnTo>
                  <a:lnTo>
                    <a:pt x="300" y="190"/>
                  </a:lnTo>
                  <a:lnTo>
                    <a:pt x="297" y="190"/>
                  </a:lnTo>
                  <a:lnTo>
                    <a:pt x="295" y="188"/>
                  </a:lnTo>
                  <a:lnTo>
                    <a:pt x="292" y="188"/>
                  </a:lnTo>
                  <a:lnTo>
                    <a:pt x="295" y="187"/>
                  </a:lnTo>
                  <a:lnTo>
                    <a:pt x="297" y="187"/>
                  </a:lnTo>
                  <a:lnTo>
                    <a:pt x="300" y="189"/>
                  </a:lnTo>
                  <a:lnTo>
                    <a:pt x="301" y="191"/>
                  </a:lnTo>
                  <a:lnTo>
                    <a:pt x="304" y="195"/>
                  </a:lnTo>
                  <a:lnTo>
                    <a:pt x="306" y="194"/>
                  </a:lnTo>
                  <a:lnTo>
                    <a:pt x="309" y="194"/>
                  </a:lnTo>
                  <a:lnTo>
                    <a:pt x="312" y="194"/>
                  </a:lnTo>
                  <a:lnTo>
                    <a:pt x="313" y="191"/>
                  </a:lnTo>
                  <a:lnTo>
                    <a:pt x="311" y="189"/>
                  </a:lnTo>
                  <a:lnTo>
                    <a:pt x="307" y="188"/>
                  </a:lnTo>
                  <a:lnTo>
                    <a:pt x="305" y="184"/>
                  </a:lnTo>
                  <a:lnTo>
                    <a:pt x="304" y="182"/>
                  </a:lnTo>
                  <a:lnTo>
                    <a:pt x="306" y="182"/>
                  </a:lnTo>
                  <a:lnTo>
                    <a:pt x="307" y="182"/>
                  </a:lnTo>
                  <a:lnTo>
                    <a:pt x="309" y="186"/>
                  </a:lnTo>
                  <a:lnTo>
                    <a:pt x="313" y="184"/>
                  </a:lnTo>
                  <a:lnTo>
                    <a:pt x="309" y="182"/>
                  </a:lnTo>
                  <a:lnTo>
                    <a:pt x="313" y="183"/>
                  </a:lnTo>
                  <a:lnTo>
                    <a:pt x="312" y="181"/>
                  </a:lnTo>
                  <a:lnTo>
                    <a:pt x="309" y="179"/>
                  </a:lnTo>
                  <a:lnTo>
                    <a:pt x="306" y="179"/>
                  </a:lnTo>
                  <a:lnTo>
                    <a:pt x="309" y="179"/>
                  </a:lnTo>
                  <a:lnTo>
                    <a:pt x="312" y="179"/>
                  </a:lnTo>
                  <a:lnTo>
                    <a:pt x="314" y="180"/>
                  </a:lnTo>
                  <a:lnTo>
                    <a:pt x="314" y="178"/>
                  </a:lnTo>
                  <a:lnTo>
                    <a:pt x="316" y="179"/>
                  </a:lnTo>
                  <a:lnTo>
                    <a:pt x="318" y="181"/>
                  </a:lnTo>
                  <a:lnTo>
                    <a:pt x="321" y="183"/>
                  </a:lnTo>
                  <a:lnTo>
                    <a:pt x="322" y="186"/>
                  </a:lnTo>
                  <a:lnTo>
                    <a:pt x="324" y="186"/>
                  </a:lnTo>
                  <a:lnTo>
                    <a:pt x="326" y="186"/>
                  </a:lnTo>
                  <a:lnTo>
                    <a:pt x="326" y="188"/>
                  </a:lnTo>
                  <a:lnTo>
                    <a:pt x="329" y="189"/>
                  </a:lnTo>
                  <a:lnTo>
                    <a:pt x="332" y="188"/>
                  </a:lnTo>
                  <a:lnTo>
                    <a:pt x="334" y="186"/>
                  </a:lnTo>
                  <a:lnTo>
                    <a:pt x="335" y="183"/>
                  </a:lnTo>
                  <a:lnTo>
                    <a:pt x="335" y="183"/>
                  </a:lnTo>
                  <a:lnTo>
                    <a:pt x="335" y="186"/>
                  </a:lnTo>
                  <a:lnTo>
                    <a:pt x="333" y="188"/>
                  </a:lnTo>
                  <a:lnTo>
                    <a:pt x="330" y="190"/>
                  </a:lnTo>
                  <a:lnTo>
                    <a:pt x="330" y="192"/>
                  </a:lnTo>
                  <a:lnTo>
                    <a:pt x="331" y="192"/>
                  </a:lnTo>
                  <a:lnTo>
                    <a:pt x="333" y="192"/>
                  </a:lnTo>
                  <a:lnTo>
                    <a:pt x="335" y="192"/>
                  </a:lnTo>
                  <a:lnTo>
                    <a:pt x="339" y="191"/>
                  </a:lnTo>
                  <a:lnTo>
                    <a:pt x="341" y="191"/>
                  </a:lnTo>
                  <a:lnTo>
                    <a:pt x="345" y="189"/>
                  </a:lnTo>
                  <a:lnTo>
                    <a:pt x="346" y="187"/>
                  </a:lnTo>
                  <a:lnTo>
                    <a:pt x="348" y="184"/>
                  </a:lnTo>
                  <a:lnTo>
                    <a:pt x="350" y="184"/>
                  </a:lnTo>
                  <a:lnTo>
                    <a:pt x="348" y="186"/>
                  </a:lnTo>
                  <a:lnTo>
                    <a:pt x="346" y="189"/>
                  </a:lnTo>
                  <a:lnTo>
                    <a:pt x="345" y="191"/>
                  </a:lnTo>
                  <a:lnTo>
                    <a:pt x="342" y="192"/>
                  </a:lnTo>
                  <a:lnTo>
                    <a:pt x="339" y="194"/>
                  </a:lnTo>
                  <a:lnTo>
                    <a:pt x="337" y="196"/>
                  </a:lnTo>
                  <a:lnTo>
                    <a:pt x="337" y="198"/>
                  </a:lnTo>
                  <a:lnTo>
                    <a:pt x="340" y="199"/>
                  </a:lnTo>
                  <a:lnTo>
                    <a:pt x="342" y="198"/>
                  </a:lnTo>
                  <a:lnTo>
                    <a:pt x="346" y="198"/>
                  </a:lnTo>
                  <a:lnTo>
                    <a:pt x="342" y="198"/>
                  </a:lnTo>
                  <a:lnTo>
                    <a:pt x="340" y="200"/>
                  </a:lnTo>
                  <a:lnTo>
                    <a:pt x="342" y="201"/>
                  </a:lnTo>
                  <a:lnTo>
                    <a:pt x="346" y="199"/>
                  </a:lnTo>
                  <a:lnTo>
                    <a:pt x="343" y="203"/>
                  </a:lnTo>
                  <a:lnTo>
                    <a:pt x="341" y="203"/>
                  </a:lnTo>
                  <a:lnTo>
                    <a:pt x="341" y="205"/>
                  </a:lnTo>
                  <a:lnTo>
                    <a:pt x="345" y="205"/>
                  </a:lnTo>
                  <a:lnTo>
                    <a:pt x="347" y="205"/>
                  </a:lnTo>
                  <a:lnTo>
                    <a:pt x="349" y="204"/>
                  </a:lnTo>
                  <a:lnTo>
                    <a:pt x="347" y="206"/>
                  </a:lnTo>
                  <a:lnTo>
                    <a:pt x="345" y="206"/>
                  </a:lnTo>
                  <a:lnTo>
                    <a:pt x="347" y="207"/>
                  </a:lnTo>
                  <a:lnTo>
                    <a:pt x="345" y="207"/>
                  </a:lnTo>
                  <a:lnTo>
                    <a:pt x="347" y="208"/>
                  </a:lnTo>
                  <a:lnTo>
                    <a:pt x="348" y="212"/>
                  </a:lnTo>
                  <a:lnTo>
                    <a:pt x="350" y="208"/>
                  </a:lnTo>
                  <a:lnTo>
                    <a:pt x="351" y="206"/>
                  </a:lnTo>
                  <a:lnTo>
                    <a:pt x="351" y="208"/>
                  </a:lnTo>
                  <a:lnTo>
                    <a:pt x="354" y="209"/>
                  </a:lnTo>
                  <a:lnTo>
                    <a:pt x="354" y="213"/>
                  </a:lnTo>
                  <a:lnTo>
                    <a:pt x="357" y="212"/>
                  </a:lnTo>
                  <a:lnTo>
                    <a:pt x="359" y="213"/>
                  </a:lnTo>
                  <a:lnTo>
                    <a:pt x="362" y="216"/>
                  </a:lnTo>
                  <a:lnTo>
                    <a:pt x="364" y="214"/>
                  </a:lnTo>
                  <a:lnTo>
                    <a:pt x="364" y="211"/>
                  </a:lnTo>
                  <a:lnTo>
                    <a:pt x="365" y="208"/>
                  </a:lnTo>
                  <a:lnTo>
                    <a:pt x="364" y="206"/>
                  </a:lnTo>
                  <a:lnTo>
                    <a:pt x="366" y="205"/>
                  </a:lnTo>
                  <a:lnTo>
                    <a:pt x="364" y="204"/>
                  </a:lnTo>
                  <a:lnTo>
                    <a:pt x="366" y="200"/>
                  </a:lnTo>
                  <a:lnTo>
                    <a:pt x="363" y="200"/>
                  </a:lnTo>
                  <a:lnTo>
                    <a:pt x="360" y="199"/>
                  </a:lnTo>
                  <a:lnTo>
                    <a:pt x="363" y="199"/>
                  </a:lnTo>
                  <a:lnTo>
                    <a:pt x="364" y="196"/>
                  </a:lnTo>
                  <a:lnTo>
                    <a:pt x="363" y="194"/>
                  </a:lnTo>
                  <a:lnTo>
                    <a:pt x="365" y="196"/>
                  </a:lnTo>
                  <a:lnTo>
                    <a:pt x="367" y="199"/>
                  </a:lnTo>
                  <a:lnTo>
                    <a:pt x="369" y="200"/>
                  </a:lnTo>
                  <a:lnTo>
                    <a:pt x="371" y="201"/>
                  </a:lnTo>
                  <a:lnTo>
                    <a:pt x="371" y="198"/>
                  </a:lnTo>
                  <a:lnTo>
                    <a:pt x="374" y="200"/>
                  </a:lnTo>
                  <a:lnTo>
                    <a:pt x="372" y="197"/>
                  </a:lnTo>
                  <a:lnTo>
                    <a:pt x="375" y="198"/>
                  </a:lnTo>
                  <a:lnTo>
                    <a:pt x="373" y="196"/>
                  </a:lnTo>
                  <a:lnTo>
                    <a:pt x="375" y="196"/>
                  </a:lnTo>
                  <a:lnTo>
                    <a:pt x="379" y="196"/>
                  </a:lnTo>
                  <a:lnTo>
                    <a:pt x="377" y="194"/>
                  </a:lnTo>
                  <a:lnTo>
                    <a:pt x="375" y="191"/>
                  </a:lnTo>
                  <a:lnTo>
                    <a:pt x="372" y="191"/>
                  </a:lnTo>
                  <a:lnTo>
                    <a:pt x="371" y="189"/>
                  </a:lnTo>
                  <a:lnTo>
                    <a:pt x="374" y="191"/>
                  </a:lnTo>
                  <a:lnTo>
                    <a:pt x="376" y="191"/>
                  </a:lnTo>
                  <a:lnTo>
                    <a:pt x="379" y="192"/>
                  </a:lnTo>
                  <a:lnTo>
                    <a:pt x="382" y="191"/>
                  </a:lnTo>
                  <a:lnTo>
                    <a:pt x="382" y="189"/>
                  </a:lnTo>
                  <a:lnTo>
                    <a:pt x="379" y="188"/>
                  </a:lnTo>
                  <a:lnTo>
                    <a:pt x="376" y="187"/>
                  </a:lnTo>
                  <a:lnTo>
                    <a:pt x="373" y="187"/>
                  </a:lnTo>
                  <a:lnTo>
                    <a:pt x="376" y="187"/>
                  </a:lnTo>
                  <a:lnTo>
                    <a:pt x="379" y="186"/>
                  </a:lnTo>
                  <a:lnTo>
                    <a:pt x="377" y="182"/>
                  </a:lnTo>
                  <a:lnTo>
                    <a:pt x="374" y="182"/>
                  </a:lnTo>
                  <a:lnTo>
                    <a:pt x="377" y="182"/>
                  </a:lnTo>
                  <a:lnTo>
                    <a:pt x="379" y="182"/>
                  </a:lnTo>
                  <a:lnTo>
                    <a:pt x="382" y="184"/>
                  </a:lnTo>
                  <a:lnTo>
                    <a:pt x="384" y="186"/>
                  </a:lnTo>
                  <a:lnTo>
                    <a:pt x="388" y="184"/>
                  </a:lnTo>
                  <a:lnTo>
                    <a:pt x="390" y="183"/>
                  </a:lnTo>
                  <a:lnTo>
                    <a:pt x="388" y="182"/>
                  </a:lnTo>
                  <a:lnTo>
                    <a:pt x="384" y="182"/>
                  </a:lnTo>
                  <a:lnTo>
                    <a:pt x="388" y="181"/>
                  </a:lnTo>
                  <a:lnTo>
                    <a:pt x="388" y="179"/>
                  </a:lnTo>
                  <a:lnTo>
                    <a:pt x="384" y="178"/>
                  </a:lnTo>
                  <a:lnTo>
                    <a:pt x="382" y="178"/>
                  </a:lnTo>
                  <a:lnTo>
                    <a:pt x="384" y="177"/>
                  </a:lnTo>
                  <a:lnTo>
                    <a:pt x="388" y="177"/>
                  </a:lnTo>
                  <a:lnTo>
                    <a:pt x="390" y="179"/>
                  </a:lnTo>
                  <a:lnTo>
                    <a:pt x="392" y="179"/>
                  </a:lnTo>
                  <a:lnTo>
                    <a:pt x="393" y="178"/>
                  </a:lnTo>
                  <a:lnTo>
                    <a:pt x="392" y="175"/>
                  </a:lnTo>
                  <a:lnTo>
                    <a:pt x="389" y="173"/>
                  </a:lnTo>
                  <a:lnTo>
                    <a:pt x="386" y="172"/>
                  </a:lnTo>
                  <a:lnTo>
                    <a:pt x="383" y="172"/>
                  </a:lnTo>
                  <a:lnTo>
                    <a:pt x="386" y="171"/>
                  </a:lnTo>
                  <a:lnTo>
                    <a:pt x="383" y="171"/>
                  </a:lnTo>
                  <a:lnTo>
                    <a:pt x="383" y="167"/>
                  </a:lnTo>
                  <a:lnTo>
                    <a:pt x="381" y="169"/>
                  </a:lnTo>
                  <a:lnTo>
                    <a:pt x="377" y="171"/>
                  </a:lnTo>
                  <a:lnTo>
                    <a:pt x="379" y="173"/>
                  </a:lnTo>
                  <a:lnTo>
                    <a:pt x="376" y="171"/>
                  </a:lnTo>
                  <a:lnTo>
                    <a:pt x="374" y="170"/>
                  </a:lnTo>
                  <a:lnTo>
                    <a:pt x="373" y="173"/>
                  </a:lnTo>
                  <a:lnTo>
                    <a:pt x="372" y="175"/>
                  </a:lnTo>
                  <a:lnTo>
                    <a:pt x="372" y="177"/>
                  </a:lnTo>
                  <a:lnTo>
                    <a:pt x="372" y="174"/>
                  </a:lnTo>
                  <a:lnTo>
                    <a:pt x="372" y="171"/>
                  </a:lnTo>
                  <a:lnTo>
                    <a:pt x="369" y="170"/>
                  </a:lnTo>
                  <a:lnTo>
                    <a:pt x="366" y="171"/>
                  </a:lnTo>
                  <a:lnTo>
                    <a:pt x="365" y="174"/>
                  </a:lnTo>
                  <a:lnTo>
                    <a:pt x="364" y="171"/>
                  </a:lnTo>
                  <a:lnTo>
                    <a:pt x="362" y="173"/>
                  </a:lnTo>
                  <a:lnTo>
                    <a:pt x="358" y="173"/>
                  </a:lnTo>
                  <a:lnTo>
                    <a:pt x="362" y="173"/>
                  </a:lnTo>
                  <a:lnTo>
                    <a:pt x="363" y="171"/>
                  </a:lnTo>
                  <a:lnTo>
                    <a:pt x="366" y="170"/>
                  </a:lnTo>
                  <a:lnTo>
                    <a:pt x="366" y="167"/>
                  </a:lnTo>
                  <a:lnTo>
                    <a:pt x="369" y="165"/>
                  </a:lnTo>
                  <a:lnTo>
                    <a:pt x="371" y="162"/>
                  </a:lnTo>
                  <a:lnTo>
                    <a:pt x="367" y="162"/>
                  </a:lnTo>
                  <a:lnTo>
                    <a:pt x="365" y="164"/>
                  </a:lnTo>
                  <a:lnTo>
                    <a:pt x="364" y="166"/>
                  </a:lnTo>
                  <a:lnTo>
                    <a:pt x="362" y="167"/>
                  </a:lnTo>
                  <a:lnTo>
                    <a:pt x="364" y="165"/>
                  </a:lnTo>
                  <a:lnTo>
                    <a:pt x="360" y="164"/>
                  </a:lnTo>
                  <a:lnTo>
                    <a:pt x="358" y="164"/>
                  </a:lnTo>
                  <a:lnTo>
                    <a:pt x="356" y="165"/>
                  </a:lnTo>
                  <a:lnTo>
                    <a:pt x="352" y="165"/>
                  </a:lnTo>
                  <a:lnTo>
                    <a:pt x="350" y="165"/>
                  </a:lnTo>
                  <a:lnTo>
                    <a:pt x="348" y="169"/>
                  </a:lnTo>
                  <a:lnTo>
                    <a:pt x="347" y="169"/>
                  </a:lnTo>
                  <a:lnTo>
                    <a:pt x="348" y="166"/>
                  </a:lnTo>
                  <a:lnTo>
                    <a:pt x="350" y="165"/>
                  </a:lnTo>
                  <a:lnTo>
                    <a:pt x="352" y="164"/>
                  </a:lnTo>
                  <a:lnTo>
                    <a:pt x="356" y="164"/>
                  </a:lnTo>
                  <a:lnTo>
                    <a:pt x="352" y="163"/>
                  </a:lnTo>
                  <a:lnTo>
                    <a:pt x="350" y="164"/>
                  </a:lnTo>
                  <a:lnTo>
                    <a:pt x="347" y="164"/>
                  </a:lnTo>
                  <a:lnTo>
                    <a:pt x="350" y="163"/>
                  </a:lnTo>
                  <a:lnTo>
                    <a:pt x="352" y="163"/>
                  </a:lnTo>
                  <a:lnTo>
                    <a:pt x="350" y="162"/>
                  </a:lnTo>
                  <a:lnTo>
                    <a:pt x="347" y="161"/>
                  </a:lnTo>
                  <a:lnTo>
                    <a:pt x="350" y="161"/>
                  </a:lnTo>
                  <a:lnTo>
                    <a:pt x="356" y="162"/>
                  </a:lnTo>
                  <a:lnTo>
                    <a:pt x="357" y="160"/>
                  </a:lnTo>
                  <a:lnTo>
                    <a:pt x="354" y="158"/>
                  </a:lnTo>
                  <a:lnTo>
                    <a:pt x="351" y="158"/>
                  </a:lnTo>
                  <a:lnTo>
                    <a:pt x="354" y="157"/>
                  </a:lnTo>
                  <a:lnTo>
                    <a:pt x="355" y="155"/>
                  </a:lnTo>
                  <a:lnTo>
                    <a:pt x="356" y="155"/>
                  </a:lnTo>
                  <a:lnTo>
                    <a:pt x="352" y="155"/>
                  </a:lnTo>
                  <a:lnTo>
                    <a:pt x="352" y="152"/>
                  </a:lnTo>
                  <a:lnTo>
                    <a:pt x="349" y="153"/>
                  </a:lnTo>
                  <a:lnTo>
                    <a:pt x="349" y="151"/>
                  </a:lnTo>
                  <a:lnTo>
                    <a:pt x="347" y="151"/>
                  </a:lnTo>
                  <a:lnTo>
                    <a:pt x="346" y="153"/>
                  </a:lnTo>
                  <a:lnTo>
                    <a:pt x="343" y="152"/>
                  </a:lnTo>
                  <a:lnTo>
                    <a:pt x="340" y="154"/>
                  </a:lnTo>
                  <a:lnTo>
                    <a:pt x="342" y="152"/>
                  </a:lnTo>
                  <a:lnTo>
                    <a:pt x="342" y="148"/>
                  </a:lnTo>
                  <a:lnTo>
                    <a:pt x="346" y="147"/>
                  </a:lnTo>
                  <a:lnTo>
                    <a:pt x="342" y="145"/>
                  </a:lnTo>
                  <a:lnTo>
                    <a:pt x="340" y="147"/>
                  </a:lnTo>
                  <a:lnTo>
                    <a:pt x="338" y="147"/>
                  </a:lnTo>
                  <a:lnTo>
                    <a:pt x="335" y="151"/>
                  </a:lnTo>
                  <a:lnTo>
                    <a:pt x="338" y="153"/>
                  </a:lnTo>
                  <a:lnTo>
                    <a:pt x="335" y="152"/>
                  </a:lnTo>
                  <a:lnTo>
                    <a:pt x="335" y="148"/>
                  </a:lnTo>
                  <a:lnTo>
                    <a:pt x="337" y="146"/>
                  </a:lnTo>
                  <a:lnTo>
                    <a:pt x="334" y="146"/>
                  </a:lnTo>
                  <a:lnTo>
                    <a:pt x="330" y="152"/>
                  </a:lnTo>
                  <a:lnTo>
                    <a:pt x="329" y="154"/>
                  </a:lnTo>
                  <a:lnTo>
                    <a:pt x="329" y="152"/>
                  </a:lnTo>
                  <a:lnTo>
                    <a:pt x="330" y="148"/>
                  </a:lnTo>
                  <a:lnTo>
                    <a:pt x="329" y="147"/>
                  </a:lnTo>
                  <a:lnTo>
                    <a:pt x="331" y="144"/>
                  </a:lnTo>
                  <a:lnTo>
                    <a:pt x="328" y="145"/>
                  </a:lnTo>
                  <a:lnTo>
                    <a:pt x="325" y="147"/>
                  </a:lnTo>
                  <a:lnTo>
                    <a:pt x="324" y="149"/>
                  </a:lnTo>
                  <a:lnTo>
                    <a:pt x="322" y="149"/>
                  </a:lnTo>
                  <a:lnTo>
                    <a:pt x="320" y="148"/>
                  </a:lnTo>
                  <a:lnTo>
                    <a:pt x="322" y="149"/>
                  </a:lnTo>
                  <a:lnTo>
                    <a:pt x="324" y="146"/>
                  </a:lnTo>
                  <a:lnTo>
                    <a:pt x="325" y="144"/>
                  </a:lnTo>
                  <a:lnTo>
                    <a:pt x="322" y="144"/>
                  </a:lnTo>
                  <a:lnTo>
                    <a:pt x="320" y="146"/>
                  </a:lnTo>
                  <a:lnTo>
                    <a:pt x="320" y="143"/>
                  </a:lnTo>
                  <a:lnTo>
                    <a:pt x="317" y="144"/>
                  </a:lnTo>
                  <a:lnTo>
                    <a:pt x="317" y="141"/>
                  </a:lnTo>
                  <a:lnTo>
                    <a:pt x="315" y="139"/>
                  </a:lnTo>
                  <a:lnTo>
                    <a:pt x="313" y="139"/>
                  </a:lnTo>
                  <a:lnTo>
                    <a:pt x="311" y="143"/>
                  </a:lnTo>
                  <a:lnTo>
                    <a:pt x="308" y="143"/>
                  </a:lnTo>
                  <a:lnTo>
                    <a:pt x="311" y="141"/>
                  </a:lnTo>
                  <a:lnTo>
                    <a:pt x="312" y="139"/>
                  </a:lnTo>
                  <a:lnTo>
                    <a:pt x="314" y="138"/>
                  </a:lnTo>
                  <a:lnTo>
                    <a:pt x="312" y="137"/>
                  </a:lnTo>
                  <a:lnTo>
                    <a:pt x="309" y="138"/>
                  </a:lnTo>
                  <a:lnTo>
                    <a:pt x="306" y="140"/>
                  </a:lnTo>
                  <a:lnTo>
                    <a:pt x="304" y="139"/>
                  </a:lnTo>
                  <a:lnTo>
                    <a:pt x="306" y="138"/>
                  </a:lnTo>
                  <a:lnTo>
                    <a:pt x="309" y="137"/>
                  </a:lnTo>
                  <a:lnTo>
                    <a:pt x="312" y="136"/>
                  </a:lnTo>
                  <a:lnTo>
                    <a:pt x="314" y="137"/>
                  </a:lnTo>
                  <a:lnTo>
                    <a:pt x="317" y="136"/>
                  </a:lnTo>
                  <a:lnTo>
                    <a:pt x="314" y="135"/>
                  </a:lnTo>
                  <a:lnTo>
                    <a:pt x="312" y="136"/>
                  </a:lnTo>
                  <a:lnTo>
                    <a:pt x="309" y="135"/>
                  </a:lnTo>
                  <a:lnTo>
                    <a:pt x="307" y="137"/>
                  </a:lnTo>
                  <a:lnTo>
                    <a:pt x="306" y="134"/>
                  </a:lnTo>
                  <a:lnTo>
                    <a:pt x="304" y="132"/>
                  </a:lnTo>
                  <a:lnTo>
                    <a:pt x="303" y="136"/>
                  </a:lnTo>
                  <a:lnTo>
                    <a:pt x="303" y="132"/>
                  </a:lnTo>
                  <a:lnTo>
                    <a:pt x="300" y="134"/>
                  </a:lnTo>
                  <a:lnTo>
                    <a:pt x="297" y="131"/>
                  </a:lnTo>
                  <a:lnTo>
                    <a:pt x="295" y="132"/>
                  </a:lnTo>
                  <a:lnTo>
                    <a:pt x="292" y="132"/>
                  </a:lnTo>
                  <a:lnTo>
                    <a:pt x="295" y="131"/>
                  </a:lnTo>
                  <a:lnTo>
                    <a:pt x="292" y="131"/>
                  </a:lnTo>
                  <a:lnTo>
                    <a:pt x="289" y="131"/>
                  </a:lnTo>
                  <a:lnTo>
                    <a:pt x="292" y="130"/>
                  </a:lnTo>
                  <a:lnTo>
                    <a:pt x="295" y="130"/>
                  </a:lnTo>
                  <a:lnTo>
                    <a:pt x="297" y="130"/>
                  </a:lnTo>
                  <a:lnTo>
                    <a:pt x="300" y="130"/>
                  </a:lnTo>
                  <a:lnTo>
                    <a:pt x="297" y="129"/>
                  </a:lnTo>
                  <a:lnTo>
                    <a:pt x="292" y="128"/>
                  </a:lnTo>
                  <a:lnTo>
                    <a:pt x="289" y="128"/>
                  </a:lnTo>
                  <a:lnTo>
                    <a:pt x="287" y="127"/>
                  </a:lnTo>
                  <a:lnTo>
                    <a:pt x="283" y="127"/>
                  </a:lnTo>
                  <a:lnTo>
                    <a:pt x="287" y="126"/>
                  </a:lnTo>
                  <a:lnTo>
                    <a:pt x="289" y="127"/>
                  </a:lnTo>
                  <a:lnTo>
                    <a:pt x="295" y="127"/>
                  </a:lnTo>
                  <a:lnTo>
                    <a:pt x="297" y="126"/>
                  </a:lnTo>
                  <a:lnTo>
                    <a:pt x="300" y="127"/>
                  </a:lnTo>
                  <a:lnTo>
                    <a:pt x="303" y="127"/>
                  </a:lnTo>
                  <a:lnTo>
                    <a:pt x="304" y="127"/>
                  </a:lnTo>
                  <a:lnTo>
                    <a:pt x="300" y="126"/>
                  </a:lnTo>
                  <a:lnTo>
                    <a:pt x="298" y="124"/>
                  </a:lnTo>
                  <a:lnTo>
                    <a:pt x="295" y="124"/>
                  </a:lnTo>
                  <a:lnTo>
                    <a:pt x="298" y="124"/>
                  </a:lnTo>
                  <a:lnTo>
                    <a:pt x="300" y="126"/>
                  </a:lnTo>
                  <a:lnTo>
                    <a:pt x="298" y="122"/>
                  </a:lnTo>
                  <a:lnTo>
                    <a:pt x="295" y="122"/>
                  </a:lnTo>
                  <a:lnTo>
                    <a:pt x="298" y="122"/>
                  </a:lnTo>
                  <a:lnTo>
                    <a:pt x="300" y="122"/>
                  </a:lnTo>
                  <a:lnTo>
                    <a:pt x="304" y="121"/>
                  </a:lnTo>
                  <a:lnTo>
                    <a:pt x="300" y="119"/>
                  </a:lnTo>
                  <a:lnTo>
                    <a:pt x="298" y="118"/>
                  </a:lnTo>
                  <a:lnTo>
                    <a:pt x="296" y="118"/>
                  </a:lnTo>
                  <a:lnTo>
                    <a:pt x="292" y="119"/>
                  </a:lnTo>
                  <a:lnTo>
                    <a:pt x="290" y="120"/>
                  </a:lnTo>
                  <a:lnTo>
                    <a:pt x="288" y="122"/>
                  </a:lnTo>
                  <a:lnTo>
                    <a:pt x="289" y="120"/>
                  </a:lnTo>
                  <a:lnTo>
                    <a:pt x="291" y="119"/>
                  </a:lnTo>
                  <a:lnTo>
                    <a:pt x="295" y="118"/>
                  </a:lnTo>
                  <a:lnTo>
                    <a:pt x="291" y="117"/>
                  </a:lnTo>
                  <a:lnTo>
                    <a:pt x="289" y="117"/>
                  </a:lnTo>
                  <a:lnTo>
                    <a:pt x="288" y="117"/>
                  </a:lnTo>
                  <a:lnTo>
                    <a:pt x="291" y="117"/>
                  </a:lnTo>
                  <a:lnTo>
                    <a:pt x="294" y="117"/>
                  </a:lnTo>
                  <a:lnTo>
                    <a:pt x="297" y="117"/>
                  </a:lnTo>
                  <a:lnTo>
                    <a:pt x="299" y="118"/>
                  </a:lnTo>
                  <a:lnTo>
                    <a:pt x="297" y="115"/>
                  </a:lnTo>
                  <a:lnTo>
                    <a:pt x="294" y="115"/>
                  </a:lnTo>
                  <a:lnTo>
                    <a:pt x="291" y="114"/>
                  </a:lnTo>
                  <a:lnTo>
                    <a:pt x="288" y="114"/>
                  </a:lnTo>
                  <a:lnTo>
                    <a:pt x="286" y="114"/>
                  </a:lnTo>
                  <a:lnTo>
                    <a:pt x="288" y="113"/>
                  </a:lnTo>
                  <a:lnTo>
                    <a:pt x="291" y="114"/>
                  </a:lnTo>
                  <a:lnTo>
                    <a:pt x="294" y="114"/>
                  </a:lnTo>
                  <a:lnTo>
                    <a:pt x="297" y="114"/>
                  </a:lnTo>
                  <a:lnTo>
                    <a:pt x="299" y="114"/>
                  </a:lnTo>
                  <a:lnTo>
                    <a:pt x="303" y="117"/>
                  </a:lnTo>
                  <a:lnTo>
                    <a:pt x="305" y="118"/>
                  </a:lnTo>
                  <a:lnTo>
                    <a:pt x="308" y="118"/>
                  </a:lnTo>
                  <a:lnTo>
                    <a:pt x="311" y="118"/>
                  </a:lnTo>
                  <a:lnTo>
                    <a:pt x="314" y="118"/>
                  </a:lnTo>
                  <a:lnTo>
                    <a:pt x="316" y="118"/>
                  </a:lnTo>
                  <a:lnTo>
                    <a:pt x="318" y="119"/>
                  </a:lnTo>
                  <a:lnTo>
                    <a:pt x="320" y="115"/>
                  </a:lnTo>
                  <a:lnTo>
                    <a:pt x="317" y="113"/>
                  </a:lnTo>
                  <a:lnTo>
                    <a:pt x="314" y="112"/>
                  </a:lnTo>
                  <a:lnTo>
                    <a:pt x="312" y="111"/>
                  </a:lnTo>
                  <a:lnTo>
                    <a:pt x="308" y="111"/>
                  </a:lnTo>
                  <a:lnTo>
                    <a:pt x="306" y="110"/>
                  </a:lnTo>
                  <a:lnTo>
                    <a:pt x="303" y="111"/>
                  </a:lnTo>
                  <a:lnTo>
                    <a:pt x="300" y="110"/>
                  </a:lnTo>
                  <a:lnTo>
                    <a:pt x="297" y="109"/>
                  </a:lnTo>
                  <a:lnTo>
                    <a:pt x="295" y="109"/>
                  </a:lnTo>
                  <a:lnTo>
                    <a:pt x="292" y="107"/>
                  </a:lnTo>
                  <a:lnTo>
                    <a:pt x="289" y="109"/>
                  </a:lnTo>
                  <a:lnTo>
                    <a:pt x="287" y="109"/>
                  </a:lnTo>
                  <a:lnTo>
                    <a:pt x="283" y="110"/>
                  </a:lnTo>
                  <a:lnTo>
                    <a:pt x="280" y="109"/>
                  </a:lnTo>
                  <a:lnTo>
                    <a:pt x="278" y="109"/>
                  </a:lnTo>
                  <a:lnTo>
                    <a:pt x="275" y="110"/>
                  </a:lnTo>
                  <a:lnTo>
                    <a:pt x="274" y="110"/>
                  </a:lnTo>
                  <a:lnTo>
                    <a:pt x="274" y="109"/>
                  </a:lnTo>
                  <a:lnTo>
                    <a:pt x="277" y="109"/>
                  </a:lnTo>
                  <a:lnTo>
                    <a:pt x="280" y="109"/>
                  </a:lnTo>
                  <a:lnTo>
                    <a:pt x="282" y="109"/>
                  </a:lnTo>
                  <a:lnTo>
                    <a:pt x="284" y="109"/>
                  </a:lnTo>
                  <a:lnTo>
                    <a:pt x="290" y="106"/>
                  </a:lnTo>
                  <a:lnTo>
                    <a:pt x="294" y="106"/>
                  </a:lnTo>
                  <a:lnTo>
                    <a:pt x="296" y="106"/>
                  </a:lnTo>
                  <a:lnTo>
                    <a:pt x="298" y="104"/>
                  </a:lnTo>
                  <a:lnTo>
                    <a:pt x="301" y="103"/>
                  </a:lnTo>
                  <a:lnTo>
                    <a:pt x="304" y="103"/>
                  </a:lnTo>
                  <a:lnTo>
                    <a:pt x="307" y="104"/>
                  </a:lnTo>
                  <a:lnTo>
                    <a:pt x="309" y="104"/>
                  </a:lnTo>
                  <a:lnTo>
                    <a:pt x="313" y="104"/>
                  </a:lnTo>
                  <a:lnTo>
                    <a:pt x="313" y="102"/>
                  </a:lnTo>
                  <a:lnTo>
                    <a:pt x="312" y="100"/>
                  </a:lnTo>
                  <a:lnTo>
                    <a:pt x="311" y="97"/>
                  </a:lnTo>
                  <a:lnTo>
                    <a:pt x="308" y="95"/>
                  </a:lnTo>
                  <a:lnTo>
                    <a:pt x="306" y="93"/>
                  </a:lnTo>
                  <a:lnTo>
                    <a:pt x="303" y="90"/>
                  </a:lnTo>
                  <a:lnTo>
                    <a:pt x="300" y="89"/>
                  </a:lnTo>
                  <a:lnTo>
                    <a:pt x="297" y="92"/>
                  </a:lnTo>
                  <a:lnTo>
                    <a:pt x="299" y="95"/>
                  </a:lnTo>
                  <a:lnTo>
                    <a:pt x="296" y="96"/>
                  </a:lnTo>
                  <a:lnTo>
                    <a:pt x="294" y="97"/>
                  </a:lnTo>
                  <a:lnTo>
                    <a:pt x="290" y="98"/>
                  </a:lnTo>
                  <a:lnTo>
                    <a:pt x="288" y="100"/>
                  </a:lnTo>
                  <a:lnTo>
                    <a:pt x="284" y="101"/>
                  </a:lnTo>
                  <a:lnTo>
                    <a:pt x="282" y="103"/>
                  </a:lnTo>
                  <a:lnTo>
                    <a:pt x="280" y="102"/>
                  </a:lnTo>
                  <a:lnTo>
                    <a:pt x="277" y="103"/>
                  </a:lnTo>
                  <a:lnTo>
                    <a:pt x="274" y="105"/>
                  </a:lnTo>
                  <a:lnTo>
                    <a:pt x="274" y="107"/>
                  </a:lnTo>
                  <a:lnTo>
                    <a:pt x="274" y="106"/>
                  </a:lnTo>
                  <a:lnTo>
                    <a:pt x="275" y="103"/>
                  </a:lnTo>
                  <a:lnTo>
                    <a:pt x="279" y="102"/>
                  </a:lnTo>
                  <a:lnTo>
                    <a:pt x="281" y="102"/>
                  </a:lnTo>
                  <a:lnTo>
                    <a:pt x="284" y="100"/>
                  </a:lnTo>
                  <a:lnTo>
                    <a:pt x="287" y="98"/>
                  </a:lnTo>
                  <a:lnTo>
                    <a:pt x="288" y="97"/>
                  </a:lnTo>
                  <a:lnTo>
                    <a:pt x="291" y="96"/>
                  </a:lnTo>
                  <a:lnTo>
                    <a:pt x="292" y="94"/>
                  </a:lnTo>
                  <a:lnTo>
                    <a:pt x="290" y="93"/>
                  </a:lnTo>
                  <a:lnTo>
                    <a:pt x="287" y="93"/>
                  </a:lnTo>
                  <a:lnTo>
                    <a:pt x="284" y="93"/>
                  </a:lnTo>
                  <a:lnTo>
                    <a:pt x="281" y="94"/>
                  </a:lnTo>
                  <a:lnTo>
                    <a:pt x="279" y="94"/>
                  </a:lnTo>
                  <a:lnTo>
                    <a:pt x="277" y="97"/>
                  </a:lnTo>
                  <a:lnTo>
                    <a:pt x="278" y="97"/>
                  </a:lnTo>
                  <a:lnTo>
                    <a:pt x="274" y="98"/>
                  </a:lnTo>
                  <a:lnTo>
                    <a:pt x="274" y="98"/>
                  </a:lnTo>
                  <a:lnTo>
                    <a:pt x="269" y="102"/>
                  </a:lnTo>
                  <a:lnTo>
                    <a:pt x="271" y="98"/>
                  </a:lnTo>
                  <a:lnTo>
                    <a:pt x="274" y="98"/>
                  </a:lnTo>
                  <a:lnTo>
                    <a:pt x="277" y="97"/>
                  </a:lnTo>
                  <a:lnTo>
                    <a:pt x="274" y="96"/>
                  </a:lnTo>
                  <a:lnTo>
                    <a:pt x="274" y="96"/>
                  </a:lnTo>
                  <a:lnTo>
                    <a:pt x="277" y="94"/>
                  </a:lnTo>
                  <a:lnTo>
                    <a:pt x="280" y="93"/>
                  </a:lnTo>
                  <a:lnTo>
                    <a:pt x="282" y="92"/>
                  </a:lnTo>
                  <a:lnTo>
                    <a:pt x="288" y="90"/>
                  </a:lnTo>
                  <a:lnTo>
                    <a:pt x="291" y="90"/>
                  </a:lnTo>
                  <a:lnTo>
                    <a:pt x="292" y="87"/>
                  </a:lnTo>
                  <a:lnTo>
                    <a:pt x="295" y="88"/>
                  </a:lnTo>
                  <a:lnTo>
                    <a:pt x="297" y="86"/>
                  </a:lnTo>
                  <a:lnTo>
                    <a:pt x="296" y="83"/>
                  </a:lnTo>
                  <a:lnTo>
                    <a:pt x="290" y="81"/>
                  </a:lnTo>
                  <a:lnTo>
                    <a:pt x="288" y="80"/>
                  </a:lnTo>
                  <a:lnTo>
                    <a:pt x="286" y="79"/>
                  </a:lnTo>
                  <a:lnTo>
                    <a:pt x="282" y="78"/>
                  </a:lnTo>
                  <a:lnTo>
                    <a:pt x="280" y="79"/>
                  </a:lnTo>
                  <a:lnTo>
                    <a:pt x="277" y="80"/>
                  </a:lnTo>
                  <a:lnTo>
                    <a:pt x="274" y="83"/>
                  </a:lnTo>
                  <a:lnTo>
                    <a:pt x="271" y="83"/>
                  </a:lnTo>
                  <a:lnTo>
                    <a:pt x="269" y="83"/>
                  </a:lnTo>
                  <a:lnTo>
                    <a:pt x="270" y="86"/>
                  </a:lnTo>
                  <a:lnTo>
                    <a:pt x="267" y="83"/>
                  </a:lnTo>
                  <a:lnTo>
                    <a:pt x="270" y="83"/>
                  </a:lnTo>
                  <a:lnTo>
                    <a:pt x="273" y="80"/>
                  </a:lnTo>
                  <a:lnTo>
                    <a:pt x="274" y="80"/>
                  </a:lnTo>
                  <a:lnTo>
                    <a:pt x="277" y="78"/>
                  </a:lnTo>
                  <a:lnTo>
                    <a:pt x="274" y="77"/>
                  </a:lnTo>
                  <a:lnTo>
                    <a:pt x="271" y="78"/>
                  </a:lnTo>
                  <a:lnTo>
                    <a:pt x="269" y="78"/>
                  </a:lnTo>
                  <a:lnTo>
                    <a:pt x="265" y="79"/>
                  </a:lnTo>
                  <a:lnTo>
                    <a:pt x="263" y="81"/>
                  </a:lnTo>
                  <a:lnTo>
                    <a:pt x="261" y="83"/>
                  </a:lnTo>
                  <a:lnTo>
                    <a:pt x="260" y="85"/>
                  </a:lnTo>
                  <a:lnTo>
                    <a:pt x="258" y="87"/>
                  </a:lnTo>
                  <a:lnTo>
                    <a:pt x="257" y="90"/>
                  </a:lnTo>
                  <a:lnTo>
                    <a:pt x="256" y="93"/>
                  </a:lnTo>
                  <a:lnTo>
                    <a:pt x="255" y="95"/>
                  </a:lnTo>
                  <a:lnTo>
                    <a:pt x="256" y="93"/>
                  </a:lnTo>
                  <a:lnTo>
                    <a:pt x="256" y="89"/>
                  </a:lnTo>
                  <a:lnTo>
                    <a:pt x="257" y="87"/>
                  </a:lnTo>
                  <a:lnTo>
                    <a:pt x="258" y="85"/>
                  </a:lnTo>
                  <a:lnTo>
                    <a:pt x="255" y="84"/>
                  </a:lnTo>
                  <a:lnTo>
                    <a:pt x="253" y="86"/>
                  </a:lnTo>
                  <a:lnTo>
                    <a:pt x="252" y="88"/>
                  </a:lnTo>
                  <a:lnTo>
                    <a:pt x="249" y="90"/>
                  </a:lnTo>
                  <a:lnTo>
                    <a:pt x="251" y="87"/>
                  </a:lnTo>
                  <a:lnTo>
                    <a:pt x="247" y="87"/>
                  </a:lnTo>
                  <a:lnTo>
                    <a:pt x="251" y="87"/>
                  </a:lnTo>
                  <a:lnTo>
                    <a:pt x="253" y="84"/>
                  </a:lnTo>
                  <a:lnTo>
                    <a:pt x="255" y="83"/>
                  </a:lnTo>
                  <a:lnTo>
                    <a:pt x="258" y="84"/>
                  </a:lnTo>
                  <a:lnTo>
                    <a:pt x="261" y="81"/>
                  </a:lnTo>
                  <a:lnTo>
                    <a:pt x="263" y="79"/>
                  </a:lnTo>
                  <a:lnTo>
                    <a:pt x="265" y="77"/>
                  </a:lnTo>
                  <a:lnTo>
                    <a:pt x="266" y="73"/>
                  </a:lnTo>
                  <a:lnTo>
                    <a:pt x="265" y="71"/>
                  </a:lnTo>
                  <a:lnTo>
                    <a:pt x="263" y="70"/>
                  </a:lnTo>
                  <a:lnTo>
                    <a:pt x="261" y="71"/>
                  </a:lnTo>
                  <a:lnTo>
                    <a:pt x="257" y="72"/>
                  </a:lnTo>
                  <a:lnTo>
                    <a:pt x="257" y="76"/>
                  </a:lnTo>
                  <a:lnTo>
                    <a:pt x="254" y="76"/>
                  </a:lnTo>
                  <a:lnTo>
                    <a:pt x="252" y="77"/>
                  </a:lnTo>
                  <a:lnTo>
                    <a:pt x="248" y="78"/>
                  </a:lnTo>
                  <a:lnTo>
                    <a:pt x="246" y="78"/>
                  </a:lnTo>
                  <a:lnTo>
                    <a:pt x="243" y="80"/>
                  </a:lnTo>
                  <a:lnTo>
                    <a:pt x="240" y="83"/>
                  </a:lnTo>
                  <a:lnTo>
                    <a:pt x="238" y="83"/>
                  </a:lnTo>
                  <a:lnTo>
                    <a:pt x="240" y="81"/>
                  </a:lnTo>
                  <a:lnTo>
                    <a:pt x="243" y="78"/>
                  </a:lnTo>
                  <a:lnTo>
                    <a:pt x="240" y="77"/>
                  </a:lnTo>
                  <a:lnTo>
                    <a:pt x="238" y="78"/>
                  </a:lnTo>
                  <a:lnTo>
                    <a:pt x="240" y="77"/>
                  </a:lnTo>
                  <a:lnTo>
                    <a:pt x="244" y="73"/>
                  </a:lnTo>
                  <a:lnTo>
                    <a:pt x="246" y="71"/>
                  </a:lnTo>
                  <a:lnTo>
                    <a:pt x="248" y="70"/>
                  </a:lnTo>
                  <a:lnTo>
                    <a:pt x="251" y="71"/>
                  </a:lnTo>
                  <a:lnTo>
                    <a:pt x="254" y="71"/>
                  </a:lnTo>
                  <a:lnTo>
                    <a:pt x="256" y="69"/>
                  </a:lnTo>
                  <a:lnTo>
                    <a:pt x="258" y="67"/>
                  </a:lnTo>
                  <a:lnTo>
                    <a:pt x="257" y="64"/>
                  </a:lnTo>
                  <a:lnTo>
                    <a:pt x="254" y="61"/>
                  </a:lnTo>
                  <a:lnTo>
                    <a:pt x="252" y="60"/>
                  </a:lnTo>
                  <a:lnTo>
                    <a:pt x="248" y="59"/>
                  </a:lnTo>
                  <a:lnTo>
                    <a:pt x="246" y="59"/>
                  </a:lnTo>
                  <a:lnTo>
                    <a:pt x="244" y="58"/>
                  </a:lnTo>
                  <a:lnTo>
                    <a:pt x="240" y="57"/>
                  </a:lnTo>
                  <a:lnTo>
                    <a:pt x="238" y="59"/>
                  </a:lnTo>
                  <a:lnTo>
                    <a:pt x="236" y="60"/>
                  </a:lnTo>
                  <a:lnTo>
                    <a:pt x="234" y="63"/>
                  </a:lnTo>
                  <a:lnTo>
                    <a:pt x="234" y="66"/>
                  </a:lnTo>
                  <a:lnTo>
                    <a:pt x="231" y="68"/>
                  </a:lnTo>
                  <a:lnTo>
                    <a:pt x="230" y="70"/>
                  </a:lnTo>
                  <a:lnTo>
                    <a:pt x="228" y="73"/>
                  </a:lnTo>
                  <a:lnTo>
                    <a:pt x="229" y="70"/>
                  </a:lnTo>
                  <a:lnTo>
                    <a:pt x="229" y="68"/>
                  </a:lnTo>
                  <a:lnTo>
                    <a:pt x="232" y="67"/>
                  </a:lnTo>
                  <a:lnTo>
                    <a:pt x="229" y="64"/>
                  </a:lnTo>
                  <a:lnTo>
                    <a:pt x="227" y="66"/>
                  </a:lnTo>
                  <a:lnTo>
                    <a:pt x="224" y="68"/>
                  </a:lnTo>
                  <a:lnTo>
                    <a:pt x="223" y="71"/>
                  </a:lnTo>
                  <a:lnTo>
                    <a:pt x="221" y="71"/>
                  </a:lnTo>
                  <a:lnTo>
                    <a:pt x="223" y="69"/>
                  </a:lnTo>
                  <a:lnTo>
                    <a:pt x="224" y="66"/>
                  </a:lnTo>
                  <a:lnTo>
                    <a:pt x="227" y="63"/>
                  </a:lnTo>
                  <a:lnTo>
                    <a:pt x="224" y="61"/>
                  </a:lnTo>
                  <a:lnTo>
                    <a:pt x="224" y="58"/>
                  </a:lnTo>
                  <a:lnTo>
                    <a:pt x="221" y="60"/>
                  </a:lnTo>
                  <a:lnTo>
                    <a:pt x="220" y="62"/>
                  </a:lnTo>
                  <a:lnTo>
                    <a:pt x="219" y="64"/>
                  </a:lnTo>
                  <a:lnTo>
                    <a:pt x="217" y="68"/>
                  </a:lnTo>
                  <a:lnTo>
                    <a:pt x="218" y="64"/>
                  </a:lnTo>
                  <a:lnTo>
                    <a:pt x="219" y="62"/>
                  </a:lnTo>
                  <a:lnTo>
                    <a:pt x="217" y="62"/>
                  </a:lnTo>
                  <a:lnTo>
                    <a:pt x="219" y="61"/>
                  </a:lnTo>
                  <a:lnTo>
                    <a:pt x="220" y="59"/>
                  </a:lnTo>
                  <a:lnTo>
                    <a:pt x="222" y="57"/>
                  </a:lnTo>
                  <a:lnTo>
                    <a:pt x="223" y="53"/>
                  </a:lnTo>
                  <a:lnTo>
                    <a:pt x="220" y="53"/>
                  </a:lnTo>
                  <a:lnTo>
                    <a:pt x="218" y="57"/>
                  </a:lnTo>
                  <a:lnTo>
                    <a:pt x="218" y="59"/>
                  </a:lnTo>
                  <a:lnTo>
                    <a:pt x="218" y="57"/>
                  </a:lnTo>
                  <a:lnTo>
                    <a:pt x="214" y="55"/>
                  </a:lnTo>
                  <a:lnTo>
                    <a:pt x="212" y="57"/>
                  </a:lnTo>
                  <a:lnTo>
                    <a:pt x="210" y="60"/>
                  </a:lnTo>
                  <a:lnTo>
                    <a:pt x="211" y="62"/>
                  </a:lnTo>
                  <a:lnTo>
                    <a:pt x="209" y="66"/>
                  </a:lnTo>
                  <a:lnTo>
                    <a:pt x="206" y="68"/>
                  </a:lnTo>
                  <a:lnTo>
                    <a:pt x="209" y="64"/>
                  </a:lnTo>
                  <a:lnTo>
                    <a:pt x="209" y="62"/>
                  </a:lnTo>
                  <a:lnTo>
                    <a:pt x="206" y="60"/>
                  </a:lnTo>
                  <a:lnTo>
                    <a:pt x="205" y="60"/>
                  </a:lnTo>
                  <a:lnTo>
                    <a:pt x="209" y="59"/>
                  </a:lnTo>
                  <a:lnTo>
                    <a:pt x="211" y="57"/>
                  </a:lnTo>
                  <a:lnTo>
                    <a:pt x="209" y="57"/>
                  </a:lnTo>
                  <a:lnTo>
                    <a:pt x="205" y="58"/>
                  </a:lnTo>
                  <a:lnTo>
                    <a:pt x="203" y="59"/>
                  </a:lnTo>
                  <a:lnTo>
                    <a:pt x="205" y="57"/>
                  </a:lnTo>
                  <a:lnTo>
                    <a:pt x="203" y="55"/>
                  </a:lnTo>
                  <a:lnTo>
                    <a:pt x="205" y="55"/>
                  </a:lnTo>
                  <a:lnTo>
                    <a:pt x="209" y="54"/>
                  </a:lnTo>
                  <a:lnTo>
                    <a:pt x="211" y="53"/>
                  </a:lnTo>
                  <a:lnTo>
                    <a:pt x="213" y="52"/>
                  </a:lnTo>
                  <a:lnTo>
                    <a:pt x="217" y="52"/>
                  </a:lnTo>
                  <a:lnTo>
                    <a:pt x="218" y="49"/>
                  </a:lnTo>
                  <a:lnTo>
                    <a:pt x="217" y="46"/>
                  </a:lnTo>
                  <a:lnTo>
                    <a:pt x="213" y="45"/>
                  </a:lnTo>
                  <a:lnTo>
                    <a:pt x="211" y="45"/>
                  </a:lnTo>
                  <a:lnTo>
                    <a:pt x="209" y="45"/>
                  </a:lnTo>
                  <a:lnTo>
                    <a:pt x="205" y="44"/>
                  </a:lnTo>
                  <a:lnTo>
                    <a:pt x="203" y="47"/>
                  </a:lnTo>
                  <a:lnTo>
                    <a:pt x="201" y="47"/>
                  </a:lnTo>
                  <a:lnTo>
                    <a:pt x="197" y="49"/>
                  </a:lnTo>
                  <a:lnTo>
                    <a:pt x="197" y="52"/>
                  </a:lnTo>
                  <a:lnTo>
                    <a:pt x="195" y="54"/>
                  </a:lnTo>
                  <a:lnTo>
                    <a:pt x="192" y="55"/>
                  </a:lnTo>
                  <a:lnTo>
                    <a:pt x="195" y="53"/>
                  </a:lnTo>
                  <a:lnTo>
                    <a:pt x="196" y="51"/>
                  </a:lnTo>
                  <a:lnTo>
                    <a:pt x="197" y="47"/>
                  </a:lnTo>
                  <a:lnTo>
                    <a:pt x="201" y="45"/>
                  </a:lnTo>
                  <a:lnTo>
                    <a:pt x="197" y="44"/>
                  </a:lnTo>
                  <a:lnTo>
                    <a:pt x="195" y="45"/>
                  </a:lnTo>
                  <a:lnTo>
                    <a:pt x="192" y="46"/>
                  </a:lnTo>
                  <a:lnTo>
                    <a:pt x="189" y="49"/>
                  </a:lnTo>
                  <a:lnTo>
                    <a:pt x="187" y="51"/>
                  </a:lnTo>
                  <a:lnTo>
                    <a:pt x="189" y="47"/>
                  </a:lnTo>
                  <a:lnTo>
                    <a:pt x="192" y="45"/>
                  </a:lnTo>
                  <a:lnTo>
                    <a:pt x="195" y="44"/>
                  </a:lnTo>
                  <a:lnTo>
                    <a:pt x="197" y="44"/>
                  </a:lnTo>
                  <a:lnTo>
                    <a:pt x="201" y="44"/>
                  </a:lnTo>
                  <a:lnTo>
                    <a:pt x="203" y="44"/>
                  </a:lnTo>
                  <a:lnTo>
                    <a:pt x="205" y="42"/>
                  </a:lnTo>
                  <a:lnTo>
                    <a:pt x="205" y="38"/>
                  </a:lnTo>
                  <a:lnTo>
                    <a:pt x="203" y="36"/>
                  </a:lnTo>
                  <a:lnTo>
                    <a:pt x="201" y="35"/>
                  </a:lnTo>
                  <a:lnTo>
                    <a:pt x="197" y="34"/>
                  </a:lnTo>
                  <a:lnTo>
                    <a:pt x="195" y="33"/>
                  </a:lnTo>
                  <a:lnTo>
                    <a:pt x="192" y="33"/>
                  </a:lnTo>
                  <a:lnTo>
                    <a:pt x="192" y="35"/>
                  </a:lnTo>
                  <a:lnTo>
                    <a:pt x="189" y="33"/>
                  </a:lnTo>
                  <a:lnTo>
                    <a:pt x="187" y="32"/>
                  </a:lnTo>
                  <a:lnTo>
                    <a:pt x="184" y="32"/>
                  </a:lnTo>
                  <a:lnTo>
                    <a:pt x="181" y="29"/>
                  </a:lnTo>
                  <a:lnTo>
                    <a:pt x="178" y="28"/>
                  </a:lnTo>
                  <a:lnTo>
                    <a:pt x="173" y="28"/>
                  </a:lnTo>
                  <a:lnTo>
                    <a:pt x="170" y="28"/>
                  </a:lnTo>
                  <a:lnTo>
                    <a:pt x="168" y="29"/>
                  </a:lnTo>
                  <a:lnTo>
                    <a:pt x="164" y="29"/>
                  </a:lnTo>
                  <a:lnTo>
                    <a:pt x="162" y="30"/>
                  </a:lnTo>
                  <a:lnTo>
                    <a:pt x="159" y="33"/>
                  </a:lnTo>
                  <a:lnTo>
                    <a:pt x="156" y="35"/>
                  </a:lnTo>
                  <a:lnTo>
                    <a:pt x="159" y="38"/>
                  </a:lnTo>
                  <a:lnTo>
                    <a:pt x="162" y="38"/>
                  </a:lnTo>
                  <a:lnTo>
                    <a:pt x="164" y="40"/>
                  </a:lnTo>
                  <a:lnTo>
                    <a:pt x="167" y="41"/>
                  </a:lnTo>
                  <a:lnTo>
                    <a:pt x="170" y="42"/>
                  </a:lnTo>
                  <a:lnTo>
                    <a:pt x="172" y="43"/>
                  </a:lnTo>
                  <a:lnTo>
                    <a:pt x="176" y="43"/>
                  </a:lnTo>
                  <a:lnTo>
                    <a:pt x="178" y="44"/>
                  </a:lnTo>
                  <a:lnTo>
                    <a:pt x="176" y="44"/>
                  </a:lnTo>
                  <a:lnTo>
                    <a:pt x="173" y="43"/>
                  </a:lnTo>
                  <a:lnTo>
                    <a:pt x="171" y="43"/>
                  </a:lnTo>
                  <a:lnTo>
                    <a:pt x="168" y="42"/>
                  </a:lnTo>
                  <a:lnTo>
                    <a:pt x="166" y="41"/>
                  </a:lnTo>
                  <a:lnTo>
                    <a:pt x="162" y="41"/>
                  </a:lnTo>
                  <a:lnTo>
                    <a:pt x="160" y="40"/>
                  </a:lnTo>
                  <a:lnTo>
                    <a:pt x="159" y="42"/>
                  </a:lnTo>
                  <a:lnTo>
                    <a:pt x="158" y="40"/>
                  </a:lnTo>
                  <a:lnTo>
                    <a:pt x="154" y="40"/>
                  </a:lnTo>
                  <a:lnTo>
                    <a:pt x="152" y="42"/>
                  </a:lnTo>
                  <a:lnTo>
                    <a:pt x="155" y="44"/>
                  </a:lnTo>
                  <a:lnTo>
                    <a:pt x="159" y="44"/>
                  </a:lnTo>
                  <a:lnTo>
                    <a:pt x="160" y="47"/>
                  </a:lnTo>
                  <a:lnTo>
                    <a:pt x="162" y="49"/>
                  </a:lnTo>
                  <a:lnTo>
                    <a:pt x="166" y="51"/>
                  </a:lnTo>
                  <a:lnTo>
                    <a:pt x="168" y="52"/>
                  </a:lnTo>
                  <a:lnTo>
                    <a:pt x="166" y="52"/>
                  </a:lnTo>
                  <a:lnTo>
                    <a:pt x="163" y="50"/>
                  </a:lnTo>
                  <a:lnTo>
                    <a:pt x="160" y="50"/>
                  </a:lnTo>
                  <a:lnTo>
                    <a:pt x="162" y="52"/>
                  </a:lnTo>
                  <a:lnTo>
                    <a:pt x="166" y="53"/>
                  </a:lnTo>
                  <a:lnTo>
                    <a:pt x="162" y="52"/>
                  </a:lnTo>
                  <a:lnTo>
                    <a:pt x="162" y="52"/>
                  </a:lnTo>
                  <a:lnTo>
                    <a:pt x="160" y="50"/>
                  </a:lnTo>
                  <a:lnTo>
                    <a:pt x="159" y="47"/>
                  </a:lnTo>
                  <a:lnTo>
                    <a:pt x="156" y="44"/>
                  </a:lnTo>
                  <a:lnTo>
                    <a:pt x="153" y="44"/>
                  </a:lnTo>
                  <a:lnTo>
                    <a:pt x="152" y="46"/>
                  </a:lnTo>
                  <a:lnTo>
                    <a:pt x="155" y="49"/>
                  </a:lnTo>
                  <a:lnTo>
                    <a:pt x="158" y="51"/>
                  </a:lnTo>
                  <a:lnTo>
                    <a:pt x="154" y="50"/>
                  </a:lnTo>
                  <a:lnTo>
                    <a:pt x="152" y="49"/>
                  </a:lnTo>
                  <a:lnTo>
                    <a:pt x="149" y="49"/>
                  </a:lnTo>
                  <a:lnTo>
                    <a:pt x="150" y="46"/>
                  </a:lnTo>
                  <a:lnTo>
                    <a:pt x="151" y="43"/>
                  </a:lnTo>
                  <a:lnTo>
                    <a:pt x="152" y="41"/>
                  </a:lnTo>
                  <a:lnTo>
                    <a:pt x="149" y="38"/>
                  </a:lnTo>
                  <a:lnTo>
                    <a:pt x="146" y="37"/>
                  </a:lnTo>
                  <a:lnTo>
                    <a:pt x="144" y="40"/>
                  </a:lnTo>
                  <a:lnTo>
                    <a:pt x="141" y="42"/>
                  </a:lnTo>
                  <a:lnTo>
                    <a:pt x="143" y="38"/>
                  </a:lnTo>
                  <a:lnTo>
                    <a:pt x="141" y="36"/>
                  </a:lnTo>
                  <a:lnTo>
                    <a:pt x="138" y="37"/>
                  </a:lnTo>
                  <a:lnTo>
                    <a:pt x="137" y="37"/>
                  </a:lnTo>
                  <a:lnTo>
                    <a:pt x="135" y="40"/>
                  </a:lnTo>
                  <a:lnTo>
                    <a:pt x="137" y="42"/>
                  </a:lnTo>
                  <a:lnTo>
                    <a:pt x="139" y="44"/>
                  </a:lnTo>
                  <a:lnTo>
                    <a:pt x="137" y="43"/>
                  </a:lnTo>
                  <a:lnTo>
                    <a:pt x="137" y="43"/>
                  </a:lnTo>
                  <a:lnTo>
                    <a:pt x="135" y="41"/>
                  </a:lnTo>
                  <a:lnTo>
                    <a:pt x="133" y="43"/>
                  </a:lnTo>
                  <a:lnTo>
                    <a:pt x="133" y="45"/>
                  </a:lnTo>
                  <a:lnTo>
                    <a:pt x="129" y="47"/>
                  </a:lnTo>
                  <a:lnTo>
                    <a:pt x="127" y="47"/>
                  </a:lnTo>
                  <a:lnTo>
                    <a:pt x="124" y="51"/>
                  </a:lnTo>
                  <a:lnTo>
                    <a:pt x="126" y="47"/>
                  </a:lnTo>
                  <a:lnTo>
                    <a:pt x="123" y="46"/>
                  </a:lnTo>
                  <a:lnTo>
                    <a:pt x="126" y="45"/>
                  </a:lnTo>
                  <a:lnTo>
                    <a:pt x="128" y="46"/>
                  </a:lnTo>
                  <a:lnTo>
                    <a:pt x="126" y="44"/>
                  </a:lnTo>
                  <a:lnTo>
                    <a:pt x="126" y="41"/>
                  </a:lnTo>
                  <a:lnTo>
                    <a:pt x="128" y="38"/>
                  </a:lnTo>
                  <a:lnTo>
                    <a:pt x="130" y="36"/>
                  </a:lnTo>
                  <a:lnTo>
                    <a:pt x="127" y="35"/>
                  </a:lnTo>
                  <a:lnTo>
                    <a:pt x="125" y="37"/>
                  </a:lnTo>
                  <a:lnTo>
                    <a:pt x="123" y="40"/>
                  </a:lnTo>
                  <a:lnTo>
                    <a:pt x="119" y="42"/>
                  </a:lnTo>
                  <a:lnTo>
                    <a:pt x="123" y="38"/>
                  </a:lnTo>
                  <a:lnTo>
                    <a:pt x="125" y="36"/>
                  </a:lnTo>
                  <a:lnTo>
                    <a:pt x="127" y="34"/>
                  </a:lnTo>
                  <a:lnTo>
                    <a:pt x="130" y="33"/>
                  </a:lnTo>
                  <a:lnTo>
                    <a:pt x="132" y="30"/>
                  </a:lnTo>
                  <a:lnTo>
                    <a:pt x="133" y="27"/>
                  </a:lnTo>
                  <a:lnTo>
                    <a:pt x="130" y="26"/>
                  </a:lnTo>
                  <a:lnTo>
                    <a:pt x="128" y="24"/>
                  </a:lnTo>
                  <a:lnTo>
                    <a:pt x="129" y="21"/>
                  </a:lnTo>
                  <a:lnTo>
                    <a:pt x="129" y="18"/>
                  </a:lnTo>
                  <a:lnTo>
                    <a:pt x="126" y="17"/>
                  </a:lnTo>
                  <a:lnTo>
                    <a:pt x="124" y="16"/>
                  </a:lnTo>
                  <a:lnTo>
                    <a:pt x="120" y="15"/>
                  </a:lnTo>
                  <a:lnTo>
                    <a:pt x="121" y="12"/>
                  </a:lnTo>
                  <a:lnTo>
                    <a:pt x="120" y="9"/>
                  </a:lnTo>
                  <a:lnTo>
                    <a:pt x="119" y="7"/>
                  </a:lnTo>
                  <a:lnTo>
                    <a:pt x="117" y="4"/>
                  </a:lnTo>
                  <a:lnTo>
                    <a:pt x="115" y="3"/>
                  </a:lnTo>
                  <a:lnTo>
                    <a:pt x="111" y="3"/>
                  </a:lnTo>
                  <a:lnTo>
                    <a:pt x="109" y="2"/>
                  </a:lnTo>
                  <a:lnTo>
                    <a:pt x="106" y="3"/>
                  </a:lnTo>
                  <a:lnTo>
                    <a:pt x="103" y="3"/>
                  </a:lnTo>
                  <a:lnTo>
                    <a:pt x="100" y="2"/>
                  </a:lnTo>
                  <a:lnTo>
                    <a:pt x="98" y="3"/>
                  </a:lnTo>
                  <a:lnTo>
                    <a:pt x="95" y="4"/>
                  </a:lnTo>
                  <a:lnTo>
                    <a:pt x="92" y="4"/>
                  </a:lnTo>
                  <a:lnTo>
                    <a:pt x="90" y="6"/>
                  </a:lnTo>
                  <a:lnTo>
                    <a:pt x="86" y="7"/>
                  </a:lnTo>
                  <a:lnTo>
                    <a:pt x="84" y="8"/>
                  </a:lnTo>
                  <a:lnTo>
                    <a:pt x="86" y="10"/>
                  </a:lnTo>
                  <a:lnTo>
                    <a:pt x="87" y="12"/>
                  </a:lnTo>
                  <a:lnTo>
                    <a:pt x="84" y="10"/>
                  </a:lnTo>
                  <a:lnTo>
                    <a:pt x="82" y="10"/>
                  </a:lnTo>
                  <a:lnTo>
                    <a:pt x="78" y="10"/>
                  </a:lnTo>
                  <a:lnTo>
                    <a:pt x="76" y="10"/>
                  </a:lnTo>
                  <a:lnTo>
                    <a:pt x="74" y="13"/>
                  </a:lnTo>
                  <a:lnTo>
                    <a:pt x="77" y="16"/>
                  </a:lnTo>
                  <a:lnTo>
                    <a:pt x="74" y="15"/>
                  </a:lnTo>
                  <a:lnTo>
                    <a:pt x="72" y="11"/>
                  </a:lnTo>
                  <a:lnTo>
                    <a:pt x="68" y="12"/>
                  </a:lnTo>
                  <a:lnTo>
                    <a:pt x="66" y="16"/>
                  </a:lnTo>
                  <a:lnTo>
                    <a:pt x="69" y="17"/>
                  </a:lnTo>
                  <a:lnTo>
                    <a:pt x="72" y="18"/>
                  </a:lnTo>
                  <a:lnTo>
                    <a:pt x="75" y="19"/>
                  </a:lnTo>
                  <a:lnTo>
                    <a:pt x="77" y="19"/>
                  </a:lnTo>
                  <a:lnTo>
                    <a:pt x="81" y="20"/>
                  </a:lnTo>
                  <a:lnTo>
                    <a:pt x="83" y="20"/>
                  </a:lnTo>
                  <a:lnTo>
                    <a:pt x="86" y="21"/>
                  </a:lnTo>
                  <a:lnTo>
                    <a:pt x="83" y="21"/>
                  </a:lnTo>
                  <a:lnTo>
                    <a:pt x="79" y="21"/>
                  </a:lnTo>
                  <a:lnTo>
                    <a:pt x="77" y="20"/>
                  </a:lnTo>
                  <a:lnTo>
                    <a:pt x="74" y="20"/>
                  </a:lnTo>
                  <a:lnTo>
                    <a:pt x="72" y="19"/>
                  </a:lnTo>
                  <a:lnTo>
                    <a:pt x="69" y="19"/>
                  </a:lnTo>
                  <a:lnTo>
                    <a:pt x="66" y="18"/>
                  </a:lnTo>
                  <a:lnTo>
                    <a:pt x="64" y="18"/>
                  </a:lnTo>
                  <a:lnTo>
                    <a:pt x="61" y="21"/>
                  </a:lnTo>
                  <a:lnTo>
                    <a:pt x="65" y="21"/>
                  </a:lnTo>
                  <a:lnTo>
                    <a:pt x="67" y="21"/>
                  </a:lnTo>
                  <a:lnTo>
                    <a:pt x="69" y="23"/>
                  </a:lnTo>
                  <a:lnTo>
                    <a:pt x="73" y="25"/>
                  </a:lnTo>
                  <a:lnTo>
                    <a:pt x="75" y="25"/>
                  </a:lnTo>
                  <a:lnTo>
                    <a:pt x="78" y="26"/>
                  </a:lnTo>
                  <a:lnTo>
                    <a:pt x="81" y="27"/>
                  </a:lnTo>
                  <a:lnTo>
                    <a:pt x="78" y="27"/>
                  </a:lnTo>
                  <a:lnTo>
                    <a:pt x="75" y="26"/>
                  </a:lnTo>
                  <a:lnTo>
                    <a:pt x="73" y="25"/>
                  </a:lnTo>
                  <a:lnTo>
                    <a:pt x="69" y="25"/>
                  </a:lnTo>
                  <a:lnTo>
                    <a:pt x="67" y="24"/>
                  </a:lnTo>
                  <a:lnTo>
                    <a:pt x="65" y="23"/>
                  </a:lnTo>
                  <a:lnTo>
                    <a:pt x="61" y="23"/>
                  </a:lnTo>
                  <a:lnTo>
                    <a:pt x="60" y="25"/>
                  </a:lnTo>
                  <a:lnTo>
                    <a:pt x="59" y="28"/>
                  </a:lnTo>
                  <a:lnTo>
                    <a:pt x="59" y="30"/>
                  </a:lnTo>
                  <a:lnTo>
                    <a:pt x="61" y="33"/>
                  </a:lnTo>
                  <a:lnTo>
                    <a:pt x="61" y="35"/>
                  </a:lnTo>
                  <a:lnTo>
                    <a:pt x="64" y="37"/>
                  </a:lnTo>
                  <a:lnTo>
                    <a:pt x="67" y="37"/>
                  </a:lnTo>
                  <a:lnTo>
                    <a:pt x="69" y="37"/>
                  </a:lnTo>
                  <a:lnTo>
                    <a:pt x="73" y="38"/>
                  </a:lnTo>
                  <a:lnTo>
                    <a:pt x="75" y="38"/>
                  </a:lnTo>
                  <a:lnTo>
                    <a:pt x="73" y="38"/>
                  </a:lnTo>
                  <a:lnTo>
                    <a:pt x="69" y="40"/>
                  </a:lnTo>
                  <a:lnTo>
                    <a:pt x="73" y="42"/>
                  </a:lnTo>
                  <a:lnTo>
                    <a:pt x="75" y="44"/>
                  </a:lnTo>
                  <a:lnTo>
                    <a:pt x="78" y="46"/>
                  </a:lnTo>
                  <a:lnTo>
                    <a:pt x="79" y="49"/>
                  </a:lnTo>
                  <a:lnTo>
                    <a:pt x="77" y="46"/>
                  </a:lnTo>
                  <a:lnTo>
                    <a:pt x="74" y="44"/>
                  </a:lnTo>
                  <a:lnTo>
                    <a:pt x="72" y="43"/>
                  </a:lnTo>
                  <a:lnTo>
                    <a:pt x="69" y="42"/>
                  </a:lnTo>
                  <a:lnTo>
                    <a:pt x="66" y="41"/>
                  </a:lnTo>
                  <a:lnTo>
                    <a:pt x="64" y="41"/>
                  </a:lnTo>
                  <a:lnTo>
                    <a:pt x="62" y="44"/>
                  </a:lnTo>
                  <a:lnTo>
                    <a:pt x="60" y="46"/>
                  </a:lnTo>
                  <a:lnTo>
                    <a:pt x="58" y="47"/>
                  </a:lnTo>
                  <a:lnTo>
                    <a:pt x="55" y="47"/>
                  </a:lnTo>
                  <a:lnTo>
                    <a:pt x="58" y="49"/>
                  </a:lnTo>
                  <a:lnTo>
                    <a:pt x="60" y="50"/>
                  </a:lnTo>
                  <a:lnTo>
                    <a:pt x="62" y="53"/>
                  </a:lnTo>
                  <a:lnTo>
                    <a:pt x="64" y="55"/>
                  </a:lnTo>
                  <a:lnTo>
                    <a:pt x="67" y="57"/>
                  </a:lnTo>
                  <a:lnTo>
                    <a:pt x="69" y="57"/>
                  </a:lnTo>
                  <a:lnTo>
                    <a:pt x="73" y="57"/>
                  </a:lnTo>
                  <a:lnTo>
                    <a:pt x="74" y="59"/>
                  </a:lnTo>
                  <a:lnTo>
                    <a:pt x="75" y="61"/>
                  </a:lnTo>
                  <a:lnTo>
                    <a:pt x="73" y="62"/>
                  </a:lnTo>
                  <a:lnTo>
                    <a:pt x="72" y="66"/>
                  </a:lnTo>
                  <a:lnTo>
                    <a:pt x="73" y="68"/>
                  </a:lnTo>
                  <a:lnTo>
                    <a:pt x="72" y="70"/>
                  </a:lnTo>
                  <a:lnTo>
                    <a:pt x="72" y="73"/>
                  </a:lnTo>
                  <a:lnTo>
                    <a:pt x="69" y="75"/>
                  </a:lnTo>
                  <a:lnTo>
                    <a:pt x="69" y="72"/>
                  </a:lnTo>
                  <a:lnTo>
                    <a:pt x="67" y="70"/>
                  </a:lnTo>
                  <a:lnTo>
                    <a:pt x="68" y="69"/>
                  </a:lnTo>
                  <a:lnTo>
                    <a:pt x="66" y="69"/>
                  </a:lnTo>
                  <a:lnTo>
                    <a:pt x="62" y="69"/>
                  </a:lnTo>
                  <a:lnTo>
                    <a:pt x="60" y="69"/>
                  </a:lnTo>
                  <a:lnTo>
                    <a:pt x="57" y="70"/>
                  </a:lnTo>
                  <a:lnTo>
                    <a:pt x="55" y="71"/>
                  </a:lnTo>
                  <a:lnTo>
                    <a:pt x="51" y="72"/>
                  </a:lnTo>
                  <a:lnTo>
                    <a:pt x="49" y="73"/>
                  </a:lnTo>
                  <a:lnTo>
                    <a:pt x="45" y="72"/>
                  </a:lnTo>
                  <a:lnTo>
                    <a:pt x="49" y="72"/>
                  </a:lnTo>
                  <a:lnTo>
                    <a:pt x="51" y="71"/>
                  </a:lnTo>
                  <a:lnTo>
                    <a:pt x="55" y="69"/>
                  </a:lnTo>
                  <a:lnTo>
                    <a:pt x="57" y="68"/>
                  </a:lnTo>
                  <a:lnTo>
                    <a:pt x="60" y="68"/>
                  </a:lnTo>
                  <a:lnTo>
                    <a:pt x="62" y="67"/>
                  </a:lnTo>
                  <a:lnTo>
                    <a:pt x="65" y="66"/>
                  </a:lnTo>
                  <a:lnTo>
                    <a:pt x="68" y="66"/>
                  </a:lnTo>
                  <a:lnTo>
                    <a:pt x="70" y="64"/>
                  </a:lnTo>
                  <a:lnTo>
                    <a:pt x="68" y="62"/>
                  </a:lnTo>
                  <a:lnTo>
                    <a:pt x="66" y="62"/>
                  </a:lnTo>
                  <a:lnTo>
                    <a:pt x="64" y="61"/>
                  </a:lnTo>
                  <a:lnTo>
                    <a:pt x="60" y="59"/>
                  </a:lnTo>
                  <a:lnTo>
                    <a:pt x="58" y="57"/>
                  </a:lnTo>
                  <a:lnTo>
                    <a:pt x="56" y="54"/>
                  </a:lnTo>
                  <a:lnTo>
                    <a:pt x="52" y="52"/>
                  </a:lnTo>
                  <a:lnTo>
                    <a:pt x="50" y="49"/>
                  </a:lnTo>
                  <a:lnTo>
                    <a:pt x="49" y="46"/>
                  </a:lnTo>
                  <a:lnTo>
                    <a:pt x="49" y="41"/>
                  </a:lnTo>
                  <a:lnTo>
                    <a:pt x="51" y="38"/>
                  </a:lnTo>
                  <a:lnTo>
                    <a:pt x="51" y="35"/>
                  </a:lnTo>
                  <a:lnTo>
                    <a:pt x="48" y="33"/>
                  </a:lnTo>
                  <a:lnTo>
                    <a:pt x="45" y="30"/>
                  </a:lnTo>
                  <a:lnTo>
                    <a:pt x="45" y="28"/>
                  </a:lnTo>
                  <a:lnTo>
                    <a:pt x="47" y="25"/>
                  </a:lnTo>
                  <a:lnTo>
                    <a:pt x="49" y="23"/>
                  </a:lnTo>
                  <a:lnTo>
                    <a:pt x="51" y="20"/>
                  </a:lnTo>
                  <a:lnTo>
                    <a:pt x="52" y="17"/>
                  </a:lnTo>
                  <a:lnTo>
                    <a:pt x="55" y="15"/>
                  </a:lnTo>
                  <a:lnTo>
                    <a:pt x="57" y="11"/>
                  </a:lnTo>
                  <a:lnTo>
                    <a:pt x="62" y="8"/>
                  </a:lnTo>
                  <a:lnTo>
                    <a:pt x="66" y="7"/>
                  </a:lnTo>
                  <a:lnTo>
                    <a:pt x="68" y="4"/>
                  </a:lnTo>
                  <a:lnTo>
                    <a:pt x="70" y="2"/>
                  </a:lnTo>
                  <a:lnTo>
                    <a:pt x="68" y="1"/>
                  </a:lnTo>
                  <a:lnTo>
                    <a:pt x="66" y="0"/>
                  </a:lnTo>
                  <a:lnTo>
                    <a:pt x="62" y="0"/>
                  </a:lnTo>
                  <a:lnTo>
                    <a:pt x="57" y="0"/>
                  </a:lnTo>
                  <a:lnTo>
                    <a:pt x="53" y="0"/>
                  </a:lnTo>
                  <a:lnTo>
                    <a:pt x="51" y="0"/>
                  </a:lnTo>
                  <a:lnTo>
                    <a:pt x="48" y="0"/>
                  </a:lnTo>
                  <a:lnTo>
                    <a:pt x="45" y="0"/>
                  </a:lnTo>
                  <a:lnTo>
                    <a:pt x="40" y="1"/>
                  </a:lnTo>
                  <a:lnTo>
                    <a:pt x="38" y="1"/>
                  </a:lnTo>
                  <a:lnTo>
                    <a:pt x="34" y="2"/>
                  </a:lnTo>
                  <a:lnTo>
                    <a:pt x="32" y="3"/>
                  </a:lnTo>
                  <a:lnTo>
                    <a:pt x="28" y="4"/>
                  </a:lnTo>
                  <a:lnTo>
                    <a:pt x="26" y="6"/>
                  </a:lnTo>
                  <a:lnTo>
                    <a:pt x="23" y="8"/>
                  </a:lnTo>
                  <a:lnTo>
                    <a:pt x="21" y="10"/>
                  </a:lnTo>
                  <a:lnTo>
                    <a:pt x="17" y="11"/>
                  </a:lnTo>
                  <a:lnTo>
                    <a:pt x="17" y="15"/>
                  </a:lnTo>
                  <a:lnTo>
                    <a:pt x="15" y="17"/>
                  </a:lnTo>
                  <a:lnTo>
                    <a:pt x="11" y="17"/>
                  </a:lnTo>
                  <a:lnTo>
                    <a:pt x="10" y="20"/>
                  </a:lnTo>
                  <a:lnTo>
                    <a:pt x="9" y="23"/>
                  </a:lnTo>
                  <a:lnTo>
                    <a:pt x="9" y="26"/>
                  </a:lnTo>
                  <a:lnTo>
                    <a:pt x="9" y="28"/>
                  </a:lnTo>
                  <a:lnTo>
                    <a:pt x="6" y="29"/>
                  </a:lnTo>
                  <a:lnTo>
                    <a:pt x="6" y="32"/>
                  </a:lnTo>
                  <a:lnTo>
                    <a:pt x="4" y="33"/>
                  </a:lnTo>
                  <a:lnTo>
                    <a:pt x="4" y="35"/>
                  </a:lnTo>
                  <a:lnTo>
                    <a:pt x="1" y="38"/>
                  </a:lnTo>
                  <a:lnTo>
                    <a:pt x="1" y="41"/>
                  </a:lnTo>
                  <a:lnTo>
                    <a:pt x="2" y="44"/>
                  </a:lnTo>
                  <a:lnTo>
                    <a:pt x="6" y="44"/>
                  </a:lnTo>
                  <a:lnTo>
                    <a:pt x="4" y="45"/>
                  </a:lnTo>
                  <a:lnTo>
                    <a:pt x="0" y="46"/>
                  </a:lnTo>
                  <a:lnTo>
                    <a:pt x="0" y="51"/>
                  </a:lnTo>
                  <a:lnTo>
                    <a:pt x="2" y="54"/>
                  </a:lnTo>
                  <a:lnTo>
                    <a:pt x="0" y="57"/>
                  </a:lnTo>
                  <a:lnTo>
                    <a:pt x="0" y="57"/>
                  </a:lnTo>
                  <a:lnTo>
                    <a:pt x="0" y="61"/>
                  </a:lnTo>
                  <a:lnTo>
                    <a:pt x="0" y="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16" name="Freeform 216">
              <a:extLst>
                <a:ext uri="{FF2B5EF4-FFF2-40B4-BE49-F238E27FC236}">
                  <a16:creationId xmlns:a16="http://schemas.microsoft.com/office/drawing/2014/main" id="{35A96843-D6B8-4483-9589-84800230C52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90938" y="2228850"/>
              <a:ext cx="128587" cy="311150"/>
            </a:xfrm>
            <a:custGeom>
              <a:avLst/>
              <a:gdLst>
                <a:gd name="T0" fmla="*/ 55 w 81"/>
                <a:gd name="T1" fmla="*/ 196 h 196"/>
                <a:gd name="T2" fmla="*/ 55 w 81"/>
                <a:gd name="T3" fmla="*/ 194 h 196"/>
                <a:gd name="T4" fmla="*/ 35 w 81"/>
                <a:gd name="T5" fmla="*/ 30 h 196"/>
                <a:gd name="T6" fmla="*/ 41 w 81"/>
                <a:gd name="T7" fmla="*/ 29 h 196"/>
                <a:gd name="T8" fmla="*/ 48 w 81"/>
                <a:gd name="T9" fmla="*/ 28 h 196"/>
                <a:gd name="T10" fmla="*/ 54 w 81"/>
                <a:gd name="T11" fmla="*/ 26 h 196"/>
                <a:gd name="T12" fmla="*/ 58 w 81"/>
                <a:gd name="T13" fmla="*/ 25 h 196"/>
                <a:gd name="T14" fmla="*/ 57 w 81"/>
                <a:gd name="T15" fmla="*/ 20 h 196"/>
                <a:gd name="T16" fmla="*/ 57 w 81"/>
                <a:gd name="T17" fmla="*/ 16 h 196"/>
                <a:gd name="T18" fmla="*/ 59 w 81"/>
                <a:gd name="T19" fmla="*/ 13 h 196"/>
                <a:gd name="T20" fmla="*/ 54 w 81"/>
                <a:gd name="T21" fmla="*/ 11 h 196"/>
                <a:gd name="T22" fmla="*/ 48 w 81"/>
                <a:gd name="T23" fmla="*/ 11 h 196"/>
                <a:gd name="T24" fmla="*/ 42 w 81"/>
                <a:gd name="T25" fmla="*/ 9 h 196"/>
                <a:gd name="T26" fmla="*/ 40 w 81"/>
                <a:gd name="T27" fmla="*/ 6 h 196"/>
                <a:gd name="T28" fmla="*/ 34 w 81"/>
                <a:gd name="T29" fmla="*/ 5 h 196"/>
                <a:gd name="T30" fmla="*/ 29 w 81"/>
                <a:gd name="T31" fmla="*/ 3 h 196"/>
                <a:gd name="T32" fmla="*/ 23 w 81"/>
                <a:gd name="T33" fmla="*/ 1 h 196"/>
                <a:gd name="T34" fmla="*/ 17 w 81"/>
                <a:gd name="T35" fmla="*/ 0 h 196"/>
                <a:gd name="T36" fmla="*/ 13 w 81"/>
                <a:gd name="T37" fmla="*/ 4 h 196"/>
                <a:gd name="T38" fmla="*/ 17 w 81"/>
                <a:gd name="T39" fmla="*/ 8 h 196"/>
                <a:gd name="T40" fmla="*/ 13 w 81"/>
                <a:gd name="T41" fmla="*/ 12 h 196"/>
                <a:gd name="T42" fmla="*/ 16 w 81"/>
                <a:gd name="T43" fmla="*/ 16 h 196"/>
                <a:gd name="T44" fmla="*/ 22 w 81"/>
                <a:gd name="T45" fmla="*/ 18 h 196"/>
                <a:gd name="T46" fmla="*/ 27 w 81"/>
                <a:gd name="T47" fmla="*/ 20 h 196"/>
                <a:gd name="T48" fmla="*/ 33 w 81"/>
                <a:gd name="T49" fmla="*/ 22 h 196"/>
                <a:gd name="T50" fmla="*/ 27 w 81"/>
                <a:gd name="T51" fmla="*/ 23 h 196"/>
                <a:gd name="T52" fmla="*/ 22 w 81"/>
                <a:gd name="T53" fmla="*/ 24 h 196"/>
                <a:gd name="T54" fmla="*/ 27 w 81"/>
                <a:gd name="T55" fmla="*/ 26 h 196"/>
                <a:gd name="T56" fmla="*/ 30 w 81"/>
                <a:gd name="T57" fmla="*/ 30 h 196"/>
                <a:gd name="T58" fmla="*/ 33 w 81"/>
                <a:gd name="T59" fmla="*/ 31 h 196"/>
                <a:gd name="T60" fmla="*/ 57 w 81"/>
                <a:gd name="T61" fmla="*/ 93 h 196"/>
                <a:gd name="T62" fmla="*/ 52 w 81"/>
                <a:gd name="T63" fmla="*/ 94 h 196"/>
                <a:gd name="T64" fmla="*/ 49 w 81"/>
                <a:gd name="T65" fmla="*/ 99 h 196"/>
                <a:gd name="T66" fmla="*/ 44 w 81"/>
                <a:gd name="T67" fmla="*/ 99 h 196"/>
                <a:gd name="T68" fmla="*/ 44 w 81"/>
                <a:gd name="T69" fmla="*/ 102 h 196"/>
                <a:gd name="T70" fmla="*/ 39 w 81"/>
                <a:gd name="T71" fmla="*/ 106 h 196"/>
                <a:gd name="T72" fmla="*/ 40 w 81"/>
                <a:gd name="T73" fmla="*/ 110 h 196"/>
                <a:gd name="T74" fmla="*/ 43 w 81"/>
                <a:gd name="T75" fmla="*/ 110 h 196"/>
                <a:gd name="T76" fmla="*/ 47 w 81"/>
                <a:gd name="T77" fmla="*/ 115 h 196"/>
                <a:gd name="T78" fmla="*/ 52 w 81"/>
                <a:gd name="T79" fmla="*/ 117 h 196"/>
                <a:gd name="T80" fmla="*/ 58 w 81"/>
                <a:gd name="T81" fmla="*/ 117 h 196"/>
                <a:gd name="T82" fmla="*/ 64 w 81"/>
                <a:gd name="T83" fmla="*/ 120 h 196"/>
                <a:gd name="T84" fmla="*/ 68 w 81"/>
                <a:gd name="T85" fmla="*/ 120 h 196"/>
                <a:gd name="T86" fmla="*/ 75 w 81"/>
                <a:gd name="T87" fmla="*/ 120 h 196"/>
                <a:gd name="T88" fmla="*/ 80 w 81"/>
                <a:gd name="T89" fmla="*/ 117 h 196"/>
                <a:gd name="T90" fmla="*/ 80 w 81"/>
                <a:gd name="T91" fmla="*/ 111 h 196"/>
                <a:gd name="T92" fmla="*/ 80 w 81"/>
                <a:gd name="T93" fmla="*/ 107 h 196"/>
                <a:gd name="T94" fmla="*/ 76 w 81"/>
                <a:gd name="T95" fmla="*/ 102 h 196"/>
                <a:gd name="T96" fmla="*/ 72 w 81"/>
                <a:gd name="T97" fmla="*/ 97 h 196"/>
                <a:gd name="T98" fmla="*/ 66 w 81"/>
                <a:gd name="T99" fmla="*/ 93 h 196"/>
                <a:gd name="T100" fmla="*/ 60 w 81"/>
                <a:gd name="T101" fmla="*/ 93 h 196"/>
                <a:gd name="T102" fmla="*/ 23 w 81"/>
                <a:gd name="T103" fmla="*/ 135 h 196"/>
                <a:gd name="T104" fmla="*/ 17 w 81"/>
                <a:gd name="T105" fmla="*/ 135 h 196"/>
                <a:gd name="T106" fmla="*/ 10 w 81"/>
                <a:gd name="T107" fmla="*/ 136 h 196"/>
                <a:gd name="T108" fmla="*/ 5 w 81"/>
                <a:gd name="T109" fmla="*/ 137 h 196"/>
                <a:gd name="T110" fmla="*/ 0 w 81"/>
                <a:gd name="T111" fmla="*/ 138 h 196"/>
                <a:gd name="T112" fmla="*/ 5 w 81"/>
                <a:gd name="T113" fmla="*/ 142 h 196"/>
                <a:gd name="T114" fmla="*/ 5 w 81"/>
                <a:gd name="T115" fmla="*/ 142 h 196"/>
                <a:gd name="T116" fmla="*/ 10 w 81"/>
                <a:gd name="T117" fmla="*/ 142 h 196"/>
                <a:gd name="T118" fmla="*/ 16 w 81"/>
                <a:gd name="T119" fmla="*/ 141 h 196"/>
                <a:gd name="T120" fmla="*/ 22 w 81"/>
                <a:gd name="T121" fmla="*/ 137 h 196"/>
                <a:gd name="T122" fmla="*/ 23 w 81"/>
                <a:gd name="T123" fmla="*/ 135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81" h="196">
                  <a:moveTo>
                    <a:pt x="55" y="194"/>
                  </a:moveTo>
                  <a:lnTo>
                    <a:pt x="55" y="196"/>
                  </a:lnTo>
                  <a:lnTo>
                    <a:pt x="55" y="194"/>
                  </a:lnTo>
                  <a:lnTo>
                    <a:pt x="55" y="194"/>
                  </a:lnTo>
                  <a:close/>
                  <a:moveTo>
                    <a:pt x="33" y="31"/>
                  </a:moveTo>
                  <a:lnTo>
                    <a:pt x="35" y="30"/>
                  </a:lnTo>
                  <a:lnTo>
                    <a:pt x="39" y="28"/>
                  </a:lnTo>
                  <a:lnTo>
                    <a:pt x="41" y="29"/>
                  </a:lnTo>
                  <a:lnTo>
                    <a:pt x="44" y="29"/>
                  </a:lnTo>
                  <a:lnTo>
                    <a:pt x="48" y="28"/>
                  </a:lnTo>
                  <a:lnTo>
                    <a:pt x="50" y="28"/>
                  </a:lnTo>
                  <a:lnTo>
                    <a:pt x="54" y="26"/>
                  </a:lnTo>
                  <a:lnTo>
                    <a:pt x="56" y="26"/>
                  </a:lnTo>
                  <a:lnTo>
                    <a:pt x="58" y="25"/>
                  </a:lnTo>
                  <a:lnTo>
                    <a:pt x="59" y="23"/>
                  </a:lnTo>
                  <a:lnTo>
                    <a:pt x="57" y="20"/>
                  </a:lnTo>
                  <a:lnTo>
                    <a:pt x="55" y="18"/>
                  </a:lnTo>
                  <a:lnTo>
                    <a:pt x="57" y="16"/>
                  </a:lnTo>
                  <a:lnTo>
                    <a:pt x="60" y="15"/>
                  </a:lnTo>
                  <a:lnTo>
                    <a:pt x="59" y="13"/>
                  </a:lnTo>
                  <a:lnTo>
                    <a:pt x="56" y="12"/>
                  </a:lnTo>
                  <a:lnTo>
                    <a:pt x="54" y="11"/>
                  </a:lnTo>
                  <a:lnTo>
                    <a:pt x="50" y="9"/>
                  </a:lnTo>
                  <a:lnTo>
                    <a:pt x="48" y="11"/>
                  </a:lnTo>
                  <a:lnTo>
                    <a:pt x="44" y="11"/>
                  </a:lnTo>
                  <a:lnTo>
                    <a:pt x="42" y="9"/>
                  </a:lnTo>
                  <a:lnTo>
                    <a:pt x="43" y="7"/>
                  </a:lnTo>
                  <a:lnTo>
                    <a:pt x="40" y="6"/>
                  </a:lnTo>
                  <a:lnTo>
                    <a:pt x="38" y="5"/>
                  </a:lnTo>
                  <a:lnTo>
                    <a:pt x="34" y="5"/>
                  </a:lnTo>
                  <a:lnTo>
                    <a:pt x="32" y="3"/>
                  </a:lnTo>
                  <a:lnTo>
                    <a:pt x="29" y="3"/>
                  </a:lnTo>
                  <a:lnTo>
                    <a:pt x="26" y="1"/>
                  </a:lnTo>
                  <a:lnTo>
                    <a:pt x="23" y="1"/>
                  </a:lnTo>
                  <a:lnTo>
                    <a:pt x="21" y="0"/>
                  </a:lnTo>
                  <a:lnTo>
                    <a:pt x="17" y="0"/>
                  </a:lnTo>
                  <a:lnTo>
                    <a:pt x="15" y="1"/>
                  </a:lnTo>
                  <a:lnTo>
                    <a:pt x="13" y="4"/>
                  </a:lnTo>
                  <a:lnTo>
                    <a:pt x="14" y="6"/>
                  </a:lnTo>
                  <a:lnTo>
                    <a:pt x="17" y="8"/>
                  </a:lnTo>
                  <a:lnTo>
                    <a:pt x="14" y="9"/>
                  </a:lnTo>
                  <a:lnTo>
                    <a:pt x="13" y="12"/>
                  </a:lnTo>
                  <a:lnTo>
                    <a:pt x="15" y="13"/>
                  </a:lnTo>
                  <a:lnTo>
                    <a:pt x="16" y="16"/>
                  </a:lnTo>
                  <a:lnTo>
                    <a:pt x="20" y="16"/>
                  </a:lnTo>
                  <a:lnTo>
                    <a:pt x="22" y="18"/>
                  </a:lnTo>
                  <a:lnTo>
                    <a:pt x="25" y="18"/>
                  </a:lnTo>
                  <a:lnTo>
                    <a:pt x="27" y="20"/>
                  </a:lnTo>
                  <a:lnTo>
                    <a:pt x="31" y="21"/>
                  </a:lnTo>
                  <a:lnTo>
                    <a:pt x="33" y="22"/>
                  </a:lnTo>
                  <a:lnTo>
                    <a:pt x="31" y="23"/>
                  </a:lnTo>
                  <a:lnTo>
                    <a:pt x="27" y="23"/>
                  </a:lnTo>
                  <a:lnTo>
                    <a:pt x="24" y="23"/>
                  </a:lnTo>
                  <a:lnTo>
                    <a:pt x="22" y="24"/>
                  </a:lnTo>
                  <a:lnTo>
                    <a:pt x="24" y="25"/>
                  </a:lnTo>
                  <a:lnTo>
                    <a:pt x="27" y="26"/>
                  </a:lnTo>
                  <a:lnTo>
                    <a:pt x="30" y="28"/>
                  </a:lnTo>
                  <a:lnTo>
                    <a:pt x="30" y="30"/>
                  </a:lnTo>
                  <a:lnTo>
                    <a:pt x="33" y="31"/>
                  </a:lnTo>
                  <a:lnTo>
                    <a:pt x="33" y="31"/>
                  </a:lnTo>
                  <a:close/>
                  <a:moveTo>
                    <a:pt x="60" y="93"/>
                  </a:moveTo>
                  <a:lnTo>
                    <a:pt x="57" y="93"/>
                  </a:lnTo>
                  <a:lnTo>
                    <a:pt x="55" y="94"/>
                  </a:lnTo>
                  <a:lnTo>
                    <a:pt x="52" y="94"/>
                  </a:lnTo>
                  <a:lnTo>
                    <a:pt x="49" y="95"/>
                  </a:lnTo>
                  <a:lnTo>
                    <a:pt x="49" y="99"/>
                  </a:lnTo>
                  <a:lnTo>
                    <a:pt x="47" y="99"/>
                  </a:lnTo>
                  <a:lnTo>
                    <a:pt x="44" y="99"/>
                  </a:lnTo>
                  <a:lnTo>
                    <a:pt x="47" y="100"/>
                  </a:lnTo>
                  <a:lnTo>
                    <a:pt x="44" y="102"/>
                  </a:lnTo>
                  <a:lnTo>
                    <a:pt x="41" y="103"/>
                  </a:lnTo>
                  <a:lnTo>
                    <a:pt x="39" y="106"/>
                  </a:lnTo>
                  <a:lnTo>
                    <a:pt x="37" y="109"/>
                  </a:lnTo>
                  <a:lnTo>
                    <a:pt x="40" y="110"/>
                  </a:lnTo>
                  <a:lnTo>
                    <a:pt x="41" y="112"/>
                  </a:lnTo>
                  <a:lnTo>
                    <a:pt x="43" y="110"/>
                  </a:lnTo>
                  <a:lnTo>
                    <a:pt x="44" y="112"/>
                  </a:lnTo>
                  <a:lnTo>
                    <a:pt x="47" y="115"/>
                  </a:lnTo>
                  <a:lnTo>
                    <a:pt x="49" y="116"/>
                  </a:lnTo>
                  <a:lnTo>
                    <a:pt x="52" y="117"/>
                  </a:lnTo>
                  <a:lnTo>
                    <a:pt x="55" y="116"/>
                  </a:lnTo>
                  <a:lnTo>
                    <a:pt x="58" y="117"/>
                  </a:lnTo>
                  <a:lnTo>
                    <a:pt x="60" y="119"/>
                  </a:lnTo>
                  <a:lnTo>
                    <a:pt x="64" y="120"/>
                  </a:lnTo>
                  <a:lnTo>
                    <a:pt x="66" y="120"/>
                  </a:lnTo>
                  <a:lnTo>
                    <a:pt x="68" y="120"/>
                  </a:lnTo>
                  <a:lnTo>
                    <a:pt x="72" y="120"/>
                  </a:lnTo>
                  <a:lnTo>
                    <a:pt x="75" y="120"/>
                  </a:lnTo>
                  <a:lnTo>
                    <a:pt x="77" y="120"/>
                  </a:lnTo>
                  <a:lnTo>
                    <a:pt x="80" y="117"/>
                  </a:lnTo>
                  <a:lnTo>
                    <a:pt x="81" y="115"/>
                  </a:lnTo>
                  <a:lnTo>
                    <a:pt x="80" y="111"/>
                  </a:lnTo>
                  <a:lnTo>
                    <a:pt x="77" y="109"/>
                  </a:lnTo>
                  <a:lnTo>
                    <a:pt x="80" y="107"/>
                  </a:lnTo>
                  <a:lnTo>
                    <a:pt x="80" y="103"/>
                  </a:lnTo>
                  <a:lnTo>
                    <a:pt x="76" y="102"/>
                  </a:lnTo>
                  <a:lnTo>
                    <a:pt x="74" y="99"/>
                  </a:lnTo>
                  <a:lnTo>
                    <a:pt x="72" y="97"/>
                  </a:lnTo>
                  <a:lnTo>
                    <a:pt x="68" y="94"/>
                  </a:lnTo>
                  <a:lnTo>
                    <a:pt x="66" y="93"/>
                  </a:lnTo>
                  <a:lnTo>
                    <a:pt x="63" y="93"/>
                  </a:lnTo>
                  <a:lnTo>
                    <a:pt x="60" y="93"/>
                  </a:lnTo>
                  <a:lnTo>
                    <a:pt x="60" y="93"/>
                  </a:lnTo>
                  <a:close/>
                  <a:moveTo>
                    <a:pt x="23" y="135"/>
                  </a:moveTo>
                  <a:lnTo>
                    <a:pt x="20" y="134"/>
                  </a:lnTo>
                  <a:lnTo>
                    <a:pt x="17" y="135"/>
                  </a:lnTo>
                  <a:lnTo>
                    <a:pt x="14" y="135"/>
                  </a:lnTo>
                  <a:lnTo>
                    <a:pt x="10" y="136"/>
                  </a:lnTo>
                  <a:lnTo>
                    <a:pt x="8" y="136"/>
                  </a:lnTo>
                  <a:lnTo>
                    <a:pt x="5" y="137"/>
                  </a:lnTo>
                  <a:lnTo>
                    <a:pt x="3" y="138"/>
                  </a:lnTo>
                  <a:lnTo>
                    <a:pt x="0" y="138"/>
                  </a:lnTo>
                  <a:lnTo>
                    <a:pt x="3" y="142"/>
                  </a:lnTo>
                  <a:lnTo>
                    <a:pt x="5" y="142"/>
                  </a:lnTo>
                  <a:lnTo>
                    <a:pt x="3" y="142"/>
                  </a:lnTo>
                  <a:lnTo>
                    <a:pt x="5" y="142"/>
                  </a:lnTo>
                  <a:lnTo>
                    <a:pt x="8" y="142"/>
                  </a:lnTo>
                  <a:lnTo>
                    <a:pt x="10" y="142"/>
                  </a:lnTo>
                  <a:lnTo>
                    <a:pt x="14" y="141"/>
                  </a:lnTo>
                  <a:lnTo>
                    <a:pt x="16" y="141"/>
                  </a:lnTo>
                  <a:lnTo>
                    <a:pt x="18" y="138"/>
                  </a:lnTo>
                  <a:lnTo>
                    <a:pt x="22" y="137"/>
                  </a:lnTo>
                  <a:lnTo>
                    <a:pt x="23" y="135"/>
                  </a:lnTo>
                  <a:lnTo>
                    <a:pt x="23" y="1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17" name="Freeform 217">
              <a:extLst>
                <a:ext uri="{FF2B5EF4-FFF2-40B4-BE49-F238E27FC236}">
                  <a16:creationId xmlns:a16="http://schemas.microsoft.com/office/drawing/2014/main" id="{F9EAAFFA-9246-4AC8-BF31-01A1F48A5A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1088" y="2274888"/>
              <a:ext cx="203200" cy="104775"/>
            </a:xfrm>
            <a:custGeom>
              <a:avLst/>
              <a:gdLst>
                <a:gd name="T0" fmla="*/ 27 w 128"/>
                <a:gd name="T1" fmla="*/ 66 h 66"/>
                <a:gd name="T2" fmla="*/ 25 w 128"/>
                <a:gd name="T3" fmla="*/ 65 h 66"/>
                <a:gd name="T4" fmla="*/ 22 w 128"/>
                <a:gd name="T5" fmla="*/ 66 h 66"/>
                <a:gd name="T6" fmla="*/ 25 w 128"/>
                <a:gd name="T7" fmla="*/ 65 h 66"/>
                <a:gd name="T8" fmla="*/ 27 w 128"/>
                <a:gd name="T9" fmla="*/ 64 h 66"/>
                <a:gd name="T10" fmla="*/ 31 w 128"/>
                <a:gd name="T11" fmla="*/ 64 h 66"/>
                <a:gd name="T12" fmla="*/ 27 w 128"/>
                <a:gd name="T13" fmla="*/ 66 h 66"/>
                <a:gd name="T14" fmla="*/ 27 w 128"/>
                <a:gd name="T15" fmla="*/ 66 h 66"/>
                <a:gd name="T16" fmla="*/ 11 w 128"/>
                <a:gd name="T17" fmla="*/ 0 h 66"/>
                <a:gd name="T18" fmla="*/ 6 w 128"/>
                <a:gd name="T19" fmla="*/ 0 h 66"/>
                <a:gd name="T20" fmla="*/ 2 w 128"/>
                <a:gd name="T21" fmla="*/ 0 h 66"/>
                <a:gd name="T22" fmla="*/ 0 w 128"/>
                <a:gd name="T23" fmla="*/ 0 h 66"/>
                <a:gd name="T24" fmla="*/ 1 w 128"/>
                <a:gd name="T25" fmla="*/ 3 h 66"/>
                <a:gd name="T26" fmla="*/ 4 w 128"/>
                <a:gd name="T27" fmla="*/ 4 h 66"/>
                <a:gd name="T28" fmla="*/ 6 w 128"/>
                <a:gd name="T29" fmla="*/ 5 h 66"/>
                <a:gd name="T30" fmla="*/ 9 w 128"/>
                <a:gd name="T31" fmla="*/ 5 h 66"/>
                <a:gd name="T32" fmla="*/ 11 w 128"/>
                <a:gd name="T33" fmla="*/ 5 h 66"/>
                <a:gd name="T34" fmla="*/ 15 w 128"/>
                <a:gd name="T35" fmla="*/ 4 h 66"/>
                <a:gd name="T36" fmla="*/ 17 w 128"/>
                <a:gd name="T37" fmla="*/ 4 h 66"/>
                <a:gd name="T38" fmla="*/ 21 w 128"/>
                <a:gd name="T39" fmla="*/ 4 h 66"/>
                <a:gd name="T40" fmla="*/ 18 w 128"/>
                <a:gd name="T41" fmla="*/ 1 h 66"/>
                <a:gd name="T42" fmla="*/ 16 w 128"/>
                <a:gd name="T43" fmla="*/ 0 h 66"/>
                <a:gd name="T44" fmla="*/ 13 w 128"/>
                <a:gd name="T45" fmla="*/ 0 h 66"/>
                <a:gd name="T46" fmla="*/ 11 w 128"/>
                <a:gd name="T47" fmla="*/ 0 h 66"/>
                <a:gd name="T48" fmla="*/ 11 w 128"/>
                <a:gd name="T49" fmla="*/ 0 h 66"/>
                <a:gd name="T50" fmla="*/ 128 w 128"/>
                <a:gd name="T51" fmla="*/ 4 h 66"/>
                <a:gd name="T52" fmla="*/ 125 w 128"/>
                <a:gd name="T53" fmla="*/ 6 h 66"/>
                <a:gd name="T54" fmla="*/ 124 w 128"/>
                <a:gd name="T55" fmla="*/ 10 h 66"/>
                <a:gd name="T56" fmla="*/ 122 w 128"/>
                <a:gd name="T57" fmla="*/ 12 h 66"/>
                <a:gd name="T58" fmla="*/ 119 w 128"/>
                <a:gd name="T59" fmla="*/ 12 h 66"/>
                <a:gd name="T60" fmla="*/ 115 w 128"/>
                <a:gd name="T61" fmla="*/ 12 h 66"/>
                <a:gd name="T62" fmla="*/ 111 w 128"/>
                <a:gd name="T63" fmla="*/ 11 h 66"/>
                <a:gd name="T64" fmla="*/ 103 w 128"/>
                <a:gd name="T65" fmla="*/ 11 h 66"/>
                <a:gd name="T66" fmla="*/ 100 w 128"/>
                <a:gd name="T67" fmla="*/ 12 h 66"/>
                <a:gd name="T68" fmla="*/ 98 w 128"/>
                <a:gd name="T69" fmla="*/ 12 h 66"/>
                <a:gd name="T70" fmla="*/ 92 w 128"/>
                <a:gd name="T71" fmla="*/ 12 h 66"/>
                <a:gd name="T72" fmla="*/ 88 w 128"/>
                <a:gd name="T73" fmla="*/ 11 h 66"/>
                <a:gd name="T74" fmla="*/ 86 w 128"/>
                <a:gd name="T75" fmla="*/ 9 h 66"/>
                <a:gd name="T76" fmla="*/ 85 w 128"/>
                <a:gd name="T77" fmla="*/ 6 h 66"/>
                <a:gd name="T78" fmla="*/ 87 w 128"/>
                <a:gd name="T79" fmla="*/ 4 h 66"/>
                <a:gd name="T80" fmla="*/ 91 w 128"/>
                <a:gd name="T81" fmla="*/ 3 h 66"/>
                <a:gd name="T82" fmla="*/ 93 w 128"/>
                <a:gd name="T83" fmla="*/ 3 h 66"/>
                <a:gd name="T84" fmla="*/ 96 w 128"/>
                <a:gd name="T85" fmla="*/ 2 h 66"/>
                <a:gd name="T86" fmla="*/ 99 w 128"/>
                <a:gd name="T87" fmla="*/ 3 h 66"/>
                <a:gd name="T88" fmla="*/ 102 w 128"/>
                <a:gd name="T89" fmla="*/ 3 h 66"/>
                <a:gd name="T90" fmla="*/ 105 w 128"/>
                <a:gd name="T91" fmla="*/ 3 h 66"/>
                <a:gd name="T92" fmla="*/ 108 w 128"/>
                <a:gd name="T93" fmla="*/ 2 h 66"/>
                <a:gd name="T94" fmla="*/ 110 w 128"/>
                <a:gd name="T95" fmla="*/ 3 h 66"/>
                <a:gd name="T96" fmla="*/ 113 w 128"/>
                <a:gd name="T97" fmla="*/ 3 h 66"/>
                <a:gd name="T98" fmla="*/ 116 w 128"/>
                <a:gd name="T99" fmla="*/ 3 h 66"/>
                <a:gd name="T100" fmla="*/ 119 w 128"/>
                <a:gd name="T101" fmla="*/ 4 h 66"/>
                <a:gd name="T102" fmla="*/ 122 w 128"/>
                <a:gd name="T103" fmla="*/ 3 h 66"/>
                <a:gd name="T104" fmla="*/ 125 w 128"/>
                <a:gd name="T105" fmla="*/ 3 h 66"/>
                <a:gd name="T106" fmla="*/ 127 w 128"/>
                <a:gd name="T107" fmla="*/ 4 h 66"/>
                <a:gd name="T108" fmla="*/ 128 w 128"/>
                <a:gd name="T109" fmla="*/ 4 h 66"/>
                <a:gd name="T110" fmla="*/ 128 w 128"/>
                <a:gd name="T111" fmla="*/ 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8" h="66">
                  <a:moveTo>
                    <a:pt x="27" y="66"/>
                  </a:moveTo>
                  <a:lnTo>
                    <a:pt x="25" y="65"/>
                  </a:lnTo>
                  <a:lnTo>
                    <a:pt x="22" y="66"/>
                  </a:lnTo>
                  <a:lnTo>
                    <a:pt x="25" y="65"/>
                  </a:lnTo>
                  <a:lnTo>
                    <a:pt x="27" y="64"/>
                  </a:lnTo>
                  <a:lnTo>
                    <a:pt x="31" y="64"/>
                  </a:lnTo>
                  <a:lnTo>
                    <a:pt x="27" y="66"/>
                  </a:lnTo>
                  <a:lnTo>
                    <a:pt x="27" y="66"/>
                  </a:lnTo>
                  <a:close/>
                  <a:moveTo>
                    <a:pt x="11" y="0"/>
                  </a:moveTo>
                  <a:lnTo>
                    <a:pt x="6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1" y="3"/>
                  </a:lnTo>
                  <a:lnTo>
                    <a:pt x="4" y="4"/>
                  </a:lnTo>
                  <a:lnTo>
                    <a:pt x="6" y="5"/>
                  </a:lnTo>
                  <a:lnTo>
                    <a:pt x="9" y="5"/>
                  </a:lnTo>
                  <a:lnTo>
                    <a:pt x="11" y="5"/>
                  </a:lnTo>
                  <a:lnTo>
                    <a:pt x="15" y="4"/>
                  </a:lnTo>
                  <a:lnTo>
                    <a:pt x="17" y="4"/>
                  </a:lnTo>
                  <a:lnTo>
                    <a:pt x="21" y="4"/>
                  </a:lnTo>
                  <a:lnTo>
                    <a:pt x="18" y="1"/>
                  </a:lnTo>
                  <a:lnTo>
                    <a:pt x="16" y="0"/>
                  </a:lnTo>
                  <a:lnTo>
                    <a:pt x="13" y="0"/>
                  </a:lnTo>
                  <a:lnTo>
                    <a:pt x="11" y="0"/>
                  </a:lnTo>
                  <a:lnTo>
                    <a:pt x="11" y="0"/>
                  </a:lnTo>
                  <a:close/>
                  <a:moveTo>
                    <a:pt x="128" y="4"/>
                  </a:moveTo>
                  <a:lnTo>
                    <a:pt x="125" y="6"/>
                  </a:lnTo>
                  <a:lnTo>
                    <a:pt x="124" y="10"/>
                  </a:lnTo>
                  <a:lnTo>
                    <a:pt x="122" y="12"/>
                  </a:lnTo>
                  <a:lnTo>
                    <a:pt x="119" y="12"/>
                  </a:lnTo>
                  <a:lnTo>
                    <a:pt x="115" y="12"/>
                  </a:lnTo>
                  <a:lnTo>
                    <a:pt x="111" y="11"/>
                  </a:lnTo>
                  <a:lnTo>
                    <a:pt x="103" y="11"/>
                  </a:lnTo>
                  <a:lnTo>
                    <a:pt x="100" y="12"/>
                  </a:lnTo>
                  <a:lnTo>
                    <a:pt x="98" y="12"/>
                  </a:lnTo>
                  <a:lnTo>
                    <a:pt x="92" y="12"/>
                  </a:lnTo>
                  <a:lnTo>
                    <a:pt x="88" y="11"/>
                  </a:lnTo>
                  <a:lnTo>
                    <a:pt x="86" y="9"/>
                  </a:lnTo>
                  <a:lnTo>
                    <a:pt x="85" y="6"/>
                  </a:lnTo>
                  <a:lnTo>
                    <a:pt x="87" y="4"/>
                  </a:lnTo>
                  <a:lnTo>
                    <a:pt x="91" y="3"/>
                  </a:lnTo>
                  <a:lnTo>
                    <a:pt x="93" y="3"/>
                  </a:lnTo>
                  <a:lnTo>
                    <a:pt x="96" y="2"/>
                  </a:lnTo>
                  <a:lnTo>
                    <a:pt x="99" y="3"/>
                  </a:lnTo>
                  <a:lnTo>
                    <a:pt x="102" y="3"/>
                  </a:lnTo>
                  <a:lnTo>
                    <a:pt x="105" y="3"/>
                  </a:lnTo>
                  <a:lnTo>
                    <a:pt x="108" y="2"/>
                  </a:lnTo>
                  <a:lnTo>
                    <a:pt x="110" y="3"/>
                  </a:lnTo>
                  <a:lnTo>
                    <a:pt x="113" y="3"/>
                  </a:lnTo>
                  <a:lnTo>
                    <a:pt x="116" y="3"/>
                  </a:lnTo>
                  <a:lnTo>
                    <a:pt x="119" y="4"/>
                  </a:lnTo>
                  <a:lnTo>
                    <a:pt x="122" y="3"/>
                  </a:lnTo>
                  <a:lnTo>
                    <a:pt x="125" y="3"/>
                  </a:lnTo>
                  <a:lnTo>
                    <a:pt x="127" y="4"/>
                  </a:lnTo>
                  <a:lnTo>
                    <a:pt x="128" y="4"/>
                  </a:lnTo>
                  <a:lnTo>
                    <a:pt x="128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18" name="Freeform 218">
              <a:extLst>
                <a:ext uri="{FF2B5EF4-FFF2-40B4-BE49-F238E27FC236}">
                  <a16:creationId xmlns:a16="http://schemas.microsoft.com/office/drawing/2014/main" id="{695A1E9C-3242-419D-ADB1-86E45A8AAB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60850" y="1982788"/>
              <a:ext cx="1325562" cy="979488"/>
            </a:xfrm>
            <a:custGeom>
              <a:avLst/>
              <a:gdLst>
                <a:gd name="T0" fmla="*/ 711 w 835"/>
                <a:gd name="T1" fmla="*/ 101 h 617"/>
                <a:gd name="T2" fmla="*/ 827 w 835"/>
                <a:gd name="T3" fmla="*/ 64 h 617"/>
                <a:gd name="T4" fmla="*/ 721 w 835"/>
                <a:gd name="T5" fmla="*/ 67 h 617"/>
                <a:gd name="T6" fmla="*/ 682 w 835"/>
                <a:gd name="T7" fmla="*/ 53 h 617"/>
                <a:gd name="T8" fmla="*/ 597 w 835"/>
                <a:gd name="T9" fmla="*/ 57 h 617"/>
                <a:gd name="T10" fmla="*/ 612 w 835"/>
                <a:gd name="T11" fmla="*/ 49 h 617"/>
                <a:gd name="T12" fmla="*/ 648 w 835"/>
                <a:gd name="T13" fmla="*/ 30 h 617"/>
                <a:gd name="T14" fmla="*/ 537 w 835"/>
                <a:gd name="T15" fmla="*/ 26 h 617"/>
                <a:gd name="T16" fmla="*/ 637 w 835"/>
                <a:gd name="T17" fmla="*/ 15 h 617"/>
                <a:gd name="T18" fmla="*/ 527 w 835"/>
                <a:gd name="T19" fmla="*/ 2 h 617"/>
                <a:gd name="T20" fmla="*/ 483 w 835"/>
                <a:gd name="T21" fmla="*/ 21 h 617"/>
                <a:gd name="T22" fmla="*/ 380 w 835"/>
                <a:gd name="T23" fmla="*/ 17 h 617"/>
                <a:gd name="T24" fmla="*/ 423 w 835"/>
                <a:gd name="T25" fmla="*/ 26 h 617"/>
                <a:gd name="T26" fmla="*/ 392 w 835"/>
                <a:gd name="T27" fmla="*/ 39 h 617"/>
                <a:gd name="T28" fmla="*/ 344 w 835"/>
                <a:gd name="T29" fmla="*/ 45 h 617"/>
                <a:gd name="T30" fmla="*/ 285 w 835"/>
                <a:gd name="T31" fmla="*/ 56 h 617"/>
                <a:gd name="T32" fmla="*/ 199 w 835"/>
                <a:gd name="T33" fmla="*/ 51 h 617"/>
                <a:gd name="T34" fmla="*/ 166 w 835"/>
                <a:gd name="T35" fmla="*/ 83 h 617"/>
                <a:gd name="T36" fmla="*/ 84 w 835"/>
                <a:gd name="T37" fmla="*/ 118 h 617"/>
                <a:gd name="T38" fmla="*/ 49 w 835"/>
                <a:gd name="T39" fmla="*/ 156 h 617"/>
                <a:gd name="T40" fmla="*/ 39 w 835"/>
                <a:gd name="T41" fmla="*/ 193 h 617"/>
                <a:gd name="T42" fmla="*/ 89 w 835"/>
                <a:gd name="T43" fmla="*/ 205 h 617"/>
                <a:gd name="T44" fmla="*/ 65 w 835"/>
                <a:gd name="T45" fmla="*/ 219 h 617"/>
                <a:gd name="T46" fmla="*/ 122 w 835"/>
                <a:gd name="T47" fmla="*/ 230 h 617"/>
                <a:gd name="T48" fmla="*/ 221 w 835"/>
                <a:gd name="T49" fmla="*/ 270 h 617"/>
                <a:gd name="T50" fmla="*/ 252 w 835"/>
                <a:gd name="T51" fmla="*/ 321 h 617"/>
                <a:gd name="T52" fmla="*/ 262 w 835"/>
                <a:gd name="T53" fmla="*/ 354 h 617"/>
                <a:gd name="T54" fmla="*/ 282 w 835"/>
                <a:gd name="T55" fmla="*/ 364 h 617"/>
                <a:gd name="T56" fmla="*/ 277 w 835"/>
                <a:gd name="T57" fmla="*/ 376 h 617"/>
                <a:gd name="T58" fmla="*/ 307 w 835"/>
                <a:gd name="T59" fmla="*/ 407 h 617"/>
                <a:gd name="T60" fmla="*/ 280 w 835"/>
                <a:gd name="T61" fmla="*/ 436 h 617"/>
                <a:gd name="T62" fmla="*/ 286 w 835"/>
                <a:gd name="T63" fmla="*/ 444 h 617"/>
                <a:gd name="T64" fmla="*/ 311 w 835"/>
                <a:gd name="T65" fmla="*/ 449 h 617"/>
                <a:gd name="T66" fmla="*/ 311 w 835"/>
                <a:gd name="T67" fmla="*/ 461 h 617"/>
                <a:gd name="T68" fmla="*/ 277 w 835"/>
                <a:gd name="T69" fmla="*/ 476 h 617"/>
                <a:gd name="T70" fmla="*/ 288 w 835"/>
                <a:gd name="T71" fmla="*/ 477 h 617"/>
                <a:gd name="T72" fmla="*/ 298 w 835"/>
                <a:gd name="T73" fmla="*/ 494 h 617"/>
                <a:gd name="T74" fmla="*/ 315 w 835"/>
                <a:gd name="T75" fmla="*/ 514 h 617"/>
                <a:gd name="T76" fmla="*/ 297 w 835"/>
                <a:gd name="T77" fmla="*/ 537 h 617"/>
                <a:gd name="T78" fmla="*/ 318 w 835"/>
                <a:gd name="T79" fmla="*/ 569 h 617"/>
                <a:gd name="T80" fmla="*/ 340 w 835"/>
                <a:gd name="T81" fmla="*/ 602 h 617"/>
                <a:gd name="T82" fmla="*/ 380 w 835"/>
                <a:gd name="T83" fmla="*/ 607 h 617"/>
                <a:gd name="T84" fmla="*/ 413 w 835"/>
                <a:gd name="T85" fmla="*/ 600 h 617"/>
                <a:gd name="T86" fmla="*/ 413 w 835"/>
                <a:gd name="T87" fmla="*/ 562 h 617"/>
                <a:gd name="T88" fmla="*/ 442 w 835"/>
                <a:gd name="T89" fmla="*/ 530 h 617"/>
                <a:gd name="T90" fmla="*/ 483 w 835"/>
                <a:gd name="T91" fmla="*/ 480 h 617"/>
                <a:gd name="T92" fmla="*/ 551 w 835"/>
                <a:gd name="T93" fmla="*/ 449 h 617"/>
                <a:gd name="T94" fmla="*/ 631 w 835"/>
                <a:gd name="T95" fmla="*/ 427 h 617"/>
                <a:gd name="T96" fmla="*/ 668 w 835"/>
                <a:gd name="T97" fmla="*/ 390 h 617"/>
                <a:gd name="T98" fmla="*/ 611 w 835"/>
                <a:gd name="T99" fmla="*/ 382 h 617"/>
                <a:gd name="T100" fmla="*/ 617 w 835"/>
                <a:gd name="T101" fmla="*/ 355 h 617"/>
                <a:gd name="T102" fmla="*/ 694 w 835"/>
                <a:gd name="T103" fmla="*/ 381 h 617"/>
                <a:gd name="T104" fmla="*/ 668 w 835"/>
                <a:gd name="T105" fmla="*/ 337 h 617"/>
                <a:gd name="T106" fmla="*/ 653 w 835"/>
                <a:gd name="T107" fmla="*/ 316 h 617"/>
                <a:gd name="T108" fmla="*/ 668 w 835"/>
                <a:gd name="T109" fmla="*/ 299 h 617"/>
                <a:gd name="T110" fmla="*/ 700 w 835"/>
                <a:gd name="T111" fmla="*/ 295 h 617"/>
                <a:gd name="T112" fmla="*/ 717 w 835"/>
                <a:gd name="T113" fmla="*/ 267 h 617"/>
                <a:gd name="T114" fmla="*/ 730 w 835"/>
                <a:gd name="T115" fmla="*/ 262 h 617"/>
                <a:gd name="T116" fmla="*/ 704 w 835"/>
                <a:gd name="T117" fmla="*/ 228 h 617"/>
                <a:gd name="T118" fmla="*/ 748 w 835"/>
                <a:gd name="T119" fmla="*/ 214 h 617"/>
                <a:gd name="T120" fmla="*/ 724 w 835"/>
                <a:gd name="T121" fmla="*/ 184 h 617"/>
                <a:gd name="T122" fmla="*/ 732 w 835"/>
                <a:gd name="T123" fmla="*/ 141 h 6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835" h="617">
                  <a:moveTo>
                    <a:pt x="721" y="119"/>
                  </a:moveTo>
                  <a:lnTo>
                    <a:pt x="719" y="118"/>
                  </a:lnTo>
                  <a:lnTo>
                    <a:pt x="720" y="116"/>
                  </a:lnTo>
                  <a:lnTo>
                    <a:pt x="723" y="115"/>
                  </a:lnTo>
                  <a:lnTo>
                    <a:pt x="726" y="113"/>
                  </a:lnTo>
                  <a:lnTo>
                    <a:pt x="729" y="111"/>
                  </a:lnTo>
                  <a:lnTo>
                    <a:pt x="731" y="110"/>
                  </a:lnTo>
                  <a:lnTo>
                    <a:pt x="734" y="110"/>
                  </a:lnTo>
                  <a:lnTo>
                    <a:pt x="738" y="111"/>
                  </a:lnTo>
                  <a:lnTo>
                    <a:pt x="740" y="111"/>
                  </a:lnTo>
                  <a:lnTo>
                    <a:pt x="742" y="112"/>
                  </a:lnTo>
                  <a:lnTo>
                    <a:pt x="746" y="112"/>
                  </a:lnTo>
                  <a:lnTo>
                    <a:pt x="749" y="112"/>
                  </a:lnTo>
                  <a:lnTo>
                    <a:pt x="751" y="112"/>
                  </a:lnTo>
                  <a:lnTo>
                    <a:pt x="755" y="112"/>
                  </a:lnTo>
                  <a:lnTo>
                    <a:pt x="757" y="112"/>
                  </a:lnTo>
                  <a:lnTo>
                    <a:pt x="760" y="112"/>
                  </a:lnTo>
                  <a:lnTo>
                    <a:pt x="766" y="112"/>
                  </a:lnTo>
                  <a:lnTo>
                    <a:pt x="768" y="111"/>
                  </a:lnTo>
                  <a:lnTo>
                    <a:pt x="772" y="110"/>
                  </a:lnTo>
                  <a:lnTo>
                    <a:pt x="774" y="109"/>
                  </a:lnTo>
                  <a:lnTo>
                    <a:pt x="773" y="107"/>
                  </a:lnTo>
                  <a:lnTo>
                    <a:pt x="775" y="108"/>
                  </a:lnTo>
                  <a:lnTo>
                    <a:pt x="779" y="106"/>
                  </a:lnTo>
                  <a:lnTo>
                    <a:pt x="780" y="102"/>
                  </a:lnTo>
                  <a:lnTo>
                    <a:pt x="777" y="102"/>
                  </a:lnTo>
                  <a:lnTo>
                    <a:pt x="772" y="101"/>
                  </a:lnTo>
                  <a:lnTo>
                    <a:pt x="768" y="101"/>
                  </a:lnTo>
                  <a:lnTo>
                    <a:pt x="765" y="100"/>
                  </a:lnTo>
                  <a:lnTo>
                    <a:pt x="763" y="100"/>
                  </a:lnTo>
                  <a:lnTo>
                    <a:pt x="759" y="101"/>
                  </a:lnTo>
                  <a:lnTo>
                    <a:pt x="757" y="101"/>
                  </a:lnTo>
                  <a:lnTo>
                    <a:pt x="754" y="102"/>
                  </a:lnTo>
                  <a:lnTo>
                    <a:pt x="751" y="102"/>
                  </a:lnTo>
                  <a:lnTo>
                    <a:pt x="748" y="102"/>
                  </a:lnTo>
                  <a:lnTo>
                    <a:pt x="746" y="101"/>
                  </a:lnTo>
                  <a:lnTo>
                    <a:pt x="742" y="101"/>
                  </a:lnTo>
                  <a:lnTo>
                    <a:pt x="739" y="101"/>
                  </a:lnTo>
                  <a:lnTo>
                    <a:pt x="737" y="101"/>
                  </a:lnTo>
                  <a:lnTo>
                    <a:pt x="733" y="100"/>
                  </a:lnTo>
                  <a:lnTo>
                    <a:pt x="730" y="99"/>
                  </a:lnTo>
                  <a:lnTo>
                    <a:pt x="728" y="99"/>
                  </a:lnTo>
                  <a:lnTo>
                    <a:pt x="725" y="100"/>
                  </a:lnTo>
                  <a:lnTo>
                    <a:pt x="722" y="101"/>
                  </a:lnTo>
                  <a:lnTo>
                    <a:pt x="720" y="102"/>
                  </a:lnTo>
                  <a:lnTo>
                    <a:pt x="716" y="103"/>
                  </a:lnTo>
                  <a:lnTo>
                    <a:pt x="713" y="102"/>
                  </a:lnTo>
                  <a:lnTo>
                    <a:pt x="711" y="101"/>
                  </a:lnTo>
                  <a:lnTo>
                    <a:pt x="713" y="101"/>
                  </a:lnTo>
                  <a:lnTo>
                    <a:pt x="716" y="101"/>
                  </a:lnTo>
                  <a:lnTo>
                    <a:pt x="720" y="101"/>
                  </a:lnTo>
                  <a:lnTo>
                    <a:pt x="722" y="100"/>
                  </a:lnTo>
                  <a:lnTo>
                    <a:pt x="724" y="98"/>
                  </a:lnTo>
                  <a:lnTo>
                    <a:pt x="728" y="98"/>
                  </a:lnTo>
                  <a:lnTo>
                    <a:pt x="733" y="99"/>
                  </a:lnTo>
                  <a:lnTo>
                    <a:pt x="737" y="99"/>
                  </a:lnTo>
                  <a:lnTo>
                    <a:pt x="739" y="99"/>
                  </a:lnTo>
                  <a:lnTo>
                    <a:pt x="742" y="100"/>
                  </a:lnTo>
                  <a:lnTo>
                    <a:pt x="746" y="100"/>
                  </a:lnTo>
                  <a:lnTo>
                    <a:pt x="748" y="99"/>
                  </a:lnTo>
                  <a:lnTo>
                    <a:pt x="751" y="98"/>
                  </a:lnTo>
                  <a:lnTo>
                    <a:pt x="754" y="96"/>
                  </a:lnTo>
                  <a:lnTo>
                    <a:pt x="755" y="94"/>
                  </a:lnTo>
                  <a:lnTo>
                    <a:pt x="757" y="94"/>
                  </a:lnTo>
                  <a:lnTo>
                    <a:pt x="760" y="96"/>
                  </a:lnTo>
                  <a:lnTo>
                    <a:pt x="763" y="96"/>
                  </a:lnTo>
                  <a:lnTo>
                    <a:pt x="766" y="95"/>
                  </a:lnTo>
                  <a:lnTo>
                    <a:pt x="768" y="96"/>
                  </a:lnTo>
                  <a:lnTo>
                    <a:pt x="772" y="96"/>
                  </a:lnTo>
                  <a:lnTo>
                    <a:pt x="774" y="96"/>
                  </a:lnTo>
                  <a:lnTo>
                    <a:pt x="777" y="96"/>
                  </a:lnTo>
                  <a:lnTo>
                    <a:pt x="780" y="96"/>
                  </a:lnTo>
                  <a:lnTo>
                    <a:pt x="783" y="96"/>
                  </a:lnTo>
                  <a:lnTo>
                    <a:pt x="785" y="93"/>
                  </a:lnTo>
                  <a:lnTo>
                    <a:pt x="788" y="92"/>
                  </a:lnTo>
                  <a:lnTo>
                    <a:pt x="797" y="92"/>
                  </a:lnTo>
                  <a:lnTo>
                    <a:pt x="800" y="91"/>
                  </a:lnTo>
                  <a:lnTo>
                    <a:pt x="800" y="89"/>
                  </a:lnTo>
                  <a:lnTo>
                    <a:pt x="797" y="86"/>
                  </a:lnTo>
                  <a:lnTo>
                    <a:pt x="797" y="84"/>
                  </a:lnTo>
                  <a:lnTo>
                    <a:pt x="800" y="83"/>
                  </a:lnTo>
                  <a:lnTo>
                    <a:pt x="808" y="83"/>
                  </a:lnTo>
                  <a:lnTo>
                    <a:pt x="811" y="83"/>
                  </a:lnTo>
                  <a:lnTo>
                    <a:pt x="815" y="81"/>
                  </a:lnTo>
                  <a:lnTo>
                    <a:pt x="817" y="78"/>
                  </a:lnTo>
                  <a:lnTo>
                    <a:pt x="819" y="78"/>
                  </a:lnTo>
                  <a:lnTo>
                    <a:pt x="823" y="77"/>
                  </a:lnTo>
                  <a:lnTo>
                    <a:pt x="825" y="75"/>
                  </a:lnTo>
                  <a:lnTo>
                    <a:pt x="827" y="74"/>
                  </a:lnTo>
                  <a:lnTo>
                    <a:pt x="831" y="73"/>
                  </a:lnTo>
                  <a:lnTo>
                    <a:pt x="833" y="72"/>
                  </a:lnTo>
                  <a:lnTo>
                    <a:pt x="835" y="70"/>
                  </a:lnTo>
                  <a:lnTo>
                    <a:pt x="835" y="67"/>
                  </a:lnTo>
                  <a:lnTo>
                    <a:pt x="833" y="67"/>
                  </a:lnTo>
                  <a:lnTo>
                    <a:pt x="830" y="65"/>
                  </a:lnTo>
                  <a:lnTo>
                    <a:pt x="827" y="64"/>
                  </a:lnTo>
                  <a:lnTo>
                    <a:pt x="825" y="62"/>
                  </a:lnTo>
                  <a:lnTo>
                    <a:pt x="822" y="61"/>
                  </a:lnTo>
                  <a:lnTo>
                    <a:pt x="819" y="61"/>
                  </a:lnTo>
                  <a:lnTo>
                    <a:pt x="816" y="61"/>
                  </a:lnTo>
                  <a:lnTo>
                    <a:pt x="814" y="61"/>
                  </a:lnTo>
                  <a:lnTo>
                    <a:pt x="810" y="60"/>
                  </a:lnTo>
                  <a:lnTo>
                    <a:pt x="808" y="59"/>
                  </a:lnTo>
                  <a:lnTo>
                    <a:pt x="805" y="59"/>
                  </a:lnTo>
                  <a:lnTo>
                    <a:pt x="801" y="58"/>
                  </a:lnTo>
                  <a:lnTo>
                    <a:pt x="799" y="58"/>
                  </a:lnTo>
                  <a:lnTo>
                    <a:pt x="796" y="57"/>
                  </a:lnTo>
                  <a:lnTo>
                    <a:pt x="793" y="58"/>
                  </a:lnTo>
                  <a:lnTo>
                    <a:pt x="790" y="58"/>
                  </a:lnTo>
                  <a:lnTo>
                    <a:pt x="786" y="58"/>
                  </a:lnTo>
                  <a:lnTo>
                    <a:pt x="784" y="58"/>
                  </a:lnTo>
                  <a:lnTo>
                    <a:pt x="782" y="57"/>
                  </a:lnTo>
                  <a:lnTo>
                    <a:pt x="779" y="58"/>
                  </a:lnTo>
                  <a:lnTo>
                    <a:pt x="776" y="58"/>
                  </a:lnTo>
                  <a:lnTo>
                    <a:pt x="773" y="57"/>
                  </a:lnTo>
                  <a:lnTo>
                    <a:pt x="770" y="60"/>
                  </a:lnTo>
                  <a:lnTo>
                    <a:pt x="767" y="59"/>
                  </a:lnTo>
                  <a:lnTo>
                    <a:pt x="765" y="60"/>
                  </a:lnTo>
                  <a:lnTo>
                    <a:pt x="762" y="60"/>
                  </a:lnTo>
                  <a:lnTo>
                    <a:pt x="763" y="62"/>
                  </a:lnTo>
                  <a:lnTo>
                    <a:pt x="764" y="65"/>
                  </a:lnTo>
                  <a:lnTo>
                    <a:pt x="760" y="64"/>
                  </a:lnTo>
                  <a:lnTo>
                    <a:pt x="757" y="65"/>
                  </a:lnTo>
                  <a:lnTo>
                    <a:pt x="757" y="67"/>
                  </a:lnTo>
                  <a:lnTo>
                    <a:pt x="759" y="68"/>
                  </a:lnTo>
                  <a:lnTo>
                    <a:pt x="757" y="69"/>
                  </a:lnTo>
                  <a:lnTo>
                    <a:pt x="754" y="70"/>
                  </a:lnTo>
                  <a:lnTo>
                    <a:pt x="755" y="73"/>
                  </a:lnTo>
                  <a:lnTo>
                    <a:pt x="753" y="73"/>
                  </a:lnTo>
                  <a:lnTo>
                    <a:pt x="750" y="73"/>
                  </a:lnTo>
                  <a:lnTo>
                    <a:pt x="747" y="72"/>
                  </a:lnTo>
                  <a:lnTo>
                    <a:pt x="743" y="72"/>
                  </a:lnTo>
                  <a:lnTo>
                    <a:pt x="741" y="70"/>
                  </a:lnTo>
                  <a:lnTo>
                    <a:pt x="739" y="69"/>
                  </a:lnTo>
                  <a:lnTo>
                    <a:pt x="736" y="69"/>
                  </a:lnTo>
                  <a:lnTo>
                    <a:pt x="732" y="70"/>
                  </a:lnTo>
                  <a:lnTo>
                    <a:pt x="730" y="72"/>
                  </a:lnTo>
                  <a:lnTo>
                    <a:pt x="726" y="73"/>
                  </a:lnTo>
                  <a:lnTo>
                    <a:pt x="724" y="74"/>
                  </a:lnTo>
                  <a:lnTo>
                    <a:pt x="724" y="72"/>
                  </a:lnTo>
                  <a:lnTo>
                    <a:pt x="724" y="68"/>
                  </a:lnTo>
                  <a:lnTo>
                    <a:pt x="728" y="67"/>
                  </a:lnTo>
                  <a:lnTo>
                    <a:pt x="724" y="67"/>
                  </a:lnTo>
                  <a:lnTo>
                    <a:pt x="721" y="67"/>
                  </a:lnTo>
                  <a:lnTo>
                    <a:pt x="719" y="68"/>
                  </a:lnTo>
                  <a:lnTo>
                    <a:pt x="715" y="69"/>
                  </a:lnTo>
                  <a:lnTo>
                    <a:pt x="713" y="72"/>
                  </a:lnTo>
                  <a:lnTo>
                    <a:pt x="709" y="73"/>
                  </a:lnTo>
                  <a:lnTo>
                    <a:pt x="707" y="76"/>
                  </a:lnTo>
                  <a:lnTo>
                    <a:pt x="704" y="77"/>
                  </a:lnTo>
                  <a:lnTo>
                    <a:pt x="702" y="81"/>
                  </a:lnTo>
                  <a:lnTo>
                    <a:pt x="698" y="81"/>
                  </a:lnTo>
                  <a:lnTo>
                    <a:pt x="695" y="83"/>
                  </a:lnTo>
                  <a:lnTo>
                    <a:pt x="692" y="84"/>
                  </a:lnTo>
                  <a:lnTo>
                    <a:pt x="690" y="86"/>
                  </a:lnTo>
                  <a:lnTo>
                    <a:pt x="687" y="89"/>
                  </a:lnTo>
                  <a:lnTo>
                    <a:pt x="685" y="90"/>
                  </a:lnTo>
                  <a:lnTo>
                    <a:pt x="681" y="91"/>
                  </a:lnTo>
                  <a:lnTo>
                    <a:pt x="679" y="91"/>
                  </a:lnTo>
                  <a:lnTo>
                    <a:pt x="679" y="94"/>
                  </a:lnTo>
                  <a:lnTo>
                    <a:pt x="677" y="95"/>
                  </a:lnTo>
                  <a:lnTo>
                    <a:pt x="674" y="98"/>
                  </a:lnTo>
                  <a:lnTo>
                    <a:pt x="672" y="100"/>
                  </a:lnTo>
                  <a:lnTo>
                    <a:pt x="669" y="101"/>
                  </a:lnTo>
                  <a:lnTo>
                    <a:pt x="666" y="102"/>
                  </a:lnTo>
                  <a:lnTo>
                    <a:pt x="668" y="100"/>
                  </a:lnTo>
                  <a:lnTo>
                    <a:pt x="670" y="98"/>
                  </a:lnTo>
                  <a:lnTo>
                    <a:pt x="668" y="98"/>
                  </a:lnTo>
                  <a:lnTo>
                    <a:pt x="671" y="96"/>
                  </a:lnTo>
                  <a:lnTo>
                    <a:pt x="673" y="95"/>
                  </a:lnTo>
                  <a:lnTo>
                    <a:pt x="673" y="92"/>
                  </a:lnTo>
                  <a:lnTo>
                    <a:pt x="675" y="90"/>
                  </a:lnTo>
                  <a:lnTo>
                    <a:pt x="679" y="87"/>
                  </a:lnTo>
                  <a:lnTo>
                    <a:pt x="681" y="85"/>
                  </a:lnTo>
                  <a:lnTo>
                    <a:pt x="683" y="83"/>
                  </a:lnTo>
                  <a:lnTo>
                    <a:pt x="687" y="82"/>
                  </a:lnTo>
                  <a:lnTo>
                    <a:pt x="688" y="79"/>
                  </a:lnTo>
                  <a:lnTo>
                    <a:pt x="691" y="77"/>
                  </a:lnTo>
                  <a:lnTo>
                    <a:pt x="694" y="75"/>
                  </a:lnTo>
                  <a:lnTo>
                    <a:pt x="697" y="73"/>
                  </a:lnTo>
                  <a:lnTo>
                    <a:pt x="698" y="69"/>
                  </a:lnTo>
                  <a:lnTo>
                    <a:pt x="699" y="67"/>
                  </a:lnTo>
                  <a:lnTo>
                    <a:pt x="699" y="64"/>
                  </a:lnTo>
                  <a:lnTo>
                    <a:pt x="699" y="61"/>
                  </a:lnTo>
                  <a:lnTo>
                    <a:pt x="699" y="59"/>
                  </a:lnTo>
                  <a:lnTo>
                    <a:pt x="699" y="56"/>
                  </a:lnTo>
                  <a:lnTo>
                    <a:pt x="697" y="53"/>
                  </a:lnTo>
                  <a:lnTo>
                    <a:pt x="694" y="52"/>
                  </a:lnTo>
                  <a:lnTo>
                    <a:pt x="691" y="52"/>
                  </a:lnTo>
                  <a:lnTo>
                    <a:pt x="688" y="53"/>
                  </a:lnTo>
                  <a:lnTo>
                    <a:pt x="686" y="53"/>
                  </a:lnTo>
                  <a:lnTo>
                    <a:pt x="682" y="53"/>
                  </a:lnTo>
                  <a:lnTo>
                    <a:pt x="680" y="53"/>
                  </a:lnTo>
                  <a:lnTo>
                    <a:pt x="677" y="53"/>
                  </a:lnTo>
                  <a:lnTo>
                    <a:pt x="674" y="55"/>
                  </a:lnTo>
                  <a:lnTo>
                    <a:pt x="671" y="56"/>
                  </a:lnTo>
                  <a:lnTo>
                    <a:pt x="671" y="58"/>
                  </a:lnTo>
                  <a:lnTo>
                    <a:pt x="670" y="61"/>
                  </a:lnTo>
                  <a:lnTo>
                    <a:pt x="670" y="64"/>
                  </a:lnTo>
                  <a:lnTo>
                    <a:pt x="668" y="65"/>
                  </a:lnTo>
                  <a:lnTo>
                    <a:pt x="664" y="65"/>
                  </a:lnTo>
                  <a:lnTo>
                    <a:pt x="661" y="65"/>
                  </a:lnTo>
                  <a:lnTo>
                    <a:pt x="658" y="66"/>
                  </a:lnTo>
                  <a:lnTo>
                    <a:pt x="656" y="67"/>
                  </a:lnTo>
                  <a:lnTo>
                    <a:pt x="649" y="68"/>
                  </a:lnTo>
                  <a:lnTo>
                    <a:pt x="647" y="69"/>
                  </a:lnTo>
                  <a:lnTo>
                    <a:pt x="640" y="70"/>
                  </a:lnTo>
                  <a:lnTo>
                    <a:pt x="638" y="72"/>
                  </a:lnTo>
                  <a:lnTo>
                    <a:pt x="635" y="73"/>
                  </a:lnTo>
                  <a:lnTo>
                    <a:pt x="632" y="74"/>
                  </a:lnTo>
                  <a:lnTo>
                    <a:pt x="630" y="75"/>
                  </a:lnTo>
                  <a:lnTo>
                    <a:pt x="627" y="75"/>
                  </a:lnTo>
                  <a:lnTo>
                    <a:pt x="623" y="75"/>
                  </a:lnTo>
                  <a:lnTo>
                    <a:pt x="627" y="75"/>
                  </a:lnTo>
                  <a:lnTo>
                    <a:pt x="623" y="73"/>
                  </a:lnTo>
                  <a:lnTo>
                    <a:pt x="627" y="70"/>
                  </a:lnTo>
                  <a:lnTo>
                    <a:pt x="632" y="69"/>
                  </a:lnTo>
                  <a:lnTo>
                    <a:pt x="636" y="68"/>
                  </a:lnTo>
                  <a:lnTo>
                    <a:pt x="638" y="67"/>
                  </a:lnTo>
                  <a:lnTo>
                    <a:pt x="645" y="66"/>
                  </a:lnTo>
                  <a:lnTo>
                    <a:pt x="651" y="64"/>
                  </a:lnTo>
                  <a:lnTo>
                    <a:pt x="653" y="62"/>
                  </a:lnTo>
                  <a:lnTo>
                    <a:pt x="655" y="60"/>
                  </a:lnTo>
                  <a:lnTo>
                    <a:pt x="654" y="57"/>
                  </a:lnTo>
                  <a:lnTo>
                    <a:pt x="652" y="55"/>
                  </a:lnTo>
                  <a:lnTo>
                    <a:pt x="648" y="55"/>
                  </a:lnTo>
                  <a:lnTo>
                    <a:pt x="646" y="55"/>
                  </a:lnTo>
                  <a:lnTo>
                    <a:pt x="643" y="55"/>
                  </a:lnTo>
                  <a:lnTo>
                    <a:pt x="635" y="55"/>
                  </a:lnTo>
                  <a:lnTo>
                    <a:pt x="631" y="55"/>
                  </a:lnTo>
                  <a:lnTo>
                    <a:pt x="626" y="55"/>
                  </a:lnTo>
                  <a:lnTo>
                    <a:pt x="623" y="55"/>
                  </a:lnTo>
                  <a:lnTo>
                    <a:pt x="617" y="55"/>
                  </a:lnTo>
                  <a:lnTo>
                    <a:pt x="614" y="55"/>
                  </a:lnTo>
                  <a:lnTo>
                    <a:pt x="612" y="55"/>
                  </a:lnTo>
                  <a:lnTo>
                    <a:pt x="609" y="55"/>
                  </a:lnTo>
                  <a:lnTo>
                    <a:pt x="605" y="55"/>
                  </a:lnTo>
                  <a:lnTo>
                    <a:pt x="603" y="56"/>
                  </a:lnTo>
                  <a:lnTo>
                    <a:pt x="600" y="56"/>
                  </a:lnTo>
                  <a:lnTo>
                    <a:pt x="597" y="57"/>
                  </a:lnTo>
                  <a:lnTo>
                    <a:pt x="594" y="59"/>
                  </a:lnTo>
                  <a:lnTo>
                    <a:pt x="592" y="57"/>
                  </a:lnTo>
                  <a:lnTo>
                    <a:pt x="585" y="58"/>
                  </a:lnTo>
                  <a:lnTo>
                    <a:pt x="583" y="59"/>
                  </a:lnTo>
                  <a:lnTo>
                    <a:pt x="579" y="59"/>
                  </a:lnTo>
                  <a:lnTo>
                    <a:pt x="577" y="59"/>
                  </a:lnTo>
                  <a:lnTo>
                    <a:pt x="570" y="60"/>
                  </a:lnTo>
                  <a:lnTo>
                    <a:pt x="568" y="60"/>
                  </a:lnTo>
                  <a:lnTo>
                    <a:pt x="564" y="61"/>
                  </a:lnTo>
                  <a:lnTo>
                    <a:pt x="562" y="61"/>
                  </a:lnTo>
                  <a:lnTo>
                    <a:pt x="559" y="62"/>
                  </a:lnTo>
                  <a:lnTo>
                    <a:pt x="557" y="64"/>
                  </a:lnTo>
                  <a:lnTo>
                    <a:pt x="553" y="66"/>
                  </a:lnTo>
                  <a:lnTo>
                    <a:pt x="551" y="66"/>
                  </a:lnTo>
                  <a:lnTo>
                    <a:pt x="550" y="64"/>
                  </a:lnTo>
                  <a:lnTo>
                    <a:pt x="549" y="60"/>
                  </a:lnTo>
                  <a:lnTo>
                    <a:pt x="552" y="59"/>
                  </a:lnTo>
                  <a:lnTo>
                    <a:pt x="555" y="59"/>
                  </a:lnTo>
                  <a:lnTo>
                    <a:pt x="558" y="58"/>
                  </a:lnTo>
                  <a:lnTo>
                    <a:pt x="560" y="58"/>
                  </a:lnTo>
                  <a:lnTo>
                    <a:pt x="563" y="57"/>
                  </a:lnTo>
                  <a:lnTo>
                    <a:pt x="566" y="57"/>
                  </a:lnTo>
                  <a:lnTo>
                    <a:pt x="569" y="57"/>
                  </a:lnTo>
                  <a:lnTo>
                    <a:pt x="571" y="56"/>
                  </a:lnTo>
                  <a:lnTo>
                    <a:pt x="574" y="56"/>
                  </a:lnTo>
                  <a:lnTo>
                    <a:pt x="577" y="55"/>
                  </a:lnTo>
                  <a:lnTo>
                    <a:pt x="588" y="52"/>
                  </a:lnTo>
                  <a:lnTo>
                    <a:pt x="591" y="52"/>
                  </a:lnTo>
                  <a:lnTo>
                    <a:pt x="588" y="50"/>
                  </a:lnTo>
                  <a:lnTo>
                    <a:pt x="586" y="49"/>
                  </a:lnTo>
                  <a:lnTo>
                    <a:pt x="583" y="49"/>
                  </a:lnTo>
                  <a:lnTo>
                    <a:pt x="574" y="49"/>
                  </a:lnTo>
                  <a:lnTo>
                    <a:pt x="568" y="49"/>
                  </a:lnTo>
                  <a:lnTo>
                    <a:pt x="571" y="49"/>
                  </a:lnTo>
                  <a:lnTo>
                    <a:pt x="574" y="48"/>
                  </a:lnTo>
                  <a:lnTo>
                    <a:pt x="577" y="48"/>
                  </a:lnTo>
                  <a:lnTo>
                    <a:pt x="580" y="49"/>
                  </a:lnTo>
                  <a:lnTo>
                    <a:pt x="583" y="49"/>
                  </a:lnTo>
                  <a:lnTo>
                    <a:pt x="586" y="49"/>
                  </a:lnTo>
                  <a:lnTo>
                    <a:pt x="588" y="49"/>
                  </a:lnTo>
                  <a:lnTo>
                    <a:pt x="592" y="50"/>
                  </a:lnTo>
                  <a:lnTo>
                    <a:pt x="594" y="50"/>
                  </a:lnTo>
                  <a:lnTo>
                    <a:pt x="597" y="50"/>
                  </a:lnTo>
                  <a:lnTo>
                    <a:pt x="600" y="50"/>
                  </a:lnTo>
                  <a:lnTo>
                    <a:pt x="603" y="50"/>
                  </a:lnTo>
                  <a:lnTo>
                    <a:pt x="606" y="49"/>
                  </a:lnTo>
                  <a:lnTo>
                    <a:pt x="609" y="49"/>
                  </a:lnTo>
                  <a:lnTo>
                    <a:pt x="612" y="49"/>
                  </a:lnTo>
                  <a:lnTo>
                    <a:pt x="615" y="49"/>
                  </a:lnTo>
                  <a:lnTo>
                    <a:pt x="618" y="49"/>
                  </a:lnTo>
                  <a:lnTo>
                    <a:pt x="621" y="49"/>
                  </a:lnTo>
                  <a:lnTo>
                    <a:pt x="625" y="49"/>
                  </a:lnTo>
                  <a:lnTo>
                    <a:pt x="630" y="49"/>
                  </a:lnTo>
                  <a:lnTo>
                    <a:pt x="634" y="49"/>
                  </a:lnTo>
                  <a:lnTo>
                    <a:pt x="639" y="50"/>
                  </a:lnTo>
                  <a:lnTo>
                    <a:pt x="643" y="50"/>
                  </a:lnTo>
                  <a:lnTo>
                    <a:pt x="645" y="50"/>
                  </a:lnTo>
                  <a:lnTo>
                    <a:pt x="657" y="50"/>
                  </a:lnTo>
                  <a:lnTo>
                    <a:pt x="660" y="49"/>
                  </a:lnTo>
                  <a:lnTo>
                    <a:pt x="663" y="49"/>
                  </a:lnTo>
                  <a:lnTo>
                    <a:pt x="665" y="48"/>
                  </a:lnTo>
                  <a:lnTo>
                    <a:pt x="669" y="47"/>
                  </a:lnTo>
                  <a:lnTo>
                    <a:pt x="671" y="47"/>
                  </a:lnTo>
                  <a:lnTo>
                    <a:pt x="674" y="45"/>
                  </a:lnTo>
                  <a:lnTo>
                    <a:pt x="683" y="45"/>
                  </a:lnTo>
                  <a:lnTo>
                    <a:pt x="687" y="45"/>
                  </a:lnTo>
                  <a:lnTo>
                    <a:pt x="689" y="44"/>
                  </a:lnTo>
                  <a:lnTo>
                    <a:pt x="691" y="44"/>
                  </a:lnTo>
                  <a:lnTo>
                    <a:pt x="695" y="43"/>
                  </a:lnTo>
                  <a:lnTo>
                    <a:pt x="696" y="40"/>
                  </a:lnTo>
                  <a:lnTo>
                    <a:pt x="699" y="40"/>
                  </a:lnTo>
                  <a:lnTo>
                    <a:pt x="703" y="39"/>
                  </a:lnTo>
                  <a:lnTo>
                    <a:pt x="705" y="38"/>
                  </a:lnTo>
                  <a:lnTo>
                    <a:pt x="708" y="36"/>
                  </a:lnTo>
                  <a:lnTo>
                    <a:pt x="707" y="34"/>
                  </a:lnTo>
                  <a:lnTo>
                    <a:pt x="704" y="32"/>
                  </a:lnTo>
                  <a:lnTo>
                    <a:pt x="700" y="31"/>
                  </a:lnTo>
                  <a:lnTo>
                    <a:pt x="698" y="31"/>
                  </a:lnTo>
                  <a:lnTo>
                    <a:pt x="695" y="30"/>
                  </a:lnTo>
                  <a:lnTo>
                    <a:pt x="691" y="29"/>
                  </a:lnTo>
                  <a:lnTo>
                    <a:pt x="689" y="30"/>
                  </a:lnTo>
                  <a:lnTo>
                    <a:pt x="687" y="29"/>
                  </a:lnTo>
                  <a:lnTo>
                    <a:pt x="683" y="29"/>
                  </a:lnTo>
                  <a:lnTo>
                    <a:pt x="681" y="26"/>
                  </a:lnTo>
                  <a:lnTo>
                    <a:pt x="678" y="26"/>
                  </a:lnTo>
                  <a:lnTo>
                    <a:pt x="674" y="29"/>
                  </a:lnTo>
                  <a:lnTo>
                    <a:pt x="672" y="30"/>
                  </a:lnTo>
                  <a:lnTo>
                    <a:pt x="672" y="26"/>
                  </a:lnTo>
                  <a:lnTo>
                    <a:pt x="670" y="25"/>
                  </a:lnTo>
                  <a:lnTo>
                    <a:pt x="666" y="25"/>
                  </a:lnTo>
                  <a:lnTo>
                    <a:pt x="664" y="25"/>
                  </a:lnTo>
                  <a:lnTo>
                    <a:pt x="661" y="26"/>
                  </a:lnTo>
                  <a:lnTo>
                    <a:pt x="657" y="27"/>
                  </a:lnTo>
                  <a:lnTo>
                    <a:pt x="655" y="27"/>
                  </a:lnTo>
                  <a:lnTo>
                    <a:pt x="652" y="29"/>
                  </a:lnTo>
                  <a:lnTo>
                    <a:pt x="648" y="30"/>
                  </a:lnTo>
                  <a:lnTo>
                    <a:pt x="652" y="27"/>
                  </a:lnTo>
                  <a:lnTo>
                    <a:pt x="655" y="26"/>
                  </a:lnTo>
                  <a:lnTo>
                    <a:pt x="657" y="24"/>
                  </a:lnTo>
                  <a:lnTo>
                    <a:pt x="661" y="23"/>
                  </a:lnTo>
                  <a:lnTo>
                    <a:pt x="660" y="19"/>
                  </a:lnTo>
                  <a:lnTo>
                    <a:pt x="660" y="17"/>
                  </a:lnTo>
                  <a:lnTo>
                    <a:pt x="656" y="16"/>
                  </a:lnTo>
                  <a:lnTo>
                    <a:pt x="651" y="16"/>
                  </a:lnTo>
                  <a:lnTo>
                    <a:pt x="648" y="17"/>
                  </a:lnTo>
                  <a:lnTo>
                    <a:pt x="645" y="17"/>
                  </a:lnTo>
                  <a:lnTo>
                    <a:pt x="643" y="17"/>
                  </a:lnTo>
                  <a:lnTo>
                    <a:pt x="639" y="18"/>
                  </a:lnTo>
                  <a:lnTo>
                    <a:pt x="636" y="19"/>
                  </a:lnTo>
                  <a:lnTo>
                    <a:pt x="634" y="19"/>
                  </a:lnTo>
                  <a:lnTo>
                    <a:pt x="630" y="19"/>
                  </a:lnTo>
                  <a:lnTo>
                    <a:pt x="627" y="19"/>
                  </a:lnTo>
                  <a:lnTo>
                    <a:pt x="625" y="19"/>
                  </a:lnTo>
                  <a:lnTo>
                    <a:pt x="622" y="18"/>
                  </a:lnTo>
                  <a:lnTo>
                    <a:pt x="619" y="18"/>
                  </a:lnTo>
                  <a:lnTo>
                    <a:pt x="617" y="19"/>
                  </a:lnTo>
                  <a:lnTo>
                    <a:pt x="613" y="19"/>
                  </a:lnTo>
                  <a:lnTo>
                    <a:pt x="611" y="18"/>
                  </a:lnTo>
                  <a:lnTo>
                    <a:pt x="608" y="17"/>
                  </a:lnTo>
                  <a:lnTo>
                    <a:pt x="604" y="17"/>
                  </a:lnTo>
                  <a:lnTo>
                    <a:pt x="602" y="17"/>
                  </a:lnTo>
                  <a:lnTo>
                    <a:pt x="598" y="17"/>
                  </a:lnTo>
                  <a:lnTo>
                    <a:pt x="593" y="17"/>
                  </a:lnTo>
                  <a:lnTo>
                    <a:pt x="589" y="17"/>
                  </a:lnTo>
                  <a:lnTo>
                    <a:pt x="587" y="17"/>
                  </a:lnTo>
                  <a:lnTo>
                    <a:pt x="584" y="18"/>
                  </a:lnTo>
                  <a:lnTo>
                    <a:pt x="581" y="18"/>
                  </a:lnTo>
                  <a:lnTo>
                    <a:pt x="578" y="18"/>
                  </a:lnTo>
                  <a:lnTo>
                    <a:pt x="575" y="19"/>
                  </a:lnTo>
                  <a:lnTo>
                    <a:pt x="572" y="21"/>
                  </a:lnTo>
                  <a:lnTo>
                    <a:pt x="569" y="22"/>
                  </a:lnTo>
                  <a:lnTo>
                    <a:pt x="567" y="24"/>
                  </a:lnTo>
                  <a:lnTo>
                    <a:pt x="563" y="22"/>
                  </a:lnTo>
                  <a:lnTo>
                    <a:pt x="560" y="22"/>
                  </a:lnTo>
                  <a:lnTo>
                    <a:pt x="557" y="22"/>
                  </a:lnTo>
                  <a:lnTo>
                    <a:pt x="554" y="22"/>
                  </a:lnTo>
                  <a:lnTo>
                    <a:pt x="552" y="23"/>
                  </a:lnTo>
                  <a:lnTo>
                    <a:pt x="547" y="23"/>
                  </a:lnTo>
                  <a:lnTo>
                    <a:pt x="545" y="23"/>
                  </a:lnTo>
                  <a:lnTo>
                    <a:pt x="543" y="23"/>
                  </a:lnTo>
                  <a:lnTo>
                    <a:pt x="540" y="24"/>
                  </a:lnTo>
                  <a:lnTo>
                    <a:pt x="540" y="26"/>
                  </a:lnTo>
                  <a:lnTo>
                    <a:pt x="536" y="29"/>
                  </a:lnTo>
                  <a:lnTo>
                    <a:pt x="537" y="26"/>
                  </a:lnTo>
                  <a:lnTo>
                    <a:pt x="535" y="24"/>
                  </a:lnTo>
                  <a:lnTo>
                    <a:pt x="528" y="24"/>
                  </a:lnTo>
                  <a:lnTo>
                    <a:pt x="526" y="24"/>
                  </a:lnTo>
                  <a:lnTo>
                    <a:pt x="523" y="25"/>
                  </a:lnTo>
                  <a:lnTo>
                    <a:pt x="519" y="25"/>
                  </a:lnTo>
                  <a:lnTo>
                    <a:pt x="517" y="27"/>
                  </a:lnTo>
                  <a:lnTo>
                    <a:pt x="515" y="30"/>
                  </a:lnTo>
                  <a:lnTo>
                    <a:pt x="516" y="27"/>
                  </a:lnTo>
                  <a:lnTo>
                    <a:pt x="514" y="24"/>
                  </a:lnTo>
                  <a:lnTo>
                    <a:pt x="517" y="24"/>
                  </a:lnTo>
                  <a:lnTo>
                    <a:pt x="520" y="24"/>
                  </a:lnTo>
                  <a:lnTo>
                    <a:pt x="523" y="24"/>
                  </a:lnTo>
                  <a:lnTo>
                    <a:pt x="526" y="24"/>
                  </a:lnTo>
                  <a:lnTo>
                    <a:pt x="532" y="24"/>
                  </a:lnTo>
                  <a:lnTo>
                    <a:pt x="534" y="23"/>
                  </a:lnTo>
                  <a:lnTo>
                    <a:pt x="537" y="23"/>
                  </a:lnTo>
                  <a:lnTo>
                    <a:pt x="541" y="22"/>
                  </a:lnTo>
                  <a:lnTo>
                    <a:pt x="543" y="22"/>
                  </a:lnTo>
                  <a:lnTo>
                    <a:pt x="550" y="21"/>
                  </a:lnTo>
                  <a:lnTo>
                    <a:pt x="552" y="21"/>
                  </a:lnTo>
                  <a:lnTo>
                    <a:pt x="555" y="21"/>
                  </a:lnTo>
                  <a:lnTo>
                    <a:pt x="552" y="18"/>
                  </a:lnTo>
                  <a:lnTo>
                    <a:pt x="550" y="17"/>
                  </a:lnTo>
                  <a:lnTo>
                    <a:pt x="546" y="17"/>
                  </a:lnTo>
                  <a:lnTo>
                    <a:pt x="543" y="17"/>
                  </a:lnTo>
                  <a:lnTo>
                    <a:pt x="546" y="16"/>
                  </a:lnTo>
                  <a:lnTo>
                    <a:pt x="550" y="17"/>
                  </a:lnTo>
                  <a:lnTo>
                    <a:pt x="552" y="17"/>
                  </a:lnTo>
                  <a:lnTo>
                    <a:pt x="555" y="18"/>
                  </a:lnTo>
                  <a:lnTo>
                    <a:pt x="561" y="19"/>
                  </a:lnTo>
                  <a:lnTo>
                    <a:pt x="567" y="19"/>
                  </a:lnTo>
                  <a:lnTo>
                    <a:pt x="572" y="18"/>
                  </a:lnTo>
                  <a:lnTo>
                    <a:pt x="576" y="17"/>
                  </a:lnTo>
                  <a:lnTo>
                    <a:pt x="578" y="17"/>
                  </a:lnTo>
                  <a:lnTo>
                    <a:pt x="581" y="16"/>
                  </a:lnTo>
                  <a:lnTo>
                    <a:pt x="584" y="16"/>
                  </a:lnTo>
                  <a:lnTo>
                    <a:pt x="591" y="15"/>
                  </a:lnTo>
                  <a:lnTo>
                    <a:pt x="596" y="15"/>
                  </a:lnTo>
                  <a:lnTo>
                    <a:pt x="598" y="15"/>
                  </a:lnTo>
                  <a:lnTo>
                    <a:pt x="602" y="15"/>
                  </a:lnTo>
                  <a:lnTo>
                    <a:pt x="605" y="15"/>
                  </a:lnTo>
                  <a:lnTo>
                    <a:pt x="608" y="16"/>
                  </a:lnTo>
                  <a:lnTo>
                    <a:pt x="617" y="16"/>
                  </a:lnTo>
                  <a:lnTo>
                    <a:pt x="619" y="16"/>
                  </a:lnTo>
                  <a:lnTo>
                    <a:pt x="622" y="17"/>
                  </a:lnTo>
                  <a:lnTo>
                    <a:pt x="626" y="16"/>
                  </a:lnTo>
                  <a:lnTo>
                    <a:pt x="631" y="16"/>
                  </a:lnTo>
                  <a:lnTo>
                    <a:pt x="637" y="15"/>
                  </a:lnTo>
                  <a:lnTo>
                    <a:pt x="639" y="15"/>
                  </a:lnTo>
                  <a:lnTo>
                    <a:pt x="643" y="14"/>
                  </a:lnTo>
                  <a:lnTo>
                    <a:pt x="645" y="14"/>
                  </a:lnTo>
                  <a:lnTo>
                    <a:pt x="648" y="13"/>
                  </a:lnTo>
                  <a:lnTo>
                    <a:pt x="645" y="9"/>
                  </a:lnTo>
                  <a:lnTo>
                    <a:pt x="642" y="8"/>
                  </a:lnTo>
                  <a:lnTo>
                    <a:pt x="639" y="8"/>
                  </a:lnTo>
                  <a:lnTo>
                    <a:pt x="636" y="7"/>
                  </a:lnTo>
                  <a:lnTo>
                    <a:pt x="631" y="6"/>
                  </a:lnTo>
                  <a:lnTo>
                    <a:pt x="628" y="6"/>
                  </a:lnTo>
                  <a:lnTo>
                    <a:pt x="626" y="5"/>
                  </a:lnTo>
                  <a:lnTo>
                    <a:pt x="622" y="5"/>
                  </a:lnTo>
                  <a:lnTo>
                    <a:pt x="619" y="5"/>
                  </a:lnTo>
                  <a:lnTo>
                    <a:pt x="617" y="5"/>
                  </a:lnTo>
                  <a:lnTo>
                    <a:pt x="613" y="5"/>
                  </a:lnTo>
                  <a:lnTo>
                    <a:pt x="610" y="7"/>
                  </a:lnTo>
                  <a:lnTo>
                    <a:pt x="608" y="6"/>
                  </a:lnTo>
                  <a:lnTo>
                    <a:pt x="604" y="5"/>
                  </a:lnTo>
                  <a:lnTo>
                    <a:pt x="608" y="5"/>
                  </a:lnTo>
                  <a:lnTo>
                    <a:pt x="604" y="4"/>
                  </a:lnTo>
                  <a:lnTo>
                    <a:pt x="602" y="5"/>
                  </a:lnTo>
                  <a:lnTo>
                    <a:pt x="598" y="2"/>
                  </a:lnTo>
                  <a:lnTo>
                    <a:pt x="595" y="2"/>
                  </a:lnTo>
                  <a:lnTo>
                    <a:pt x="593" y="1"/>
                  </a:lnTo>
                  <a:lnTo>
                    <a:pt x="589" y="1"/>
                  </a:lnTo>
                  <a:lnTo>
                    <a:pt x="587" y="0"/>
                  </a:lnTo>
                  <a:lnTo>
                    <a:pt x="584" y="0"/>
                  </a:lnTo>
                  <a:lnTo>
                    <a:pt x="580" y="0"/>
                  </a:lnTo>
                  <a:lnTo>
                    <a:pt x="577" y="1"/>
                  </a:lnTo>
                  <a:lnTo>
                    <a:pt x="571" y="1"/>
                  </a:lnTo>
                  <a:lnTo>
                    <a:pt x="569" y="1"/>
                  </a:lnTo>
                  <a:lnTo>
                    <a:pt x="566" y="0"/>
                  </a:lnTo>
                  <a:lnTo>
                    <a:pt x="563" y="0"/>
                  </a:lnTo>
                  <a:lnTo>
                    <a:pt x="560" y="1"/>
                  </a:lnTo>
                  <a:lnTo>
                    <a:pt x="557" y="0"/>
                  </a:lnTo>
                  <a:lnTo>
                    <a:pt x="554" y="0"/>
                  </a:lnTo>
                  <a:lnTo>
                    <a:pt x="551" y="0"/>
                  </a:lnTo>
                  <a:lnTo>
                    <a:pt x="547" y="0"/>
                  </a:lnTo>
                  <a:lnTo>
                    <a:pt x="545" y="0"/>
                  </a:lnTo>
                  <a:lnTo>
                    <a:pt x="542" y="0"/>
                  </a:lnTo>
                  <a:lnTo>
                    <a:pt x="540" y="0"/>
                  </a:lnTo>
                  <a:lnTo>
                    <a:pt x="536" y="0"/>
                  </a:lnTo>
                  <a:lnTo>
                    <a:pt x="536" y="4"/>
                  </a:lnTo>
                  <a:lnTo>
                    <a:pt x="538" y="5"/>
                  </a:lnTo>
                  <a:lnTo>
                    <a:pt x="536" y="5"/>
                  </a:lnTo>
                  <a:lnTo>
                    <a:pt x="533" y="4"/>
                  </a:lnTo>
                  <a:lnTo>
                    <a:pt x="530" y="0"/>
                  </a:lnTo>
                  <a:lnTo>
                    <a:pt x="527" y="2"/>
                  </a:lnTo>
                  <a:lnTo>
                    <a:pt x="525" y="0"/>
                  </a:lnTo>
                  <a:lnTo>
                    <a:pt x="521" y="1"/>
                  </a:lnTo>
                  <a:lnTo>
                    <a:pt x="519" y="2"/>
                  </a:lnTo>
                  <a:lnTo>
                    <a:pt x="516" y="2"/>
                  </a:lnTo>
                  <a:lnTo>
                    <a:pt x="510" y="2"/>
                  </a:lnTo>
                  <a:lnTo>
                    <a:pt x="507" y="2"/>
                  </a:lnTo>
                  <a:lnTo>
                    <a:pt x="503" y="2"/>
                  </a:lnTo>
                  <a:lnTo>
                    <a:pt x="500" y="2"/>
                  </a:lnTo>
                  <a:lnTo>
                    <a:pt x="498" y="2"/>
                  </a:lnTo>
                  <a:lnTo>
                    <a:pt x="500" y="6"/>
                  </a:lnTo>
                  <a:lnTo>
                    <a:pt x="502" y="8"/>
                  </a:lnTo>
                  <a:lnTo>
                    <a:pt x="499" y="8"/>
                  </a:lnTo>
                  <a:lnTo>
                    <a:pt x="497" y="6"/>
                  </a:lnTo>
                  <a:lnTo>
                    <a:pt x="493" y="6"/>
                  </a:lnTo>
                  <a:lnTo>
                    <a:pt x="491" y="6"/>
                  </a:lnTo>
                  <a:lnTo>
                    <a:pt x="487" y="5"/>
                  </a:lnTo>
                  <a:lnTo>
                    <a:pt x="485" y="4"/>
                  </a:lnTo>
                  <a:lnTo>
                    <a:pt x="482" y="5"/>
                  </a:lnTo>
                  <a:lnTo>
                    <a:pt x="481" y="7"/>
                  </a:lnTo>
                  <a:lnTo>
                    <a:pt x="484" y="8"/>
                  </a:lnTo>
                  <a:lnTo>
                    <a:pt x="481" y="8"/>
                  </a:lnTo>
                  <a:lnTo>
                    <a:pt x="477" y="8"/>
                  </a:lnTo>
                  <a:lnTo>
                    <a:pt x="475" y="7"/>
                  </a:lnTo>
                  <a:lnTo>
                    <a:pt x="473" y="7"/>
                  </a:lnTo>
                  <a:lnTo>
                    <a:pt x="469" y="6"/>
                  </a:lnTo>
                  <a:lnTo>
                    <a:pt x="469" y="9"/>
                  </a:lnTo>
                  <a:lnTo>
                    <a:pt x="470" y="12"/>
                  </a:lnTo>
                  <a:lnTo>
                    <a:pt x="473" y="15"/>
                  </a:lnTo>
                  <a:lnTo>
                    <a:pt x="476" y="15"/>
                  </a:lnTo>
                  <a:lnTo>
                    <a:pt x="478" y="14"/>
                  </a:lnTo>
                  <a:lnTo>
                    <a:pt x="482" y="15"/>
                  </a:lnTo>
                  <a:lnTo>
                    <a:pt x="485" y="15"/>
                  </a:lnTo>
                  <a:lnTo>
                    <a:pt x="489" y="16"/>
                  </a:lnTo>
                  <a:lnTo>
                    <a:pt x="492" y="16"/>
                  </a:lnTo>
                  <a:lnTo>
                    <a:pt x="494" y="16"/>
                  </a:lnTo>
                  <a:lnTo>
                    <a:pt x="492" y="17"/>
                  </a:lnTo>
                  <a:lnTo>
                    <a:pt x="489" y="17"/>
                  </a:lnTo>
                  <a:lnTo>
                    <a:pt x="483" y="17"/>
                  </a:lnTo>
                  <a:lnTo>
                    <a:pt x="480" y="17"/>
                  </a:lnTo>
                  <a:lnTo>
                    <a:pt x="477" y="17"/>
                  </a:lnTo>
                  <a:lnTo>
                    <a:pt x="472" y="18"/>
                  </a:lnTo>
                  <a:lnTo>
                    <a:pt x="474" y="21"/>
                  </a:lnTo>
                  <a:lnTo>
                    <a:pt x="477" y="21"/>
                  </a:lnTo>
                  <a:lnTo>
                    <a:pt x="481" y="19"/>
                  </a:lnTo>
                  <a:lnTo>
                    <a:pt x="483" y="19"/>
                  </a:lnTo>
                  <a:lnTo>
                    <a:pt x="489" y="21"/>
                  </a:lnTo>
                  <a:lnTo>
                    <a:pt x="485" y="21"/>
                  </a:lnTo>
                  <a:lnTo>
                    <a:pt x="483" y="21"/>
                  </a:lnTo>
                  <a:lnTo>
                    <a:pt x="480" y="21"/>
                  </a:lnTo>
                  <a:lnTo>
                    <a:pt x="476" y="21"/>
                  </a:lnTo>
                  <a:lnTo>
                    <a:pt x="474" y="21"/>
                  </a:lnTo>
                  <a:lnTo>
                    <a:pt x="468" y="21"/>
                  </a:lnTo>
                  <a:lnTo>
                    <a:pt x="465" y="22"/>
                  </a:lnTo>
                  <a:lnTo>
                    <a:pt x="468" y="23"/>
                  </a:lnTo>
                  <a:lnTo>
                    <a:pt x="469" y="26"/>
                  </a:lnTo>
                  <a:lnTo>
                    <a:pt x="473" y="27"/>
                  </a:lnTo>
                  <a:lnTo>
                    <a:pt x="469" y="29"/>
                  </a:lnTo>
                  <a:lnTo>
                    <a:pt x="467" y="26"/>
                  </a:lnTo>
                  <a:lnTo>
                    <a:pt x="464" y="24"/>
                  </a:lnTo>
                  <a:lnTo>
                    <a:pt x="461" y="23"/>
                  </a:lnTo>
                  <a:lnTo>
                    <a:pt x="458" y="23"/>
                  </a:lnTo>
                  <a:lnTo>
                    <a:pt x="455" y="23"/>
                  </a:lnTo>
                  <a:lnTo>
                    <a:pt x="452" y="23"/>
                  </a:lnTo>
                  <a:lnTo>
                    <a:pt x="449" y="23"/>
                  </a:lnTo>
                  <a:lnTo>
                    <a:pt x="447" y="23"/>
                  </a:lnTo>
                  <a:lnTo>
                    <a:pt x="443" y="22"/>
                  </a:lnTo>
                  <a:lnTo>
                    <a:pt x="441" y="21"/>
                  </a:lnTo>
                  <a:lnTo>
                    <a:pt x="438" y="19"/>
                  </a:lnTo>
                  <a:lnTo>
                    <a:pt x="434" y="18"/>
                  </a:lnTo>
                  <a:lnTo>
                    <a:pt x="432" y="17"/>
                  </a:lnTo>
                  <a:lnTo>
                    <a:pt x="429" y="17"/>
                  </a:lnTo>
                  <a:lnTo>
                    <a:pt x="426" y="14"/>
                  </a:lnTo>
                  <a:lnTo>
                    <a:pt x="424" y="14"/>
                  </a:lnTo>
                  <a:lnTo>
                    <a:pt x="421" y="14"/>
                  </a:lnTo>
                  <a:lnTo>
                    <a:pt x="417" y="13"/>
                  </a:lnTo>
                  <a:lnTo>
                    <a:pt x="415" y="12"/>
                  </a:lnTo>
                  <a:lnTo>
                    <a:pt x="412" y="12"/>
                  </a:lnTo>
                  <a:lnTo>
                    <a:pt x="409" y="13"/>
                  </a:lnTo>
                  <a:lnTo>
                    <a:pt x="412" y="14"/>
                  </a:lnTo>
                  <a:lnTo>
                    <a:pt x="408" y="14"/>
                  </a:lnTo>
                  <a:lnTo>
                    <a:pt x="406" y="14"/>
                  </a:lnTo>
                  <a:lnTo>
                    <a:pt x="404" y="14"/>
                  </a:lnTo>
                  <a:lnTo>
                    <a:pt x="400" y="14"/>
                  </a:lnTo>
                  <a:lnTo>
                    <a:pt x="404" y="15"/>
                  </a:lnTo>
                  <a:lnTo>
                    <a:pt x="406" y="16"/>
                  </a:lnTo>
                  <a:lnTo>
                    <a:pt x="413" y="17"/>
                  </a:lnTo>
                  <a:lnTo>
                    <a:pt x="409" y="17"/>
                  </a:lnTo>
                  <a:lnTo>
                    <a:pt x="406" y="16"/>
                  </a:lnTo>
                  <a:lnTo>
                    <a:pt x="404" y="17"/>
                  </a:lnTo>
                  <a:lnTo>
                    <a:pt x="400" y="17"/>
                  </a:lnTo>
                  <a:lnTo>
                    <a:pt x="398" y="16"/>
                  </a:lnTo>
                  <a:lnTo>
                    <a:pt x="395" y="16"/>
                  </a:lnTo>
                  <a:lnTo>
                    <a:pt x="389" y="16"/>
                  </a:lnTo>
                  <a:lnTo>
                    <a:pt x="386" y="17"/>
                  </a:lnTo>
                  <a:lnTo>
                    <a:pt x="383" y="16"/>
                  </a:lnTo>
                  <a:lnTo>
                    <a:pt x="380" y="17"/>
                  </a:lnTo>
                  <a:lnTo>
                    <a:pt x="378" y="17"/>
                  </a:lnTo>
                  <a:lnTo>
                    <a:pt x="380" y="18"/>
                  </a:lnTo>
                  <a:lnTo>
                    <a:pt x="383" y="19"/>
                  </a:lnTo>
                  <a:lnTo>
                    <a:pt x="386" y="22"/>
                  </a:lnTo>
                  <a:lnTo>
                    <a:pt x="389" y="22"/>
                  </a:lnTo>
                  <a:lnTo>
                    <a:pt x="391" y="23"/>
                  </a:lnTo>
                  <a:lnTo>
                    <a:pt x="395" y="23"/>
                  </a:lnTo>
                  <a:lnTo>
                    <a:pt x="397" y="24"/>
                  </a:lnTo>
                  <a:lnTo>
                    <a:pt x="400" y="24"/>
                  </a:lnTo>
                  <a:lnTo>
                    <a:pt x="406" y="24"/>
                  </a:lnTo>
                  <a:lnTo>
                    <a:pt x="401" y="24"/>
                  </a:lnTo>
                  <a:lnTo>
                    <a:pt x="398" y="24"/>
                  </a:lnTo>
                  <a:lnTo>
                    <a:pt x="395" y="24"/>
                  </a:lnTo>
                  <a:lnTo>
                    <a:pt x="391" y="23"/>
                  </a:lnTo>
                  <a:lnTo>
                    <a:pt x="389" y="23"/>
                  </a:lnTo>
                  <a:lnTo>
                    <a:pt x="383" y="24"/>
                  </a:lnTo>
                  <a:lnTo>
                    <a:pt x="383" y="24"/>
                  </a:lnTo>
                  <a:lnTo>
                    <a:pt x="382" y="22"/>
                  </a:lnTo>
                  <a:lnTo>
                    <a:pt x="379" y="21"/>
                  </a:lnTo>
                  <a:lnTo>
                    <a:pt x="375" y="21"/>
                  </a:lnTo>
                  <a:lnTo>
                    <a:pt x="373" y="18"/>
                  </a:lnTo>
                  <a:lnTo>
                    <a:pt x="370" y="18"/>
                  </a:lnTo>
                  <a:lnTo>
                    <a:pt x="367" y="19"/>
                  </a:lnTo>
                  <a:lnTo>
                    <a:pt x="364" y="19"/>
                  </a:lnTo>
                  <a:lnTo>
                    <a:pt x="362" y="22"/>
                  </a:lnTo>
                  <a:lnTo>
                    <a:pt x="364" y="22"/>
                  </a:lnTo>
                  <a:lnTo>
                    <a:pt x="367" y="22"/>
                  </a:lnTo>
                  <a:lnTo>
                    <a:pt x="371" y="24"/>
                  </a:lnTo>
                  <a:lnTo>
                    <a:pt x="367" y="23"/>
                  </a:lnTo>
                  <a:lnTo>
                    <a:pt x="364" y="23"/>
                  </a:lnTo>
                  <a:lnTo>
                    <a:pt x="361" y="24"/>
                  </a:lnTo>
                  <a:lnTo>
                    <a:pt x="364" y="25"/>
                  </a:lnTo>
                  <a:lnTo>
                    <a:pt x="366" y="26"/>
                  </a:lnTo>
                  <a:lnTo>
                    <a:pt x="370" y="26"/>
                  </a:lnTo>
                  <a:lnTo>
                    <a:pt x="373" y="26"/>
                  </a:lnTo>
                  <a:lnTo>
                    <a:pt x="375" y="25"/>
                  </a:lnTo>
                  <a:lnTo>
                    <a:pt x="379" y="26"/>
                  </a:lnTo>
                  <a:lnTo>
                    <a:pt x="381" y="26"/>
                  </a:lnTo>
                  <a:lnTo>
                    <a:pt x="384" y="24"/>
                  </a:lnTo>
                  <a:lnTo>
                    <a:pt x="387" y="25"/>
                  </a:lnTo>
                  <a:lnTo>
                    <a:pt x="390" y="26"/>
                  </a:lnTo>
                  <a:lnTo>
                    <a:pt x="396" y="26"/>
                  </a:lnTo>
                  <a:lnTo>
                    <a:pt x="399" y="26"/>
                  </a:lnTo>
                  <a:lnTo>
                    <a:pt x="401" y="26"/>
                  </a:lnTo>
                  <a:lnTo>
                    <a:pt x="405" y="26"/>
                  </a:lnTo>
                  <a:lnTo>
                    <a:pt x="410" y="26"/>
                  </a:lnTo>
                  <a:lnTo>
                    <a:pt x="413" y="26"/>
                  </a:lnTo>
                  <a:lnTo>
                    <a:pt x="423" y="26"/>
                  </a:lnTo>
                  <a:lnTo>
                    <a:pt x="425" y="26"/>
                  </a:lnTo>
                  <a:lnTo>
                    <a:pt x="429" y="27"/>
                  </a:lnTo>
                  <a:lnTo>
                    <a:pt x="438" y="29"/>
                  </a:lnTo>
                  <a:lnTo>
                    <a:pt x="441" y="30"/>
                  </a:lnTo>
                  <a:lnTo>
                    <a:pt x="443" y="31"/>
                  </a:lnTo>
                  <a:lnTo>
                    <a:pt x="447" y="31"/>
                  </a:lnTo>
                  <a:lnTo>
                    <a:pt x="450" y="31"/>
                  </a:lnTo>
                  <a:lnTo>
                    <a:pt x="453" y="32"/>
                  </a:lnTo>
                  <a:lnTo>
                    <a:pt x="455" y="34"/>
                  </a:lnTo>
                  <a:lnTo>
                    <a:pt x="453" y="38"/>
                  </a:lnTo>
                  <a:lnTo>
                    <a:pt x="455" y="40"/>
                  </a:lnTo>
                  <a:lnTo>
                    <a:pt x="455" y="43"/>
                  </a:lnTo>
                  <a:lnTo>
                    <a:pt x="451" y="41"/>
                  </a:lnTo>
                  <a:lnTo>
                    <a:pt x="451" y="38"/>
                  </a:lnTo>
                  <a:lnTo>
                    <a:pt x="449" y="35"/>
                  </a:lnTo>
                  <a:lnTo>
                    <a:pt x="446" y="35"/>
                  </a:lnTo>
                  <a:lnTo>
                    <a:pt x="443" y="34"/>
                  </a:lnTo>
                  <a:lnTo>
                    <a:pt x="440" y="33"/>
                  </a:lnTo>
                  <a:lnTo>
                    <a:pt x="438" y="32"/>
                  </a:lnTo>
                  <a:lnTo>
                    <a:pt x="434" y="31"/>
                  </a:lnTo>
                  <a:lnTo>
                    <a:pt x="432" y="31"/>
                  </a:lnTo>
                  <a:lnTo>
                    <a:pt x="429" y="32"/>
                  </a:lnTo>
                  <a:lnTo>
                    <a:pt x="431" y="34"/>
                  </a:lnTo>
                  <a:lnTo>
                    <a:pt x="432" y="38"/>
                  </a:lnTo>
                  <a:lnTo>
                    <a:pt x="429" y="39"/>
                  </a:lnTo>
                  <a:lnTo>
                    <a:pt x="427" y="35"/>
                  </a:lnTo>
                  <a:lnTo>
                    <a:pt x="427" y="33"/>
                  </a:lnTo>
                  <a:lnTo>
                    <a:pt x="425" y="32"/>
                  </a:lnTo>
                  <a:lnTo>
                    <a:pt x="423" y="30"/>
                  </a:lnTo>
                  <a:lnTo>
                    <a:pt x="419" y="29"/>
                  </a:lnTo>
                  <a:lnTo>
                    <a:pt x="417" y="29"/>
                  </a:lnTo>
                  <a:lnTo>
                    <a:pt x="414" y="29"/>
                  </a:lnTo>
                  <a:lnTo>
                    <a:pt x="412" y="29"/>
                  </a:lnTo>
                  <a:lnTo>
                    <a:pt x="402" y="29"/>
                  </a:lnTo>
                  <a:lnTo>
                    <a:pt x="399" y="29"/>
                  </a:lnTo>
                  <a:lnTo>
                    <a:pt x="397" y="30"/>
                  </a:lnTo>
                  <a:lnTo>
                    <a:pt x="391" y="30"/>
                  </a:lnTo>
                  <a:lnTo>
                    <a:pt x="388" y="29"/>
                  </a:lnTo>
                  <a:lnTo>
                    <a:pt x="384" y="29"/>
                  </a:lnTo>
                  <a:lnTo>
                    <a:pt x="382" y="29"/>
                  </a:lnTo>
                  <a:lnTo>
                    <a:pt x="379" y="29"/>
                  </a:lnTo>
                  <a:lnTo>
                    <a:pt x="375" y="31"/>
                  </a:lnTo>
                  <a:lnTo>
                    <a:pt x="379" y="32"/>
                  </a:lnTo>
                  <a:lnTo>
                    <a:pt x="381" y="33"/>
                  </a:lnTo>
                  <a:lnTo>
                    <a:pt x="384" y="34"/>
                  </a:lnTo>
                  <a:lnTo>
                    <a:pt x="387" y="35"/>
                  </a:lnTo>
                  <a:lnTo>
                    <a:pt x="390" y="36"/>
                  </a:lnTo>
                  <a:lnTo>
                    <a:pt x="392" y="39"/>
                  </a:lnTo>
                  <a:lnTo>
                    <a:pt x="396" y="40"/>
                  </a:lnTo>
                  <a:lnTo>
                    <a:pt x="398" y="40"/>
                  </a:lnTo>
                  <a:lnTo>
                    <a:pt x="401" y="41"/>
                  </a:lnTo>
                  <a:lnTo>
                    <a:pt x="400" y="44"/>
                  </a:lnTo>
                  <a:lnTo>
                    <a:pt x="404" y="44"/>
                  </a:lnTo>
                  <a:lnTo>
                    <a:pt x="406" y="45"/>
                  </a:lnTo>
                  <a:lnTo>
                    <a:pt x="409" y="45"/>
                  </a:lnTo>
                  <a:lnTo>
                    <a:pt x="413" y="45"/>
                  </a:lnTo>
                  <a:lnTo>
                    <a:pt x="415" y="45"/>
                  </a:lnTo>
                  <a:lnTo>
                    <a:pt x="418" y="47"/>
                  </a:lnTo>
                  <a:lnTo>
                    <a:pt x="421" y="48"/>
                  </a:lnTo>
                  <a:lnTo>
                    <a:pt x="417" y="48"/>
                  </a:lnTo>
                  <a:lnTo>
                    <a:pt x="415" y="47"/>
                  </a:lnTo>
                  <a:lnTo>
                    <a:pt x="412" y="47"/>
                  </a:lnTo>
                  <a:lnTo>
                    <a:pt x="408" y="47"/>
                  </a:lnTo>
                  <a:lnTo>
                    <a:pt x="406" y="47"/>
                  </a:lnTo>
                  <a:lnTo>
                    <a:pt x="402" y="45"/>
                  </a:lnTo>
                  <a:lnTo>
                    <a:pt x="400" y="45"/>
                  </a:lnTo>
                  <a:lnTo>
                    <a:pt x="397" y="44"/>
                  </a:lnTo>
                  <a:lnTo>
                    <a:pt x="393" y="44"/>
                  </a:lnTo>
                  <a:lnTo>
                    <a:pt x="391" y="45"/>
                  </a:lnTo>
                  <a:lnTo>
                    <a:pt x="388" y="47"/>
                  </a:lnTo>
                  <a:lnTo>
                    <a:pt x="389" y="49"/>
                  </a:lnTo>
                  <a:lnTo>
                    <a:pt x="391" y="52"/>
                  </a:lnTo>
                  <a:lnTo>
                    <a:pt x="389" y="53"/>
                  </a:lnTo>
                  <a:lnTo>
                    <a:pt x="386" y="56"/>
                  </a:lnTo>
                  <a:lnTo>
                    <a:pt x="388" y="56"/>
                  </a:lnTo>
                  <a:lnTo>
                    <a:pt x="391" y="57"/>
                  </a:lnTo>
                  <a:lnTo>
                    <a:pt x="389" y="57"/>
                  </a:lnTo>
                  <a:lnTo>
                    <a:pt x="391" y="59"/>
                  </a:lnTo>
                  <a:lnTo>
                    <a:pt x="393" y="61"/>
                  </a:lnTo>
                  <a:lnTo>
                    <a:pt x="391" y="61"/>
                  </a:lnTo>
                  <a:lnTo>
                    <a:pt x="388" y="62"/>
                  </a:lnTo>
                  <a:lnTo>
                    <a:pt x="386" y="62"/>
                  </a:lnTo>
                  <a:lnTo>
                    <a:pt x="382" y="61"/>
                  </a:lnTo>
                  <a:lnTo>
                    <a:pt x="380" y="60"/>
                  </a:lnTo>
                  <a:lnTo>
                    <a:pt x="376" y="58"/>
                  </a:lnTo>
                  <a:lnTo>
                    <a:pt x="373" y="57"/>
                  </a:lnTo>
                  <a:lnTo>
                    <a:pt x="371" y="57"/>
                  </a:lnTo>
                  <a:lnTo>
                    <a:pt x="370" y="53"/>
                  </a:lnTo>
                  <a:lnTo>
                    <a:pt x="366" y="52"/>
                  </a:lnTo>
                  <a:lnTo>
                    <a:pt x="364" y="51"/>
                  </a:lnTo>
                  <a:lnTo>
                    <a:pt x="361" y="51"/>
                  </a:lnTo>
                  <a:lnTo>
                    <a:pt x="358" y="50"/>
                  </a:lnTo>
                  <a:lnTo>
                    <a:pt x="355" y="50"/>
                  </a:lnTo>
                  <a:lnTo>
                    <a:pt x="353" y="49"/>
                  </a:lnTo>
                  <a:lnTo>
                    <a:pt x="347" y="47"/>
                  </a:lnTo>
                  <a:lnTo>
                    <a:pt x="344" y="45"/>
                  </a:lnTo>
                  <a:lnTo>
                    <a:pt x="341" y="44"/>
                  </a:lnTo>
                  <a:lnTo>
                    <a:pt x="338" y="44"/>
                  </a:lnTo>
                  <a:lnTo>
                    <a:pt x="335" y="44"/>
                  </a:lnTo>
                  <a:lnTo>
                    <a:pt x="332" y="42"/>
                  </a:lnTo>
                  <a:lnTo>
                    <a:pt x="329" y="40"/>
                  </a:lnTo>
                  <a:lnTo>
                    <a:pt x="327" y="39"/>
                  </a:lnTo>
                  <a:lnTo>
                    <a:pt x="321" y="38"/>
                  </a:lnTo>
                  <a:lnTo>
                    <a:pt x="318" y="38"/>
                  </a:lnTo>
                  <a:lnTo>
                    <a:pt x="314" y="38"/>
                  </a:lnTo>
                  <a:lnTo>
                    <a:pt x="312" y="38"/>
                  </a:lnTo>
                  <a:lnTo>
                    <a:pt x="308" y="38"/>
                  </a:lnTo>
                  <a:lnTo>
                    <a:pt x="303" y="38"/>
                  </a:lnTo>
                  <a:lnTo>
                    <a:pt x="302" y="41"/>
                  </a:lnTo>
                  <a:lnTo>
                    <a:pt x="304" y="43"/>
                  </a:lnTo>
                  <a:lnTo>
                    <a:pt x="305" y="45"/>
                  </a:lnTo>
                  <a:lnTo>
                    <a:pt x="306" y="49"/>
                  </a:lnTo>
                  <a:lnTo>
                    <a:pt x="308" y="50"/>
                  </a:lnTo>
                  <a:lnTo>
                    <a:pt x="312" y="51"/>
                  </a:lnTo>
                  <a:lnTo>
                    <a:pt x="314" y="53"/>
                  </a:lnTo>
                  <a:lnTo>
                    <a:pt x="316" y="55"/>
                  </a:lnTo>
                  <a:lnTo>
                    <a:pt x="320" y="56"/>
                  </a:lnTo>
                  <a:lnTo>
                    <a:pt x="322" y="57"/>
                  </a:lnTo>
                  <a:lnTo>
                    <a:pt x="320" y="59"/>
                  </a:lnTo>
                  <a:lnTo>
                    <a:pt x="316" y="59"/>
                  </a:lnTo>
                  <a:lnTo>
                    <a:pt x="314" y="58"/>
                  </a:lnTo>
                  <a:lnTo>
                    <a:pt x="311" y="58"/>
                  </a:lnTo>
                  <a:lnTo>
                    <a:pt x="308" y="58"/>
                  </a:lnTo>
                  <a:lnTo>
                    <a:pt x="305" y="57"/>
                  </a:lnTo>
                  <a:lnTo>
                    <a:pt x="302" y="57"/>
                  </a:lnTo>
                  <a:lnTo>
                    <a:pt x="304" y="59"/>
                  </a:lnTo>
                  <a:lnTo>
                    <a:pt x="306" y="60"/>
                  </a:lnTo>
                  <a:lnTo>
                    <a:pt x="310" y="62"/>
                  </a:lnTo>
                  <a:lnTo>
                    <a:pt x="312" y="62"/>
                  </a:lnTo>
                  <a:lnTo>
                    <a:pt x="315" y="64"/>
                  </a:lnTo>
                  <a:lnTo>
                    <a:pt x="318" y="66"/>
                  </a:lnTo>
                  <a:lnTo>
                    <a:pt x="321" y="67"/>
                  </a:lnTo>
                  <a:lnTo>
                    <a:pt x="319" y="68"/>
                  </a:lnTo>
                  <a:lnTo>
                    <a:pt x="315" y="67"/>
                  </a:lnTo>
                  <a:lnTo>
                    <a:pt x="313" y="66"/>
                  </a:lnTo>
                  <a:lnTo>
                    <a:pt x="311" y="64"/>
                  </a:lnTo>
                  <a:lnTo>
                    <a:pt x="308" y="64"/>
                  </a:lnTo>
                  <a:lnTo>
                    <a:pt x="305" y="62"/>
                  </a:lnTo>
                  <a:lnTo>
                    <a:pt x="303" y="60"/>
                  </a:lnTo>
                  <a:lnTo>
                    <a:pt x="299" y="59"/>
                  </a:lnTo>
                  <a:lnTo>
                    <a:pt x="297" y="58"/>
                  </a:lnTo>
                  <a:lnTo>
                    <a:pt x="290" y="58"/>
                  </a:lnTo>
                  <a:lnTo>
                    <a:pt x="288" y="57"/>
                  </a:lnTo>
                  <a:lnTo>
                    <a:pt x="285" y="56"/>
                  </a:lnTo>
                  <a:lnTo>
                    <a:pt x="281" y="55"/>
                  </a:lnTo>
                  <a:lnTo>
                    <a:pt x="279" y="55"/>
                  </a:lnTo>
                  <a:lnTo>
                    <a:pt x="277" y="53"/>
                  </a:lnTo>
                  <a:lnTo>
                    <a:pt x="276" y="57"/>
                  </a:lnTo>
                  <a:lnTo>
                    <a:pt x="276" y="59"/>
                  </a:lnTo>
                  <a:lnTo>
                    <a:pt x="273" y="61"/>
                  </a:lnTo>
                  <a:lnTo>
                    <a:pt x="271" y="64"/>
                  </a:lnTo>
                  <a:lnTo>
                    <a:pt x="268" y="66"/>
                  </a:lnTo>
                  <a:lnTo>
                    <a:pt x="268" y="68"/>
                  </a:lnTo>
                  <a:lnTo>
                    <a:pt x="268" y="70"/>
                  </a:lnTo>
                  <a:lnTo>
                    <a:pt x="265" y="70"/>
                  </a:lnTo>
                  <a:lnTo>
                    <a:pt x="264" y="68"/>
                  </a:lnTo>
                  <a:lnTo>
                    <a:pt x="263" y="65"/>
                  </a:lnTo>
                  <a:lnTo>
                    <a:pt x="265" y="62"/>
                  </a:lnTo>
                  <a:lnTo>
                    <a:pt x="268" y="59"/>
                  </a:lnTo>
                  <a:lnTo>
                    <a:pt x="268" y="57"/>
                  </a:lnTo>
                  <a:lnTo>
                    <a:pt x="267" y="53"/>
                  </a:lnTo>
                  <a:lnTo>
                    <a:pt x="268" y="51"/>
                  </a:lnTo>
                  <a:lnTo>
                    <a:pt x="264" y="49"/>
                  </a:lnTo>
                  <a:lnTo>
                    <a:pt x="262" y="45"/>
                  </a:lnTo>
                  <a:lnTo>
                    <a:pt x="259" y="44"/>
                  </a:lnTo>
                  <a:lnTo>
                    <a:pt x="256" y="43"/>
                  </a:lnTo>
                  <a:lnTo>
                    <a:pt x="253" y="43"/>
                  </a:lnTo>
                  <a:lnTo>
                    <a:pt x="251" y="43"/>
                  </a:lnTo>
                  <a:lnTo>
                    <a:pt x="247" y="44"/>
                  </a:lnTo>
                  <a:lnTo>
                    <a:pt x="245" y="44"/>
                  </a:lnTo>
                  <a:lnTo>
                    <a:pt x="242" y="44"/>
                  </a:lnTo>
                  <a:lnTo>
                    <a:pt x="239" y="45"/>
                  </a:lnTo>
                  <a:lnTo>
                    <a:pt x="242" y="45"/>
                  </a:lnTo>
                  <a:lnTo>
                    <a:pt x="245" y="47"/>
                  </a:lnTo>
                  <a:lnTo>
                    <a:pt x="246" y="49"/>
                  </a:lnTo>
                  <a:lnTo>
                    <a:pt x="243" y="49"/>
                  </a:lnTo>
                  <a:lnTo>
                    <a:pt x="241" y="47"/>
                  </a:lnTo>
                  <a:lnTo>
                    <a:pt x="238" y="47"/>
                  </a:lnTo>
                  <a:lnTo>
                    <a:pt x="235" y="45"/>
                  </a:lnTo>
                  <a:lnTo>
                    <a:pt x="233" y="47"/>
                  </a:lnTo>
                  <a:lnTo>
                    <a:pt x="230" y="49"/>
                  </a:lnTo>
                  <a:lnTo>
                    <a:pt x="228" y="48"/>
                  </a:lnTo>
                  <a:lnTo>
                    <a:pt x="225" y="48"/>
                  </a:lnTo>
                  <a:lnTo>
                    <a:pt x="222" y="48"/>
                  </a:lnTo>
                  <a:lnTo>
                    <a:pt x="219" y="49"/>
                  </a:lnTo>
                  <a:lnTo>
                    <a:pt x="216" y="49"/>
                  </a:lnTo>
                  <a:lnTo>
                    <a:pt x="213" y="49"/>
                  </a:lnTo>
                  <a:lnTo>
                    <a:pt x="210" y="50"/>
                  </a:lnTo>
                  <a:lnTo>
                    <a:pt x="208" y="50"/>
                  </a:lnTo>
                  <a:lnTo>
                    <a:pt x="204" y="50"/>
                  </a:lnTo>
                  <a:lnTo>
                    <a:pt x="202" y="51"/>
                  </a:lnTo>
                  <a:lnTo>
                    <a:pt x="199" y="51"/>
                  </a:lnTo>
                  <a:lnTo>
                    <a:pt x="196" y="52"/>
                  </a:lnTo>
                  <a:lnTo>
                    <a:pt x="193" y="53"/>
                  </a:lnTo>
                  <a:lnTo>
                    <a:pt x="187" y="55"/>
                  </a:lnTo>
                  <a:lnTo>
                    <a:pt x="191" y="57"/>
                  </a:lnTo>
                  <a:lnTo>
                    <a:pt x="193" y="57"/>
                  </a:lnTo>
                  <a:lnTo>
                    <a:pt x="195" y="58"/>
                  </a:lnTo>
                  <a:lnTo>
                    <a:pt x="199" y="59"/>
                  </a:lnTo>
                  <a:lnTo>
                    <a:pt x="201" y="61"/>
                  </a:lnTo>
                  <a:lnTo>
                    <a:pt x="203" y="65"/>
                  </a:lnTo>
                  <a:lnTo>
                    <a:pt x="207" y="66"/>
                  </a:lnTo>
                  <a:lnTo>
                    <a:pt x="209" y="66"/>
                  </a:lnTo>
                  <a:lnTo>
                    <a:pt x="212" y="68"/>
                  </a:lnTo>
                  <a:lnTo>
                    <a:pt x="216" y="69"/>
                  </a:lnTo>
                  <a:lnTo>
                    <a:pt x="218" y="72"/>
                  </a:lnTo>
                  <a:lnTo>
                    <a:pt x="221" y="74"/>
                  </a:lnTo>
                  <a:lnTo>
                    <a:pt x="224" y="75"/>
                  </a:lnTo>
                  <a:lnTo>
                    <a:pt x="227" y="76"/>
                  </a:lnTo>
                  <a:lnTo>
                    <a:pt x="224" y="75"/>
                  </a:lnTo>
                  <a:lnTo>
                    <a:pt x="218" y="74"/>
                  </a:lnTo>
                  <a:lnTo>
                    <a:pt x="216" y="72"/>
                  </a:lnTo>
                  <a:lnTo>
                    <a:pt x="212" y="70"/>
                  </a:lnTo>
                  <a:lnTo>
                    <a:pt x="210" y="68"/>
                  </a:lnTo>
                  <a:lnTo>
                    <a:pt x="207" y="68"/>
                  </a:lnTo>
                  <a:lnTo>
                    <a:pt x="204" y="67"/>
                  </a:lnTo>
                  <a:lnTo>
                    <a:pt x="201" y="67"/>
                  </a:lnTo>
                  <a:lnTo>
                    <a:pt x="199" y="66"/>
                  </a:lnTo>
                  <a:lnTo>
                    <a:pt x="196" y="64"/>
                  </a:lnTo>
                  <a:lnTo>
                    <a:pt x="195" y="60"/>
                  </a:lnTo>
                  <a:lnTo>
                    <a:pt x="193" y="59"/>
                  </a:lnTo>
                  <a:lnTo>
                    <a:pt x="186" y="58"/>
                  </a:lnTo>
                  <a:lnTo>
                    <a:pt x="184" y="58"/>
                  </a:lnTo>
                  <a:lnTo>
                    <a:pt x="180" y="57"/>
                  </a:lnTo>
                  <a:lnTo>
                    <a:pt x="178" y="57"/>
                  </a:lnTo>
                  <a:lnTo>
                    <a:pt x="176" y="57"/>
                  </a:lnTo>
                  <a:lnTo>
                    <a:pt x="174" y="58"/>
                  </a:lnTo>
                  <a:lnTo>
                    <a:pt x="170" y="58"/>
                  </a:lnTo>
                  <a:lnTo>
                    <a:pt x="168" y="59"/>
                  </a:lnTo>
                  <a:lnTo>
                    <a:pt x="165" y="60"/>
                  </a:lnTo>
                  <a:lnTo>
                    <a:pt x="162" y="61"/>
                  </a:lnTo>
                  <a:lnTo>
                    <a:pt x="159" y="62"/>
                  </a:lnTo>
                  <a:lnTo>
                    <a:pt x="161" y="66"/>
                  </a:lnTo>
                  <a:lnTo>
                    <a:pt x="163" y="68"/>
                  </a:lnTo>
                  <a:lnTo>
                    <a:pt x="167" y="70"/>
                  </a:lnTo>
                  <a:lnTo>
                    <a:pt x="167" y="73"/>
                  </a:lnTo>
                  <a:lnTo>
                    <a:pt x="165" y="74"/>
                  </a:lnTo>
                  <a:lnTo>
                    <a:pt x="162" y="77"/>
                  </a:lnTo>
                  <a:lnTo>
                    <a:pt x="163" y="79"/>
                  </a:lnTo>
                  <a:lnTo>
                    <a:pt x="166" y="83"/>
                  </a:lnTo>
                  <a:lnTo>
                    <a:pt x="163" y="84"/>
                  </a:lnTo>
                  <a:lnTo>
                    <a:pt x="160" y="84"/>
                  </a:lnTo>
                  <a:lnTo>
                    <a:pt x="158" y="85"/>
                  </a:lnTo>
                  <a:lnTo>
                    <a:pt x="154" y="84"/>
                  </a:lnTo>
                  <a:lnTo>
                    <a:pt x="152" y="83"/>
                  </a:lnTo>
                  <a:lnTo>
                    <a:pt x="149" y="82"/>
                  </a:lnTo>
                  <a:lnTo>
                    <a:pt x="147" y="81"/>
                  </a:lnTo>
                  <a:lnTo>
                    <a:pt x="143" y="81"/>
                  </a:lnTo>
                  <a:lnTo>
                    <a:pt x="140" y="81"/>
                  </a:lnTo>
                  <a:lnTo>
                    <a:pt x="137" y="81"/>
                  </a:lnTo>
                  <a:lnTo>
                    <a:pt x="134" y="82"/>
                  </a:lnTo>
                  <a:lnTo>
                    <a:pt x="133" y="84"/>
                  </a:lnTo>
                  <a:lnTo>
                    <a:pt x="134" y="87"/>
                  </a:lnTo>
                  <a:lnTo>
                    <a:pt x="136" y="90"/>
                  </a:lnTo>
                  <a:lnTo>
                    <a:pt x="139" y="92"/>
                  </a:lnTo>
                  <a:lnTo>
                    <a:pt x="141" y="95"/>
                  </a:lnTo>
                  <a:lnTo>
                    <a:pt x="139" y="94"/>
                  </a:lnTo>
                  <a:lnTo>
                    <a:pt x="136" y="92"/>
                  </a:lnTo>
                  <a:lnTo>
                    <a:pt x="134" y="89"/>
                  </a:lnTo>
                  <a:lnTo>
                    <a:pt x="132" y="86"/>
                  </a:lnTo>
                  <a:lnTo>
                    <a:pt x="131" y="84"/>
                  </a:lnTo>
                  <a:lnTo>
                    <a:pt x="128" y="83"/>
                  </a:lnTo>
                  <a:lnTo>
                    <a:pt x="125" y="85"/>
                  </a:lnTo>
                  <a:lnTo>
                    <a:pt x="123" y="86"/>
                  </a:lnTo>
                  <a:lnTo>
                    <a:pt x="119" y="87"/>
                  </a:lnTo>
                  <a:lnTo>
                    <a:pt x="117" y="87"/>
                  </a:lnTo>
                  <a:lnTo>
                    <a:pt x="114" y="87"/>
                  </a:lnTo>
                  <a:lnTo>
                    <a:pt x="113" y="91"/>
                  </a:lnTo>
                  <a:lnTo>
                    <a:pt x="110" y="92"/>
                  </a:lnTo>
                  <a:lnTo>
                    <a:pt x="109" y="94"/>
                  </a:lnTo>
                  <a:lnTo>
                    <a:pt x="107" y="95"/>
                  </a:lnTo>
                  <a:lnTo>
                    <a:pt x="103" y="96"/>
                  </a:lnTo>
                  <a:lnTo>
                    <a:pt x="101" y="98"/>
                  </a:lnTo>
                  <a:lnTo>
                    <a:pt x="103" y="99"/>
                  </a:lnTo>
                  <a:lnTo>
                    <a:pt x="101" y="99"/>
                  </a:lnTo>
                  <a:lnTo>
                    <a:pt x="98" y="98"/>
                  </a:lnTo>
                  <a:lnTo>
                    <a:pt x="94" y="100"/>
                  </a:lnTo>
                  <a:lnTo>
                    <a:pt x="92" y="101"/>
                  </a:lnTo>
                  <a:lnTo>
                    <a:pt x="89" y="101"/>
                  </a:lnTo>
                  <a:lnTo>
                    <a:pt x="86" y="102"/>
                  </a:lnTo>
                  <a:lnTo>
                    <a:pt x="85" y="106"/>
                  </a:lnTo>
                  <a:lnTo>
                    <a:pt x="82" y="107"/>
                  </a:lnTo>
                  <a:lnTo>
                    <a:pt x="80" y="108"/>
                  </a:lnTo>
                  <a:lnTo>
                    <a:pt x="76" y="109"/>
                  </a:lnTo>
                  <a:lnTo>
                    <a:pt x="76" y="111"/>
                  </a:lnTo>
                  <a:lnTo>
                    <a:pt x="79" y="115"/>
                  </a:lnTo>
                  <a:lnTo>
                    <a:pt x="82" y="116"/>
                  </a:lnTo>
                  <a:lnTo>
                    <a:pt x="84" y="118"/>
                  </a:lnTo>
                  <a:lnTo>
                    <a:pt x="88" y="117"/>
                  </a:lnTo>
                  <a:lnTo>
                    <a:pt x="90" y="117"/>
                  </a:lnTo>
                  <a:lnTo>
                    <a:pt x="93" y="117"/>
                  </a:lnTo>
                  <a:lnTo>
                    <a:pt x="96" y="119"/>
                  </a:lnTo>
                  <a:lnTo>
                    <a:pt x="99" y="119"/>
                  </a:lnTo>
                  <a:lnTo>
                    <a:pt x="101" y="118"/>
                  </a:lnTo>
                  <a:lnTo>
                    <a:pt x="105" y="117"/>
                  </a:lnTo>
                  <a:lnTo>
                    <a:pt x="108" y="117"/>
                  </a:lnTo>
                  <a:lnTo>
                    <a:pt x="110" y="117"/>
                  </a:lnTo>
                  <a:lnTo>
                    <a:pt x="113" y="117"/>
                  </a:lnTo>
                  <a:lnTo>
                    <a:pt x="116" y="117"/>
                  </a:lnTo>
                  <a:lnTo>
                    <a:pt x="119" y="116"/>
                  </a:lnTo>
                  <a:lnTo>
                    <a:pt x="122" y="113"/>
                  </a:lnTo>
                  <a:lnTo>
                    <a:pt x="124" y="115"/>
                  </a:lnTo>
                  <a:lnTo>
                    <a:pt x="127" y="115"/>
                  </a:lnTo>
                  <a:lnTo>
                    <a:pt x="122" y="116"/>
                  </a:lnTo>
                  <a:lnTo>
                    <a:pt x="118" y="117"/>
                  </a:lnTo>
                  <a:lnTo>
                    <a:pt x="113" y="118"/>
                  </a:lnTo>
                  <a:lnTo>
                    <a:pt x="109" y="119"/>
                  </a:lnTo>
                  <a:lnTo>
                    <a:pt x="110" y="122"/>
                  </a:lnTo>
                  <a:lnTo>
                    <a:pt x="110" y="125"/>
                  </a:lnTo>
                  <a:lnTo>
                    <a:pt x="111" y="127"/>
                  </a:lnTo>
                  <a:lnTo>
                    <a:pt x="110" y="130"/>
                  </a:lnTo>
                  <a:lnTo>
                    <a:pt x="113" y="133"/>
                  </a:lnTo>
                  <a:lnTo>
                    <a:pt x="109" y="138"/>
                  </a:lnTo>
                  <a:lnTo>
                    <a:pt x="106" y="139"/>
                  </a:lnTo>
                  <a:lnTo>
                    <a:pt x="103" y="141"/>
                  </a:lnTo>
                  <a:lnTo>
                    <a:pt x="100" y="144"/>
                  </a:lnTo>
                  <a:lnTo>
                    <a:pt x="98" y="146"/>
                  </a:lnTo>
                  <a:lnTo>
                    <a:pt x="94" y="146"/>
                  </a:lnTo>
                  <a:lnTo>
                    <a:pt x="91" y="145"/>
                  </a:lnTo>
                  <a:lnTo>
                    <a:pt x="89" y="145"/>
                  </a:lnTo>
                  <a:lnTo>
                    <a:pt x="86" y="146"/>
                  </a:lnTo>
                  <a:lnTo>
                    <a:pt x="83" y="146"/>
                  </a:lnTo>
                  <a:lnTo>
                    <a:pt x="80" y="146"/>
                  </a:lnTo>
                  <a:lnTo>
                    <a:pt x="77" y="146"/>
                  </a:lnTo>
                  <a:lnTo>
                    <a:pt x="75" y="147"/>
                  </a:lnTo>
                  <a:lnTo>
                    <a:pt x="72" y="149"/>
                  </a:lnTo>
                  <a:lnTo>
                    <a:pt x="69" y="147"/>
                  </a:lnTo>
                  <a:lnTo>
                    <a:pt x="66" y="149"/>
                  </a:lnTo>
                  <a:lnTo>
                    <a:pt x="64" y="149"/>
                  </a:lnTo>
                  <a:lnTo>
                    <a:pt x="60" y="150"/>
                  </a:lnTo>
                  <a:lnTo>
                    <a:pt x="58" y="150"/>
                  </a:lnTo>
                  <a:lnTo>
                    <a:pt x="55" y="151"/>
                  </a:lnTo>
                  <a:lnTo>
                    <a:pt x="57" y="153"/>
                  </a:lnTo>
                  <a:lnTo>
                    <a:pt x="55" y="154"/>
                  </a:lnTo>
                  <a:lnTo>
                    <a:pt x="51" y="155"/>
                  </a:lnTo>
                  <a:lnTo>
                    <a:pt x="49" y="156"/>
                  </a:lnTo>
                  <a:lnTo>
                    <a:pt x="46" y="156"/>
                  </a:lnTo>
                  <a:lnTo>
                    <a:pt x="43" y="156"/>
                  </a:lnTo>
                  <a:lnTo>
                    <a:pt x="42" y="156"/>
                  </a:lnTo>
                  <a:lnTo>
                    <a:pt x="42" y="158"/>
                  </a:lnTo>
                  <a:lnTo>
                    <a:pt x="39" y="158"/>
                  </a:lnTo>
                  <a:lnTo>
                    <a:pt x="37" y="159"/>
                  </a:lnTo>
                  <a:lnTo>
                    <a:pt x="33" y="159"/>
                  </a:lnTo>
                  <a:lnTo>
                    <a:pt x="31" y="162"/>
                  </a:lnTo>
                  <a:lnTo>
                    <a:pt x="29" y="162"/>
                  </a:lnTo>
                  <a:lnTo>
                    <a:pt x="25" y="161"/>
                  </a:lnTo>
                  <a:lnTo>
                    <a:pt x="22" y="161"/>
                  </a:lnTo>
                  <a:lnTo>
                    <a:pt x="20" y="162"/>
                  </a:lnTo>
                  <a:lnTo>
                    <a:pt x="16" y="163"/>
                  </a:lnTo>
                  <a:lnTo>
                    <a:pt x="14" y="163"/>
                  </a:lnTo>
                  <a:lnTo>
                    <a:pt x="11" y="164"/>
                  </a:lnTo>
                  <a:lnTo>
                    <a:pt x="8" y="164"/>
                  </a:lnTo>
                  <a:lnTo>
                    <a:pt x="5" y="167"/>
                  </a:lnTo>
                  <a:lnTo>
                    <a:pt x="4" y="170"/>
                  </a:lnTo>
                  <a:lnTo>
                    <a:pt x="6" y="171"/>
                  </a:lnTo>
                  <a:lnTo>
                    <a:pt x="4" y="173"/>
                  </a:lnTo>
                  <a:lnTo>
                    <a:pt x="0" y="175"/>
                  </a:lnTo>
                  <a:lnTo>
                    <a:pt x="4" y="176"/>
                  </a:lnTo>
                  <a:lnTo>
                    <a:pt x="6" y="178"/>
                  </a:lnTo>
                  <a:lnTo>
                    <a:pt x="9" y="178"/>
                  </a:lnTo>
                  <a:lnTo>
                    <a:pt x="12" y="181"/>
                  </a:lnTo>
                  <a:lnTo>
                    <a:pt x="14" y="183"/>
                  </a:lnTo>
                  <a:lnTo>
                    <a:pt x="17" y="184"/>
                  </a:lnTo>
                  <a:lnTo>
                    <a:pt x="20" y="183"/>
                  </a:lnTo>
                  <a:lnTo>
                    <a:pt x="23" y="184"/>
                  </a:lnTo>
                  <a:lnTo>
                    <a:pt x="25" y="184"/>
                  </a:lnTo>
                  <a:lnTo>
                    <a:pt x="22" y="186"/>
                  </a:lnTo>
                  <a:lnTo>
                    <a:pt x="25" y="187"/>
                  </a:lnTo>
                  <a:lnTo>
                    <a:pt x="31" y="187"/>
                  </a:lnTo>
                  <a:lnTo>
                    <a:pt x="34" y="186"/>
                  </a:lnTo>
                  <a:lnTo>
                    <a:pt x="37" y="184"/>
                  </a:lnTo>
                  <a:lnTo>
                    <a:pt x="40" y="185"/>
                  </a:lnTo>
                  <a:lnTo>
                    <a:pt x="42" y="185"/>
                  </a:lnTo>
                  <a:lnTo>
                    <a:pt x="42" y="185"/>
                  </a:lnTo>
                  <a:lnTo>
                    <a:pt x="39" y="185"/>
                  </a:lnTo>
                  <a:lnTo>
                    <a:pt x="37" y="187"/>
                  </a:lnTo>
                  <a:lnTo>
                    <a:pt x="33" y="188"/>
                  </a:lnTo>
                  <a:lnTo>
                    <a:pt x="37" y="189"/>
                  </a:lnTo>
                  <a:lnTo>
                    <a:pt x="39" y="189"/>
                  </a:lnTo>
                  <a:lnTo>
                    <a:pt x="42" y="189"/>
                  </a:lnTo>
                  <a:lnTo>
                    <a:pt x="45" y="189"/>
                  </a:lnTo>
                  <a:lnTo>
                    <a:pt x="48" y="188"/>
                  </a:lnTo>
                  <a:lnTo>
                    <a:pt x="45" y="190"/>
                  </a:lnTo>
                  <a:lnTo>
                    <a:pt x="39" y="193"/>
                  </a:lnTo>
                  <a:lnTo>
                    <a:pt x="42" y="194"/>
                  </a:lnTo>
                  <a:lnTo>
                    <a:pt x="45" y="194"/>
                  </a:lnTo>
                  <a:lnTo>
                    <a:pt x="48" y="195"/>
                  </a:lnTo>
                  <a:lnTo>
                    <a:pt x="50" y="196"/>
                  </a:lnTo>
                  <a:lnTo>
                    <a:pt x="54" y="196"/>
                  </a:lnTo>
                  <a:lnTo>
                    <a:pt x="56" y="195"/>
                  </a:lnTo>
                  <a:lnTo>
                    <a:pt x="59" y="195"/>
                  </a:lnTo>
                  <a:lnTo>
                    <a:pt x="60" y="193"/>
                  </a:lnTo>
                  <a:lnTo>
                    <a:pt x="64" y="193"/>
                  </a:lnTo>
                  <a:lnTo>
                    <a:pt x="64" y="195"/>
                  </a:lnTo>
                  <a:lnTo>
                    <a:pt x="71" y="194"/>
                  </a:lnTo>
                  <a:lnTo>
                    <a:pt x="73" y="194"/>
                  </a:lnTo>
                  <a:lnTo>
                    <a:pt x="76" y="194"/>
                  </a:lnTo>
                  <a:lnTo>
                    <a:pt x="79" y="193"/>
                  </a:lnTo>
                  <a:lnTo>
                    <a:pt x="81" y="190"/>
                  </a:lnTo>
                  <a:lnTo>
                    <a:pt x="84" y="189"/>
                  </a:lnTo>
                  <a:lnTo>
                    <a:pt x="86" y="188"/>
                  </a:lnTo>
                  <a:lnTo>
                    <a:pt x="90" y="190"/>
                  </a:lnTo>
                  <a:lnTo>
                    <a:pt x="92" y="192"/>
                  </a:lnTo>
                  <a:lnTo>
                    <a:pt x="94" y="194"/>
                  </a:lnTo>
                  <a:lnTo>
                    <a:pt x="96" y="197"/>
                  </a:lnTo>
                  <a:lnTo>
                    <a:pt x="92" y="197"/>
                  </a:lnTo>
                  <a:lnTo>
                    <a:pt x="90" y="197"/>
                  </a:lnTo>
                  <a:lnTo>
                    <a:pt x="90" y="200"/>
                  </a:lnTo>
                  <a:lnTo>
                    <a:pt x="92" y="201"/>
                  </a:lnTo>
                  <a:lnTo>
                    <a:pt x="90" y="201"/>
                  </a:lnTo>
                  <a:lnTo>
                    <a:pt x="86" y="200"/>
                  </a:lnTo>
                  <a:lnTo>
                    <a:pt x="83" y="198"/>
                  </a:lnTo>
                  <a:lnTo>
                    <a:pt x="81" y="198"/>
                  </a:lnTo>
                  <a:lnTo>
                    <a:pt x="75" y="198"/>
                  </a:lnTo>
                  <a:lnTo>
                    <a:pt x="72" y="198"/>
                  </a:lnTo>
                  <a:lnTo>
                    <a:pt x="68" y="198"/>
                  </a:lnTo>
                  <a:lnTo>
                    <a:pt x="66" y="198"/>
                  </a:lnTo>
                  <a:lnTo>
                    <a:pt x="64" y="198"/>
                  </a:lnTo>
                  <a:lnTo>
                    <a:pt x="60" y="200"/>
                  </a:lnTo>
                  <a:lnTo>
                    <a:pt x="58" y="201"/>
                  </a:lnTo>
                  <a:lnTo>
                    <a:pt x="55" y="201"/>
                  </a:lnTo>
                  <a:lnTo>
                    <a:pt x="58" y="203"/>
                  </a:lnTo>
                  <a:lnTo>
                    <a:pt x="60" y="203"/>
                  </a:lnTo>
                  <a:lnTo>
                    <a:pt x="64" y="203"/>
                  </a:lnTo>
                  <a:lnTo>
                    <a:pt x="66" y="203"/>
                  </a:lnTo>
                  <a:lnTo>
                    <a:pt x="68" y="203"/>
                  </a:lnTo>
                  <a:lnTo>
                    <a:pt x="72" y="203"/>
                  </a:lnTo>
                  <a:lnTo>
                    <a:pt x="74" y="203"/>
                  </a:lnTo>
                  <a:lnTo>
                    <a:pt x="77" y="204"/>
                  </a:lnTo>
                  <a:lnTo>
                    <a:pt x="83" y="205"/>
                  </a:lnTo>
                  <a:lnTo>
                    <a:pt x="85" y="205"/>
                  </a:lnTo>
                  <a:lnTo>
                    <a:pt x="89" y="205"/>
                  </a:lnTo>
                  <a:lnTo>
                    <a:pt x="94" y="204"/>
                  </a:lnTo>
                  <a:lnTo>
                    <a:pt x="91" y="205"/>
                  </a:lnTo>
                  <a:lnTo>
                    <a:pt x="89" y="205"/>
                  </a:lnTo>
                  <a:lnTo>
                    <a:pt x="85" y="205"/>
                  </a:lnTo>
                  <a:lnTo>
                    <a:pt x="83" y="205"/>
                  </a:lnTo>
                  <a:lnTo>
                    <a:pt x="80" y="205"/>
                  </a:lnTo>
                  <a:lnTo>
                    <a:pt x="77" y="204"/>
                  </a:lnTo>
                  <a:lnTo>
                    <a:pt x="74" y="204"/>
                  </a:lnTo>
                  <a:lnTo>
                    <a:pt x="72" y="203"/>
                  </a:lnTo>
                  <a:lnTo>
                    <a:pt x="69" y="204"/>
                  </a:lnTo>
                  <a:lnTo>
                    <a:pt x="66" y="204"/>
                  </a:lnTo>
                  <a:lnTo>
                    <a:pt x="64" y="204"/>
                  </a:lnTo>
                  <a:lnTo>
                    <a:pt x="60" y="204"/>
                  </a:lnTo>
                  <a:lnTo>
                    <a:pt x="58" y="204"/>
                  </a:lnTo>
                  <a:lnTo>
                    <a:pt x="55" y="203"/>
                  </a:lnTo>
                  <a:lnTo>
                    <a:pt x="51" y="203"/>
                  </a:lnTo>
                  <a:lnTo>
                    <a:pt x="49" y="203"/>
                  </a:lnTo>
                  <a:lnTo>
                    <a:pt x="47" y="203"/>
                  </a:lnTo>
                  <a:lnTo>
                    <a:pt x="43" y="203"/>
                  </a:lnTo>
                  <a:lnTo>
                    <a:pt x="42" y="202"/>
                  </a:lnTo>
                  <a:lnTo>
                    <a:pt x="39" y="202"/>
                  </a:lnTo>
                  <a:lnTo>
                    <a:pt x="37" y="203"/>
                  </a:lnTo>
                  <a:lnTo>
                    <a:pt x="31" y="204"/>
                  </a:lnTo>
                  <a:lnTo>
                    <a:pt x="29" y="205"/>
                  </a:lnTo>
                  <a:lnTo>
                    <a:pt x="25" y="205"/>
                  </a:lnTo>
                  <a:lnTo>
                    <a:pt x="23" y="209"/>
                  </a:lnTo>
                  <a:lnTo>
                    <a:pt x="25" y="211"/>
                  </a:lnTo>
                  <a:lnTo>
                    <a:pt x="29" y="211"/>
                  </a:lnTo>
                  <a:lnTo>
                    <a:pt x="31" y="211"/>
                  </a:lnTo>
                  <a:lnTo>
                    <a:pt x="29" y="212"/>
                  </a:lnTo>
                  <a:lnTo>
                    <a:pt x="31" y="214"/>
                  </a:lnTo>
                  <a:lnTo>
                    <a:pt x="34" y="215"/>
                  </a:lnTo>
                  <a:lnTo>
                    <a:pt x="38" y="215"/>
                  </a:lnTo>
                  <a:lnTo>
                    <a:pt x="40" y="213"/>
                  </a:lnTo>
                  <a:lnTo>
                    <a:pt x="42" y="212"/>
                  </a:lnTo>
                  <a:lnTo>
                    <a:pt x="42" y="212"/>
                  </a:lnTo>
                  <a:lnTo>
                    <a:pt x="45" y="210"/>
                  </a:lnTo>
                  <a:lnTo>
                    <a:pt x="48" y="210"/>
                  </a:lnTo>
                  <a:lnTo>
                    <a:pt x="45" y="211"/>
                  </a:lnTo>
                  <a:lnTo>
                    <a:pt x="42" y="213"/>
                  </a:lnTo>
                  <a:lnTo>
                    <a:pt x="42" y="216"/>
                  </a:lnTo>
                  <a:lnTo>
                    <a:pt x="45" y="216"/>
                  </a:lnTo>
                  <a:lnTo>
                    <a:pt x="48" y="218"/>
                  </a:lnTo>
                  <a:lnTo>
                    <a:pt x="50" y="218"/>
                  </a:lnTo>
                  <a:lnTo>
                    <a:pt x="54" y="219"/>
                  </a:lnTo>
                  <a:lnTo>
                    <a:pt x="59" y="219"/>
                  </a:lnTo>
                  <a:lnTo>
                    <a:pt x="63" y="219"/>
                  </a:lnTo>
                  <a:lnTo>
                    <a:pt x="65" y="219"/>
                  </a:lnTo>
                  <a:lnTo>
                    <a:pt x="67" y="218"/>
                  </a:lnTo>
                  <a:lnTo>
                    <a:pt x="69" y="221"/>
                  </a:lnTo>
                  <a:lnTo>
                    <a:pt x="66" y="221"/>
                  </a:lnTo>
                  <a:lnTo>
                    <a:pt x="64" y="221"/>
                  </a:lnTo>
                  <a:lnTo>
                    <a:pt x="60" y="221"/>
                  </a:lnTo>
                  <a:lnTo>
                    <a:pt x="58" y="222"/>
                  </a:lnTo>
                  <a:lnTo>
                    <a:pt x="56" y="223"/>
                  </a:lnTo>
                  <a:lnTo>
                    <a:pt x="52" y="224"/>
                  </a:lnTo>
                  <a:lnTo>
                    <a:pt x="49" y="226"/>
                  </a:lnTo>
                  <a:lnTo>
                    <a:pt x="49" y="228"/>
                  </a:lnTo>
                  <a:lnTo>
                    <a:pt x="51" y="229"/>
                  </a:lnTo>
                  <a:lnTo>
                    <a:pt x="55" y="230"/>
                  </a:lnTo>
                  <a:lnTo>
                    <a:pt x="58" y="231"/>
                  </a:lnTo>
                  <a:lnTo>
                    <a:pt x="60" y="233"/>
                  </a:lnTo>
                  <a:lnTo>
                    <a:pt x="64" y="233"/>
                  </a:lnTo>
                  <a:lnTo>
                    <a:pt x="64" y="236"/>
                  </a:lnTo>
                  <a:lnTo>
                    <a:pt x="67" y="236"/>
                  </a:lnTo>
                  <a:lnTo>
                    <a:pt x="72" y="237"/>
                  </a:lnTo>
                  <a:lnTo>
                    <a:pt x="75" y="237"/>
                  </a:lnTo>
                  <a:lnTo>
                    <a:pt x="77" y="237"/>
                  </a:lnTo>
                  <a:lnTo>
                    <a:pt x="81" y="238"/>
                  </a:lnTo>
                  <a:lnTo>
                    <a:pt x="83" y="238"/>
                  </a:lnTo>
                  <a:lnTo>
                    <a:pt x="86" y="239"/>
                  </a:lnTo>
                  <a:lnTo>
                    <a:pt x="89" y="238"/>
                  </a:lnTo>
                  <a:lnTo>
                    <a:pt x="86" y="237"/>
                  </a:lnTo>
                  <a:lnTo>
                    <a:pt x="83" y="235"/>
                  </a:lnTo>
                  <a:lnTo>
                    <a:pt x="81" y="232"/>
                  </a:lnTo>
                  <a:lnTo>
                    <a:pt x="83" y="230"/>
                  </a:lnTo>
                  <a:lnTo>
                    <a:pt x="86" y="231"/>
                  </a:lnTo>
                  <a:lnTo>
                    <a:pt x="89" y="235"/>
                  </a:lnTo>
                  <a:lnTo>
                    <a:pt x="92" y="235"/>
                  </a:lnTo>
                  <a:lnTo>
                    <a:pt x="92" y="232"/>
                  </a:lnTo>
                  <a:lnTo>
                    <a:pt x="94" y="230"/>
                  </a:lnTo>
                  <a:lnTo>
                    <a:pt x="98" y="230"/>
                  </a:lnTo>
                  <a:lnTo>
                    <a:pt x="100" y="230"/>
                  </a:lnTo>
                  <a:lnTo>
                    <a:pt x="103" y="231"/>
                  </a:lnTo>
                  <a:lnTo>
                    <a:pt x="100" y="232"/>
                  </a:lnTo>
                  <a:lnTo>
                    <a:pt x="100" y="236"/>
                  </a:lnTo>
                  <a:lnTo>
                    <a:pt x="103" y="237"/>
                  </a:lnTo>
                  <a:lnTo>
                    <a:pt x="106" y="237"/>
                  </a:lnTo>
                  <a:lnTo>
                    <a:pt x="106" y="233"/>
                  </a:lnTo>
                  <a:lnTo>
                    <a:pt x="111" y="235"/>
                  </a:lnTo>
                  <a:lnTo>
                    <a:pt x="113" y="232"/>
                  </a:lnTo>
                  <a:lnTo>
                    <a:pt x="115" y="233"/>
                  </a:lnTo>
                  <a:lnTo>
                    <a:pt x="116" y="230"/>
                  </a:lnTo>
                  <a:lnTo>
                    <a:pt x="119" y="230"/>
                  </a:lnTo>
                  <a:lnTo>
                    <a:pt x="120" y="228"/>
                  </a:lnTo>
                  <a:lnTo>
                    <a:pt x="122" y="230"/>
                  </a:lnTo>
                  <a:lnTo>
                    <a:pt x="123" y="233"/>
                  </a:lnTo>
                  <a:lnTo>
                    <a:pt x="125" y="233"/>
                  </a:lnTo>
                  <a:lnTo>
                    <a:pt x="128" y="231"/>
                  </a:lnTo>
                  <a:lnTo>
                    <a:pt x="131" y="229"/>
                  </a:lnTo>
                  <a:lnTo>
                    <a:pt x="134" y="227"/>
                  </a:lnTo>
                  <a:lnTo>
                    <a:pt x="140" y="229"/>
                  </a:lnTo>
                  <a:lnTo>
                    <a:pt x="142" y="230"/>
                  </a:lnTo>
                  <a:lnTo>
                    <a:pt x="145" y="230"/>
                  </a:lnTo>
                  <a:lnTo>
                    <a:pt x="148" y="230"/>
                  </a:lnTo>
                  <a:lnTo>
                    <a:pt x="151" y="231"/>
                  </a:lnTo>
                  <a:lnTo>
                    <a:pt x="153" y="231"/>
                  </a:lnTo>
                  <a:lnTo>
                    <a:pt x="156" y="232"/>
                  </a:lnTo>
                  <a:lnTo>
                    <a:pt x="159" y="233"/>
                  </a:lnTo>
                  <a:lnTo>
                    <a:pt x="161" y="232"/>
                  </a:lnTo>
                  <a:lnTo>
                    <a:pt x="165" y="233"/>
                  </a:lnTo>
                  <a:lnTo>
                    <a:pt x="167" y="235"/>
                  </a:lnTo>
                  <a:lnTo>
                    <a:pt x="168" y="237"/>
                  </a:lnTo>
                  <a:lnTo>
                    <a:pt x="176" y="237"/>
                  </a:lnTo>
                  <a:lnTo>
                    <a:pt x="179" y="238"/>
                  </a:lnTo>
                  <a:lnTo>
                    <a:pt x="179" y="239"/>
                  </a:lnTo>
                  <a:lnTo>
                    <a:pt x="182" y="239"/>
                  </a:lnTo>
                  <a:lnTo>
                    <a:pt x="185" y="240"/>
                  </a:lnTo>
                  <a:lnTo>
                    <a:pt x="182" y="243"/>
                  </a:lnTo>
                  <a:lnTo>
                    <a:pt x="185" y="243"/>
                  </a:lnTo>
                  <a:lnTo>
                    <a:pt x="187" y="241"/>
                  </a:lnTo>
                  <a:lnTo>
                    <a:pt x="191" y="241"/>
                  </a:lnTo>
                  <a:lnTo>
                    <a:pt x="190" y="244"/>
                  </a:lnTo>
                  <a:lnTo>
                    <a:pt x="192" y="245"/>
                  </a:lnTo>
                  <a:lnTo>
                    <a:pt x="195" y="246"/>
                  </a:lnTo>
                  <a:lnTo>
                    <a:pt x="197" y="245"/>
                  </a:lnTo>
                  <a:lnTo>
                    <a:pt x="201" y="245"/>
                  </a:lnTo>
                  <a:lnTo>
                    <a:pt x="202" y="248"/>
                  </a:lnTo>
                  <a:lnTo>
                    <a:pt x="203" y="250"/>
                  </a:lnTo>
                  <a:lnTo>
                    <a:pt x="203" y="253"/>
                  </a:lnTo>
                  <a:lnTo>
                    <a:pt x="200" y="254"/>
                  </a:lnTo>
                  <a:lnTo>
                    <a:pt x="197" y="255"/>
                  </a:lnTo>
                  <a:lnTo>
                    <a:pt x="200" y="255"/>
                  </a:lnTo>
                  <a:lnTo>
                    <a:pt x="203" y="254"/>
                  </a:lnTo>
                  <a:lnTo>
                    <a:pt x="201" y="257"/>
                  </a:lnTo>
                  <a:lnTo>
                    <a:pt x="203" y="260"/>
                  </a:lnTo>
                  <a:lnTo>
                    <a:pt x="205" y="260"/>
                  </a:lnTo>
                  <a:lnTo>
                    <a:pt x="205" y="263"/>
                  </a:lnTo>
                  <a:lnTo>
                    <a:pt x="208" y="264"/>
                  </a:lnTo>
                  <a:lnTo>
                    <a:pt x="211" y="265"/>
                  </a:lnTo>
                  <a:lnTo>
                    <a:pt x="212" y="266"/>
                  </a:lnTo>
                  <a:lnTo>
                    <a:pt x="216" y="267"/>
                  </a:lnTo>
                  <a:lnTo>
                    <a:pt x="218" y="267"/>
                  </a:lnTo>
                  <a:lnTo>
                    <a:pt x="221" y="270"/>
                  </a:lnTo>
                  <a:lnTo>
                    <a:pt x="218" y="271"/>
                  </a:lnTo>
                  <a:lnTo>
                    <a:pt x="220" y="274"/>
                  </a:lnTo>
                  <a:lnTo>
                    <a:pt x="222" y="274"/>
                  </a:lnTo>
                  <a:lnTo>
                    <a:pt x="226" y="275"/>
                  </a:lnTo>
                  <a:lnTo>
                    <a:pt x="228" y="278"/>
                  </a:lnTo>
                  <a:lnTo>
                    <a:pt x="231" y="278"/>
                  </a:lnTo>
                  <a:lnTo>
                    <a:pt x="228" y="280"/>
                  </a:lnTo>
                  <a:lnTo>
                    <a:pt x="226" y="280"/>
                  </a:lnTo>
                  <a:lnTo>
                    <a:pt x="222" y="280"/>
                  </a:lnTo>
                  <a:lnTo>
                    <a:pt x="226" y="281"/>
                  </a:lnTo>
                  <a:lnTo>
                    <a:pt x="231" y="281"/>
                  </a:lnTo>
                  <a:lnTo>
                    <a:pt x="229" y="283"/>
                  </a:lnTo>
                  <a:lnTo>
                    <a:pt x="226" y="283"/>
                  </a:lnTo>
                  <a:lnTo>
                    <a:pt x="228" y="284"/>
                  </a:lnTo>
                  <a:lnTo>
                    <a:pt x="226" y="286"/>
                  </a:lnTo>
                  <a:lnTo>
                    <a:pt x="222" y="287"/>
                  </a:lnTo>
                  <a:lnTo>
                    <a:pt x="220" y="288"/>
                  </a:lnTo>
                  <a:lnTo>
                    <a:pt x="218" y="288"/>
                  </a:lnTo>
                  <a:lnTo>
                    <a:pt x="220" y="289"/>
                  </a:lnTo>
                  <a:lnTo>
                    <a:pt x="224" y="289"/>
                  </a:lnTo>
                  <a:lnTo>
                    <a:pt x="226" y="288"/>
                  </a:lnTo>
                  <a:lnTo>
                    <a:pt x="229" y="287"/>
                  </a:lnTo>
                  <a:lnTo>
                    <a:pt x="231" y="284"/>
                  </a:lnTo>
                  <a:lnTo>
                    <a:pt x="230" y="288"/>
                  </a:lnTo>
                  <a:lnTo>
                    <a:pt x="229" y="290"/>
                  </a:lnTo>
                  <a:lnTo>
                    <a:pt x="233" y="291"/>
                  </a:lnTo>
                  <a:lnTo>
                    <a:pt x="235" y="293"/>
                  </a:lnTo>
                  <a:lnTo>
                    <a:pt x="237" y="296"/>
                  </a:lnTo>
                  <a:lnTo>
                    <a:pt x="235" y="298"/>
                  </a:lnTo>
                  <a:lnTo>
                    <a:pt x="238" y="300"/>
                  </a:lnTo>
                  <a:lnTo>
                    <a:pt x="236" y="299"/>
                  </a:lnTo>
                  <a:lnTo>
                    <a:pt x="233" y="301"/>
                  </a:lnTo>
                  <a:lnTo>
                    <a:pt x="236" y="303"/>
                  </a:lnTo>
                  <a:lnTo>
                    <a:pt x="238" y="304"/>
                  </a:lnTo>
                  <a:lnTo>
                    <a:pt x="241" y="306"/>
                  </a:lnTo>
                  <a:lnTo>
                    <a:pt x="243" y="307"/>
                  </a:lnTo>
                  <a:lnTo>
                    <a:pt x="246" y="308"/>
                  </a:lnTo>
                  <a:lnTo>
                    <a:pt x="246" y="309"/>
                  </a:lnTo>
                  <a:lnTo>
                    <a:pt x="243" y="309"/>
                  </a:lnTo>
                  <a:lnTo>
                    <a:pt x="242" y="312"/>
                  </a:lnTo>
                  <a:lnTo>
                    <a:pt x="244" y="313"/>
                  </a:lnTo>
                  <a:lnTo>
                    <a:pt x="242" y="314"/>
                  </a:lnTo>
                  <a:lnTo>
                    <a:pt x="238" y="315"/>
                  </a:lnTo>
                  <a:lnTo>
                    <a:pt x="242" y="317"/>
                  </a:lnTo>
                  <a:lnTo>
                    <a:pt x="244" y="318"/>
                  </a:lnTo>
                  <a:lnTo>
                    <a:pt x="247" y="317"/>
                  </a:lnTo>
                  <a:lnTo>
                    <a:pt x="250" y="318"/>
                  </a:lnTo>
                  <a:lnTo>
                    <a:pt x="252" y="321"/>
                  </a:lnTo>
                  <a:lnTo>
                    <a:pt x="252" y="324"/>
                  </a:lnTo>
                  <a:lnTo>
                    <a:pt x="250" y="324"/>
                  </a:lnTo>
                  <a:lnTo>
                    <a:pt x="252" y="325"/>
                  </a:lnTo>
                  <a:lnTo>
                    <a:pt x="251" y="327"/>
                  </a:lnTo>
                  <a:lnTo>
                    <a:pt x="247" y="330"/>
                  </a:lnTo>
                  <a:lnTo>
                    <a:pt x="251" y="332"/>
                  </a:lnTo>
                  <a:lnTo>
                    <a:pt x="253" y="332"/>
                  </a:lnTo>
                  <a:lnTo>
                    <a:pt x="255" y="332"/>
                  </a:lnTo>
                  <a:lnTo>
                    <a:pt x="253" y="332"/>
                  </a:lnTo>
                  <a:lnTo>
                    <a:pt x="251" y="332"/>
                  </a:lnTo>
                  <a:lnTo>
                    <a:pt x="247" y="332"/>
                  </a:lnTo>
                  <a:lnTo>
                    <a:pt x="243" y="332"/>
                  </a:lnTo>
                  <a:lnTo>
                    <a:pt x="239" y="332"/>
                  </a:lnTo>
                  <a:lnTo>
                    <a:pt x="243" y="334"/>
                  </a:lnTo>
                  <a:lnTo>
                    <a:pt x="245" y="335"/>
                  </a:lnTo>
                  <a:lnTo>
                    <a:pt x="247" y="334"/>
                  </a:lnTo>
                  <a:lnTo>
                    <a:pt x="251" y="335"/>
                  </a:lnTo>
                  <a:lnTo>
                    <a:pt x="248" y="338"/>
                  </a:lnTo>
                  <a:lnTo>
                    <a:pt x="246" y="340"/>
                  </a:lnTo>
                  <a:lnTo>
                    <a:pt x="246" y="340"/>
                  </a:lnTo>
                  <a:lnTo>
                    <a:pt x="244" y="343"/>
                  </a:lnTo>
                  <a:lnTo>
                    <a:pt x="242" y="346"/>
                  </a:lnTo>
                  <a:lnTo>
                    <a:pt x="244" y="347"/>
                  </a:lnTo>
                  <a:lnTo>
                    <a:pt x="247" y="347"/>
                  </a:lnTo>
                  <a:lnTo>
                    <a:pt x="250" y="346"/>
                  </a:lnTo>
                  <a:lnTo>
                    <a:pt x="253" y="344"/>
                  </a:lnTo>
                  <a:lnTo>
                    <a:pt x="254" y="341"/>
                  </a:lnTo>
                  <a:lnTo>
                    <a:pt x="253" y="344"/>
                  </a:lnTo>
                  <a:lnTo>
                    <a:pt x="251" y="346"/>
                  </a:lnTo>
                  <a:lnTo>
                    <a:pt x="248" y="348"/>
                  </a:lnTo>
                  <a:lnTo>
                    <a:pt x="245" y="348"/>
                  </a:lnTo>
                  <a:lnTo>
                    <a:pt x="243" y="348"/>
                  </a:lnTo>
                  <a:lnTo>
                    <a:pt x="244" y="350"/>
                  </a:lnTo>
                  <a:lnTo>
                    <a:pt x="241" y="350"/>
                  </a:lnTo>
                  <a:lnTo>
                    <a:pt x="238" y="351"/>
                  </a:lnTo>
                  <a:lnTo>
                    <a:pt x="235" y="354"/>
                  </a:lnTo>
                  <a:lnTo>
                    <a:pt x="238" y="355"/>
                  </a:lnTo>
                  <a:lnTo>
                    <a:pt x="239" y="357"/>
                  </a:lnTo>
                  <a:lnTo>
                    <a:pt x="243" y="360"/>
                  </a:lnTo>
                  <a:lnTo>
                    <a:pt x="245" y="358"/>
                  </a:lnTo>
                  <a:lnTo>
                    <a:pt x="247" y="359"/>
                  </a:lnTo>
                  <a:lnTo>
                    <a:pt x="251" y="361"/>
                  </a:lnTo>
                  <a:lnTo>
                    <a:pt x="253" y="361"/>
                  </a:lnTo>
                  <a:lnTo>
                    <a:pt x="256" y="360"/>
                  </a:lnTo>
                  <a:lnTo>
                    <a:pt x="259" y="360"/>
                  </a:lnTo>
                  <a:lnTo>
                    <a:pt x="261" y="359"/>
                  </a:lnTo>
                  <a:lnTo>
                    <a:pt x="263" y="357"/>
                  </a:lnTo>
                  <a:lnTo>
                    <a:pt x="262" y="354"/>
                  </a:lnTo>
                  <a:lnTo>
                    <a:pt x="264" y="354"/>
                  </a:lnTo>
                  <a:lnTo>
                    <a:pt x="264" y="351"/>
                  </a:lnTo>
                  <a:lnTo>
                    <a:pt x="267" y="351"/>
                  </a:lnTo>
                  <a:lnTo>
                    <a:pt x="269" y="349"/>
                  </a:lnTo>
                  <a:lnTo>
                    <a:pt x="268" y="346"/>
                  </a:lnTo>
                  <a:lnTo>
                    <a:pt x="267" y="343"/>
                  </a:lnTo>
                  <a:lnTo>
                    <a:pt x="264" y="341"/>
                  </a:lnTo>
                  <a:lnTo>
                    <a:pt x="263" y="339"/>
                  </a:lnTo>
                  <a:lnTo>
                    <a:pt x="263" y="335"/>
                  </a:lnTo>
                  <a:lnTo>
                    <a:pt x="267" y="335"/>
                  </a:lnTo>
                  <a:lnTo>
                    <a:pt x="263" y="337"/>
                  </a:lnTo>
                  <a:lnTo>
                    <a:pt x="264" y="340"/>
                  </a:lnTo>
                  <a:lnTo>
                    <a:pt x="267" y="342"/>
                  </a:lnTo>
                  <a:lnTo>
                    <a:pt x="269" y="344"/>
                  </a:lnTo>
                  <a:lnTo>
                    <a:pt x="270" y="347"/>
                  </a:lnTo>
                  <a:lnTo>
                    <a:pt x="272" y="349"/>
                  </a:lnTo>
                  <a:lnTo>
                    <a:pt x="276" y="349"/>
                  </a:lnTo>
                  <a:lnTo>
                    <a:pt x="276" y="346"/>
                  </a:lnTo>
                  <a:lnTo>
                    <a:pt x="279" y="344"/>
                  </a:lnTo>
                  <a:lnTo>
                    <a:pt x="276" y="347"/>
                  </a:lnTo>
                  <a:lnTo>
                    <a:pt x="275" y="350"/>
                  </a:lnTo>
                  <a:lnTo>
                    <a:pt x="271" y="352"/>
                  </a:lnTo>
                  <a:lnTo>
                    <a:pt x="275" y="352"/>
                  </a:lnTo>
                  <a:lnTo>
                    <a:pt x="280" y="352"/>
                  </a:lnTo>
                  <a:lnTo>
                    <a:pt x="282" y="354"/>
                  </a:lnTo>
                  <a:lnTo>
                    <a:pt x="286" y="355"/>
                  </a:lnTo>
                  <a:lnTo>
                    <a:pt x="288" y="354"/>
                  </a:lnTo>
                  <a:lnTo>
                    <a:pt x="290" y="354"/>
                  </a:lnTo>
                  <a:lnTo>
                    <a:pt x="294" y="352"/>
                  </a:lnTo>
                  <a:lnTo>
                    <a:pt x="291" y="355"/>
                  </a:lnTo>
                  <a:lnTo>
                    <a:pt x="286" y="356"/>
                  </a:lnTo>
                  <a:lnTo>
                    <a:pt x="284" y="356"/>
                  </a:lnTo>
                  <a:lnTo>
                    <a:pt x="280" y="357"/>
                  </a:lnTo>
                  <a:lnTo>
                    <a:pt x="278" y="358"/>
                  </a:lnTo>
                  <a:lnTo>
                    <a:pt x="276" y="359"/>
                  </a:lnTo>
                  <a:lnTo>
                    <a:pt x="278" y="360"/>
                  </a:lnTo>
                  <a:lnTo>
                    <a:pt x="281" y="360"/>
                  </a:lnTo>
                  <a:lnTo>
                    <a:pt x="284" y="360"/>
                  </a:lnTo>
                  <a:lnTo>
                    <a:pt x="286" y="359"/>
                  </a:lnTo>
                  <a:lnTo>
                    <a:pt x="289" y="358"/>
                  </a:lnTo>
                  <a:lnTo>
                    <a:pt x="291" y="357"/>
                  </a:lnTo>
                  <a:lnTo>
                    <a:pt x="295" y="357"/>
                  </a:lnTo>
                  <a:lnTo>
                    <a:pt x="297" y="358"/>
                  </a:lnTo>
                  <a:lnTo>
                    <a:pt x="295" y="358"/>
                  </a:lnTo>
                  <a:lnTo>
                    <a:pt x="289" y="359"/>
                  </a:lnTo>
                  <a:lnTo>
                    <a:pt x="286" y="360"/>
                  </a:lnTo>
                  <a:lnTo>
                    <a:pt x="285" y="363"/>
                  </a:lnTo>
                  <a:lnTo>
                    <a:pt x="282" y="364"/>
                  </a:lnTo>
                  <a:lnTo>
                    <a:pt x="285" y="365"/>
                  </a:lnTo>
                  <a:lnTo>
                    <a:pt x="288" y="364"/>
                  </a:lnTo>
                  <a:lnTo>
                    <a:pt x="290" y="361"/>
                  </a:lnTo>
                  <a:lnTo>
                    <a:pt x="294" y="361"/>
                  </a:lnTo>
                  <a:lnTo>
                    <a:pt x="295" y="364"/>
                  </a:lnTo>
                  <a:lnTo>
                    <a:pt x="291" y="364"/>
                  </a:lnTo>
                  <a:lnTo>
                    <a:pt x="289" y="365"/>
                  </a:lnTo>
                  <a:lnTo>
                    <a:pt x="286" y="366"/>
                  </a:lnTo>
                  <a:lnTo>
                    <a:pt x="289" y="367"/>
                  </a:lnTo>
                  <a:lnTo>
                    <a:pt x="291" y="366"/>
                  </a:lnTo>
                  <a:lnTo>
                    <a:pt x="295" y="367"/>
                  </a:lnTo>
                  <a:lnTo>
                    <a:pt x="297" y="366"/>
                  </a:lnTo>
                  <a:lnTo>
                    <a:pt x="298" y="369"/>
                  </a:lnTo>
                  <a:lnTo>
                    <a:pt x="302" y="369"/>
                  </a:lnTo>
                  <a:lnTo>
                    <a:pt x="298" y="370"/>
                  </a:lnTo>
                  <a:lnTo>
                    <a:pt x="296" y="369"/>
                  </a:lnTo>
                  <a:lnTo>
                    <a:pt x="293" y="369"/>
                  </a:lnTo>
                  <a:lnTo>
                    <a:pt x="290" y="368"/>
                  </a:lnTo>
                  <a:lnTo>
                    <a:pt x="293" y="370"/>
                  </a:lnTo>
                  <a:lnTo>
                    <a:pt x="296" y="372"/>
                  </a:lnTo>
                  <a:lnTo>
                    <a:pt x="298" y="373"/>
                  </a:lnTo>
                  <a:lnTo>
                    <a:pt x="302" y="374"/>
                  </a:lnTo>
                  <a:lnTo>
                    <a:pt x="304" y="373"/>
                  </a:lnTo>
                  <a:lnTo>
                    <a:pt x="306" y="376"/>
                  </a:lnTo>
                  <a:lnTo>
                    <a:pt x="303" y="376"/>
                  </a:lnTo>
                  <a:lnTo>
                    <a:pt x="301" y="375"/>
                  </a:lnTo>
                  <a:lnTo>
                    <a:pt x="297" y="376"/>
                  </a:lnTo>
                  <a:lnTo>
                    <a:pt x="299" y="377"/>
                  </a:lnTo>
                  <a:lnTo>
                    <a:pt x="306" y="378"/>
                  </a:lnTo>
                  <a:lnTo>
                    <a:pt x="303" y="380"/>
                  </a:lnTo>
                  <a:lnTo>
                    <a:pt x="305" y="381"/>
                  </a:lnTo>
                  <a:lnTo>
                    <a:pt x="303" y="382"/>
                  </a:lnTo>
                  <a:lnTo>
                    <a:pt x="299" y="381"/>
                  </a:lnTo>
                  <a:lnTo>
                    <a:pt x="303" y="383"/>
                  </a:lnTo>
                  <a:lnTo>
                    <a:pt x="305" y="384"/>
                  </a:lnTo>
                  <a:lnTo>
                    <a:pt x="308" y="382"/>
                  </a:lnTo>
                  <a:lnTo>
                    <a:pt x="307" y="384"/>
                  </a:lnTo>
                  <a:lnTo>
                    <a:pt x="304" y="386"/>
                  </a:lnTo>
                  <a:lnTo>
                    <a:pt x="302" y="385"/>
                  </a:lnTo>
                  <a:lnTo>
                    <a:pt x="298" y="385"/>
                  </a:lnTo>
                  <a:lnTo>
                    <a:pt x="296" y="384"/>
                  </a:lnTo>
                  <a:lnTo>
                    <a:pt x="294" y="383"/>
                  </a:lnTo>
                  <a:lnTo>
                    <a:pt x="290" y="382"/>
                  </a:lnTo>
                  <a:lnTo>
                    <a:pt x="288" y="381"/>
                  </a:lnTo>
                  <a:lnTo>
                    <a:pt x="285" y="380"/>
                  </a:lnTo>
                  <a:lnTo>
                    <a:pt x="282" y="377"/>
                  </a:lnTo>
                  <a:lnTo>
                    <a:pt x="279" y="376"/>
                  </a:lnTo>
                  <a:lnTo>
                    <a:pt x="277" y="376"/>
                  </a:lnTo>
                  <a:lnTo>
                    <a:pt x="273" y="375"/>
                  </a:lnTo>
                  <a:lnTo>
                    <a:pt x="271" y="376"/>
                  </a:lnTo>
                  <a:lnTo>
                    <a:pt x="268" y="376"/>
                  </a:lnTo>
                  <a:lnTo>
                    <a:pt x="265" y="375"/>
                  </a:lnTo>
                  <a:lnTo>
                    <a:pt x="262" y="375"/>
                  </a:lnTo>
                  <a:lnTo>
                    <a:pt x="260" y="374"/>
                  </a:lnTo>
                  <a:lnTo>
                    <a:pt x="256" y="375"/>
                  </a:lnTo>
                  <a:lnTo>
                    <a:pt x="254" y="376"/>
                  </a:lnTo>
                  <a:lnTo>
                    <a:pt x="254" y="380"/>
                  </a:lnTo>
                  <a:lnTo>
                    <a:pt x="258" y="381"/>
                  </a:lnTo>
                  <a:lnTo>
                    <a:pt x="260" y="384"/>
                  </a:lnTo>
                  <a:lnTo>
                    <a:pt x="263" y="385"/>
                  </a:lnTo>
                  <a:lnTo>
                    <a:pt x="265" y="385"/>
                  </a:lnTo>
                  <a:lnTo>
                    <a:pt x="269" y="386"/>
                  </a:lnTo>
                  <a:lnTo>
                    <a:pt x="271" y="386"/>
                  </a:lnTo>
                  <a:lnTo>
                    <a:pt x="273" y="387"/>
                  </a:lnTo>
                  <a:lnTo>
                    <a:pt x="277" y="387"/>
                  </a:lnTo>
                  <a:lnTo>
                    <a:pt x="280" y="389"/>
                  </a:lnTo>
                  <a:lnTo>
                    <a:pt x="282" y="392"/>
                  </a:lnTo>
                  <a:lnTo>
                    <a:pt x="285" y="393"/>
                  </a:lnTo>
                  <a:lnTo>
                    <a:pt x="288" y="393"/>
                  </a:lnTo>
                  <a:lnTo>
                    <a:pt x="290" y="394"/>
                  </a:lnTo>
                  <a:lnTo>
                    <a:pt x="294" y="394"/>
                  </a:lnTo>
                  <a:lnTo>
                    <a:pt x="295" y="394"/>
                  </a:lnTo>
                  <a:lnTo>
                    <a:pt x="295" y="395"/>
                  </a:lnTo>
                  <a:lnTo>
                    <a:pt x="297" y="394"/>
                  </a:lnTo>
                  <a:lnTo>
                    <a:pt x="299" y="393"/>
                  </a:lnTo>
                  <a:lnTo>
                    <a:pt x="303" y="394"/>
                  </a:lnTo>
                  <a:lnTo>
                    <a:pt x="301" y="394"/>
                  </a:lnTo>
                  <a:lnTo>
                    <a:pt x="303" y="395"/>
                  </a:lnTo>
                  <a:lnTo>
                    <a:pt x="306" y="394"/>
                  </a:lnTo>
                  <a:lnTo>
                    <a:pt x="307" y="394"/>
                  </a:lnTo>
                  <a:lnTo>
                    <a:pt x="310" y="393"/>
                  </a:lnTo>
                  <a:lnTo>
                    <a:pt x="312" y="393"/>
                  </a:lnTo>
                  <a:lnTo>
                    <a:pt x="313" y="394"/>
                  </a:lnTo>
                  <a:lnTo>
                    <a:pt x="312" y="395"/>
                  </a:lnTo>
                  <a:lnTo>
                    <a:pt x="308" y="397"/>
                  </a:lnTo>
                  <a:lnTo>
                    <a:pt x="312" y="398"/>
                  </a:lnTo>
                  <a:lnTo>
                    <a:pt x="313" y="401"/>
                  </a:lnTo>
                  <a:lnTo>
                    <a:pt x="311" y="400"/>
                  </a:lnTo>
                  <a:lnTo>
                    <a:pt x="307" y="400"/>
                  </a:lnTo>
                  <a:lnTo>
                    <a:pt x="305" y="402"/>
                  </a:lnTo>
                  <a:lnTo>
                    <a:pt x="307" y="402"/>
                  </a:lnTo>
                  <a:lnTo>
                    <a:pt x="311" y="404"/>
                  </a:lnTo>
                  <a:lnTo>
                    <a:pt x="307" y="403"/>
                  </a:lnTo>
                  <a:lnTo>
                    <a:pt x="305" y="404"/>
                  </a:lnTo>
                  <a:lnTo>
                    <a:pt x="304" y="408"/>
                  </a:lnTo>
                  <a:lnTo>
                    <a:pt x="307" y="407"/>
                  </a:lnTo>
                  <a:lnTo>
                    <a:pt x="310" y="406"/>
                  </a:lnTo>
                  <a:lnTo>
                    <a:pt x="312" y="407"/>
                  </a:lnTo>
                  <a:lnTo>
                    <a:pt x="310" y="407"/>
                  </a:lnTo>
                  <a:lnTo>
                    <a:pt x="307" y="408"/>
                  </a:lnTo>
                  <a:lnTo>
                    <a:pt x="304" y="409"/>
                  </a:lnTo>
                  <a:lnTo>
                    <a:pt x="303" y="411"/>
                  </a:lnTo>
                  <a:lnTo>
                    <a:pt x="302" y="415"/>
                  </a:lnTo>
                  <a:lnTo>
                    <a:pt x="304" y="415"/>
                  </a:lnTo>
                  <a:lnTo>
                    <a:pt x="307" y="414"/>
                  </a:lnTo>
                  <a:lnTo>
                    <a:pt x="310" y="411"/>
                  </a:lnTo>
                  <a:lnTo>
                    <a:pt x="310" y="415"/>
                  </a:lnTo>
                  <a:lnTo>
                    <a:pt x="312" y="416"/>
                  </a:lnTo>
                  <a:lnTo>
                    <a:pt x="310" y="416"/>
                  </a:lnTo>
                  <a:lnTo>
                    <a:pt x="307" y="417"/>
                  </a:lnTo>
                  <a:lnTo>
                    <a:pt x="310" y="418"/>
                  </a:lnTo>
                  <a:lnTo>
                    <a:pt x="312" y="418"/>
                  </a:lnTo>
                  <a:lnTo>
                    <a:pt x="310" y="418"/>
                  </a:lnTo>
                  <a:lnTo>
                    <a:pt x="312" y="421"/>
                  </a:lnTo>
                  <a:lnTo>
                    <a:pt x="308" y="419"/>
                  </a:lnTo>
                  <a:lnTo>
                    <a:pt x="307" y="417"/>
                  </a:lnTo>
                  <a:lnTo>
                    <a:pt x="304" y="416"/>
                  </a:lnTo>
                  <a:lnTo>
                    <a:pt x="302" y="416"/>
                  </a:lnTo>
                  <a:lnTo>
                    <a:pt x="301" y="419"/>
                  </a:lnTo>
                  <a:lnTo>
                    <a:pt x="302" y="421"/>
                  </a:lnTo>
                  <a:lnTo>
                    <a:pt x="303" y="420"/>
                  </a:lnTo>
                  <a:lnTo>
                    <a:pt x="299" y="423"/>
                  </a:lnTo>
                  <a:lnTo>
                    <a:pt x="299" y="425"/>
                  </a:lnTo>
                  <a:lnTo>
                    <a:pt x="303" y="424"/>
                  </a:lnTo>
                  <a:lnTo>
                    <a:pt x="305" y="424"/>
                  </a:lnTo>
                  <a:lnTo>
                    <a:pt x="304" y="427"/>
                  </a:lnTo>
                  <a:lnTo>
                    <a:pt x="302" y="427"/>
                  </a:lnTo>
                  <a:lnTo>
                    <a:pt x="299" y="429"/>
                  </a:lnTo>
                  <a:lnTo>
                    <a:pt x="297" y="429"/>
                  </a:lnTo>
                  <a:lnTo>
                    <a:pt x="295" y="431"/>
                  </a:lnTo>
                  <a:lnTo>
                    <a:pt x="291" y="431"/>
                  </a:lnTo>
                  <a:lnTo>
                    <a:pt x="289" y="429"/>
                  </a:lnTo>
                  <a:lnTo>
                    <a:pt x="284" y="429"/>
                  </a:lnTo>
                  <a:lnTo>
                    <a:pt x="280" y="431"/>
                  </a:lnTo>
                  <a:lnTo>
                    <a:pt x="284" y="431"/>
                  </a:lnTo>
                  <a:lnTo>
                    <a:pt x="280" y="432"/>
                  </a:lnTo>
                  <a:lnTo>
                    <a:pt x="278" y="434"/>
                  </a:lnTo>
                  <a:lnTo>
                    <a:pt x="275" y="435"/>
                  </a:lnTo>
                  <a:lnTo>
                    <a:pt x="272" y="435"/>
                  </a:lnTo>
                  <a:lnTo>
                    <a:pt x="275" y="436"/>
                  </a:lnTo>
                  <a:lnTo>
                    <a:pt x="278" y="435"/>
                  </a:lnTo>
                  <a:lnTo>
                    <a:pt x="280" y="435"/>
                  </a:lnTo>
                  <a:lnTo>
                    <a:pt x="278" y="436"/>
                  </a:lnTo>
                  <a:lnTo>
                    <a:pt x="280" y="436"/>
                  </a:lnTo>
                  <a:lnTo>
                    <a:pt x="284" y="438"/>
                  </a:lnTo>
                  <a:lnTo>
                    <a:pt x="286" y="437"/>
                  </a:lnTo>
                  <a:lnTo>
                    <a:pt x="288" y="437"/>
                  </a:lnTo>
                  <a:lnTo>
                    <a:pt x="291" y="437"/>
                  </a:lnTo>
                  <a:lnTo>
                    <a:pt x="294" y="436"/>
                  </a:lnTo>
                  <a:lnTo>
                    <a:pt x="297" y="434"/>
                  </a:lnTo>
                  <a:lnTo>
                    <a:pt x="294" y="433"/>
                  </a:lnTo>
                  <a:lnTo>
                    <a:pt x="297" y="433"/>
                  </a:lnTo>
                  <a:lnTo>
                    <a:pt x="299" y="433"/>
                  </a:lnTo>
                  <a:lnTo>
                    <a:pt x="303" y="432"/>
                  </a:lnTo>
                  <a:lnTo>
                    <a:pt x="305" y="432"/>
                  </a:lnTo>
                  <a:lnTo>
                    <a:pt x="303" y="432"/>
                  </a:lnTo>
                  <a:lnTo>
                    <a:pt x="299" y="433"/>
                  </a:lnTo>
                  <a:lnTo>
                    <a:pt x="299" y="436"/>
                  </a:lnTo>
                  <a:lnTo>
                    <a:pt x="297" y="436"/>
                  </a:lnTo>
                  <a:lnTo>
                    <a:pt x="299" y="437"/>
                  </a:lnTo>
                  <a:lnTo>
                    <a:pt x="303" y="438"/>
                  </a:lnTo>
                  <a:lnTo>
                    <a:pt x="299" y="438"/>
                  </a:lnTo>
                  <a:lnTo>
                    <a:pt x="297" y="438"/>
                  </a:lnTo>
                  <a:lnTo>
                    <a:pt x="299" y="440"/>
                  </a:lnTo>
                  <a:lnTo>
                    <a:pt x="303" y="441"/>
                  </a:lnTo>
                  <a:lnTo>
                    <a:pt x="305" y="442"/>
                  </a:lnTo>
                  <a:lnTo>
                    <a:pt x="308" y="443"/>
                  </a:lnTo>
                  <a:lnTo>
                    <a:pt x="313" y="444"/>
                  </a:lnTo>
                  <a:lnTo>
                    <a:pt x="311" y="444"/>
                  </a:lnTo>
                  <a:lnTo>
                    <a:pt x="308" y="445"/>
                  </a:lnTo>
                  <a:lnTo>
                    <a:pt x="305" y="444"/>
                  </a:lnTo>
                  <a:lnTo>
                    <a:pt x="303" y="443"/>
                  </a:lnTo>
                  <a:lnTo>
                    <a:pt x="299" y="441"/>
                  </a:lnTo>
                  <a:lnTo>
                    <a:pt x="294" y="441"/>
                  </a:lnTo>
                  <a:lnTo>
                    <a:pt x="291" y="442"/>
                  </a:lnTo>
                  <a:lnTo>
                    <a:pt x="289" y="441"/>
                  </a:lnTo>
                  <a:lnTo>
                    <a:pt x="286" y="441"/>
                  </a:lnTo>
                  <a:lnTo>
                    <a:pt x="284" y="440"/>
                  </a:lnTo>
                  <a:lnTo>
                    <a:pt x="280" y="438"/>
                  </a:lnTo>
                  <a:lnTo>
                    <a:pt x="278" y="438"/>
                  </a:lnTo>
                  <a:lnTo>
                    <a:pt x="280" y="440"/>
                  </a:lnTo>
                  <a:lnTo>
                    <a:pt x="284" y="441"/>
                  </a:lnTo>
                  <a:lnTo>
                    <a:pt x="280" y="441"/>
                  </a:lnTo>
                  <a:lnTo>
                    <a:pt x="278" y="440"/>
                  </a:lnTo>
                  <a:lnTo>
                    <a:pt x="275" y="438"/>
                  </a:lnTo>
                  <a:lnTo>
                    <a:pt x="272" y="438"/>
                  </a:lnTo>
                  <a:lnTo>
                    <a:pt x="269" y="438"/>
                  </a:lnTo>
                  <a:lnTo>
                    <a:pt x="272" y="440"/>
                  </a:lnTo>
                  <a:lnTo>
                    <a:pt x="275" y="441"/>
                  </a:lnTo>
                  <a:lnTo>
                    <a:pt x="278" y="443"/>
                  </a:lnTo>
                  <a:lnTo>
                    <a:pt x="280" y="443"/>
                  </a:lnTo>
                  <a:lnTo>
                    <a:pt x="286" y="444"/>
                  </a:lnTo>
                  <a:lnTo>
                    <a:pt x="284" y="444"/>
                  </a:lnTo>
                  <a:lnTo>
                    <a:pt x="280" y="444"/>
                  </a:lnTo>
                  <a:lnTo>
                    <a:pt x="278" y="443"/>
                  </a:lnTo>
                  <a:lnTo>
                    <a:pt x="275" y="442"/>
                  </a:lnTo>
                  <a:lnTo>
                    <a:pt x="272" y="442"/>
                  </a:lnTo>
                  <a:lnTo>
                    <a:pt x="275" y="443"/>
                  </a:lnTo>
                  <a:lnTo>
                    <a:pt x="272" y="443"/>
                  </a:lnTo>
                  <a:lnTo>
                    <a:pt x="271" y="446"/>
                  </a:lnTo>
                  <a:lnTo>
                    <a:pt x="269" y="445"/>
                  </a:lnTo>
                  <a:lnTo>
                    <a:pt x="271" y="446"/>
                  </a:lnTo>
                  <a:lnTo>
                    <a:pt x="269" y="448"/>
                  </a:lnTo>
                  <a:lnTo>
                    <a:pt x="265" y="448"/>
                  </a:lnTo>
                  <a:lnTo>
                    <a:pt x="268" y="450"/>
                  </a:lnTo>
                  <a:lnTo>
                    <a:pt x="264" y="452"/>
                  </a:lnTo>
                  <a:lnTo>
                    <a:pt x="268" y="453"/>
                  </a:lnTo>
                  <a:lnTo>
                    <a:pt x="270" y="452"/>
                  </a:lnTo>
                  <a:lnTo>
                    <a:pt x="273" y="450"/>
                  </a:lnTo>
                  <a:lnTo>
                    <a:pt x="276" y="449"/>
                  </a:lnTo>
                  <a:lnTo>
                    <a:pt x="278" y="448"/>
                  </a:lnTo>
                  <a:lnTo>
                    <a:pt x="281" y="448"/>
                  </a:lnTo>
                  <a:lnTo>
                    <a:pt x="284" y="445"/>
                  </a:lnTo>
                  <a:lnTo>
                    <a:pt x="286" y="445"/>
                  </a:lnTo>
                  <a:lnTo>
                    <a:pt x="289" y="445"/>
                  </a:lnTo>
                  <a:lnTo>
                    <a:pt x="291" y="444"/>
                  </a:lnTo>
                  <a:lnTo>
                    <a:pt x="289" y="445"/>
                  </a:lnTo>
                  <a:lnTo>
                    <a:pt x="286" y="445"/>
                  </a:lnTo>
                  <a:lnTo>
                    <a:pt x="289" y="449"/>
                  </a:lnTo>
                  <a:lnTo>
                    <a:pt x="291" y="448"/>
                  </a:lnTo>
                  <a:lnTo>
                    <a:pt x="294" y="449"/>
                  </a:lnTo>
                  <a:lnTo>
                    <a:pt x="297" y="449"/>
                  </a:lnTo>
                  <a:lnTo>
                    <a:pt x="296" y="445"/>
                  </a:lnTo>
                  <a:lnTo>
                    <a:pt x="298" y="444"/>
                  </a:lnTo>
                  <a:lnTo>
                    <a:pt x="302" y="443"/>
                  </a:lnTo>
                  <a:lnTo>
                    <a:pt x="298" y="445"/>
                  </a:lnTo>
                  <a:lnTo>
                    <a:pt x="299" y="448"/>
                  </a:lnTo>
                  <a:lnTo>
                    <a:pt x="302" y="448"/>
                  </a:lnTo>
                  <a:lnTo>
                    <a:pt x="304" y="448"/>
                  </a:lnTo>
                  <a:lnTo>
                    <a:pt x="305" y="445"/>
                  </a:lnTo>
                  <a:lnTo>
                    <a:pt x="308" y="445"/>
                  </a:lnTo>
                  <a:lnTo>
                    <a:pt x="311" y="446"/>
                  </a:lnTo>
                  <a:lnTo>
                    <a:pt x="308" y="446"/>
                  </a:lnTo>
                  <a:lnTo>
                    <a:pt x="305" y="448"/>
                  </a:lnTo>
                  <a:lnTo>
                    <a:pt x="303" y="449"/>
                  </a:lnTo>
                  <a:lnTo>
                    <a:pt x="299" y="449"/>
                  </a:lnTo>
                  <a:lnTo>
                    <a:pt x="303" y="451"/>
                  </a:lnTo>
                  <a:lnTo>
                    <a:pt x="305" y="451"/>
                  </a:lnTo>
                  <a:lnTo>
                    <a:pt x="308" y="450"/>
                  </a:lnTo>
                  <a:lnTo>
                    <a:pt x="311" y="449"/>
                  </a:lnTo>
                  <a:lnTo>
                    <a:pt x="313" y="449"/>
                  </a:lnTo>
                  <a:lnTo>
                    <a:pt x="316" y="450"/>
                  </a:lnTo>
                  <a:lnTo>
                    <a:pt x="316" y="450"/>
                  </a:lnTo>
                  <a:lnTo>
                    <a:pt x="313" y="449"/>
                  </a:lnTo>
                  <a:lnTo>
                    <a:pt x="311" y="450"/>
                  </a:lnTo>
                  <a:lnTo>
                    <a:pt x="308" y="451"/>
                  </a:lnTo>
                  <a:lnTo>
                    <a:pt x="305" y="452"/>
                  </a:lnTo>
                  <a:lnTo>
                    <a:pt x="308" y="454"/>
                  </a:lnTo>
                  <a:lnTo>
                    <a:pt x="311" y="454"/>
                  </a:lnTo>
                  <a:lnTo>
                    <a:pt x="313" y="454"/>
                  </a:lnTo>
                  <a:lnTo>
                    <a:pt x="311" y="454"/>
                  </a:lnTo>
                  <a:lnTo>
                    <a:pt x="308" y="454"/>
                  </a:lnTo>
                  <a:lnTo>
                    <a:pt x="305" y="454"/>
                  </a:lnTo>
                  <a:lnTo>
                    <a:pt x="303" y="452"/>
                  </a:lnTo>
                  <a:lnTo>
                    <a:pt x="299" y="451"/>
                  </a:lnTo>
                  <a:lnTo>
                    <a:pt x="297" y="450"/>
                  </a:lnTo>
                  <a:lnTo>
                    <a:pt x="294" y="451"/>
                  </a:lnTo>
                  <a:lnTo>
                    <a:pt x="291" y="451"/>
                  </a:lnTo>
                  <a:lnTo>
                    <a:pt x="288" y="450"/>
                  </a:lnTo>
                  <a:lnTo>
                    <a:pt x="286" y="449"/>
                  </a:lnTo>
                  <a:lnTo>
                    <a:pt x="284" y="449"/>
                  </a:lnTo>
                  <a:lnTo>
                    <a:pt x="280" y="449"/>
                  </a:lnTo>
                  <a:lnTo>
                    <a:pt x="278" y="449"/>
                  </a:lnTo>
                  <a:lnTo>
                    <a:pt x="280" y="449"/>
                  </a:lnTo>
                  <a:lnTo>
                    <a:pt x="275" y="450"/>
                  </a:lnTo>
                  <a:lnTo>
                    <a:pt x="272" y="452"/>
                  </a:lnTo>
                  <a:lnTo>
                    <a:pt x="269" y="454"/>
                  </a:lnTo>
                  <a:lnTo>
                    <a:pt x="267" y="454"/>
                  </a:lnTo>
                  <a:lnTo>
                    <a:pt x="264" y="457"/>
                  </a:lnTo>
                  <a:lnTo>
                    <a:pt x="263" y="459"/>
                  </a:lnTo>
                  <a:lnTo>
                    <a:pt x="265" y="461"/>
                  </a:lnTo>
                  <a:lnTo>
                    <a:pt x="271" y="459"/>
                  </a:lnTo>
                  <a:lnTo>
                    <a:pt x="275" y="459"/>
                  </a:lnTo>
                  <a:lnTo>
                    <a:pt x="277" y="459"/>
                  </a:lnTo>
                  <a:lnTo>
                    <a:pt x="280" y="458"/>
                  </a:lnTo>
                  <a:lnTo>
                    <a:pt x="282" y="458"/>
                  </a:lnTo>
                  <a:lnTo>
                    <a:pt x="285" y="457"/>
                  </a:lnTo>
                  <a:lnTo>
                    <a:pt x="288" y="458"/>
                  </a:lnTo>
                  <a:lnTo>
                    <a:pt x="294" y="458"/>
                  </a:lnTo>
                  <a:lnTo>
                    <a:pt x="296" y="457"/>
                  </a:lnTo>
                  <a:lnTo>
                    <a:pt x="299" y="457"/>
                  </a:lnTo>
                  <a:lnTo>
                    <a:pt x="296" y="458"/>
                  </a:lnTo>
                  <a:lnTo>
                    <a:pt x="297" y="460"/>
                  </a:lnTo>
                  <a:lnTo>
                    <a:pt x="299" y="462"/>
                  </a:lnTo>
                  <a:lnTo>
                    <a:pt x="303" y="462"/>
                  </a:lnTo>
                  <a:lnTo>
                    <a:pt x="305" y="461"/>
                  </a:lnTo>
                  <a:lnTo>
                    <a:pt x="308" y="461"/>
                  </a:lnTo>
                  <a:lnTo>
                    <a:pt x="311" y="461"/>
                  </a:lnTo>
                  <a:lnTo>
                    <a:pt x="308" y="462"/>
                  </a:lnTo>
                  <a:lnTo>
                    <a:pt x="305" y="462"/>
                  </a:lnTo>
                  <a:lnTo>
                    <a:pt x="303" y="462"/>
                  </a:lnTo>
                  <a:lnTo>
                    <a:pt x="299" y="463"/>
                  </a:lnTo>
                  <a:lnTo>
                    <a:pt x="297" y="461"/>
                  </a:lnTo>
                  <a:lnTo>
                    <a:pt x="295" y="459"/>
                  </a:lnTo>
                  <a:lnTo>
                    <a:pt x="293" y="458"/>
                  </a:lnTo>
                  <a:lnTo>
                    <a:pt x="289" y="458"/>
                  </a:lnTo>
                  <a:lnTo>
                    <a:pt x="287" y="458"/>
                  </a:lnTo>
                  <a:lnTo>
                    <a:pt x="285" y="458"/>
                  </a:lnTo>
                  <a:lnTo>
                    <a:pt x="281" y="459"/>
                  </a:lnTo>
                  <a:lnTo>
                    <a:pt x="279" y="459"/>
                  </a:lnTo>
                  <a:lnTo>
                    <a:pt x="276" y="460"/>
                  </a:lnTo>
                  <a:lnTo>
                    <a:pt x="271" y="460"/>
                  </a:lnTo>
                  <a:lnTo>
                    <a:pt x="268" y="460"/>
                  </a:lnTo>
                  <a:lnTo>
                    <a:pt x="265" y="462"/>
                  </a:lnTo>
                  <a:lnTo>
                    <a:pt x="263" y="462"/>
                  </a:lnTo>
                  <a:lnTo>
                    <a:pt x="265" y="463"/>
                  </a:lnTo>
                  <a:lnTo>
                    <a:pt x="268" y="463"/>
                  </a:lnTo>
                  <a:lnTo>
                    <a:pt x="265" y="464"/>
                  </a:lnTo>
                  <a:lnTo>
                    <a:pt x="268" y="466"/>
                  </a:lnTo>
                  <a:lnTo>
                    <a:pt x="271" y="466"/>
                  </a:lnTo>
                  <a:lnTo>
                    <a:pt x="268" y="467"/>
                  </a:lnTo>
                  <a:lnTo>
                    <a:pt x="265" y="467"/>
                  </a:lnTo>
                  <a:lnTo>
                    <a:pt x="268" y="468"/>
                  </a:lnTo>
                  <a:lnTo>
                    <a:pt x="271" y="468"/>
                  </a:lnTo>
                  <a:lnTo>
                    <a:pt x="273" y="468"/>
                  </a:lnTo>
                  <a:lnTo>
                    <a:pt x="277" y="468"/>
                  </a:lnTo>
                  <a:lnTo>
                    <a:pt x="279" y="468"/>
                  </a:lnTo>
                  <a:lnTo>
                    <a:pt x="281" y="467"/>
                  </a:lnTo>
                  <a:lnTo>
                    <a:pt x="285" y="468"/>
                  </a:lnTo>
                  <a:lnTo>
                    <a:pt x="281" y="469"/>
                  </a:lnTo>
                  <a:lnTo>
                    <a:pt x="279" y="469"/>
                  </a:lnTo>
                  <a:lnTo>
                    <a:pt x="277" y="470"/>
                  </a:lnTo>
                  <a:lnTo>
                    <a:pt x="273" y="470"/>
                  </a:lnTo>
                  <a:lnTo>
                    <a:pt x="277" y="470"/>
                  </a:lnTo>
                  <a:lnTo>
                    <a:pt x="279" y="470"/>
                  </a:lnTo>
                  <a:lnTo>
                    <a:pt x="277" y="471"/>
                  </a:lnTo>
                  <a:lnTo>
                    <a:pt x="273" y="471"/>
                  </a:lnTo>
                  <a:lnTo>
                    <a:pt x="277" y="472"/>
                  </a:lnTo>
                  <a:lnTo>
                    <a:pt x="279" y="472"/>
                  </a:lnTo>
                  <a:lnTo>
                    <a:pt x="277" y="474"/>
                  </a:lnTo>
                  <a:lnTo>
                    <a:pt x="273" y="474"/>
                  </a:lnTo>
                  <a:lnTo>
                    <a:pt x="271" y="474"/>
                  </a:lnTo>
                  <a:lnTo>
                    <a:pt x="269" y="475"/>
                  </a:lnTo>
                  <a:lnTo>
                    <a:pt x="271" y="476"/>
                  </a:lnTo>
                  <a:lnTo>
                    <a:pt x="273" y="476"/>
                  </a:lnTo>
                  <a:lnTo>
                    <a:pt x="277" y="476"/>
                  </a:lnTo>
                  <a:lnTo>
                    <a:pt x="279" y="476"/>
                  </a:lnTo>
                  <a:lnTo>
                    <a:pt x="281" y="476"/>
                  </a:lnTo>
                  <a:lnTo>
                    <a:pt x="279" y="477"/>
                  </a:lnTo>
                  <a:lnTo>
                    <a:pt x="277" y="476"/>
                  </a:lnTo>
                  <a:lnTo>
                    <a:pt x="273" y="477"/>
                  </a:lnTo>
                  <a:lnTo>
                    <a:pt x="271" y="477"/>
                  </a:lnTo>
                  <a:lnTo>
                    <a:pt x="269" y="477"/>
                  </a:lnTo>
                  <a:lnTo>
                    <a:pt x="265" y="479"/>
                  </a:lnTo>
                  <a:lnTo>
                    <a:pt x="265" y="483"/>
                  </a:lnTo>
                  <a:lnTo>
                    <a:pt x="269" y="483"/>
                  </a:lnTo>
                  <a:lnTo>
                    <a:pt x="271" y="483"/>
                  </a:lnTo>
                  <a:lnTo>
                    <a:pt x="269" y="484"/>
                  </a:lnTo>
                  <a:lnTo>
                    <a:pt x="265" y="486"/>
                  </a:lnTo>
                  <a:lnTo>
                    <a:pt x="267" y="486"/>
                  </a:lnTo>
                  <a:lnTo>
                    <a:pt x="269" y="486"/>
                  </a:lnTo>
                  <a:lnTo>
                    <a:pt x="272" y="486"/>
                  </a:lnTo>
                  <a:lnTo>
                    <a:pt x="275" y="485"/>
                  </a:lnTo>
                  <a:lnTo>
                    <a:pt x="277" y="483"/>
                  </a:lnTo>
                  <a:lnTo>
                    <a:pt x="280" y="480"/>
                  </a:lnTo>
                  <a:lnTo>
                    <a:pt x="282" y="479"/>
                  </a:lnTo>
                  <a:lnTo>
                    <a:pt x="286" y="477"/>
                  </a:lnTo>
                  <a:lnTo>
                    <a:pt x="288" y="475"/>
                  </a:lnTo>
                  <a:lnTo>
                    <a:pt x="290" y="474"/>
                  </a:lnTo>
                  <a:lnTo>
                    <a:pt x="294" y="471"/>
                  </a:lnTo>
                  <a:lnTo>
                    <a:pt x="296" y="470"/>
                  </a:lnTo>
                  <a:lnTo>
                    <a:pt x="299" y="468"/>
                  </a:lnTo>
                  <a:lnTo>
                    <a:pt x="302" y="467"/>
                  </a:lnTo>
                  <a:lnTo>
                    <a:pt x="304" y="466"/>
                  </a:lnTo>
                  <a:lnTo>
                    <a:pt x="307" y="466"/>
                  </a:lnTo>
                  <a:lnTo>
                    <a:pt x="310" y="464"/>
                  </a:lnTo>
                  <a:lnTo>
                    <a:pt x="307" y="466"/>
                  </a:lnTo>
                  <a:lnTo>
                    <a:pt x="310" y="466"/>
                  </a:lnTo>
                  <a:lnTo>
                    <a:pt x="313" y="467"/>
                  </a:lnTo>
                  <a:lnTo>
                    <a:pt x="315" y="467"/>
                  </a:lnTo>
                  <a:lnTo>
                    <a:pt x="313" y="467"/>
                  </a:lnTo>
                  <a:lnTo>
                    <a:pt x="307" y="466"/>
                  </a:lnTo>
                  <a:lnTo>
                    <a:pt x="305" y="467"/>
                  </a:lnTo>
                  <a:lnTo>
                    <a:pt x="304" y="469"/>
                  </a:lnTo>
                  <a:lnTo>
                    <a:pt x="307" y="469"/>
                  </a:lnTo>
                  <a:lnTo>
                    <a:pt x="310" y="469"/>
                  </a:lnTo>
                  <a:lnTo>
                    <a:pt x="307" y="469"/>
                  </a:lnTo>
                  <a:lnTo>
                    <a:pt x="304" y="470"/>
                  </a:lnTo>
                  <a:lnTo>
                    <a:pt x="302" y="469"/>
                  </a:lnTo>
                  <a:lnTo>
                    <a:pt x="299" y="469"/>
                  </a:lnTo>
                  <a:lnTo>
                    <a:pt x="296" y="471"/>
                  </a:lnTo>
                  <a:lnTo>
                    <a:pt x="294" y="472"/>
                  </a:lnTo>
                  <a:lnTo>
                    <a:pt x="290" y="474"/>
                  </a:lnTo>
                  <a:lnTo>
                    <a:pt x="288" y="477"/>
                  </a:lnTo>
                  <a:lnTo>
                    <a:pt x="286" y="478"/>
                  </a:lnTo>
                  <a:lnTo>
                    <a:pt x="282" y="479"/>
                  </a:lnTo>
                  <a:lnTo>
                    <a:pt x="280" y="481"/>
                  </a:lnTo>
                  <a:lnTo>
                    <a:pt x="277" y="484"/>
                  </a:lnTo>
                  <a:lnTo>
                    <a:pt x="275" y="485"/>
                  </a:lnTo>
                  <a:lnTo>
                    <a:pt x="272" y="486"/>
                  </a:lnTo>
                  <a:lnTo>
                    <a:pt x="269" y="487"/>
                  </a:lnTo>
                  <a:lnTo>
                    <a:pt x="272" y="488"/>
                  </a:lnTo>
                  <a:lnTo>
                    <a:pt x="269" y="489"/>
                  </a:lnTo>
                  <a:lnTo>
                    <a:pt x="272" y="491"/>
                  </a:lnTo>
                  <a:lnTo>
                    <a:pt x="275" y="488"/>
                  </a:lnTo>
                  <a:lnTo>
                    <a:pt x="272" y="491"/>
                  </a:lnTo>
                  <a:lnTo>
                    <a:pt x="275" y="492"/>
                  </a:lnTo>
                  <a:lnTo>
                    <a:pt x="280" y="489"/>
                  </a:lnTo>
                  <a:lnTo>
                    <a:pt x="282" y="491"/>
                  </a:lnTo>
                  <a:lnTo>
                    <a:pt x="286" y="489"/>
                  </a:lnTo>
                  <a:lnTo>
                    <a:pt x="288" y="488"/>
                  </a:lnTo>
                  <a:lnTo>
                    <a:pt x="290" y="487"/>
                  </a:lnTo>
                  <a:lnTo>
                    <a:pt x="293" y="491"/>
                  </a:lnTo>
                  <a:lnTo>
                    <a:pt x="290" y="488"/>
                  </a:lnTo>
                  <a:lnTo>
                    <a:pt x="287" y="489"/>
                  </a:lnTo>
                  <a:lnTo>
                    <a:pt x="285" y="493"/>
                  </a:lnTo>
                  <a:lnTo>
                    <a:pt x="281" y="492"/>
                  </a:lnTo>
                  <a:lnTo>
                    <a:pt x="279" y="491"/>
                  </a:lnTo>
                  <a:lnTo>
                    <a:pt x="277" y="492"/>
                  </a:lnTo>
                  <a:lnTo>
                    <a:pt x="273" y="493"/>
                  </a:lnTo>
                  <a:lnTo>
                    <a:pt x="277" y="493"/>
                  </a:lnTo>
                  <a:lnTo>
                    <a:pt x="273" y="495"/>
                  </a:lnTo>
                  <a:lnTo>
                    <a:pt x="277" y="496"/>
                  </a:lnTo>
                  <a:lnTo>
                    <a:pt x="279" y="493"/>
                  </a:lnTo>
                  <a:lnTo>
                    <a:pt x="279" y="496"/>
                  </a:lnTo>
                  <a:lnTo>
                    <a:pt x="278" y="498"/>
                  </a:lnTo>
                  <a:lnTo>
                    <a:pt x="281" y="498"/>
                  </a:lnTo>
                  <a:lnTo>
                    <a:pt x="280" y="501"/>
                  </a:lnTo>
                  <a:lnTo>
                    <a:pt x="282" y="502"/>
                  </a:lnTo>
                  <a:lnTo>
                    <a:pt x="286" y="501"/>
                  </a:lnTo>
                  <a:lnTo>
                    <a:pt x="288" y="500"/>
                  </a:lnTo>
                  <a:lnTo>
                    <a:pt x="289" y="497"/>
                  </a:lnTo>
                  <a:lnTo>
                    <a:pt x="291" y="496"/>
                  </a:lnTo>
                  <a:lnTo>
                    <a:pt x="295" y="495"/>
                  </a:lnTo>
                  <a:lnTo>
                    <a:pt x="297" y="494"/>
                  </a:lnTo>
                  <a:lnTo>
                    <a:pt x="299" y="494"/>
                  </a:lnTo>
                  <a:lnTo>
                    <a:pt x="303" y="494"/>
                  </a:lnTo>
                  <a:lnTo>
                    <a:pt x="305" y="494"/>
                  </a:lnTo>
                  <a:lnTo>
                    <a:pt x="306" y="494"/>
                  </a:lnTo>
                  <a:lnTo>
                    <a:pt x="306" y="496"/>
                  </a:lnTo>
                  <a:lnTo>
                    <a:pt x="304" y="494"/>
                  </a:lnTo>
                  <a:lnTo>
                    <a:pt x="298" y="494"/>
                  </a:lnTo>
                  <a:lnTo>
                    <a:pt x="295" y="495"/>
                  </a:lnTo>
                  <a:lnTo>
                    <a:pt x="293" y="496"/>
                  </a:lnTo>
                  <a:lnTo>
                    <a:pt x="290" y="498"/>
                  </a:lnTo>
                  <a:lnTo>
                    <a:pt x="288" y="501"/>
                  </a:lnTo>
                  <a:lnTo>
                    <a:pt x="286" y="502"/>
                  </a:lnTo>
                  <a:lnTo>
                    <a:pt x="282" y="503"/>
                  </a:lnTo>
                  <a:lnTo>
                    <a:pt x="284" y="505"/>
                  </a:lnTo>
                  <a:lnTo>
                    <a:pt x="286" y="504"/>
                  </a:lnTo>
                  <a:lnTo>
                    <a:pt x="286" y="506"/>
                  </a:lnTo>
                  <a:lnTo>
                    <a:pt x="288" y="505"/>
                  </a:lnTo>
                  <a:lnTo>
                    <a:pt x="286" y="508"/>
                  </a:lnTo>
                  <a:lnTo>
                    <a:pt x="286" y="510"/>
                  </a:lnTo>
                  <a:lnTo>
                    <a:pt x="287" y="513"/>
                  </a:lnTo>
                  <a:lnTo>
                    <a:pt x="286" y="515"/>
                  </a:lnTo>
                  <a:lnTo>
                    <a:pt x="288" y="515"/>
                  </a:lnTo>
                  <a:lnTo>
                    <a:pt x="291" y="513"/>
                  </a:lnTo>
                  <a:lnTo>
                    <a:pt x="293" y="511"/>
                  </a:lnTo>
                  <a:lnTo>
                    <a:pt x="295" y="513"/>
                  </a:lnTo>
                  <a:lnTo>
                    <a:pt x="298" y="512"/>
                  </a:lnTo>
                  <a:lnTo>
                    <a:pt x="295" y="514"/>
                  </a:lnTo>
                  <a:lnTo>
                    <a:pt x="293" y="514"/>
                  </a:lnTo>
                  <a:lnTo>
                    <a:pt x="289" y="515"/>
                  </a:lnTo>
                  <a:lnTo>
                    <a:pt x="287" y="518"/>
                  </a:lnTo>
                  <a:lnTo>
                    <a:pt x="288" y="520"/>
                  </a:lnTo>
                  <a:lnTo>
                    <a:pt x="287" y="523"/>
                  </a:lnTo>
                  <a:lnTo>
                    <a:pt x="288" y="526"/>
                  </a:lnTo>
                  <a:lnTo>
                    <a:pt x="289" y="529"/>
                  </a:lnTo>
                  <a:lnTo>
                    <a:pt x="291" y="528"/>
                  </a:lnTo>
                  <a:lnTo>
                    <a:pt x="293" y="525"/>
                  </a:lnTo>
                  <a:lnTo>
                    <a:pt x="296" y="522"/>
                  </a:lnTo>
                  <a:lnTo>
                    <a:pt x="296" y="520"/>
                  </a:lnTo>
                  <a:lnTo>
                    <a:pt x="298" y="518"/>
                  </a:lnTo>
                  <a:lnTo>
                    <a:pt x="301" y="517"/>
                  </a:lnTo>
                  <a:lnTo>
                    <a:pt x="301" y="520"/>
                  </a:lnTo>
                  <a:lnTo>
                    <a:pt x="304" y="518"/>
                  </a:lnTo>
                  <a:lnTo>
                    <a:pt x="306" y="515"/>
                  </a:lnTo>
                  <a:lnTo>
                    <a:pt x="306" y="513"/>
                  </a:lnTo>
                  <a:lnTo>
                    <a:pt x="304" y="510"/>
                  </a:lnTo>
                  <a:lnTo>
                    <a:pt x="304" y="508"/>
                  </a:lnTo>
                  <a:lnTo>
                    <a:pt x="306" y="508"/>
                  </a:lnTo>
                  <a:lnTo>
                    <a:pt x="305" y="510"/>
                  </a:lnTo>
                  <a:lnTo>
                    <a:pt x="306" y="512"/>
                  </a:lnTo>
                  <a:lnTo>
                    <a:pt x="308" y="515"/>
                  </a:lnTo>
                  <a:lnTo>
                    <a:pt x="311" y="517"/>
                  </a:lnTo>
                  <a:lnTo>
                    <a:pt x="313" y="515"/>
                  </a:lnTo>
                  <a:lnTo>
                    <a:pt x="316" y="514"/>
                  </a:lnTo>
                  <a:lnTo>
                    <a:pt x="316" y="514"/>
                  </a:lnTo>
                  <a:lnTo>
                    <a:pt x="315" y="514"/>
                  </a:lnTo>
                  <a:lnTo>
                    <a:pt x="313" y="518"/>
                  </a:lnTo>
                  <a:lnTo>
                    <a:pt x="316" y="518"/>
                  </a:lnTo>
                  <a:lnTo>
                    <a:pt x="316" y="519"/>
                  </a:lnTo>
                  <a:lnTo>
                    <a:pt x="314" y="519"/>
                  </a:lnTo>
                  <a:lnTo>
                    <a:pt x="316" y="522"/>
                  </a:lnTo>
                  <a:lnTo>
                    <a:pt x="319" y="523"/>
                  </a:lnTo>
                  <a:lnTo>
                    <a:pt x="321" y="526"/>
                  </a:lnTo>
                  <a:lnTo>
                    <a:pt x="319" y="525"/>
                  </a:lnTo>
                  <a:lnTo>
                    <a:pt x="316" y="523"/>
                  </a:lnTo>
                  <a:lnTo>
                    <a:pt x="313" y="522"/>
                  </a:lnTo>
                  <a:lnTo>
                    <a:pt x="312" y="519"/>
                  </a:lnTo>
                  <a:lnTo>
                    <a:pt x="310" y="518"/>
                  </a:lnTo>
                  <a:lnTo>
                    <a:pt x="307" y="518"/>
                  </a:lnTo>
                  <a:lnTo>
                    <a:pt x="310" y="519"/>
                  </a:lnTo>
                  <a:lnTo>
                    <a:pt x="307" y="519"/>
                  </a:lnTo>
                  <a:lnTo>
                    <a:pt x="304" y="519"/>
                  </a:lnTo>
                  <a:lnTo>
                    <a:pt x="307" y="520"/>
                  </a:lnTo>
                  <a:lnTo>
                    <a:pt x="310" y="521"/>
                  </a:lnTo>
                  <a:lnTo>
                    <a:pt x="311" y="523"/>
                  </a:lnTo>
                  <a:lnTo>
                    <a:pt x="313" y="523"/>
                  </a:lnTo>
                  <a:lnTo>
                    <a:pt x="311" y="525"/>
                  </a:lnTo>
                  <a:lnTo>
                    <a:pt x="307" y="523"/>
                  </a:lnTo>
                  <a:lnTo>
                    <a:pt x="305" y="523"/>
                  </a:lnTo>
                  <a:lnTo>
                    <a:pt x="303" y="527"/>
                  </a:lnTo>
                  <a:lnTo>
                    <a:pt x="299" y="529"/>
                  </a:lnTo>
                  <a:lnTo>
                    <a:pt x="297" y="529"/>
                  </a:lnTo>
                  <a:lnTo>
                    <a:pt x="295" y="528"/>
                  </a:lnTo>
                  <a:lnTo>
                    <a:pt x="297" y="530"/>
                  </a:lnTo>
                  <a:lnTo>
                    <a:pt x="295" y="530"/>
                  </a:lnTo>
                  <a:lnTo>
                    <a:pt x="297" y="531"/>
                  </a:lnTo>
                  <a:lnTo>
                    <a:pt x="299" y="531"/>
                  </a:lnTo>
                  <a:lnTo>
                    <a:pt x="303" y="530"/>
                  </a:lnTo>
                  <a:lnTo>
                    <a:pt x="308" y="528"/>
                  </a:lnTo>
                  <a:lnTo>
                    <a:pt x="311" y="526"/>
                  </a:lnTo>
                  <a:lnTo>
                    <a:pt x="308" y="528"/>
                  </a:lnTo>
                  <a:lnTo>
                    <a:pt x="312" y="529"/>
                  </a:lnTo>
                  <a:lnTo>
                    <a:pt x="314" y="528"/>
                  </a:lnTo>
                  <a:lnTo>
                    <a:pt x="315" y="531"/>
                  </a:lnTo>
                  <a:lnTo>
                    <a:pt x="312" y="529"/>
                  </a:lnTo>
                  <a:lnTo>
                    <a:pt x="310" y="530"/>
                  </a:lnTo>
                  <a:lnTo>
                    <a:pt x="307" y="529"/>
                  </a:lnTo>
                  <a:lnTo>
                    <a:pt x="304" y="531"/>
                  </a:lnTo>
                  <a:lnTo>
                    <a:pt x="302" y="531"/>
                  </a:lnTo>
                  <a:lnTo>
                    <a:pt x="299" y="531"/>
                  </a:lnTo>
                  <a:lnTo>
                    <a:pt x="296" y="532"/>
                  </a:lnTo>
                  <a:lnTo>
                    <a:pt x="295" y="532"/>
                  </a:lnTo>
                  <a:lnTo>
                    <a:pt x="297" y="534"/>
                  </a:lnTo>
                  <a:lnTo>
                    <a:pt x="297" y="537"/>
                  </a:lnTo>
                  <a:lnTo>
                    <a:pt x="299" y="536"/>
                  </a:lnTo>
                  <a:lnTo>
                    <a:pt x="303" y="535"/>
                  </a:lnTo>
                  <a:lnTo>
                    <a:pt x="299" y="537"/>
                  </a:lnTo>
                  <a:lnTo>
                    <a:pt x="297" y="538"/>
                  </a:lnTo>
                  <a:lnTo>
                    <a:pt x="295" y="540"/>
                  </a:lnTo>
                  <a:lnTo>
                    <a:pt x="298" y="541"/>
                  </a:lnTo>
                  <a:lnTo>
                    <a:pt x="301" y="540"/>
                  </a:lnTo>
                  <a:lnTo>
                    <a:pt x="304" y="541"/>
                  </a:lnTo>
                  <a:lnTo>
                    <a:pt x="306" y="540"/>
                  </a:lnTo>
                  <a:lnTo>
                    <a:pt x="308" y="540"/>
                  </a:lnTo>
                  <a:lnTo>
                    <a:pt x="306" y="541"/>
                  </a:lnTo>
                  <a:lnTo>
                    <a:pt x="304" y="541"/>
                  </a:lnTo>
                  <a:lnTo>
                    <a:pt x="301" y="541"/>
                  </a:lnTo>
                  <a:lnTo>
                    <a:pt x="304" y="544"/>
                  </a:lnTo>
                  <a:lnTo>
                    <a:pt x="301" y="545"/>
                  </a:lnTo>
                  <a:lnTo>
                    <a:pt x="304" y="547"/>
                  </a:lnTo>
                  <a:lnTo>
                    <a:pt x="306" y="546"/>
                  </a:lnTo>
                  <a:lnTo>
                    <a:pt x="308" y="546"/>
                  </a:lnTo>
                  <a:lnTo>
                    <a:pt x="312" y="546"/>
                  </a:lnTo>
                  <a:lnTo>
                    <a:pt x="308" y="547"/>
                  </a:lnTo>
                  <a:lnTo>
                    <a:pt x="306" y="547"/>
                  </a:lnTo>
                  <a:lnTo>
                    <a:pt x="304" y="547"/>
                  </a:lnTo>
                  <a:lnTo>
                    <a:pt x="301" y="547"/>
                  </a:lnTo>
                  <a:lnTo>
                    <a:pt x="302" y="551"/>
                  </a:lnTo>
                  <a:lnTo>
                    <a:pt x="304" y="549"/>
                  </a:lnTo>
                  <a:lnTo>
                    <a:pt x="307" y="551"/>
                  </a:lnTo>
                  <a:lnTo>
                    <a:pt x="310" y="551"/>
                  </a:lnTo>
                  <a:lnTo>
                    <a:pt x="312" y="549"/>
                  </a:lnTo>
                  <a:lnTo>
                    <a:pt x="315" y="549"/>
                  </a:lnTo>
                  <a:lnTo>
                    <a:pt x="312" y="551"/>
                  </a:lnTo>
                  <a:lnTo>
                    <a:pt x="310" y="552"/>
                  </a:lnTo>
                  <a:lnTo>
                    <a:pt x="308" y="555"/>
                  </a:lnTo>
                  <a:lnTo>
                    <a:pt x="312" y="555"/>
                  </a:lnTo>
                  <a:lnTo>
                    <a:pt x="311" y="558"/>
                  </a:lnTo>
                  <a:lnTo>
                    <a:pt x="313" y="556"/>
                  </a:lnTo>
                  <a:lnTo>
                    <a:pt x="316" y="555"/>
                  </a:lnTo>
                  <a:lnTo>
                    <a:pt x="319" y="554"/>
                  </a:lnTo>
                  <a:lnTo>
                    <a:pt x="316" y="555"/>
                  </a:lnTo>
                  <a:lnTo>
                    <a:pt x="314" y="556"/>
                  </a:lnTo>
                  <a:lnTo>
                    <a:pt x="313" y="560"/>
                  </a:lnTo>
                  <a:lnTo>
                    <a:pt x="316" y="558"/>
                  </a:lnTo>
                  <a:lnTo>
                    <a:pt x="316" y="558"/>
                  </a:lnTo>
                  <a:lnTo>
                    <a:pt x="315" y="560"/>
                  </a:lnTo>
                  <a:lnTo>
                    <a:pt x="313" y="562"/>
                  </a:lnTo>
                  <a:lnTo>
                    <a:pt x="312" y="565"/>
                  </a:lnTo>
                  <a:lnTo>
                    <a:pt x="313" y="568"/>
                  </a:lnTo>
                  <a:lnTo>
                    <a:pt x="316" y="570"/>
                  </a:lnTo>
                  <a:lnTo>
                    <a:pt x="318" y="569"/>
                  </a:lnTo>
                  <a:lnTo>
                    <a:pt x="319" y="571"/>
                  </a:lnTo>
                  <a:lnTo>
                    <a:pt x="321" y="571"/>
                  </a:lnTo>
                  <a:lnTo>
                    <a:pt x="323" y="571"/>
                  </a:lnTo>
                  <a:lnTo>
                    <a:pt x="321" y="573"/>
                  </a:lnTo>
                  <a:lnTo>
                    <a:pt x="323" y="574"/>
                  </a:lnTo>
                  <a:lnTo>
                    <a:pt x="321" y="573"/>
                  </a:lnTo>
                  <a:lnTo>
                    <a:pt x="322" y="577"/>
                  </a:lnTo>
                  <a:lnTo>
                    <a:pt x="325" y="577"/>
                  </a:lnTo>
                  <a:lnTo>
                    <a:pt x="328" y="575"/>
                  </a:lnTo>
                  <a:lnTo>
                    <a:pt x="329" y="573"/>
                  </a:lnTo>
                  <a:lnTo>
                    <a:pt x="330" y="575"/>
                  </a:lnTo>
                  <a:lnTo>
                    <a:pt x="327" y="577"/>
                  </a:lnTo>
                  <a:lnTo>
                    <a:pt x="324" y="578"/>
                  </a:lnTo>
                  <a:lnTo>
                    <a:pt x="324" y="580"/>
                  </a:lnTo>
                  <a:lnTo>
                    <a:pt x="327" y="580"/>
                  </a:lnTo>
                  <a:lnTo>
                    <a:pt x="330" y="578"/>
                  </a:lnTo>
                  <a:lnTo>
                    <a:pt x="332" y="577"/>
                  </a:lnTo>
                  <a:lnTo>
                    <a:pt x="330" y="579"/>
                  </a:lnTo>
                  <a:lnTo>
                    <a:pt x="329" y="582"/>
                  </a:lnTo>
                  <a:lnTo>
                    <a:pt x="331" y="581"/>
                  </a:lnTo>
                  <a:lnTo>
                    <a:pt x="331" y="585"/>
                  </a:lnTo>
                  <a:lnTo>
                    <a:pt x="333" y="585"/>
                  </a:lnTo>
                  <a:lnTo>
                    <a:pt x="331" y="585"/>
                  </a:lnTo>
                  <a:lnTo>
                    <a:pt x="329" y="585"/>
                  </a:lnTo>
                  <a:lnTo>
                    <a:pt x="325" y="586"/>
                  </a:lnTo>
                  <a:lnTo>
                    <a:pt x="329" y="587"/>
                  </a:lnTo>
                  <a:lnTo>
                    <a:pt x="331" y="587"/>
                  </a:lnTo>
                  <a:lnTo>
                    <a:pt x="333" y="587"/>
                  </a:lnTo>
                  <a:lnTo>
                    <a:pt x="337" y="586"/>
                  </a:lnTo>
                  <a:lnTo>
                    <a:pt x="339" y="586"/>
                  </a:lnTo>
                  <a:lnTo>
                    <a:pt x="337" y="587"/>
                  </a:lnTo>
                  <a:lnTo>
                    <a:pt x="333" y="588"/>
                  </a:lnTo>
                  <a:lnTo>
                    <a:pt x="331" y="589"/>
                  </a:lnTo>
                  <a:lnTo>
                    <a:pt x="333" y="589"/>
                  </a:lnTo>
                  <a:lnTo>
                    <a:pt x="337" y="589"/>
                  </a:lnTo>
                  <a:lnTo>
                    <a:pt x="337" y="591"/>
                  </a:lnTo>
                  <a:lnTo>
                    <a:pt x="338" y="595"/>
                  </a:lnTo>
                  <a:lnTo>
                    <a:pt x="340" y="592"/>
                  </a:lnTo>
                  <a:lnTo>
                    <a:pt x="342" y="591"/>
                  </a:lnTo>
                  <a:lnTo>
                    <a:pt x="340" y="594"/>
                  </a:lnTo>
                  <a:lnTo>
                    <a:pt x="342" y="595"/>
                  </a:lnTo>
                  <a:lnTo>
                    <a:pt x="346" y="594"/>
                  </a:lnTo>
                  <a:lnTo>
                    <a:pt x="342" y="596"/>
                  </a:lnTo>
                  <a:lnTo>
                    <a:pt x="340" y="597"/>
                  </a:lnTo>
                  <a:lnTo>
                    <a:pt x="342" y="597"/>
                  </a:lnTo>
                  <a:lnTo>
                    <a:pt x="346" y="598"/>
                  </a:lnTo>
                  <a:lnTo>
                    <a:pt x="342" y="599"/>
                  </a:lnTo>
                  <a:lnTo>
                    <a:pt x="340" y="602"/>
                  </a:lnTo>
                  <a:lnTo>
                    <a:pt x="342" y="600"/>
                  </a:lnTo>
                  <a:lnTo>
                    <a:pt x="346" y="600"/>
                  </a:lnTo>
                  <a:lnTo>
                    <a:pt x="348" y="602"/>
                  </a:lnTo>
                  <a:lnTo>
                    <a:pt x="352" y="599"/>
                  </a:lnTo>
                  <a:lnTo>
                    <a:pt x="346" y="599"/>
                  </a:lnTo>
                  <a:lnTo>
                    <a:pt x="352" y="598"/>
                  </a:lnTo>
                  <a:lnTo>
                    <a:pt x="354" y="599"/>
                  </a:lnTo>
                  <a:lnTo>
                    <a:pt x="357" y="598"/>
                  </a:lnTo>
                  <a:lnTo>
                    <a:pt x="356" y="600"/>
                  </a:lnTo>
                  <a:lnTo>
                    <a:pt x="359" y="602"/>
                  </a:lnTo>
                  <a:lnTo>
                    <a:pt x="361" y="598"/>
                  </a:lnTo>
                  <a:lnTo>
                    <a:pt x="364" y="597"/>
                  </a:lnTo>
                  <a:lnTo>
                    <a:pt x="366" y="596"/>
                  </a:lnTo>
                  <a:lnTo>
                    <a:pt x="369" y="596"/>
                  </a:lnTo>
                  <a:lnTo>
                    <a:pt x="372" y="595"/>
                  </a:lnTo>
                  <a:lnTo>
                    <a:pt x="372" y="592"/>
                  </a:lnTo>
                  <a:lnTo>
                    <a:pt x="374" y="590"/>
                  </a:lnTo>
                  <a:lnTo>
                    <a:pt x="373" y="592"/>
                  </a:lnTo>
                  <a:lnTo>
                    <a:pt x="375" y="596"/>
                  </a:lnTo>
                  <a:lnTo>
                    <a:pt x="373" y="596"/>
                  </a:lnTo>
                  <a:lnTo>
                    <a:pt x="370" y="598"/>
                  </a:lnTo>
                  <a:lnTo>
                    <a:pt x="373" y="598"/>
                  </a:lnTo>
                  <a:lnTo>
                    <a:pt x="375" y="597"/>
                  </a:lnTo>
                  <a:lnTo>
                    <a:pt x="378" y="595"/>
                  </a:lnTo>
                  <a:lnTo>
                    <a:pt x="378" y="592"/>
                  </a:lnTo>
                  <a:lnTo>
                    <a:pt x="379" y="595"/>
                  </a:lnTo>
                  <a:lnTo>
                    <a:pt x="382" y="592"/>
                  </a:lnTo>
                  <a:lnTo>
                    <a:pt x="379" y="596"/>
                  </a:lnTo>
                  <a:lnTo>
                    <a:pt x="376" y="598"/>
                  </a:lnTo>
                  <a:lnTo>
                    <a:pt x="374" y="598"/>
                  </a:lnTo>
                  <a:lnTo>
                    <a:pt x="371" y="599"/>
                  </a:lnTo>
                  <a:lnTo>
                    <a:pt x="369" y="602"/>
                  </a:lnTo>
                  <a:lnTo>
                    <a:pt x="371" y="600"/>
                  </a:lnTo>
                  <a:lnTo>
                    <a:pt x="370" y="603"/>
                  </a:lnTo>
                  <a:lnTo>
                    <a:pt x="373" y="603"/>
                  </a:lnTo>
                  <a:lnTo>
                    <a:pt x="375" y="602"/>
                  </a:lnTo>
                  <a:lnTo>
                    <a:pt x="378" y="599"/>
                  </a:lnTo>
                  <a:lnTo>
                    <a:pt x="381" y="599"/>
                  </a:lnTo>
                  <a:lnTo>
                    <a:pt x="378" y="600"/>
                  </a:lnTo>
                  <a:lnTo>
                    <a:pt x="375" y="603"/>
                  </a:lnTo>
                  <a:lnTo>
                    <a:pt x="373" y="604"/>
                  </a:lnTo>
                  <a:lnTo>
                    <a:pt x="375" y="604"/>
                  </a:lnTo>
                  <a:lnTo>
                    <a:pt x="373" y="606"/>
                  </a:lnTo>
                  <a:lnTo>
                    <a:pt x="375" y="605"/>
                  </a:lnTo>
                  <a:lnTo>
                    <a:pt x="376" y="607"/>
                  </a:lnTo>
                  <a:lnTo>
                    <a:pt x="378" y="605"/>
                  </a:lnTo>
                  <a:lnTo>
                    <a:pt x="381" y="605"/>
                  </a:lnTo>
                  <a:lnTo>
                    <a:pt x="380" y="607"/>
                  </a:lnTo>
                  <a:lnTo>
                    <a:pt x="382" y="606"/>
                  </a:lnTo>
                  <a:lnTo>
                    <a:pt x="381" y="608"/>
                  </a:lnTo>
                  <a:lnTo>
                    <a:pt x="383" y="608"/>
                  </a:lnTo>
                  <a:lnTo>
                    <a:pt x="387" y="606"/>
                  </a:lnTo>
                  <a:lnTo>
                    <a:pt x="389" y="603"/>
                  </a:lnTo>
                  <a:lnTo>
                    <a:pt x="388" y="606"/>
                  </a:lnTo>
                  <a:lnTo>
                    <a:pt x="384" y="612"/>
                  </a:lnTo>
                  <a:lnTo>
                    <a:pt x="383" y="614"/>
                  </a:lnTo>
                  <a:lnTo>
                    <a:pt x="386" y="614"/>
                  </a:lnTo>
                  <a:lnTo>
                    <a:pt x="388" y="611"/>
                  </a:lnTo>
                  <a:lnTo>
                    <a:pt x="390" y="608"/>
                  </a:lnTo>
                  <a:lnTo>
                    <a:pt x="388" y="612"/>
                  </a:lnTo>
                  <a:lnTo>
                    <a:pt x="387" y="614"/>
                  </a:lnTo>
                  <a:lnTo>
                    <a:pt x="383" y="616"/>
                  </a:lnTo>
                  <a:lnTo>
                    <a:pt x="387" y="615"/>
                  </a:lnTo>
                  <a:lnTo>
                    <a:pt x="388" y="617"/>
                  </a:lnTo>
                  <a:lnTo>
                    <a:pt x="390" y="617"/>
                  </a:lnTo>
                  <a:lnTo>
                    <a:pt x="391" y="615"/>
                  </a:lnTo>
                  <a:lnTo>
                    <a:pt x="395" y="615"/>
                  </a:lnTo>
                  <a:lnTo>
                    <a:pt x="396" y="612"/>
                  </a:lnTo>
                  <a:lnTo>
                    <a:pt x="398" y="612"/>
                  </a:lnTo>
                  <a:lnTo>
                    <a:pt x="398" y="614"/>
                  </a:lnTo>
                  <a:lnTo>
                    <a:pt x="401" y="615"/>
                  </a:lnTo>
                  <a:lnTo>
                    <a:pt x="404" y="615"/>
                  </a:lnTo>
                  <a:lnTo>
                    <a:pt x="406" y="615"/>
                  </a:lnTo>
                  <a:lnTo>
                    <a:pt x="409" y="615"/>
                  </a:lnTo>
                  <a:lnTo>
                    <a:pt x="409" y="613"/>
                  </a:lnTo>
                  <a:lnTo>
                    <a:pt x="408" y="609"/>
                  </a:lnTo>
                  <a:lnTo>
                    <a:pt x="405" y="611"/>
                  </a:lnTo>
                  <a:lnTo>
                    <a:pt x="406" y="608"/>
                  </a:lnTo>
                  <a:lnTo>
                    <a:pt x="402" y="607"/>
                  </a:lnTo>
                  <a:lnTo>
                    <a:pt x="400" y="606"/>
                  </a:lnTo>
                  <a:lnTo>
                    <a:pt x="397" y="606"/>
                  </a:lnTo>
                  <a:lnTo>
                    <a:pt x="400" y="606"/>
                  </a:lnTo>
                  <a:lnTo>
                    <a:pt x="402" y="604"/>
                  </a:lnTo>
                  <a:lnTo>
                    <a:pt x="404" y="607"/>
                  </a:lnTo>
                  <a:lnTo>
                    <a:pt x="407" y="607"/>
                  </a:lnTo>
                  <a:lnTo>
                    <a:pt x="409" y="607"/>
                  </a:lnTo>
                  <a:lnTo>
                    <a:pt x="413" y="606"/>
                  </a:lnTo>
                  <a:lnTo>
                    <a:pt x="415" y="604"/>
                  </a:lnTo>
                  <a:lnTo>
                    <a:pt x="413" y="605"/>
                  </a:lnTo>
                  <a:lnTo>
                    <a:pt x="409" y="604"/>
                  </a:lnTo>
                  <a:lnTo>
                    <a:pt x="413" y="605"/>
                  </a:lnTo>
                  <a:lnTo>
                    <a:pt x="413" y="602"/>
                  </a:lnTo>
                  <a:lnTo>
                    <a:pt x="409" y="602"/>
                  </a:lnTo>
                  <a:lnTo>
                    <a:pt x="407" y="600"/>
                  </a:lnTo>
                  <a:lnTo>
                    <a:pt x="410" y="602"/>
                  </a:lnTo>
                  <a:lnTo>
                    <a:pt x="413" y="600"/>
                  </a:lnTo>
                  <a:lnTo>
                    <a:pt x="410" y="600"/>
                  </a:lnTo>
                  <a:lnTo>
                    <a:pt x="407" y="599"/>
                  </a:lnTo>
                  <a:lnTo>
                    <a:pt x="410" y="599"/>
                  </a:lnTo>
                  <a:lnTo>
                    <a:pt x="413" y="599"/>
                  </a:lnTo>
                  <a:lnTo>
                    <a:pt x="416" y="598"/>
                  </a:lnTo>
                  <a:lnTo>
                    <a:pt x="416" y="596"/>
                  </a:lnTo>
                  <a:lnTo>
                    <a:pt x="413" y="596"/>
                  </a:lnTo>
                  <a:lnTo>
                    <a:pt x="410" y="595"/>
                  </a:lnTo>
                  <a:lnTo>
                    <a:pt x="408" y="595"/>
                  </a:lnTo>
                  <a:lnTo>
                    <a:pt x="406" y="595"/>
                  </a:lnTo>
                  <a:lnTo>
                    <a:pt x="408" y="595"/>
                  </a:lnTo>
                  <a:lnTo>
                    <a:pt x="414" y="595"/>
                  </a:lnTo>
                  <a:lnTo>
                    <a:pt x="416" y="595"/>
                  </a:lnTo>
                  <a:lnTo>
                    <a:pt x="412" y="592"/>
                  </a:lnTo>
                  <a:lnTo>
                    <a:pt x="414" y="592"/>
                  </a:lnTo>
                  <a:lnTo>
                    <a:pt x="416" y="591"/>
                  </a:lnTo>
                  <a:lnTo>
                    <a:pt x="412" y="590"/>
                  </a:lnTo>
                  <a:lnTo>
                    <a:pt x="414" y="590"/>
                  </a:lnTo>
                  <a:lnTo>
                    <a:pt x="416" y="590"/>
                  </a:lnTo>
                  <a:lnTo>
                    <a:pt x="419" y="588"/>
                  </a:lnTo>
                  <a:lnTo>
                    <a:pt x="417" y="586"/>
                  </a:lnTo>
                  <a:lnTo>
                    <a:pt x="414" y="586"/>
                  </a:lnTo>
                  <a:lnTo>
                    <a:pt x="412" y="585"/>
                  </a:lnTo>
                  <a:lnTo>
                    <a:pt x="414" y="586"/>
                  </a:lnTo>
                  <a:lnTo>
                    <a:pt x="417" y="586"/>
                  </a:lnTo>
                  <a:lnTo>
                    <a:pt x="419" y="585"/>
                  </a:lnTo>
                  <a:lnTo>
                    <a:pt x="421" y="582"/>
                  </a:lnTo>
                  <a:lnTo>
                    <a:pt x="418" y="582"/>
                  </a:lnTo>
                  <a:lnTo>
                    <a:pt x="416" y="581"/>
                  </a:lnTo>
                  <a:lnTo>
                    <a:pt x="418" y="582"/>
                  </a:lnTo>
                  <a:lnTo>
                    <a:pt x="421" y="581"/>
                  </a:lnTo>
                  <a:lnTo>
                    <a:pt x="421" y="579"/>
                  </a:lnTo>
                  <a:lnTo>
                    <a:pt x="422" y="575"/>
                  </a:lnTo>
                  <a:lnTo>
                    <a:pt x="419" y="577"/>
                  </a:lnTo>
                  <a:lnTo>
                    <a:pt x="419" y="575"/>
                  </a:lnTo>
                  <a:lnTo>
                    <a:pt x="422" y="572"/>
                  </a:lnTo>
                  <a:lnTo>
                    <a:pt x="421" y="570"/>
                  </a:lnTo>
                  <a:lnTo>
                    <a:pt x="418" y="569"/>
                  </a:lnTo>
                  <a:lnTo>
                    <a:pt x="415" y="568"/>
                  </a:lnTo>
                  <a:lnTo>
                    <a:pt x="413" y="565"/>
                  </a:lnTo>
                  <a:lnTo>
                    <a:pt x="415" y="565"/>
                  </a:lnTo>
                  <a:lnTo>
                    <a:pt x="418" y="568"/>
                  </a:lnTo>
                  <a:lnTo>
                    <a:pt x="421" y="566"/>
                  </a:lnTo>
                  <a:lnTo>
                    <a:pt x="418" y="565"/>
                  </a:lnTo>
                  <a:lnTo>
                    <a:pt x="421" y="566"/>
                  </a:lnTo>
                  <a:lnTo>
                    <a:pt x="418" y="563"/>
                  </a:lnTo>
                  <a:lnTo>
                    <a:pt x="416" y="563"/>
                  </a:lnTo>
                  <a:lnTo>
                    <a:pt x="413" y="562"/>
                  </a:lnTo>
                  <a:lnTo>
                    <a:pt x="410" y="560"/>
                  </a:lnTo>
                  <a:lnTo>
                    <a:pt x="413" y="561"/>
                  </a:lnTo>
                  <a:lnTo>
                    <a:pt x="416" y="560"/>
                  </a:lnTo>
                  <a:lnTo>
                    <a:pt x="418" y="561"/>
                  </a:lnTo>
                  <a:lnTo>
                    <a:pt x="418" y="557"/>
                  </a:lnTo>
                  <a:lnTo>
                    <a:pt x="421" y="557"/>
                  </a:lnTo>
                  <a:lnTo>
                    <a:pt x="424" y="558"/>
                  </a:lnTo>
                  <a:lnTo>
                    <a:pt x="426" y="558"/>
                  </a:lnTo>
                  <a:lnTo>
                    <a:pt x="429" y="558"/>
                  </a:lnTo>
                  <a:lnTo>
                    <a:pt x="431" y="555"/>
                  </a:lnTo>
                  <a:lnTo>
                    <a:pt x="429" y="554"/>
                  </a:lnTo>
                  <a:lnTo>
                    <a:pt x="425" y="554"/>
                  </a:lnTo>
                  <a:lnTo>
                    <a:pt x="423" y="551"/>
                  </a:lnTo>
                  <a:lnTo>
                    <a:pt x="426" y="554"/>
                  </a:lnTo>
                  <a:lnTo>
                    <a:pt x="429" y="554"/>
                  </a:lnTo>
                  <a:lnTo>
                    <a:pt x="432" y="554"/>
                  </a:lnTo>
                  <a:lnTo>
                    <a:pt x="429" y="552"/>
                  </a:lnTo>
                  <a:lnTo>
                    <a:pt x="426" y="551"/>
                  </a:lnTo>
                  <a:lnTo>
                    <a:pt x="429" y="551"/>
                  </a:lnTo>
                  <a:lnTo>
                    <a:pt x="432" y="553"/>
                  </a:lnTo>
                  <a:lnTo>
                    <a:pt x="433" y="551"/>
                  </a:lnTo>
                  <a:lnTo>
                    <a:pt x="430" y="548"/>
                  </a:lnTo>
                  <a:lnTo>
                    <a:pt x="427" y="546"/>
                  </a:lnTo>
                  <a:lnTo>
                    <a:pt x="429" y="544"/>
                  </a:lnTo>
                  <a:lnTo>
                    <a:pt x="432" y="546"/>
                  </a:lnTo>
                  <a:lnTo>
                    <a:pt x="434" y="547"/>
                  </a:lnTo>
                  <a:lnTo>
                    <a:pt x="438" y="548"/>
                  </a:lnTo>
                  <a:lnTo>
                    <a:pt x="434" y="546"/>
                  </a:lnTo>
                  <a:lnTo>
                    <a:pt x="432" y="545"/>
                  </a:lnTo>
                  <a:lnTo>
                    <a:pt x="434" y="546"/>
                  </a:lnTo>
                  <a:lnTo>
                    <a:pt x="433" y="543"/>
                  </a:lnTo>
                  <a:lnTo>
                    <a:pt x="436" y="545"/>
                  </a:lnTo>
                  <a:lnTo>
                    <a:pt x="439" y="546"/>
                  </a:lnTo>
                  <a:lnTo>
                    <a:pt x="436" y="544"/>
                  </a:lnTo>
                  <a:lnTo>
                    <a:pt x="439" y="545"/>
                  </a:lnTo>
                  <a:lnTo>
                    <a:pt x="441" y="544"/>
                  </a:lnTo>
                  <a:lnTo>
                    <a:pt x="441" y="541"/>
                  </a:lnTo>
                  <a:lnTo>
                    <a:pt x="439" y="540"/>
                  </a:lnTo>
                  <a:lnTo>
                    <a:pt x="436" y="540"/>
                  </a:lnTo>
                  <a:lnTo>
                    <a:pt x="433" y="538"/>
                  </a:lnTo>
                  <a:lnTo>
                    <a:pt x="435" y="538"/>
                  </a:lnTo>
                  <a:lnTo>
                    <a:pt x="439" y="539"/>
                  </a:lnTo>
                  <a:lnTo>
                    <a:pt x="441" y="540"/>
                  </a:lnTo>
                  <a:lnTo>
                    <a:pt x="444" y="539"/>
                  </a:lnTo>
                  <a:lnTo>
                    <a:pt x="446" y="537"/>
                  </a:lnTo>
                  <a:lnTo>
                    <a:pt x="442" y="535"/>
                  </a:lnTo>
                  <a:lnTo>
                    <a:pt x="446" y="532"/>
                  </a:lnTo>
                  <a:lnTo>
                    <a:pt x="442" y="530"/>
                  </a:lnTo>
                  <a:lnTo>
                    <a:pt x="440" y="530"/>
                  </a:lnTo>
                  <a:lnTo>
                    <a:pt x="436" y="530"/>
                  </a:lnTo>
                  <a:lnTo>
                    <a:pt x="434" y="529"/>
                  </a:lnTo>
                  <a:lnTo>
                    <a:pt x="432" y="528"/>
                  </a:lnTo>
                  <a:lnTo>
                    <a:pt x="434" y="526"/>
                  </a:lnTo>
                  <a:lnTo>
                    <a:pt x="436" y="527"/>
                  </a:lnTo>
                  <a:lnTo>
                    <a:pt x="440" y="527"/>
                  </a:lnTo>
                  <a:lnTo>
                    <a:pt x="442" y="526"/>
                  </a:lnTo>
                  <a:lnTo>
                    <a:pt x="446" y="526"/>
                  </a:lnTo>
                  <a:lnTo>
                    <a:pt x="448" y="526"/>
                  </a:lnTo>
                  <a:lnTo>
                    <a:pt x="446" y="523"/>
                  </a:lnTo>
                  <a:lnTo>
                    <a:pt x="444" y="521"/>
                  </a:lnTo>
                  <a:lnTo>
                    <a:pt x="443" y="518"/>
                  </a:lnTo>
                  <a:lnTo>
                    <a:pt x="441" y="515"/>
                  </a:lnTo>
                  <a:lnTo>
                    <a:pt x="438" y="513"/>
                  </a:lnTo>
                  <a:lnTo>
                    <a:pt x="439" y="511"/>
                  </a:lnTo>
                  <a:lnTo>
                    <a:pt x="442" y="510"/>
                  </a:lnTo>
                  <a:lnTo>
                    <a:pt x="444" y="508"/>
                  </a:lnTo>
                  <a:lnTo>
                    <a:pt x="447" y="511"/>
                  </a:lnTo>
                  <a:lnTo>
                    <a:pt x="450" y="510"/>
                  </a:lnTo>
                  <a:lnTo>
                    <a:pt x="452" y="510"/>
                  </a:lnTo>
                  <a:lnTo>
                    <a:pt x="452" y="510"/>
                  </a:lnTo>
                  <a:lnTo>
                    <a:pt x="452" y="506"/>
                  </a:lnTo>
                  <a:lnTo>
                    <a:pt x="456" y="506"/>
                  </a:lnTo>
                  <a:lnTo>
                    <a:pt x="453" y="503"/>
                  </a:lnTo>
                  <a:lnTo>
                    <a:pt x="452" y="502"/>
                  </a:lnTo>
                  <a:lnTo>
                    <a:pt x="450" y="501"/>
                  </a:lnTo>
                  <a:lnTo>
                    <a:pt x="452" y="498"/>
                  </a:lnTo>
                  <a:lnTo>
                    <a:pt x="456" y="500"/>
                  </a:lnTo>
                  <a:lnTo>
                    <a:pt x="457" y="497"/>
                  </a:lnTo>
                  <a:lnTo>
                    <a:pt x="459" y="497"/>
                  </a:lnTo>
                  <a:lnTo>
                    <a:pt x="463" y="500"/>
                  </a:lnTo>
                  <a:lnTo>
                    <a:pt x="464" y="496"/>
                  </a:lnTo>
                  <a:lnTo>
                    <a:pt x="467" y="498"/>
                  </a:lnTo>
                  <a:lnTo>
                    <a:pt x="469" y="496"/>
                  </a:lnTo>
                  <a:lnTo>
                    <a:pt x="473" y="497"/>
                  </a:lnTo>
                  <a:lnTo>
                    <a:pt x="475" y="497"/>
                  </a:lnTo>
                  <a:lnTo>
                    <a:pt x="477" y="495"/>
                  </a:lnTo>
                  <a:lnTo>
                    <a:pt x="477" y="493"/>
                  </a:lnTo>
                  <a:lnTo>
                    <a:pt x="475" y="492"/>
                  </a:lnTo>
                  <a:lnTo>
                    <a:pt x="475" y="488"/>
                  </a:lnTo>
                  <a:lnTo>
                    <a:pt x="477" y="489"/>
                  </a:lnTo>
                  <a:lnTo>
                    <a:pt x="481" y="488"/>
                  </a:lnTo>
                  <a:lnTo>
                    <a:pt x="481" y="486"/>
                  </a:lnTo>
                  <a:lnTo>
                    <a:pt x="481" y="484"/>
                  </a:lnTo>
                  <a:lnTo>
                    <a:pt x="483" y="483"/>
                  </a:lnTo>
                  <a:lnTo>
                    <a:pt x="481" y="480"/>
                  </a:lnTo>
                  <a:lnTo>
                    <a:pt x="483" y="480"/>
                  </a:lnTo>
                  <a:lnTo>
                    <a:pt x="486" y="481"/>
                  </a:lnTo>
                  <a:lnTo>
                    <a:pt x="489" y="481"/>
                  </a:lnTo>
                  <a:lnTo>
                    <a:pt x="491" y="481"/>
                  </a:lnTo>
                  <a:lnTo>
                    <a:pt x="489" y="484"/>
                  </a:lnTo>
                  <a:lnTo>
                    <a:pt x="486" y="486"/>
                  </a:lnTo>
                  <a:lnTo>
                    <a:pt x="483" y="488"/>
                  </a:lnTo>
                  <a:lnTo>
                    <a:pt x="483" y="491"/>
                  </a:lnTo>
                  <a:lnTo>
                    <a:pt x="486" y="491"/>
                  </a:lnTo>
                  <a:lnTo>
                    <a:pt x="489" y="493"/>
                  </a:lnTo>
                  <a:lnTo>
                    <a:pt x="491" y="494"/>
                  </a:lnTo>
                  <a:lnTo>
                    <a:pt x="492" y="491"/>
                  </a:lnTo>
                  <a:lnTo>
                    <a:pt x="493" y="488"/>
                  </a:lnTo>
                  <a:lnTo>
                    <a:pt x="493" y="491"/>
                  </a:lnTo>
                  <a:lnTo>
                    <a:pt x="495" y="491"/>
                  </a:lnTo>
                  <a:lnTo>
                    <a:pt x="499" y="489"/>
                  </a:lnTo>
                  <a:lnTo>
                    <a:pt x="501" y="487"/>
                  </a:lnTo>
                  <a:lnTo>
                    <a:pt x="503" y="489"/>
                  </a:lnTo>
                  <a:lnTo>
                    <a:pt x="507" y="491"/>
                  </a:lnTo>
                  <a:lnTo>
                    <a:pt x="509" y="488"/>
                  </a:lnTo>
                  <a:lnTo>
                    <a:pt x="509" y="486"/>
                  </a:lnTo>
                  <a:lnTo>
                    <a:pt x="512" y="486"/>
                  </a:lnTo>
                  <a:lnTo>
                    <a:pt x="514" y="484"/>
                  </a:lnTo>
                  <a:lnTo>
                    <a:pt x="511" y="480"/>
                  </a:lnTo>
                  <a:lnTo>
                    <a:pt x="514" y="483"/>
                  </a:lnTo>
                  <a:lnTo>
                    <a:pt x="517" y="483"/>
                  </a:lnTo>
                  <a:lnTo>
                    <a:pt x="519" y="484"/>
                  </a:lnTo>
                  <a:lnTo>
                    <a:pt x="518" y="480"/>
                  </a:lnTo>
                  <a:lnTo>
                    <a:pt x="521" y="481"/>
                  </a:lnTo>
                  <a:lnTo>
                    <a:pt x="524" y="480"/>
                  </a:lnTo>
                  <a:lnTo>
                    <a:pt x="526" y="480"/>
                  </a:lnTo>
                  <a:lnTo>
                    <a:pt x="528" y="478"/>
                  </a:lnTo>
                  <a:lnTo>
                    <a:pt x="528" y="475"/>
                  </a:lnTo>
                  <a:lnTo>
                    <a:pt x="529" y="472"/>
                  </a:lnTo>
                  <a:lnTo>
                    <a:pt x="529" y="475"/>
                  </a:lnTo>
                  <a:lnTo>
                    <a:pt x="533" y="474"/>
                  </a:lnTo>
                  <a:lnTo>
                    <a:pt x="534" y="471"/>
                  </a:lnTo>
                  <a:lnTo>
                    <a:pt x="535" y="469"/>
                  </a:lnTo>
                  <a:lnTo>
                    <a:pt x="536" y="467"/>
                  </a:lnTo>
                  <a:lnTo>
                    <a:pt x="538" y="464"/>
                  </a:lnTo>
                  <a:lnTo>
                    <a:pt x="541" y="463"/>
                  </a:lnTo>
                  <a:lnTo>
                    <a:pt x="541" y="461"/>
                  </a:lnTo>
                  <a:lnTo>
                    <a:pt x="544" y="460"/>
                  </a:lnTo>
                  <a:lnTo>
                    <a:pt x="542" y="458"/>
                  </a:lnTo>
                  <a:lnTo>
                    <a:pt x="544" y="457"/>
                  </a:lnTo>
                  <a:lnTo>
                    <a:pt x="544" y="453"/>
                  </a:lnTo>
                  <a:lnTo>
                    <a:pt x="546" y="453"/>
                  </a:lnTo>
                  <a:lnTo>
                    <a:pt x="549" y="450"/>
                  </a:lnTo>
                  <a:lnTo>
                    <a:pt x="551" y="449"/>
                  </a:lnTo>
                  <a:lnTo>
                    <a:pt x="554" y="448"/>
                  </a:lnTo>
                  <a:lnTo>
                    <a:pt x="557" y="445"/>
                  </a:lnTo>
                  <a:lnTo>
                    <a:pt x="559" y="446"/>
                  </a:lnTo>
                  <a:lnTo>
                    <a:pt x="562" y="444"/>
                  </a:lnTo>
                  <a:lnTo>
                    <a:pt x="560" y="442"/>
                  </a:lnTo>
                  <a:lnTo>
                    <a:pt x="561" y="440"/>
                  </a:lnTo>
                  <a:lnTo>
                    <a:pt x="558" y="437"/>
                  </a:lnTo>
                  <a:lnTo>
                    <a:pt x="561" y="437"/>
                  </a:lnTo>
                  <a:lnTo>
                    <a:pt x="559" y="434"/>
                  </a:lnTo>
                  <a:lnTo>
                    <a:pt x="557" y="434"/>
                  </a:lnTo>
                  <a:lnTo>
                    <a:pt x="555" y="431"/>
                  </a:lnTo>
                  <a:lnTo>
                    <a:pt x="558" y="429"/>
                  </a:lnTo>
                  <a:lnTo>
                    <a:pt x="559" y="433"/>
                  </a:lnTo>
                  <a:lnTo>
                    <a:pt x="561" y="434"/>
                  </a:lnTo>
                  <a:lnTo>
                    <a:pt x="563" y="436"/>
                  </a:lnTo>
                  <a:lnTo>
                    <a:pt x="567" y="437"/>
                  </a:lnTo>
                  <a:lnTo>
                    <a:pt x="568" y="441"/>
                  </a:lnTo>
                  <a:lnTo>
                    <a:pt x="570" y="440"/>
                  </a:lnTo>
                  <a:lnTo>
                    <a:pt x="572" y="441"/>
                  </a:lnTo>
                  <a:lnTo>
                    <a:pt x="576" y="442"/>
                  </a:lnTo>
                  <a:lnTo>
                    <a:pt x="578" y="441"/>
                  </a:lnTo>
                  <a:lnTo>
                    <a:pt x="581" y="441"/>
                  </a:lnTo>
                  <a:lnTo>
                    <a:pt x="584" y="441"/>
                  </a:lnTo>
                  <a:lnTo>
                    <a:pt x="581" y="437"/>
                  </a:lnTo>
                  <a:lnTo>
                    <a:pt x="579" y="436"/>
                  </a:lnTo>
                  <a:lnTo>
                    <a:pt x="581" y="437"/>
                  </a:lnTo>
                  <a:lnTo>
                    <a:pt x="584" y="437"/>
                  </a:lnTo>
                  <a:lnTo>
                    <a:pt x="586" y="441"/>
                  </a:lnTo>
                  <a:lnTo>
                    <a:pt x="589" y="440"/>
                  </a:lnTo>
                  <a:lnTo>
                    <a:pt x="587" y="436"/>
                  </a:lnTo>
                  <a:lnTo>
                    <a:pt x="589" y="437"/>
                  </a:lnTo>
                  <a:lnTo>
                    <a:pt x="589" y="434"/>
                  </a:lnTo>
                  <a:lnTo>
                    <a:pt x="592" y="433"/>
                  </a:lnTo>
                  <a:lnTo>
                    <a:pt x="594" y="436"/>
                  </a:lnTo>
                  <a:lnTo>
                    <a:pt x="597" y="436"/>
                  </a:lnTo>
                  <a:lnTo>
                    <a:pt x="600" y="435"/>
                  </a:lnTo>
                  <a:lnTo>
                    <a:pt x="603" y="434"/>
                  </a:lnTo>
                  <a:lnTo>
                    <a:pt x="605" y="435"/>
                  </a:lnTo>
                  <a:lnTo>
                    <a:pt x="608" y="434"/>
                  </a:lnTo>
                  <a:lnTo>
                    <a:pt x="611" y="432"/>
                  </a:lnTo>
                  <a:lnTo>
                    <a:pt x="613" y="431"/>
                  </a:lnTo>
                  <a:lnTo>
                    <a:pt x="617" y="432"/>
                  </a:lnTo>
                  <a:lnTo>
                    <a:pt x="619" y="432"/>
                  </a:lnTo>
                  <a:lnTo>
                    <a:pt x="622" y="431"/>
                  </a:lnTo>
                  <a:lnTo>
                    <a:pt x="625" y="431"/>
                  </a:lnTo>
                  <a:lnTo>
                    <a:pt x="628" y="428"/>
                  </a:lnTo>
                  <a:lnTo>
                    <a:pt x="630" y="429"/>
                  </a:lnTo>
                  <a:lnTo>
                    <a:pt x="631" y="427"/>
                  </a:lnTo>
                  <a:lnTo>
                    <a:pt x="635" y="426"/>
                  </a:lnTo>
                  <a:lnTo>
                    <a:pt x="637" y="427"/>
                  </a:lnTo>
                  <a:lnTo>
                    <a:pt x="639" y="427"/>
                  </a:lnTo>
                  <a:lnTo>
                    <a:pt x="643" y="424"/>
                  </a:lnTo>
                  <a:lnTo>
                    <a:pt x="645" y="424"/>
                  </a:lnTo>
                  <a:lnTo>
                    <a:pt x="647" y="423"/>
                  </a:lnTo>
                  <a:lnTo>
                    <a:pt x="649" y="419"/>
                  </a:lnTo>
                  <a:lnTo>
                    <a:pt x="652" y="419"/>
                  </a:lnTo>
                  <a:lnTo>
                    <a:pt x="651" y="417"/>
                  </a:lnTo>
                  <a:lnTo>
                    <a:pt x="653" y="418"/>
                  </a:lnTo>
                  <a:lnTo>
                    <a:pt x="656" y="416"/>
                  </a:lnTo>
                  <a:lnTo>
                    <a:pt x="658" y="414"/>
                  </a:lnTo>
                  <a:lnTo>
                    <a:pt x="655" y="414"/>
                  </a:lnTo>
                  <a:lnTo>
                    <a:pt x="658" y="412"/>
                  </a:lnTo>
                  <a:lnTo>
                    <a:pt x="661" y="412"/>
                  </a:lnTo>
                  <a:lnTo>
                    <a:pt x="663" y="412"/>
                  </a:lnTo>
                  <a:lnTo>
                    <a:pt x="663" y="410"/>
                  </a:lnTo>
                  <a:lnTo>
                    <a:pt x="665" y="410"/>
                  </a:lnTo>
                  <a:lnTo>
                    <a:pt x="669" y="408"/>
                  </a:lnTo>
                  <a:lnTo>
                    <a:pt x="671" y="408"/>
                  </a:lnTo>
                  <a:lnTo>
                    <a:pt x="669" y="406"/>
                  </a:lnTo>
                  <a:lnTo>
                    <a:pt x="671" y="406"/>
                  </a:lnTo>
                  <a:lnTo>
                    <a:pt x="673" y="407"/>
                  </a:lnTo>
                  <a:lnTo>
                    <a:pt x="677" y="406"/>
                  </a:lnTo>
                  <a:lnTo>
                    <a:pt x="677" y="403"/>
                  </a:lnTo>
                  <a:lnTo>
                    <a:pt x="674" y="401"/>
                  </a:lnTo>
                  <a:lnTo>
                    <a:pt x="677" y="401"/>
                  </a:lnTo>
                  <a:lnTo>
                    <a:pt x="680" y="401"/>
                  </a:lnTo>
                  <a:lnTo>
                    <a:pt x="682" y="401"/>
                  </a:lnTo>
                  <a:lnTo>
                    <a:pt x="686" y="401"/>
                  </a:lnTo>
                  <a:lnTo>
                    <a:pt x="682" y="398"/>
                  </a:lnTo>
                  <a:lnTo>
                    <a:pt x="686" y="398"/>
                  </a:lnTo>
                  <a:lnTo>
                    <a:pt x="688" y="398"/>
                  </a:lnTo>
                  <a:lnTo>
                    <a:pt x="690" y="397"/>
                  </a:lnTo>
                  <a:lnTo>
                    <a:pt x="692" y="394"/>
                  </a:lnTo>
                  <a:lnTo>
                    <a:pt x="695" y="394"/>
                  </a:lnTo>
                  <a:lnTo>
                    <a:pt x="698" y="392"/>
                  </a:lnTo>
                  <a:lnTo>
                    <a:pt x="695" y="392"/>
                  </a:lnTo>
                  <a:lnTo>
                    <a:pt x="692" y="392"/>
                  </a:lnTo>
                  <a:lnTo>
                    <a:pt x="690" y="393"/>
                  </a:lnTo>
                  <a:lnTo>
                    <a:pt x="687" y="393"/>
                  </a:lnTo>
                  <a:lnTo>
                    <a:pt x="685" y="392"/>
                  </a:lnTo>
                  <a:lnTo>
                    <a:pt x="681" y="392"/>
                  </a:lnTo>
                  <a:lnTo>
                    <a:pt x="679" y="392"/>
                  </a:lnTo>
                  <a:lnTo>
                    <a:pt x="677" y="391"/>
                  </a:lnTo>
                  <a:lnTo>
                    <a:pt x="673" y="391"/>
                  </a:lnTo>
                  <a:lnTo>
                    <a:pt x="671" y="390"/>
                  </a:lnTo>
                  <a:lnTo>
                    <a:pt x="668" y="390"/>
                  </a:lnTo>
                  <a:lnTo>
                    <a:pt x="665" y="389"/>
                  </a:lnTo>
                  <a:lnTo>
                    <a:pt x="662" y="387"/>
                  </a:lnTo>
                  <a:lnTo>
                    <a:pt x="660" y="387"/>
                  </a:lnTo>
                  <a:lnTo>
                    <a:pt x="657" y="386"/>
                  </a:lnTo>
                  <a:lnTo>
                    <a:pt x="654" y="387"/>
                  </a:lnTo>
                  <a:lnTo>
                    <a:pt x="655" y="385"/>
                  </a:lnTo>
                  <a:lnTo>
                    <a:pt x="652" y="385"/>
                  </a:lnTo>
                  <a:lnTo>
                    <a:pt x="649" y="386"/>
                  </a:lnTo>
                  <a:lnTo>
                    <a:pt x="647" y="387"/>
                  </a:lnTo>
                  <a:lnTo>
                    <a:pt x="644" y="389"/>
                  </a:lnTo>
                  <a:lnTo>
                    <a:pt x="642" y="390"/>
                  </a:lnTo>
                  <a:lnTo>
                    <a:pt x="638" y="390"/>
                  </a:lnTo>
                  <a:lnTo>
                    <a:pt x="636" y="389"/>
                  </a:lnTo>
                  <a:lnTo>
                    <a:pt x="634" y="389"/>
                  </a:lnTo>
                  <a:lnTo>
                    <a:pt x="630" y="390"/>
                  </a:lnTo>
                  <a:lnTo>
                    <a:pt x="628" y="393"/>
                  </a:lnTo>
                  <a:lnTo>
                    <a:pt x="627" y="394"/>
                  </a:lnTo>
                  <a:lnTo>
                    <a:pt x="625" y="395"/>
                  </a:lnTo>
                  <a:lnTo>
                    <a:pt x="623" y="394"/>
                  </a:lnTo>
                  <a:lnTo>
                    <a:pt x="623" y="393"/>
                  </a:lnTo>
                  <a:lnTo>
                    <a:pt x="620" y="394"/>
                  </a:lnTo>
                  <a:lnTo>
                    <a:pt x="618" y="394"/>
                  </a:lnTo>
                  <a:lnTo>
                    <a:pt x="615" y="393"/>
                  </a:lnTo>
                  <a:lnTo>
                    <a:pt x="612" y="393"/>
                  </a:lnTo>
                  <a:lnTo>
                    <a:pt x="610" y="392"/>
                  </a:lnTo>
                  <a:lnTo>
                    <a:pt x="612" y="392"/>
                  </a:lnTo>
                  <a:lnTo>
                    <a:pt x="614" y="391"/>
                  </a:lnTo>
                  <a:lnTo>
                    <a:pt x="618" y="392"/>
                  </a:lnTo>
                  <a:lnTo>
                    <a:pt x="620" y="392"/>
                  </a:lnTo>
                  <a:lnTo>
                    <a:pt x="623" y="391"/>
                  </a:lnTo>
                  <a:lnTo>
                    <a:pt x="626" y="390"/>
                  </a:lnTo>
                  <a:lnTo>
                    <a:pt x="629" y="387"/>
                  </a:lnTo>
                  <a:lnTo>
                    <a:pt x="631" y="386"/>
                  </a:lnTo>
                  <a:lnTo>
                    <a:pt x="634" y="387"/>
                  </a:lnTo>
                  <a:lnTo>
                    <a:pt x="637" y="387"/>
                  </a:lnTo>
                  <a:lnTo>
                    <a:pt x="639" y="386"/>
                  </a:lnTo>
                  <a:lnTo>
                    <a:pt x="638" y="383"/>
                  </a:lnTo>
                  <a:lnTo>
                    <a:pt x="635" y="383"/>
                  </a:lnTo>
                  <a:lnTo>
                    <a:pt x="632" y="384"/>
                  </a:lnTo>
                  <a:lnTo>
                    <a:pt x="630" y="384"/>
                  </a:lnTo>
                  <a:lnTo>
                    <a:pt x="627" y="384"/>
                  </a:lnTo>
                  <a:lnTo>
                    <a:pt x="625" y="384"/>
                  </a:lnTo>
                  <a:lnTo>
                    <a:pt x="621" y="384"/>
                  </a:lnTo>
                  <a:lnTo>
                    <a:pt x="619" y="385"/>
                  </a:lnTo>
                  <a:lnTo>
                    <a:pt x="615" y="385"/>
                  </a:lnTo>
                  <a:lnTo>
                    <a:pt x="613" y="385"/>
                  </a:lnTo>
                  <a:lnTo>
                    <a:pt x="613" y="382"/>
                  </a:lnTo>
                  <a:lnTo>
                    <a:pt x="611" y="382"/>
                  </a:lnTo>
                  <a:lnTo>
                    <a:pt x="608" y="383"/>
                  </a:lnTo>
                  <a:lnTo>
                    <a:pt x="605" y="384"/>
                  </a:lnTo>
                  <a:lnTo>
                    <a:pt x="602" y="383"/>
                  </a:lnTo>
                  <a:lnTo>
                    <a:pt x="605" y="382"/>
                  </a:lnTo>
                  <a:lnTo>
                    <a:pt x="608" y="382"/>
                  </a:lnTo>
                  <a:lnTo>
                    <a:pt x="611" y="382"/>
                  </a:lnTo>
                  <a:lnTo>
                    <a:pt x="613" y="380"/>
                  </a:lnTo>
                  <a:lnTo>
                    <a:pt x="615" y="378"/>
                  </a:lnTo>
                  <a:lnTo>
                    <a:pt x="618" y="375"/>
                  </a:lnTo>
                  <a:lnTo>
                    <a:pt x="617" y="373"/>
                  </a:lnTo>
                  <a:lnTo>
                    <a:pt x="614" y="372"/>
                  </a:lnTo>
                  <a:lnTo>
                    <a:pt x="612" y="370"/>
                  </a:lnTo>
                  <a:lnTo>
                    <a:pt x="614" y="370"/>
                  </a:lnTo>
                  <a:lnTo>
                    <a:pt x="617" y="370"/>
                  </a:lnTo>
                  <a:lnTo>
                    <a:pt x="620" y="370"/>
                  </a:lnTo>
                  <a:lnTo>
                    <a:pt x="622" y="370"/>
                  </a:lnTo>
                  <a:lnTo>
                    <a:pt x="620" y="369"/>
                  </a:lnTo>
                  <a:lnTo>
                    <a:pt x="620" y="366"/>
                  </a:lnTo>
                  <a:lnTo>
                    <a:pt x="622" y="369"/>
                  </a:lnTo>
                  <a:lnTo>
                    <a:pt x="625" y="372"/>
                  </a:lnTo>
                  <a:lnTo>
                    <a:pt x="628" y="372"/>
                  </a:lnTo>
                  <a:lnTo>
                    <a:pt x="630" y="372"/>
                  </a:lnTo>
                  <a:lnTo>
                    <a:pt x="634" y="372"/>
                  </a:lnTo>
                  <a:lnTo>
                    <a:pt x="636" y="372"/>
                  </a:lnTo>
                  <a:lnTo>
                    <a:pt x="638" y="370"/>
                  </a:lnTo>
                  <a:lnTo>
                    <a:pt x="642" y="369"/>
                  </a:lnTo>
                  <a:lnTo>
                    <a:pt x="644" y="368"/>
                  </a:lnTo>
                  <a:lnTo>
                    <a:pt x="647" y="367"/>
                  </a:lnTo>
                  <a:lnTo>
                    <a:pt x="647" y="367"/>
                  </a:lnTo>
                  <a:lnTo>
                    <a:pt x="649" y="364"/>
                  </a:lnTo>
                  <a:lnTo>
                    <a:pt x="653" y="363"/>
                  </a:lnTo>
                  <a:lnTo>
                    <a:pt x="651" y="360"/>
                  </a:lnTo>
                  <a:lnTo>
                    <a:pt x="648" y="358"/>
                  </a:lnTo>
                  <a:lnTo>
                    <a:pt x="645" y="358"/>
                  </a:lnTo>
                  <a:lnTo>
                    <a:pt x="643" y="358"/>
                  </a:lnTo>
                  <a:lnTo>
                    <a:pt x="639" y="357"/>
                  </a:lnTo>
                  <a:lnTo>
                    <a:pt x="637" y="358"/>
                  </a:lnTo>
                  <a:lnTo>
                    <a:pt x="634" y="357"/>
                  </a:lnTo>
                  <a:lnTo>
                    <a:pt x="631" y="357"/>
                  </a:lnTo>
                  <a:lnTo>
                    <a:pt x="629" y="356"/>
                  </a:lnTo>
                  <a:lnTo>
                    <a:pt x="626" y="355"/>
                  </a:lnTo>
                  <a:lnTo>
                    <a:pt x="623" y="355"/>
                  </a:lnTo>
                  <a:lnTo>
                    <a:pt x="620" y="355"/>
                  </a:lnTo>
                  <a:lnTo>
                    <a:pt x="618" y="356"/>
                  </a:lnTo>
                  <a:lnTo>
                    <a:pt x="614" y="356"/>
                  </a:lnTo>
                  <a:lnTo>
                    <a:pt x="612" y="356"/>
                  </a:lnTo>
                  <a:lnTo>
                    <a:pt x="614" y="356"/>
                  </a:lnTo>
                  <a:lnTo>
                    <a:pt x="617" y="355"/>
                  </a:lnTo>
                  <a:lnTo>
                    <a:pt x="620" y="355"/>
                  </a:lnTo>
                  <a:lnTo>
                    <a:pt x="622" y="354"/>
                  </a:lnTo>
                  <a:lnTo>
                    <a:pt x="626" y="354"/>
                  </a:lnTo>
                  <a:lnTo>
                    <a:pt x="625" y="351"/>
                  </a:lnTo>
                  <a:lnTo>
                    <a:pt x="621" y="350"/>
                  </a:lnTo>
                  <a:lnTo>
                    <a:pt x="619" y="347"/>
                  </a:lnTo>
                  <a:lnTo>
                    <a:pt x="617" y="347"/>
                  </a:lnTo>
                  <a:lnTo>
                    <a:pt x="613" y="347"/>
                  </a:lnTo>
                  <a:lnTo>
                    <a:pt x="611" y="346"/>
                  </a:lnTo>
                  <a:lnTo>
                    <a:pt x="611" y="343"/>
                  </a:lnTo>
                  <a:lnTo>
                    <a:pt x="608" y="342"/>
                  </a:lnTo>
                  <a:lnTo>
                    <a:pt x="611" y="342"/>
                  </a:lnTo>
                  <a:lnTo>
                    <a:pt x="613" y="343"/>
                  </a:lnTo>
                  <a:lnTo>
                    <a:pt x="617" y="346"/>
                  </a:lnTo>
                  <a:lnTo>
                    <a:pt x="619" y="346"/>
                  </a:lnTo>
                  <a:lnTo>
                    <a:pt x="621" y="347"/>
                  </a:lnTo>
                  <a:lnTo>
                    <a:pt x="625" y="349"/>
                  </a:lnTo>
                  <a:lnTo>
                    <a:pt x="627" y="350"/>
                  </a:lnTo>
                  <a:lnTo>
                    <a:pt x="629" y="354"/>
                  </a:lnTo>
                  <a:lnTo>
                    <a:pt x="632" y="356"/>
                  </a:lnTo>
                  <a:lnTo>
                    <a:pt x="635" y="356"/>
                  </a:lnTo>
                  <a:lnTo>
                    <a:pt x="637" y="356"/>
                  </a:lnTo>
                  <a:lnTo>
                    <a:pt x="640" y="356"/>
                  </a:lnTo>
                  <a:lnTo>
                    <a:pt x="643" y="355"/>
                  </a:lnTo>
                  <a:lnTo>
                    <a:pt x="646" y="356"/>
                  </a:lnTo>
                  <a:lnTo>
                    <a:pt x="648" y="357"/>
                  </a:lnTo>
                  <a:lnTo>
                    <a:pt x="649" y="357"/>
                  </a:lnTo>
                  <a:lnTo>
                    <a:pt x="655" y="360"/>
                  </a:lnTo>
                  <a:lnTo>
                    <a:pt x="657" y="363"/>
                  </a:lnTo>
                  <a:lnTo>
                    <a:pt x="660" y="363"/>
                  </a:lnTo>
                  <a:lnTo>
                    <a:pt x="663" y="363"/>
                  </a:lnTo>
                  <a:lnTo>
                    <a:pt x="665" y="366"/>
                  </a:lnTo>
                  <a:lnTo>
                    <a:pt x="669" y="368"/>
                  </a:lnTo>
                  <a:lnTo>
                    <a:pt x="669" y="370"/>
                  </a:lnTo>
                  <a:lnTo>
                    <a:pt x="669" y="374"/>
                  </a:lnTo>
                  <a:lnTo>
                    <a:pt x="670" y="376"/>
                  </a:lnTo>
                  <a:lnTo>
                    <a:pt x="672" y="378"/>
                  </a:lnTo>
                  <a:lnTo>
                    <a:pt x="674" y="381"/>
                  </a:lnTo>
                  <a:lnTo>
                    <a:pt x="678" y="382"/>
                  </a:lnTo>
                  <a:lnTo>
                    <a:pt x="680" y="384"/>
                  </a:lnTo>
                  <a:lnTo>
                    <a:pt x="683" y="384"/>
                  </a:lnTo>
                  <a:lnTo>
                    <a:pt x="689" y="384"/>
                  </a:lnTo>
                  <a:lnTo>
                    <a:pt x="691" y="382"/>
                  </a:lnTo>
                  <a:lnTo>
                    <a:pt x="691" y="380"/>
                  </a:lnTo>
                  <a:lnTo>
                    <a:pt x="691" y="377"/>
                  </a:lnTo>
                  <a:lnTo>
                    <a:pt x="694" y="375"/>
                  </a:lnTo>
                  <a:lnTo>
                    <a:pt x="692" y="378"/>
                  </a:lnTo>
                  <a:lnTo>
                    <a:pt x="694" y="381"/>
                  </a:lnTo>
                  <a:lnTo>
                    <a:pt x="696" y="384"/>
                  </a:lnTo>
                  <a:lnTo>
                    <a:pt x="699" y="383"/>
                  </a:lnTo>
                  <a:lnTo>
                    <a:pt x="702" y="384"/>
                  </a:lnTo>
                  <a:lnTo>
                    <a:pt x="704" y="384"/>
                  </a:lnTo>
                  <a:lnTo>
                    <a:pt x="705" y="381"/>
                  </a:lnTo>
                  <a:lnTo>
                    <a:pt x="704" y="378"/>
                  </a:lnTo>
                  <a:lnTo>
                    <a:pt x="704" y="375"/>
                  </a:lnTo>
                  <a:lnTo>
                    <a:pt x="703" y="373"/>
                  </a:lnTo>
                  <a:lnTo>
                    <a:pt x="703" y="370"/>
                  </a:lnTo>
                  <a:lnTo>
                    <a:pt x="700" y="370"/>
                  </a:lnTo>
                  <a:lnTo>
                    <a:pt x="704" y="368"/>
                  </a:lnTo>
                  <a:lnTo>
                    <a:pt x="697" y="369"/>
                  </a:lnTo>
                  <a:lnTo>
                    <a:pt x="695" y="368"/>
                  </a:lnTo>
                  <a:lnTo>
                    <a:pt x="697" y="368"/>
                  </a:lnTo>
                  <a:lnTo>
                    <a:pt x="704" y="367"/>
                  </a:lnTo>
                  <a:lnTo>
                    <a:pt x="704" y="365"/>
                  </a:lnTo>
                  <a:lnTo>
                    <a:pt x="700" y="363"/>
                  </a:lnTo>
                  <a:lnTo>
                    <a:pt x="704" y="363"/>
                  </a:lnTo>
                  <a:lnTo>
                    <a:pt x="704" y="359"/>
                  </a:lnTo>
                  <a:lnTo>
                    <a:pt x="702" y="357"/>
                  </a:lnTo>
                  <a:lnTo>
                    <a:pt x="698" y="358"/>
                  </a:lnTo>
                  <a:lnTo>
                    <a:pt x="696" y="359"/>
                  </a:lnTo>
                  <a:lnTo>
                    <a:pt x="695" y="361"/>
                  </a:lnTo>
                  <a:lnTo>
                    <a:pt x="692" y="359"/>
                  </a:lnTo>
                  <a:lnTo>
                    <a:pt x="692" y="356"/>
                  </a:lnTo>
                  <a:lnTo>
                    <a:pt x="695" y="355"/>
                  </a:lnTo>
                  <a:lnTo>
                    <a:pt x="698" y="355"/>
                  </a:lnTo>
                  <a:lnTo>
                    <a:pt x="700" y="352"/>
                  </a:lnTo>
                  <a:lnTo>
                    <a:pt x="697" y="352"/>
                  </a:lnTo>
                  <a:lnTo>
                    <a:pt x="695" y="354"/>
                  </a:lnTo>
                  <a:lnTo>
                    <a:pt x="692" y="354"/>
                  </a:lnTo>
                  <a:lnTo>
                    <a:pt x="692" y="351"/>
                  </a:lnTo>
                  <a:lnTo>
                    <a:pt x="690" y="351"/>
                  </a:lnTo>
                  <a:lnTo>
                    <a:pt x="688" y="352"/>
                  </a:lnTo>
                  <a:lnTo>
                    <a:pt x="685" y="354"/>
                  </a:lnTo>
                  <a:lnTo>
                    <a:pt x="686" y="351"/>
                  </a:lnTo>
                  <a:lnTo>
                    <a:pt x="688" y="350"/>
                  </a:lnTo>
                  <a:lnTo>
                    <a:pt x="691" y="348"/>
                  </a:lnTo>
                  <a:lnTo>
                    <a:pt x="689" y="346"/>
                  </a:lnTo>
                  <a:lnTo>
                    <a:pt x="686" y="344"/>
                  </a:lnTo>
                  <a:lnTo>
                    <a:pt x="683" y="344"/>
                  </a:lnTo>
                  <a:lnTo>
                    <a:pt x="680" y="342"/>
                  </a:lnTo>
                  <a:lnTo>
                    <a:pt x="678" y="341"/>
                  </a:lnTo>
                  <a:lnTo>
                    <a:pt x="674" y="342"/>
                  </a:lnTo>
                  <a:lnTo>
                    <a:pt x="675" y="339"/>
                  </a:lnTo>
                  <a:lnTo>
                    <a:pt x="673" y="338"/>
                  </a:lnTo>
                  <a:lnTo>
                    <a:pt x="671" y="338"/>
                  </a:lnTo>
                  <a:lnTo>
                    <a:pt x="668" y="337"/>
                  </a:lnTo>
                  <a:lnTo>
                    <a:pt x="665" y="334"/>
                  </a:lnTo>
                  <a:lnTo>
                    <a:pt x="662" y="334"/>
                  </a:lnTo>
                  <a:lnTo>
                    <a:pt x="660" y="334"/>
                  </a:lnTo>
                  <a:lnTo>
                    <a:pt x="658" y="335"/>
                  </a:lnTo>
                  <a:lnTo>
                    <a:pt x="656" y="335"/>
                  </a:lnTo>
                  <a:lnTo>
                    <a:pt x="654" y="338"/>
                  </a:lnTo>
                  <a:lnTo>
                    <a:pt x="652" y="340"/>
                  </a:lnTo>
                  <a:lnTo>
                    <a:pt x="653" y="337"/>
                  </a:lnTo>
                  <a:lnTo>
                    <a:pt x="653" y="334"/>
                  </a:lnTo>
                  <a:lnTo>
                    <a:pt x="651" y="334"/>
                  </a:lnTo>
                  <a:lnTo>
                    <a:pt x="647" y="333"/>
                  </a:lnTo>
                  <a:lnTo>
                    <a:pt x="649" y="333"/>
                  </a:lnTo>
                  <a:lnTo>
                    <a:pt x="653" y="333"/>
                  </a:lnTo>
                  <a:lnTo>
                    <a:pt x="655" y="333"/>
                  </a:lnTo>
                  <a:lnTo>
                    <a:pt x="658" y="333"/>
                  </a:lnTo>
                  <a:lnTo>
                    <a:pt x="661" y="332"/>
                  </a:lnTo>
                  <a:lnTo>
                    <a:pt x="662" y="330"/>
                  </a:lnTo>
                  <a:lnTo>
                    <a:pt x="662" y="326"/>
                  </a:lnTo>
                  <a:lnTo>
                    <a:pt x="658" y="326"/>
                  </a:lnTo>
                  <a:lnTo>
                    <a:pt x="656" y="325"/>
                  </a:lnTo>
                  <a:lnTo>
                    <a:pt x="653" y="324"/>
                  </a:lnTo>
                  <a:lnTo>
                    <a:pt x="651" y="323"/>
                  </a:lnTo>
                  <a:lnTo>
                    <a:pt x="647" y="325"/>
                  </a:lnTo>
                  <a:lnTo>
                    <a:pt x="645" y="326"/>
                  </a:lnTo>
                  <a:lnTo>
                    <a:pt x="643" y="326"/>
                  </a:lnTo>
                  <a:lnTo>
                    <a:pt x="639" y="329"/>
                  </a:lnTo>
                  <a:lnTo>
                    <a:pt x="639" y="325"/>
                  </a:lnTo>
                  <a:lnTo>
                    <a:pt x="637" y="326"/>
                  </a:lnTo>
                  <a:lnTo>
                    <a:pt x="634" y="326"/>
                  </a:lnTo>
                  <a:lnTo>
                    <a:pt x="637" y="324"/>
                  </a:lnTo>
                  <a:lnTo>
                    <a:pt x="635" y="323"/>
                  </a:lnTo>
                  <a:lnTo>
                    <a:pt x="631" y="323"/>
                  </a:lnTo>
                  <a:lnTo>
                    <a:pt x="629" y="324"/>
                  </a:lnTo>
                  <a:lnTo>
                    <a:pt x="626" y="323"/>
                  </a:lnTo>
                  <a:lnTo>
                    <a:pt x="629" y="323"/>
                  </a:lnTo>
                  <a:lnTo>
                    <a:pt x="631" y="323"/>
                  </a:lnTo>
                  <a:lnTo>
                    <a:pt x="634" y="322"/>
                  </a:lnTo>
                  <a:lnTo>
                    <a:pt x="637" y="323"/>
                  </a:lnTo>
                  <a:lnTo>
                    <a:pt x="639" y="324"/>
                  </a:lnTo>
                  <a:lnTo>
                    <a:pt x="643" y="324"/>
                  </a:lnTo>
                  <a:lnTo>
                    <a:pt x="645" y="324"/>
                  </a:lnTo>
                  <a:lnTo>
                    <a:pt x="647" y="322"/>
                  </a:lnTo>
                  <a:lnTo>
                    <a:pt x="651" y="322"/>
                  </a:lnTo>
                  <a:lnTo>
                    <a:pt x="653" y="322"/>
                  </a:lnTo>
                  <a:lnTo>
                    <a:pt x="656" y="321"/>
                  </a:lnTo>
                  <a:lnTo>
                    <a:pt x="658" y="318"/>
                  </a:lnTo>
                  <a:lnTo>
                    <a:pt x="656" y="316"/>
                  </a:lnTo>
                  <a:lnTo>
                    <a:pt x="653" y="316"/>
                  </a:lnTo>
                  <a:lnTo>
                    <a:pt x="651" y="316"/>
                  </a:lnTo>
                  <a:lnTo>
                    <a:pt x="647" y="314"/>
                  </a:lnTo>
                  <a:lnTo>
                    <a:pt x="645" y="314"/>
                  </a:lnTo>
                  <a:lnTo>
                    <a:pt x="642" y="314"/>
                  </a:lnTo>
                  <a:lnTo>
                    <a:pt x="638" y="314"/>
                  </a:lnTo>
                  <a:lnTo>
                    <a:pt x="636" y="316"/>
                  </a:lnTo>
                  <a:lnTo>
                    <a:pt x="634" y="316"/>
                  </a:lnTo>
                  <a:lnTo>
                    <a:pt x="630" y="315"/>
                  </a:lnTo>
                  <a:lnTo>
                    <a:pt x="628" y="315"/>
                  </a:lnTo>
                  <a:lnTo>
                    <a:pt x="626" y="318"/>
                  </a:lnTo>
                  <a:lnTo>
                    <a:pt x="626" y="315"/>
                  </a:lnTo>
                  <a:lnTo>
                    <a:pt x="622" y="315"/>
                  </a:lnTo>
                  <a:lnTo>
                    <a:pt x="626" y="315"/>
                  </a:lnTo>
                  <a:lnTo>
                    <a:pt x="628" y="314"/>
                  </a:lnTo>
                  <a:lnTo>
                    <a:pt x="630" y="314"/>
                  </a:lnTo>
                  <a:lnTo>
                    <a:pt x="634" y="315"/>
                  </a:lnTo>
                  <a:lnTo>
                    <a:pt x="636" y="314"/>
                  </a:lnTo>
                  <a:lnTo>
                    <a:pt x="637" y="312"/>
                  </a:lnTo>
                  <a:lnTo>
                    <a:pt x="634" y="310"/>
                  </a:lnTo>
                  <a:lnTo>
                    <a:pt x="631" y="309"/>
                  </a:lnTo>
                  <a:lnTo>
                    <a:pt x="628" y="309"/>
                  </a:lnTo>
                  <a:lnTo>
                    <a:pt x="626" y="306"/>
                  </a:lnTo>
                  <a:lnTo>
                    <a:pt x="628" y="307"/>
                  </a:lnTo>
                  <a:lnTo>
                    <a:pt x="631" y="309"/>
                  </a:lnTo>
                  <a:lnTo>
                    <a:pt x="634" y="310"/>
                  </a:lnTo>
                  <a:lnTo>
                    <a:pt x="637" y="310"/>
                  </a:lnTo>
                  <a:lnTo>
                    <a:pt x="639" y="310"/>
                  </a:lnTo>
                  <a:lnTo>
                    <a:pt x="643" y="313"/>
                  </a:lnTo>
                  <a:lnTo>
                    <a:pt x="647" y="313"/>
                  </a:lnTo>
                  <a:lnTo>
                    <a:pt x="651" y="310"/>
                  </a:lnTo>
                  <a:lnTo>
                    <a:pt x="652" y="308"/>
                  </a:lnTo>
                  <a:lnTo>
                    <a:pt x="655" y="306"/>
                  </a:lnTo>
                  <a:lnTo>
                    <a:pt x="657" y="306"/>
                  </a:lnTo>
                  <a:lnTo>
                    <a:pt x="661" y="306"/>
                  </a:lnTo>
                  <a:lnTo>
                    <a:pt x="658" y="304"/>
                  </a:lnTo>
                  <a:lnTo>
                    <a:pt x="657" y="300"/>
                  </a:lnTo>
                  <a:lnTo>
                    <a:pt x="654" y="299"/>
                  </a:lnTo>
                  <a:lnTo>
                    <a:pt x="652" y="298"/>
                  </a:lnTo>
                  <a:lnTo>
                    <a:pt x="649" y="295"/>
                  </a:lnTo>
                  <a:lnTo>
                    <a:pt x="652" y="296"/>
                  </a:lnTo>
                  <a:lnTo>
                    <a:pt x="655" y="298"/>
                  </a:lnTo>
                  <a:lnTo>
                    <a:pt x="657" y="299"/>
                  </a:lnTo>
                  <a:lnTo>
                    <a:pt x="658" y="303"/>
                  </a:lnTo>
                  <a:lnTo>
                    <a:pt x="661" y="304"/>
                  </a:lnTo>
                  <a:lnTo>
                    <a:pt x="664" y="304"/>
                  </a:lnTo>
                  <a:lnTo>
                    <a:pt x="666" y="305"/>
                  </a:lnTo>
                  <a:lnTo>
                    <a:pt x="665" y="301"/>
                  </a:lnTo>
                  <a:lnTo>
                    <a:pt x="668" y="299"/>
                  </a:lnTo>
                  <a:lnTo>
                    <a:pt x="670" y="298"/>
                  </a:lnTo>
                  <a:lnTo>
                    <a:pt x="673" y="298"/>
                  </a:lnTo>
                  <a:lnTo>
                    <a:pt x="675" y="299"/>
                  </a:lnTo>
                  <a:lnTo>
                    <a:pt x="678" y="299"/>
                  </a:lnTo>
                  <a:lnTo>
                    <a:pt x="681" y="300"/>
                  </a:lnTo>
                  <a:lnTo>
                    <a:pt x="683" y="301"/>
                  </a:lnTo>
                  <a:lnTo>
                    <a:pt x="687" y="303"/>
                  </a:lnTo>
                  <a:lnTo>
                    <a:pt x="689" y="304"/>
                  </a:lnTo>
                  <a:lnTo>
                    <a:pt x="691" y="304"/>
                  </a:lnTo>
                  <a:lnTo>
                    <a:pt x="695" y="303"/>
                  </a:lnTo>
                  <a:lnTo>
                    <a:pt x="691" y="304"/>
                  </a:lnTo>
                  <a:lnTo>
                    <a:pt x="689" y="305"/>
                  </a:lnTo>
                  <a:lnTo>
                    <a:pt x="683" y="303"/>
                  </a:lnTo>
                  <a:lnTo>
                    <a:pt x="680" y="301"/>
                  </a:lnTo>
                  <a:lnTo>
                    <a:pt x="678" y="300"/>
                  </a:lnTo>
                  <a:lnTo>
                    <a:pt x="674" y="300"/>
                  </a:lnTo>
                  <a:lnTo>
                    <a:pt x="672" y="300"/>
                  </a:lnTo>
                  <a:lnTo>
                    <a:pt x="672" y="303"/>
                  </a:lnTo>
                  <a:lnTo>
                    <a:pt x="674" y="305"/>
                  </a:lnTo>
                  <a:lnTo>
                    <a:pt x="678" y="306"/>
                  </a:lnTo>
                  <a:lnTo>
                    <a:pt x="680" y="308"/>
                  </a:lnTo>
                  <a:lnTo>
                    <a:pt x="682" y="308"/>
                  </a:lnTo>
                  <a:lnTo>
                    <a:pt x="686" y="309"/>
                  </a:lnTo>
                  <a:lnTo>
                    <a:pt x="688" y="310"/>
                  </a:lnTo>
                  <a:lnTo>
                    <a:pt x="691" y="312"/>
                  </a:lnTo>
                  <a:lnTo>
                    <a:pt x="694" y="312"/>
                  </a:lnTo>
                  <a:lnTo>
                    <a:pt x="697" y="313"/>
                  </a:lnTo>
                  <a:lnTo>
                    <a:pt x="699" y="310"/>
                  </a:lnTo>
                  <a:lnTo>
                    <a:pt x="703" y="309"/>
                  </a:lnTo>
                  <a:lnTo>
                    <a:pt x="705" y="308"/>
                  </a:lnTo>
                  <a:lnTo>
                    <a:pt x="708" y="306"/>
                  </a:lnTo>
                  <a:lnTo>
                    <a:pt x="711" y="307"/>
                  </a:lnTo>
                  <a:lnTo>
                    <a:pt x="713" y="307"/>
                  </a:lnTo>
                  <a:lnTo>
                    <a:pt x="716" y="307"/>
                  </a:lnTo>
                  <a:lnTo>
                    <a:pt x="719" y="307"/>
                  </a:lnTo>
                  <a:lnTo>
                    <a:pt x="722" y="305"/>
                  </a:lnTo>
                  <a:lnTo>
                    <a:pt x="721" y="303"/>
                  </a:lnTo>
                  <a:lnTo>
                    <a:pt x="721" y="299"/>
                  </a:lnTo>
                  <a:lnTo>
                    <a:pt x="723" y="297"/>
                  </a:lnTo>
                  <a:lnTo>
                    <a:pt x="721" y="296"/>
                  </a:lnTo>
                  <a:lnTo>
                    <a:pt x="717" y="296"/>
                  </a:lnTo>
                  <a:lnTo>
                    <a:pt x="715" y="295"/>
                  </a:lnTo>
                  <a:lnTo>
                    <a:pt x="712" y="293"/>
                  </a:lnTo>
                  <a:lnTo>
                    <a:pt x="709" y="292"/>
                  </a:lnTo>
                  <a:lnTo>
                    <a:pt x="706" y="291"/>
                  </a:lnTo>
                  <a:lnTo>
                    <a:pt x="704" y="291"/>
                  </a:lnTo>
                  <a:lnTo>
                    <a:pt x="700" y="291"/>
                  </a:lnTo>
                  <a:lnTo>
                    <a:pt x="700" y="295"/>
                  </a:lnTo>
                  <a:lnTo>
                    <a:pt x="703" y="297"/>
                  </a:lnTo>
                  <a:lnTo>
                    <a:pt x="704" y="300"/>
                  </a:lnTo>
                  <a:lnTo>
                    <a:pt x="702" y="297"/>
                  </a:lnTo>
                  <a:lnTo>
                    <a:pt x="700" y="295"/>
                  </a:lnTo>
                  <a:lnTo>
                    <a:pt x="698" y="292"/>
                  </a:lnTo>
                  <a:lnTo>
                    <a:pt x="696" y="291"/>
                  </a:lnTo>
                  <a:lnTo>
                    <a:pt x="692" y="290"/>
                  </a:lnTo>
                  <a:lnTo>
                    <a:pt x="696" y="290"/>
                  </a:lnTo>
                  <a:lnTo>
                    <a:pt x="697" y="287"/>
                  </a:lnTo>
                  <a:lnTo>
                    <a:pt x="698" y="284"/>
                  </a:lnTo>
                  <a:lnTo>
                    <a:pt x="696" y="284"/>
                  </a:lnTo>
                  <a:lnTo>
                    <a:pt x="692" y="284"/>
                  </a:lnTo>
                  <a:lnTo>
                    <a:pt x="696" y="284"/>
                  </a:lnTo>
                  <a:lnTo>
                    <a:pt x="698" y="283"/>
                  </a:lnTo>
                  <a:lnTo>
                    <a:pt x="702" y="283"/>
                  </a:lnTo>
                  <a:lnTo>
                    <a:pt x="702" y="280"/>
                  </a:lnTo>
                  <a:lnTo>
                    <a:pt x="699" y="278"/>
                  </a:lnTo>
                  <a:lnTo>
                    <a:pt x="702" y="279"/>
                  </a:lnTo>
                  <a:lnTo>
                    <a:pt x="704" y="280"/>
                  </a:lnTo>
                  <a:lnTo>
                    <a:pt x="707" y="280"/>
                  </a:lnTo>
                  <a:lnTo>
                    <a:pt x="709" y="280"/>
                  </a:lnTo>
                  <a:lnTo>
                    <a:pt x="713" y="280"/>
                  </a:lnTo>
                  <a:lnTo>
                    <a:pt x="716" y="280"/>
                  </a:lnTo>
                  <a:lnTo>
                    <a:pt x="719" y="280"/>
                  </a:lnTo>
                  <a:lnTo>
                    <a:pt x="721" y="280"/>
                  </a:lnTo>
                  <a:lnTo>
                    <a:pt x="723" y="283"/>
                  </a:lnTo>
                  <a:lnTo>
                    <a:pt x="726" y="286"/>
                  </a:lnTo>
                  <a:lnTo>
                    <a:pt x="726" y="286"/>
                  </a:lnTo>
                  <a:lnTo>
                    <a:pt x="729" y="286"/>
                  </a:lnTo>
                  <a:lnTo>
                    <a:pt x="731" y="286"/>
                  </a:lnTo>
                  <a:lnTo>
                    <a:pt x="734" y="286"/>
                  </a:lnTo>
                  <a:lnTo>
                    <a:pt x="737" y="284"/>
                  </a:lnTo>
                  <a:lnTo>
                    <a:pt x="739" y="282"/>
                  </a:lnTo>
                  <a:lnTo>
                    <a:pt x="740" y="279"/>
                  </a:lnTo>
                  <a:lnTo>
                    <a:pt x="737" y="277"/>
                  </a:lnTo>
                  <a:lnTo>
                    <a:pt x="734" y="274"/>
                  </a:lnTo>
                  <a:lnTo>
                    <a:pt x="732" y="275"/>
                  </a:lnTo>
                  <a:lnTo>
                    <a:pt x="730" y="277"/>
                  </a:lnTo>
                  <a:lnTo>
                    <a:pt x="726" y="275"/>
                  </a:lnTo>
                  <a:lnTo>
                    <a:pt x="724" y="274"/>
                  </a:lnTo>
                  <a:lnTo>
                    <a:pt x="721" y="274"/>
                  </a:lnTo>
                  <a:lnTo>
                    <a:pt x="719" y="274"/>
                  </a:lnTo>
                  <a:lnTo>
                    <a:pt x="715" y="275"/>
                  </a:lnTo>
                  <a:lnTo>
                    <a:pt x="713" y="275"/>
                  </a:lnTo>
                  <a:lnTo>
                    <a:pt x="715" y="274"/>
                  </a:lnTo>
                  <a:lnTo>
                    <a:pt x="719" y="273"/>
                  </a:lnTo>
                  <a:lnTo>
                    <a:pt x="716" y="270"/>
                  </a:lnTo>
                  <a:lnTo>
                    <a:pt x="717" y="267"/>
                  </a:lnTo>
                  <a:lnTo>
                    <a:pt x="717" y="264"/>
                  </a:lnTo>
                  <a:lnTo>
                    <a:pt x="712" y="263"/>
                  </a:lnTo>
                  <a:lnTo>
                    <a:pt x="709" y="264"/>
                  </a:lnTo>
                  <a:lnTo>
                    <a:pt x="706" y="266"/>
                  </a:lnTo>
                  <a:lnTo>
                    <a:pt x="704" y="266"/>
                  </a:lnTo>
                  <a:lnTo>
                    <a:pt x="700" y="266"/>
                  </a:lnTo>
                  <a:lnTo>
                    <a:pt x="699" y="263"/>
                  </a:lnTo>
                  <a:lnTo>
                    <a:pt x="696" y="262"/>
                  </a:lnTo>
                  <a:lnTo>
                    <a:pt x="698" y="262"/>
                  </a:lnTo>
                  <a:lnTo>
                    <a:pt x="702" y="264"/>
                  </a:lnTo>
                  <a:lnTo>
                    <a:pt x="704" y="265"/>
                  </a:lnTo>
                  <a:lnTo>
                    <a:pt x="707" y="264"/>
                  </a:lnTo>
                  <a:lnTo>
                    <a:pt x="709" y="263"/>
                  </a:lnTo>
                  <a:lnTo>
                    <a:pt x="713" y="262"/>
                  </a:lnTo>
                  <a:lnTo>
                    <a:pt x="715" y="262"/>
                  </a:lnTo>
                  <a:lnTo>
                    <a:pt x="717" y="262"/>
                  </a:lnTo>
                  <a:lnTo>
                    <a:pt x="717" y="260"/>
                  </a:lnTo>
                  <a:lnTo>
                    <a:pt x="715" y="258"/>
                  </a:lnTo>
                  <a:lnTo>
                    <a:pt x="713" y="256"/>
                  </a:lnTo>
                  <a:lnTo>
                    <a:pt x="709" y="255"/>
                  </a:lnTo>
                  <a:lnTo>
                    <a:pt x="707" y="253"/>
                  </a:lnTo>
                  <a:lnTo>
                    <a:pt x="704" y="253"/>
                  </a:lnTo>
                  <a:lnTo>
                    <a:pt x="702" y="253"/>
                  </a:lnTo>
                  <a:lnTo>
                    <a:pt x="698" y="253"/>
                  </a:lnTo>
                  <a:lnTo>
                    <a:pt x="696" y="252"/>
                  </a:lnTo>
                  <a:lnTo>
                    <a:pt x="692" y="252"/>
                  </a:lnTo>
                  <a:lnTo>
                    <a:pt x="696" y="252"/>
                  </a:lnTo>
                  <a:lnTo>
                    <a:pt x="698" y="253"/>
                  </a:lnTo>
                  <a:lnTo>
                    <a:pt x="702" y="253"/>
                  </a:lnTo>
                  <a:lnTo>
                    <a:pt x="704" y="253"/>
                  </a:lnTo>
                  <a:lnTo>
                    <a:pt x="707" y="253"/>
                  </a:lnTo>
                  <a:lnTo>
                    <a:pt x="704" y="250"/>
                  </a:lnTo>
                  <a:lnTo>
                    <a:pt x="702" y="249"/>
                  </a:lnTo>
                  <a:lnTo>
                    <a:pt x="698" y="248"/>
                  </a:lnTo>
                  <a:lnTo>
                    <a:pt x="696" y="248"/>
                  </a:lnTo>
                  <a:lnTo>
                    <a:pt x="699" y="247"/>
                  </a:lnTo>
                  <a:lnTo>
                    <a:pt x="702" y="248"/>
                  </a:lnTo>
                  <a:lnTo>
                    <a:pt x="704" y="249"/>
                  </a:lnTo>
                  <a:lnTo>
                    <a:pt x="707" y="250"/>
                  </a:lnTo>
                  <a:lnTo>
                    <a:pt x="709" y="253"/>
                  </a:lnTo>
                  <a:lnTo>
                    <a:pt x="713" y="255"/>
                  </a:lnTo>
                  <a:lnTo>
                    <a:pt x="715" y="256"/>
                  </a:lnTo>
                  <a:lnTo>
                    <a:pt x="719" y="257"/>
                  </a:lnTo>
                  <a:lnTo>
                    <a:pt x="721" y="257"/>
                  </a:lnTo>
                  <a:lnTo>
                    <a:pt x="724" y="256"/>
                  </a:lnTo>
                  <a:lnTo>
                    <a:pt x="726" y="257"/>
                  </a:lnTo>
                  <a:lnTo>
                    <a:pt x="726" y="261"/>
                  </a:lnTo>
                  <a:lnTo>
                    <a:pt x="730" y="262"/>
                  </a:lnTo>
                  <a:lnTo>
                    <a:pt x="732" y="262"/>
                  </a:lnTo>
                  <a:lnTo>
                    <a:pt x="734" y="258"/>
                  </a:lnTo>
                  <a:lnTo>
                    <a:pt x="736" y="256"/>
                  </a:lnTo>
                  <a:lnTo>
                    <a:pt x="736" y="254"/>
                  </a:lnTo>
                  <a:lnTo>
                    <a:pt x="736" y="250"/>
                  </a:lnTo>
                  <a:lnTo>
                    <a:pt x="733" y="248"/>
                  </a:lnTo>
                  <a:lnTo>
                    <a:pt x="732" y="245"/>
                  </a:lnTo>
                  <a:lnTo>
                    <a:pt x="736" y="245"/>
                  </a:lnTo>
                  <a:lnTo>
                    <a:pt x="732" y="244"/>
                  </a:lnTo>
                  <a:lnTo>
                    <a:pt x="730" y="240"/>
                  </a:lnTo>
                  <a:lnTo>
                    <a:pt x="728" y="239"/>
                  </a:lnTo>
                  <a:lnTo>
                    <a:pt x="726" y="239"/>
                  </a:lnTo>
                  <a:lnTo>
                    <a:pt x="724" y="240"/>
                  </a:lnTo>
                  <a:lnTo>
                    <a:pt x="721" y="239"/>
                  </a:lnTo>
                  <a:lnTo>
                    <a:pt x="719" y="239"/>
                  </a:lnTo>
                  <a:lnTo>
                    <a:pt x="715" y="239"/>
                  </a:lnTo>
                  <a:lnTo>
                    <a:pt x="713" y="238"/>
                  </a:lnTo>
                  <a:lnTo>
                    <a:pt x="709" y="239"/>
                  </a:lnTo>
                  <a:lnTo>
                    <a:pt x="707" y="239"/>
                  </a:lnTo>
                  <a:lnTo>
                    <a:pt x="702" y="239"/>
                  </a:lnTo>
                  <a:lnTo>
                    <a:pt x="704" y="238"/>
                  </a:lnTo>
                  <a:lnTo>
                    <a:pt x="707" y="238"/>
                  </a:lnTo>
                  <a:lnTo>
                    <a:pt x="709" y="238"/>
                  </a:lnTo>
                  <a:lnTo>
                    <a:pt x="713" y="238"/>
                  </a:lnTo>
                  <a:lnTo>
                    <a:pt x="715" y="238"/>
                  </a:lnTo>
                  <a:lnTo>
                    <a:pt x="717" y="238"/>
                  </a:lnTo>
                  <a:lnTo>
                    <a:pt x="721" y="238"/>
                  </a:lnTo>
                  <a:lnTo>
                    <a:pt x="723" y="238"/>
                  </a:lnTo>
                  <a:lnTo>
                    <a:pt x="726" y="236"/>
                  </a:lnTo>
                  <a:lnTo>
                    <a:pt x="726" y="236"/>
                  </a:lnTo>
                  <a:lnTo>
                    <a:pt x="730" y="236"/>
                  </a:lnTo>
                  <a:lnTo>
                    <a:pt x="731" y="233"/>
                  </a:lnTo>
                  <a:lnTo>
                    <a:pt x="729" y="231"/>
                  </a:lnTo>
                  <a:lnTo>
                    <a:pt x="726" y="230"/>
                  </a:lnTo>
                  <a:lnTo>
                    <a:pt x="724" y="231"/>
                  </a:lnTo>
                  <a:lnTo>
                    <a:pt x="721" y="231"/>
                  </a:lnTo>
                  <a:lnTo>
                    <a:pt x="715" y="229"/>
                  </a:lnTo>
                  <a:lnTo>
                    <a:pt x="713" y="229"/>
                  </a:lnTo>
                  <a:lnTo>
                    <a:pt x="715" y="231"/>
                  </a:lnTo>
                  <a:lnTo>
                    <a:pt x="719" y="232"/>
                  </a:lnTo>
                  <a:lnTo>
                    <a:pt x="721" y="233"/>
                  </a:lnTo>
                  <a:lnTo>
                    <a:pt x="719" y="235"/>
                  </a:lnTo>
                  <a:lnTo>
                    <a:pt x="715" y="231"/>
                  </a:lnTo>
                  <a:lnTo>
                    <a:pt x="713" y="230"/>
                  </a:lnTo>
                  <a:lnTo>
                    <a:pt x="709" y="230"/>
                  </a:lnTo>
                  <a:lnTo>
                    <a:pt x="707" y="230"/>
                  </a:lnTo>
                  <a:lnTo>
                    <a:pt x="704" y="231"/>
                  </a:lnTo>
                  <a:lnTo>
                    <a:pt x="704" y="228"/>
                  </a:lnTo>
                  <a:lnTo>
                    <a:pt x="705" y="226"/>
                  </a:lnTo>
                  <a:lnTo>
                    <a:pt x="703" y="226"/>
                  </a:lnTo>
                  <a:lnTo>
                    <a:pt x="699" y="226"/>
                  </a:lnTo>
                  <a:lnTo>
                    <a:pt x="697" y="226"/>
                  </a:lnTo>
                  <a:lnTo>
                    <a:pt x="695" y="226"/>
                  </a:lnTo>
                  <a:lnTo>
                    <a:pt x="697" y="226"/>
                  </a:lnTo>
                  <a:lnTo>
                    <a:pt x="699" y="226"/>
                  </a:lnTo>
                  <a:lnTo>
                    <a:pt x="703" y="226"/>
                  </a:lnTo>
                  <a:lnTo>
                    <a:pt x="699" y="224"/>
                  </a:lnTo>
                  <a:lnTo>
                    <a:pt x="703" y="223"/>
                  </a:lnTo>
                  <a:lnTo>
                    <a:pt x="699" y="223"/>
                  </a:lnTo>
                  <a:lnTo>
                    <a:pt x="700" y="220"/>
                  </a:lnTo>
                  <a:lnTo>
                    <a:pt x="697" y="220"/>
                  </a:lnTo>
                  <a:lnTo>
                    <a:pt x="695" y="222"/>
                  </a:lnTo>
                  <a:lnTo>
                    <a:pt x="694" y="220"/>
                  </a:lnTo>
                  <a:lnTo>
                    <a:pt x="690" y="219"/>
                  </a:lnTo>
                  <a:lnTo>
                    <a:pt x="694" y="216"/>
                  </a:lnTo>
                  <a:lnTo>
                    <a:pt x="695" y="214"/>
                  </a:lnTo>
                  <a:lnTo>
                    <a:pt x="697" y="213"/>
                  </a:lnTo>
                  <a:lnTo>
                    <a:pt x="699" y="215"/>
                  </a:lnTo>
                  <a:lnTo>
                    <a:pt x="703" y="219"/>
                  </a:lnTo>
                  <a:lnTo>
                    <a:pt x="705" y="219"/>
                  </a:lnTo>
                  <a:lnTo>
                    <a:pt x="707" y="218"/>
                  </a:lnTo>
                  <a:lnTo>
                    <a:pt x="711" y="215"/>
                  </a:lnTo>
                  <a:lnTo>
                    <a:pt x="713" y="214"/>
                  </a:lnTo>
                  <a:lnTo>
                    <a:pt x="716" y="214"/>
                  </a:lnTo>
                  <a:lnTo>
                    <a:pt x="713" y="213"/>
                  </a:lnTo>
                  <a:lnTo>
                    <a:pt x="711" y="213"/>
                  </a:lnTo>
                  <a:lnTo>
                    <a:pt x="708" y="213"/>
                  </a:lnTo>
                  <a:lnTo>
                    <a:pt x="705" y="213"/>
                  </a:lnTo>
                  <a:lnTo>
                    <a:pt x="708" y="212"/>
                  </a:lnTo>
                  <a:lnTo>
                    <a:pt x="711" y="212"/>
                  </a:lnTo>
                  <a:lnTo>
                    <a:pt x="714" y="212"/>
                  </a:lnTo>
                  <a:lnTo>
                    <a:pt x="716" y="213"/>
                  </a:lnTo>
                  <a:lnTo>
                    <a:pt x="714" y="211"/>
                  </a:lnTo>
                  <a:lnTo>
                    <a:pt x="716" y="210"/>
                  </a:lnTo>
                  <a:lnTo>
                    <a:pt x="720" y="210"/>
                  </a:lnTo>
                  <a:lnTo>
                    <a:pt x="722" y="210"/>
                  </a:lnTo>
                  <a:lnTo>
                    <a:pt x="725" y="211"/>
                  </a:lnTo>
                  <a:lnTo>
                    <a:pt x="726" y="210"/>
                  </a:lnTo>
                  <a:lnTo>
                    <a:pt x="729" y="211"/>
                  </a:lnTo>
                  <a:lnTo>
                    <a:pt x="732" y="212"/>
                  </a:lnTo>
                  <a:lnTo>
                    <a:pt x="734" y="213"/>
                  </a:lnTo>
                  <a:lnTo>
                    <a:pt x="738" y="213"/>
                  </a:lnTo>
                  <a:lnTo>
                    <a:pt x="740" y="213"/>
                  </a:lnTo>
                  <a:lnTo>
                    <a:pt x="743" y="214"/>
                  </a:lnTo>
                  <a:lnTo>
                    <a:pt x="746" y="214"/>
                  </a:lnTo>
                  <a:lnTo>
                    <a:pt x="748" y="214"/>
                  </a:lnTo>
                  <a:lnTo>
                    <a:pt x="751" y="213"/>
                  </a:lnTo>
                  <a:lnTo>
                    <a:pt x="753" y="210"/>
                  </a:lnTo>
                  <a:lnTo>
                    <a:pt x="753" y="207"/>
                  </a:lnTo>
                  <a:lnTo>
                    <a:pt x="751" y="205"/>
                  </a:lnTo>
                  <a:lnTo>
                    <a:pt x="751" y="202"/>
                  </a:lnTo>
                  <a:lnTo>
                    <a:pt x="749" y="200"/>
                  </a:lnTo>
                  <a:lnTo>
                    <a:pt x="746" y="200"/>
                  </a:lnTo>
                  <a:lnTo>
                    <a:pt x="743" y="198"/>
                  </a:lnTo>
                  <a:lnTo>
                    <a:pt x="740" y="200"/>
                  </a:lnTo>
                  <a:lnTo>
                    <a:pt x="738" y="202"/>
                  </a:lnTo>
                  <a:lnTo>
                    <a:pt x="734" y="201"/>
                  </a:lnTo>
                  <a:lnTo>
                    <a:pt x="732" y="198"/>
                  </a:lnTo>
                  <a:lnTo>
                    <a:pt x="730" y="197"/>
                  </a:lnTo>
                  <a:lnTo>
                    <a:pt x="726" y="197"/>
                  </a:lnTo>
                  <a:lnTo>
                    <a:pt x="724" y="198"/>
                  </a:lnTo>
                  <a:lnTo>
                    <a:pt x="721" y="197"/>
                  </a:lnTo>
                  <a:lnTo>
                    <a:pt x="719" y="197"/>
                  </a:lnTo>
                  <a:lnTo>
                    <a:pt x="721" y="197"/>
                  </a:lnTo>
                  <a:lnTo>
                    <a:pt x="724" y="197"/>
                  </a:lnTo>
                  <a:lnTo>
                    <a:pt x="726" y="196"/>
                  </a:lnTo>
                  <a:lnTo>
                    <a:pt x="724" y="196"/>
                  </a:lnTo>
                  <a:lnTo>
                    <a:pt x="721" y="195"/>
                  </a:lnTo>
                  <a:lnTo>
                    <a:pt x="719" y="195"/>
                  </a:lnTo>
                  <a:lnTo>
                    <a:pt x="715" y="194"/>
                  </a:lnTo>
                  <a:lnTo>
                    <a:pt x="713" y="194"/>
                  </a:lnTo>
                  <a:lnTo>
                    <a:pt x="715" y="194"/>
                  </a:lnTo>
                  <a:lnTo>
                    <a:pt x="719" y="194"/>
                  </a:lnTo>
                  <a:lnTo>
                    <a:pt x="721" y="195"/>
                  </a:lnTo>
                  <a:lnTo>
                    <a:pt x="719" y="193"/>
                  </a:lnTo>
                  <a:lnTo>
                    <a:pt x="721" y="193"/>
                  </a:lnTo>
                  <a:lnTo>
                    <a:pt x="719" y="190"/>
                  </a:lnTo>
                  <a:lnTo>
                    <a:pt x="715" y="189"/>
                  </a:lnTo>
                  <a:lnTo>
                    <a:pt x="719" y="188"/>
                  </a:lnTo>
                  <a:lnTo>
                    <a:pt x="721" y="189"/>
                  </a:lnTo>
                  <a:lnTo>
                    <a:pt x="724" y="188"/>
                  </a:lnTo>
                  <a:lnTo>
                    <a:pt x="726" y="188"/>
                  </a:lnTo>
                  <a:lnTo>
                    <a:pt x="730" y="189"/>
                  </a:lnTo>
                  <a:lnTo>
                    <a:pt x="732" y="192"/>
                  </a:lnTo>
                  <a:lnTo>
                    <a:pt x="736" y="193"/>
                  </a:lnTo>
                  <a:lnTo>
                    <a:pt x="739" y="192"/>
                  </a:lnTo>
                  <a:lnTo>
                    <a:pt x="741" y="192"/>
                  </a:lnTo>
                  <a:lnTo>
                    <a:pt x="739" y="188"/>
                  </a:lnTo>
                  <a:lnTo>
                    <a:pt x="736" y="187"/>
                  </a:lnTo>
                  <a:lnTo>
                    <a:pt x="733" y="186"/>
                  </a:lnTo>
                  <a:lnTo>
                    <a:pt x="730" y="186"/>
                  </a:lnTo>
                  <a:lnTo>
                    <a:pt x="728" y="185"/>
                  </a:lnTo>
                  <a:lnTo>
                    <a:pt x="726" y="185"/>
                  </a:lnTo>
                  <a:lnTo>
                    <a:pt x="724" y="184"/>
                  </a:lnTo>
                  <a:lnTo>
                    <a:pt x="721" y="184"/>
                  </a:lnTo>
                  <a:lnTo>
                    <a:pt x="719" y="183"/>
                  </a:lnTo>
                  <a:lnTo>
                    <a:pt x="715" y="179"/>
                  </a:lnTo>
                  <a:lnTo>
                    <a:pt x="713" y="180"/>
                  </a:lnTo>
                  <a:lnTo>
                    <a:pt x="709" y="184"/>
                  </a:lnTo>
                  <a:lnTo>
                    <a:pt x="708" y="186"/>
                  </a:lnTo>
                  <a:lnTo>
                    <a:pt x="707" y="189"/>
                  </a:lnTo>
                  <a:lnTo>
                    <a:pt x="706" y="192"/>
                  </a:lnTo>
                  <a:lnTo>
                    <a:pt x="704" y="194"/>
                  </a:lnTo>
                  <a:lnTo>
                    <a:pt x="706" y="190"/>
                  </a:lnTo>
                  <a:lnTo>
                    <a:pt x="703" y="189"/>
                  </a:lnTo>
                  <a:lnTo>
                    <a:pt x="700" y="189"/>
                  </a:lnTo>
                  <a:lnTo>
                    <a:pt x="700" y="187"/>
                  </a:lnTo>
                  <a:lnTo>
                    <a:pt x="703" y="184"/>
                  </a:lnTo>
                  <a:lnTo>
                    <a:pt x="705" y="181"/>
                  </a:lnTo>
                  <a:lnTo>
                    <a:pt x="703" y="183"/>
                  </a:lnTo>
                  <a:lnTo>
                    <a:pt x="704" y="179"/>
                  </a:lnTo>
                  <a:lnTo>
                    <a:pt x="706" y="178"/>
                  </a:lnTo>
                  <a:lnTo>
                    <a:pt x="704" y="176"/>
                  </a:lnTo>
                  <a:lnTo>
                    <a:pt x="706" y="176"/>
                  </a:lnTo>
                  <a:lnTo>
                    <a:pt x="709" y="173"/>
                  </a:lnTo>
                  <a:lnTo>
                    <a:pt x="708" y="171"/>
                  </a:lnTo>
                  <a:lnTo>
                    <a:pt x="709" y="168"/>
                  </a:lnTo>
                  <a:lnTo>
                    <a:pt x="711" y="166"/>
                  </a:lnTo>
                  <a:lnTo>
                    <a:pt x="713" y="162"/>
                  </a:lnTo>
                  <a:lnTo>
                    <a:pt x="711" y="161"/>
                  </a:lnTo>
                  <a:lnTo>
                    <a:pt x="707" y="161"/>
                  </a:lnTo>
                  <a:lnTo>
                    <a:pt x="711" y="160"/>
                  </a:lnTo>
                  <a:lnTo>
                    <a:pt x="713" y="160"/>
                  </a:lnTo>
                  <a:lnTo>
                    <a:pt x="712" y="158"/>
                  </a:lnTo>
                  <a:lnTo>
                    <a:pt x="714" y="155"/>
                  </a:lnTo>
                  <a:lnTo>
                    <a:pt x="717" y="154"/>
                  </a:lnTo>
                  <a:lnTo>
                    <a:pt x="720" y="153"/>
                  </a:lnTo>
                  <a:lnTo>
                    <a:pt x="723" y="154"/>
                  </a:lnTo>
                  <a:lnTo>
                    <a:pt x="725" y="154"/>
                  </a:lnTo>
                  <a:lnTo>
                    <a:pt x="726" y="153"/>
                  </a:lnTo>
                  <a:lnTo>
                    <a:pt x="728" y="151"/>
                  </a:lnTo>
                  <a:lnTo>
                    <a:pt x="726" y="149"/>
                  </a:lnTo>
                  <a:lnTo>
                    <a:pt x="726" y="147"/>
                  </a:lnTo>
                  <a:lnTo>
                    <a:pt x="728" y="146"/>
                  </a:lnTo>
                  <a:lnTo>
                    <a:pt x="731" y="146"/>
                  </a:lnTo>
                  <a:lnTo>
                    <a:pt x="733" y="144"/>
                  </a:lnTo>
                  <a:lnTo>
                    <a:pt x="736" y="142"/>
                  </a:lnTo>
                  <a:lnTo>
                    <a:pt x="739" y="143"/>
                  </a:lnTo>
                  <a:lnTo>
                    <a:pt x="739" y="141"/>
                  </a:lnTo>
                  <a:lnTo>
                    <a:pt x="732" y="141"/>
                  </a:lnTo>
                  <a:lnTo>
                    <a:pt x="730" y="143"/>
                  </a:lnTo>
                  <a:lnTo>
                    <a:pt x="732" y="141"/>
                  </a:lnTo>
                  <a:lnTo>
                    <a:pt x="732" y="137"/>
                  </a:lnTo>
                  <a:lnTo>
                    <a:pt x="731" y="135"/>
                  </a:lnTo>
                  <a:lnTo>
                    <a:pt x="733" y="132"/>
                  </a:lnTo>
                  <a:lnTo>
                    <a:pt x="732" y="129"/>
                  </a:lnTo>
                  <a:lnTo>
                    <a:pt x="736" y="127"/>
                  </a:lnTo>
                  <a:lnTo>
                    <a:pt x="739" y="126"/>
                  </a:lnTo>
                  <a:lnTo>
                    <a:pt x="741" y="126"/>
                  </a:lnTo>
                  <a:lnTo>
                    <a:pt x="743" y="127"/>
                  </a:lnTo>
                  <a:lnTo>
                    <a:pt x="747" y="127"/>
                  </a:lnTo>
                  <a:lnTo>
                    <a:pt x="749" y="127"/>
                  </a:lnTo>
                  <a:lnTo>
                    <a:pt x="753" y="127"/>
                  </a:lnTo>
                  <a:lnTo>
                    <a:pt x="755" y="125"/>
                  </a:lnTo>
                  <a:lnTo>
                    <a:pt x="758" y="122"/>
                  </a:lnTo>
                  <a:lnTo>
                    <a:pt x="760" y="120"/>
                  </a:lnTo>
                  <a:lnTo>
                    <a:pt x="760" y="119"/>
                  </a:lnTo>
                  <a:lnTo>
                    <a:pt x="762" y="117"/>
                  </a:lnTo>
                  <a:lnTo>
                    <a:pt x="759" y="116"/>
                  </a:lnTo>
                  <a:lnTo>
                    <a:pt x="756" y="115"/>
                  </a:lnTo>
                  <a:lnTo>
                    <a:pt x="753" y="115"/>
                  </a:lnTo>
                  <a:lnTo>
                    <a:pt x="747" y="116"/>
                  </a:lnTo>
                  <a:lnTo>
                    <a:pt x="743" y="117"/>
                  </a:lnTo>
                  <a:lnTo>
                    <a:pt x="741" y="117"/>
                  </a:lnTo>
                  <a:lnTo>
                    <a:pt x="739" y="116"/>
                  </a:lnTo>
                  <a:lnTo>
                    <a:pt x="736" y="117"/>
                  </a:lnTo>
                  <a:lnTo>
                    <a:pt x="733" y="118"/>
                  </a:lnTo>
                  <a:lnTo>
                    <a:pt x="730" y="118"/>
                  </a:lnTo>
                  <a:lnTo>
                    <a:pt x="728" y="119"/>
                  </a:lnTo>
                  <a:lnTo>
                    <a:pt x="726" y="119"/>
                  </a:lnTo>
                  <a:lnTo>
                    <a:pt x="725" y="122"/>
                  </a:lnTo>
                  <a:lnTo>
                    <a:pt x="724" y="125"/>
                  </a:lnTo>
                  <a:lnTo>
                    <a:pt x="726" y="125"/>
                  </a:lnTo>
                  <a:lnTo>
                    <a:pt x="726" y="125"/>
                  </a:lnTo>
                  <a:lnTo>
                    <a:pt x="724" y="126"/>
                  </a:lnTo>
                  <a:lnTo>
                    <a:pt x="721" y="125"/>
                  </a:lnTo>
                  <a:lnTo>
                    <a:pt x="719" y="124"/>
                  </a:lnTo>
                  <a:lnTo>
                    <a:pt x="720" y="120"/>
                  </a:lnTo>
                  <a:lnTo>
                    <a:pt x="720" y="119"/>
                  </a:lnTo>
                  <a:lnTo>
                    <a:pt x="721" y="1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19" name="Freeform 219">
              <a:extLst>
                <a:ext uri="{FF2B5EF4-FFF2-40B4-BE49-F238E27FC236}">
                  <a16:creationId xmlns:a16="http://schemas.microsoft.com/office/drawing/2014/main" id="{9ADAD2B4-0195-4F26-AA3D-F72523307C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97101" y="2528888"/>
              <a:ext cx="2441575" cy="1749425"/>
            </a:xfrm>
            <a:custGeom>
              <a:avLst/>
              <a:gdLst>
                <a:gd name="T0" fmla="*/ 1511 w 1538"/>
                <a:gd name="T1" fmla="*/ 384 h 1102"/>
                <a:gd name="T2" fmla="*/ 1448 w 1538"/>
                <a:gd name="T3" fmla="*/ 324 h 1102"/>
                <a:gd name="T4" fmla="*/ 1401 w 1538"/>
                <a:gd name="T5" fmla="*/ 296 h 1102"/>
                <a:gd name="T6" fmla="*/ 1350 w 1538"/>
                <a:gd name="T7" fmla="*/ 256 h 1102"/>
                <a:gd name="T8" fmla="*/ 1239 w 1538"/>
                <a:gd name="T9" fmla="*/ 280 h 1102"/>
                <a:gd name="T10" fmla="*/ 1191 w 1538"/>
                <a:gd name="T11" fmla="*/ 427 h 1102"/>
                <a:gd name="T12" fmla="*/ 1019 w 1538"/>
                <a:gd name="T13" fmla="*/ 298 h 1102"/>
                <a:gd name="T14" fmla="*/ 1029 w 1538"/>
                <a:gd name="T15" fmla="*/ 193 h 1102"/>
                <a:gd name="T16" fmla="*/ 1095 w 1538"/>
                <a:gd name="T17" fmla="*/ 159 h 1102"/>
                <a:gd name="T18" fmla="*/ 1187 w 1538"/>
                <a:gd name="T19" fmla="*/ 114 h 1102"/>
                <a:gd name="T20" fmla="*/ 1138 w 1538"/>
                <a:gd name="T21" fmla="*/ 74 h 1102"/>
                <a:gd name="T22" fmla="*/ 1052 w 1538"/>
                <a:gd name="T23" fmla="*/ 62 h 1102"/>
                <a:gd name="T24" fmla="*/ 979 w 1538"/>
                <a:gd name="T25" fmla="*/ 42 h 1102"/>
                <a:gd name="T26" fmla="*/ 984 w 1538"/>
                <a:gd name="T27" fmla="*/ 116 h 1102"/>
                <a:gd name="T28" fmla="*/ 842 w 1538"/>
                <a:gd name="T29" fmla="*/ 79 h 1102"/>
                <a:gd name="T30" fmla="*/ 799 w 1538"/>
                <a:gd name="T31" fmla="*/ 106 h 1102"/>
                <a:gd name="T32" fmla="*/ 589 w 1538"/>
                <a:gd name="T33" fmla="*/ 50 h 1102"/>
                <a:gd name="T34" fmla="*/ 481 w 1538"/>
                <a:gd name="T35" fmla="*/ 72 h 1102"/>
                <a:gd name="T36" fmla="*/ 442 w 1538"/>
                <a:gd name="T37" fmla="*/ 77 h 1102"/>
                <a:gd name="T38" fmla="*/ 276 w 1538"/>
                <a:gd name="T39" fmla="*/ 45 h 1102"/>
                <a:gd name="T40" fmla="*/ 106 w 1538"/>
                <a:gd name="T41" fmla="*/ 39 h 1102"/>
                <a:gd name="T42" fmla="*/ 82 w 1538"/>
                <a:gd name="T43" fmla="*/ 130 h 1102"/>
                <a:gd name="T44" fmla="*/ 67 w 1538"/>
                <a:gd name="T45" fmla="*/ 181 h 1102"/>
                <a:gd name="T46" fmla="*/ 45 w 1538"/>
                <a:gd name="T47" fmla="*/ 241 h 1102"/>
                <a:gd name="T48" fmla="*/ 100 w 1538"/>
                <a:gd name="T49" fmla="*/ 296 h 1102"/>
                <a:gd name="T50" fmla="*/ 65 w 1538"/>
                <a:gd name="T51" fmla="*/ 370 h 1102"/>
                <a:gd name="T52" fmla="*/ 200 w 1538"/>
                <a:gd name="T53" fmla="*/ 297 h 1102"/>
                <a:gd name="T54" fmla="*/ 250 w 1538"/>
                <a:gd name="T55" fmla="*/ 279 h 1102"/>
                <a:gd name="T56" fmla="*/ 347 w 1538"/>
                <a:gd name="T57" fmla="*/ 271 h 1102"/>
                <a:gd name="T58" fmla="*/ 445 w 1538"/>
                <a:gd name="T59" fmla="*/ 289 h 1102"/>
                <a:gd name="T60" fmla="*/ 511 w 1538"/>
                <a:gd name="T61" fmla="*/ 376 h 1102"/>
                <a:gd name="T62" fmla="*/ 548 w 1538"/>
                <a:gd name="T63" fmla="*/ 422 h 1102"/>
                <a:gd name="T64" fmla="*/ 591 w 1538"/>
                <a:gd name="T65" fmla="*/ 448 h 1102"/>
                <a:gd name="T66" fmla="*/ 596 w 1538"/>
                <a:gd name="T67" fmla="*/ 493 h 1102"/>
                <a:gd name="T68" fmla="*/ 626 w 1538"/>
                <a:gd name="T69" fmla="*/ 672 h 1102"/>
                <a:gd name="T70" fmla="*/ 734 w 1538"/>
                <a:gd name="T71" fmla="*/ 821 h 1102"/>
                <a:gd name="T72" fmla="*/ 768 w 1538"/>
                <a:gd name="T73" fmla="*/ 835 h 1102"/>
                <a:gd name="T74" fmla="*/ 803 w 1538"/>
                <a:gd name="T75" fmla="*/ 852 h 1102"/>
                <a:gd name="T76" fmla="*/ 1017 w 1538"/>
                <a:gd name="T77" fmla="*/ 994 h 1102"/>
                <a:gd name="T78" fmla="*/ 1161 w 1538"/>
                <a:gd name="T79" fmla="*/ 1094 h 1102"/>
                <a:gd name="T80" fmla="*/ 1120 w 1538"/>
                <a:gd name="T81" fmla="*/ 994 h 1102"/>
                <a:gd name="T82" fmla="*/ 1040 w 1538"/>
                <a:gd name="T83" fmla="*/ 954 h 1102"/>
                <a:gd name="T84" fmla="*/ 964 w 1538"/>
                <a:gd name="T85" fmla="*/ 828 h 1102"/>
                <a:gd name="T86" fmla="*/ 1082 w 1538"/>
                <a:gd name="T87" fmla="*/ 802 h 1102"/>
                <a:gd name="T88" fmla="*/ 1168 w 1538"/>
                <a:gd name="T89" fmla="*/ 803 h 1102"/>
                <a:gd name="T90" fmla="*/ 1205 w 1538"/>
                <a:gd name="T91" fmla="*/ 750 h 1102"/>
                <a:gd name="T92" fmla="*/ 1251 w 1538"/>
                <a:gd name="T93" fmla="*/ 675 h 1102"/>
                <a:gd name="T94" fmla="*/ 1272 w 1538"/>
                <a:gd name="T95" fmla="*/ 656 h 1102"/>
                <a:gd name="T96" fmla="*/ 1339 w 1538"/>
                <a:gd name="T97" fmla="*/ 573 h 1102"/>
                <a:gd name="T98" fmla="*/ 1397 w 1538"/>
                <a:gd name="T99" fmla="*/ 559 h 1102"/>
                <a:gd name="T100" fmla="*/ 1402 w 1538"/>
                <a:gd name="T101" fmla="*/ 507 h 1102"/>
                <a:gd name="T102" fmla="*/ 1379 w 1538"/>
                <a:gd name="T103" fmla="*/ 475 h 1102"/>
                <a:gd name="T104" fmla="*/ 665 w 1538"/>
                <a:gd name="T105" fmla="*/ 160 h 1102"/>
                <a:gd name="T106" fmla="*/ 590 w 1538"/>
                <a:gd name="T107" fmla="*/ 139 h 1102"/>
                <a:gd name="T108" fmla="*/ 797 w 1538"/>
                <a:gd name="T109" fmla="*/ 217 h 1102"/>
                <a:gd name="T110" fmla="*/ 722 w 1538"/>
                <a:gd name="T111" fmla="*/ 219 h 1102"/>
                <a:gd name="T112" fmla="*/ 945 w 1538"/>
                <a:gd name="T113" fmla="*/ 397 h 1102"/>
                <a:gd name="T114" fmla="*/ 1129 w 1538"/>
                <a:gd name="T115" fmla="*/ 554 h 1102"/>
                <a:gd name="T116" fmla="*/ 1128 w 1538"/>
                <a:gd name="T117" fmla="*/ 534 h 1102"/>
                <a:gd name="T118" fmla="*/ 1076 w 1538"/>
                <a:gd name="T119" fmla="*/ 498 h 1102"/>
                <a:gd name="T120" fmla="*/ 1206 w 1538"/>
                <a:gd name="T121" fmla="*/ 552 h 1102"/>
                <a:gd name="T122" fmla="*/ 1161 w 1538"/>
                <a:gd name="T123" fmla="*/ 601 h 1102"/>
                <a:gd name="T124" fmla="*/ 1224 w 1538"/>
                <a:gd name="T125" fmla="*/ 570 h 1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538" h="1102">
                  <a:moveTo>
                    <a:pt x="1531" y="421"/>
                  </a:moveTo>
                  <a:lnTo>
                    <a:pt x="1537" y="422"/>
                  </a:lnTo>
                  <a:lnTo>
                    <a:pt x="1536" y="419"/>
                  </a:lnTo>
                  <a:lnTo>
                    <a:pt x="1533" y="418"/>
                  </a:lnTo>
                  <a:lnTo>
                    <a:pt x="1529" y="418"/>
                  </a:lnTo>
                  <a:lnTo>
                    <a:pt x="1527" y="417"/>
                  </a:lnTo>
                  <a:lnTo>
                    <a:pt x="1530" y="418"/>
                  </a:lnTo>
                  <a:lnTo>
                    <a:pt x="1534" y="416"/>
                  </a:lnTo>
                  <a:lnTo>
                    <a:pt x="1536" y="416"/>
                  </a:lnTo>
                  <a:lnTo>
                    <a:pt x="1534" y="414"/>
                  </a:lnTo>
                  <a:lnTo>
                    <a:pt x="1536" y="414"/>
                  </a:lnTo>
                  <a:lnTo>
                    <a:pt x="1535" y="410"/>
                  </a:lnTo>
                  <a:lnTo>
                    <a:pt x="1533" y="409"/>
                  </a:lnTo>
                  <a:lnTo>
                    <a:pt x="1535" y="409"/>
                  </a:lnTo>
                  <a:lnTo>
                    <a:pt x="1537" y="406"/>
                  </a:lnTo>
                  <a:lnTo>
                    <a:pt x="1536" y="404"/>
                  </a:lnTo>
                  <a:lnTo>
                    <a:pt x="1530" y="399"/>
                  </a:lnTo>
                  <a:lnTo>
                    <a:pt x="1533" y="399"/>
                  </a:lnTo>
                  <a:lnTo>
                    <a:pt x="1530" y="399"/>
                  </a:lnTo>
                  <a:lnTo>
                    <a:pt x="1525" y="397"/>
                  </a:lnTo>
                  <a:lnTo>
                    <a:pt x="1528" y="396"/>
                  </a:lnTo>
                  <a:lnTo>
                    <a:pt x="1525" y="397"/>
                  </a:lnTo>
                  <a:lnTo>
                    <a:pt x="1522" y="397"/>
                  </a:lnTo>
                  <a:lnTo>
                    <a:pt x="1519" y="397"/>
                  </a:lnTo>
                  <a:lnTo>
                    <a:pt x="1518" y="400"/>
                  </a:lnTo>
                  <a:lnTo>
                    <a:pt x="1516" y="401"/>
                  </a:lnTo>
                  <a:lnTo>
                    <a:pt x="1514" y="399"/>
                  </a:lnTo>
                  <a:lnTo>
                    <a:pt x="1514" y="398"/>
                  </a:lnTo>
                  <a:lnTo>
                    <a:pt x="1517" y="397"/>
                  </a:lnTo>
                  <a:lnTo>
                    <a:pt x="1518" y="393"/>
                  </a:lnTo>
                  <a:lnTo>
                    <a:pt x="1514" y="389"/>
                  </a:lnTo>
                  <a:lnTo>
                    <a:pt x="1509" y="388"/>
                  </a:lnTo>
                  <a:lnTo>
                    <a:pt x="1507" y="387"/>
                  </a:lnTo>
                  <a:lnTo>
                    <a:pt x="1504" y="387"/>
                  </a:lnTo>
                  <a:lnTo>
                    <a:pt x="1501" y="388"/>
                  </a:lnTo>
                  <a:lnTo>
                    <a:pt x="1504" y="389"/>
                  </a:lnTo>
                  <a:lnTo>
                    <a:pt x="1507" y="389"/>
                  </a:lnTo>
                  <a:lnTo>
                    <a:pt x="1504" y="390"/>
                  </a:lnTo>
                  <a:lnTo>
                    <a:pt x="1496" y="392"/>
                  </a:lnTo>
                  <a:lnTo>
                    <a:pt x="1493" y="395"/>
                  </a:lnTo>
                  <a:lnTo>
                    <a:pt x="1492" y="397"/>
                  </a:lnTo>
                  <a:lnTo>
                    <a:pt x="1490" y="398"/>
                  </a:lnTo>
                  <a:lnTo>
                    <a:pt x="1484" y="400"/>
                  </a:lnTo>
                  <a:lnTo>
                    <a:pt x="1480" y="400"/>
                  </a:lnTo>
                  <a:lnTo>
                    <a:pt x="1480" y="401"/>
                  </a:lnTo>
                  <a:lnTo>
                    <a:pt x="1476" y="405"/>
                  </a:lnTo>
                  <a:lnTo>
                    <a:pt x="1474" y="405"/>
                  </a:lnTo>
                  <a:lnTo>
                    <a:pt x="1476" y="405"/>
                  </a:lnTo>
                  <a:lnTo>
                    <a:pt x="1477" y="401"/>
                  </a:lnTo>
                  <a:lnTo>
                    <a:pt x="1475" y="399"/>
                  </a:lnTo>
                  <a:lnTo>
                    <a:pt x="1471" y="397"/>
                  </a:lnTo>
                  <a:lnTo>
                    <a:pt x="1466" y="397"/>
                  </a:lnTo>
                  <a:lnTo>
                    <a:pt x="1467" y="395"/>
                  </a:lnTo>
                  <a:lnTo>
                    <a:pt x="1470" y="397"/>
                  </a:lnTo>
                  <a:lnTo>
                    <a:pt x="1473" y="397"/>
                  </a:lnTo>
                  <a:lnTo>
                    <a:pt x="1475" y="399"/>
                  </a:lnTo>
                  <a:lnTo>
                    <a:pt x="1478" y="400"/>
                  </a:lnTo>
                  <a:lnTo>
                    <a:pt x="1478" y="397"/>
                  </a:lnTo>
                  <a:lnTo>
                    <a:pt x="1479" y="396"/>
                  </a:lnTo>
                  <a:lnTo>
                    <a:pt x="1487" y="395"/>
                  </a:lnTo>
                  <a:lnTo>
                    <a:pt x="1495" y="390"/>
                  </a:lnTo>
                  <a:lnTo>
                    <a:pt x="1499" y="390"/>
                  </a:lnTo>
                  <a:lnTo>
                    <a:pt x="1501" y="388"/>
                  </a:lnTo>
                  <a:lnTo>
                    <a:pt x="1490" y="391"/>
                  </a:lnTo>
                  <a:lnTo>
                    <a:pt x="1486" y="391"/>
                  </a:lnTo>
                  <a:lnTo>
                    <a:pt x="1486" y="390"/>
                  </a:lnTo>
                  <a:lnTo>
                    <a:pt x="1490" y="390"/>
                  </a:lnTo>
                  <a:lnTo>
                    <a:pt x="1494" y="389"/>
                  </a:lnTo>
                  <a:lnTo>
                    <a:pt x="1497" y="388"/>
                  </a:lnTo>
                  <a:lnTo>
                    <a:pt x="1500" y="387"/>
                  </a:lnTo>
                  <a:lnTo>
                    <a:pt x="1503" y="387"/>
                  </a:lnTo>
                  <a:lnTo>
                    <a:pt x="1505" y="384"/>
                  </a:lnTo>
                  <a:lnTo>
                    <a:pt x="1511" y="384"/>
                  </a:lnTo>
                  <a:lnTo>
                    <a:pt x="1513" y="382"/>
                  </a:lnTo>
                  <a:lnTo>
                    <a:pt x="1511" y="383"/>
                  </a:lnTo>
                  <a:lnTo>
                    <a:pt x="1512" y="382"/>
                  </a:lnTo>
                  <a:lnTo>
                    <a:pt x="1514" y="380"/>
                  </a:lnTo>
                  <a:lnTo>
                    <a:pt x="1507" y="378"/>
                  </a:lnTo>
                  <a:lnTo>
                    <a:pt x="1504" y="378"/>
                  </a:lnTo>
                  <a:lnTo>
                    <a:pt x="1501" y="376"/>
                  </a:lnTo>
                  <a:lnTo>
                    <a:pt x="1496" y="375"/>
                  </a:lnTo>
                  <a:lnTo>
                    <a:pt x="1492" y="371"/>
                  </a:lnTo>
                  <a:lnTo>
                    <a:pt x="1490" y="371"/>
                  </a:lnTo>
                  <a:lnTo>
                    <a:pt x="1491" y="368"/>
                  </a:lnTo>
                  <a:lnTo>
                    <a:pt x="1487" y="371"/>
                  </a:lnTo>
                  <a:lnTo>
                    <a:pt x="1482" y="374"/>
                  </a:lnTo>
                  <a:lnTo>
                    <a:pt x="1479" y="378"/>
                  </a:lnTo>
                  <a:lnTo>
                    <a:pt x="1482" y="374"/>
                  </a:lnTo>
                  <a:lnTo>
                    <a:pt x="1484" y="372"/>
                  </a:lnTo>
                  <a:lnTo>
                    <a:pt x="1485" y="370"/>
                  </a:lnTo>
                  <a:lnTo>
                    <a:pt x="1482" y="368"/>
                  </a:lnTo>
                  <a:lnTo>
                    <a:pt x="1482" y="366"/>
                  </a:lnTo>
                  <a:lnTo>
                    <a:pt x="1479" y="367"/>
                  </a:lnTo>
                  <a:lnTo>
                    <a:pt x="1477" y="370"/>
                  </a:lnTo>
                  <a:lnTo>
                    <a:pt x="1475" y="372"/>
                  </a:lnTo>
                  <a:lnTo>
                    <a:pt x="1477" y="371"/>
                  </a:lnTo>
                  <a:lnTo>
                    <a:pt x="1478" y="367"/>
                  </a:lnTo>
                  <a:lnTo>
                    <a:pt x="1475" y="368"/>
                  </a:lnTo>
                  <a:lnTo>
                    <a:pt x="1469" y="372"/>
                  </a:lnTo>
                  <a:lnTo>
                    <a:pt x="1475" y="363"/>
                  </a:lnTo>
                  <a:lnTo>
                    <a:pt x="1473" y="365"/>
                  </a:lnTo>
                  <a:lnTo>
                    <a:pt x="1473" y="363"/>
                  </a:lnTo>
                  <a:lnTo>
                    <a:pt x="1473" y="361"/>
                  </a:lnTo>
                  <a:lnTo>
                    <a:pt x="1475" y="357"/>
                  </a:lnTo>
                  <a:lnTo>
                    <a:pt x="1471" y="358"/>
                  </a:lnTo>
                  <a:lnTo>
                    <a:pt x="1470" y="362"/>
                  </a:lnTo>
                  <a:lnTo>
                    <a:pt x="1469" y="358"/>
                  </a:lnTo>
                  <a:lnTo>
                    <a:pt x="1466" y="358"/>
                  </a:lnTo>
                  <a:lnTo>
                    <a:pt x="1467" y="356"/>
                  </a:lnTo>
                  <a:lnTo>
                    <a:pt x="1465" y="356"/>
                  </a:lnTo>
                  <a:lnTo>
                    <a:pt x="1462" y="354"/>
                  </a:lnTo>
                  <a:lnTo>
                    <a:pt x="1459" y="353"/>
                  </a:lnTo>
                  <a:lnTo>
                    <a:pt x="1462" y="353"/>
                  </a:lnTo>
                  <a:lnTo>
                    <a:pt x="1459" y="353"/>
                  </a:lnTo>
                  <a:lnTo>
                    <a:pt x="1458" y="349"/>
                  </a:lnTo>
                  <a:lnTo>
                    <a:pt x="1454" y="349"/>
                  </a:lnTo>
                  <a:lnTo>
                    <a:pt x="1451" y="347"/>
                  </a:lnTo>
                  <a:lnTo>
                    <a:pt x="1454" y="348"/>
                  </a:lnTo>
                  <a:lnTo>
                    <a:pt x="1457" y="347"/>
                  </a:lnTo>
                  <a:lnTo>
                    <a:pt x="1451" y="344"/>
                  </a:lnTo>
                  <a:lnTo>
                    <a:pt x="1454" y="342"/>
                  </a:lnTo>
                  <a:lnTo>
                    <a:pt x="1449" y="341"/>
                  </a:lnTo>
                  <a:lnTo>
                    <a:pt x="1452" y="341"/>
                  </a:lnTo>
                  <a:lnTo>
                    <a:pt x="1448" y="340"/>
                  </a:lnTo>
                  <a:lnTo>
                    <a:pt x="1447" y="339"/>
                  </a:lnTo>
                  <a:lnTo>
                    <a:pt x="1445" y="338"/>
                  </a:lnTo>
                  <a:lnTo>
                    <a:pt x="1447" y="338"/>
                  </a:lnTo>
                  <a:lnTo>
                    <a:pt x="1445" y="337"/>
                  </a:lnTo>
                  <a:lnTo>
                    <a:pt x="1451" y="337"/>
                  </a:lnTo>
                  <a:lnTo>
                    <a:pt x="1448" y="337"/>
                  </a:lnTo>
                  <a:lnTo>
                    <a:pt x="1447" y="338"/>
                  </a:lnTo>
                  <a:lnTo>
                    <a:pt x="1447" y="339"/>
                  </a:lnTo>
                  <a:lnTo>
                    <a:pt x="1453" y="340"/>
                  </a:lnTo>
                  <a:lnTo>
                    <a:pt x="1456" y="340"/>
                  </a:lnTo>
                  <a:lnTo>
                    <a:pt x="1453" y="338"/>
                  </a:lnTo>
                  <a:lnTo>
                    <a:pt x="1457" y="337"/>
                  </a:lnTo>
                  <a:lnTo>
                    <a:pt x="1458" y="335"/>
                  </a:lnTo>
                  <a:lnTo>
                    <a:pt x="1460" y="335"/>
                  </a:lnTo>
                  <a:lnTo>
                    <a:pt x="1460" y="333"/>
                  </a:lnTo>
                  <a:lnTo>
                    <a:pt x="1459" y="331"/>
                  </a:lnTo>
                  <a:lnTo>
                    <a:pt x="1453" y="328"/>
                  </a:lnTo>
                  <a:lnTo>
                    <a:pt x="1453" y="325"/>
                  </a:lnTo>
                  <a:lnTo>
                    <a:pt x="1450" y="324"/>
                  </a:lnTo>
                  <a:lnTo>
                    <a:pt x="1448" y="325"/>
                  </a:lnTo>
                  <a:lnTo>
                    <a:pt x="1444" y="324"/>
                  </a:lnTo>
                  <a:lnTo>
                    <a:pt x="1448" y="324"/>
                  </a:lnTo>
                  <a:lnTo>
                    <a:pt x="1450" y="323"/>
                  </a:lnTo>
                  <a:lnTo>
                    <a:pt x="1453" y="321"/>
                  </a:lnTo>
                  <a:lnTo>
                    <a:pt x="1450" y="319"/>
                  </a:lnTo>
                  <a:lnTo>
                    <a:pt x="1449" y="315"/>
                  </a:lnTo>
                  <a:lnTo>
                    <a:pt x="1445" y="316"/>
                  </a:lnTo>
                  <a:lnTo>
                    <a:pt x="1444" y="314"/>
                  </a:lnTo>
                  <a:lnTo>
                    <a:pt x="1448" y="313"/>
                  </a:lnTo>
                  <a:lnTo>
                    <a:pt x="1444" y="311"/>
                  </a:lnTo>
                  <a:lnTo>
                    <a:pt x="1437" y="313"/>
                  </a:lnTo>
                  <a:lnTo>
                    <a:pt x="1435" y="313"/>
                  </a:lnTo>
                  <a:lnTo>
                    <a:pt x="1437" y="311"/>
                  </a:lnTo>
                  <a:lnTo>
                    <a:pt x="1440" y="311"/>
                  </a:lnTo>
                  <a:lnTo>
                    <a:pt x="1443" y="310"/>
                  </a:lnTo>
                  <a:lnTo>
                    <a:pt x="1441" y="308"/>
                  </a:lnTo>
                  <a:lnTo>
                    <a:pt x="1443" y="307"/>
                  </a:lnTo>
                  <a:lnTo>
                    <a:pt x="1442" y="304"/>
                  </a:lnTo>
                  <a:lnTo>
                    <a:pt x="1439" y="305"/>
                  </a:lnTo>
                  <a:lnTo>
                    <a:pt x="1436" y="305"/>
                  </a:lnTo>
                  <a:lnTo>
                    <a:pt x="1434" y="305"/>
                  </a:lnTo>
                  <a:lnTo>
                    <a:pt x="1431" y="307"/>
                  </a:lnTo>
                  <a:lnTo>
                    <a:pt x="1433" y="304"/>
                  </a:lnTo>
                  <a:lnTo>
                    <a:pt x="1435" y="304"/>
                  </a:lnTo>
                  <a:lnTo>
                    <a:pt x="1439" y="303"/>
                  </a:lnTo>
                  <a:lnTo>
                    <a:pt x="1437" y="301"/>
                  </a:lnTo>
                  <a:lnTo>
                    <a:pt x="1439" y="297"/>
                  </a:lnTo>
                  <a:lnTo>
                    <a:pt x="1435" y="297"/>
                  </a:lnTo>
                  <a:lnTo>
                    <a:pt x="1434" y="295"/>
                  </a:lnTo>
                  <a:lnTo>
                    <a:pt x="1434" y="293"/>
                  </a:lnTo>
                  <a:lnTo>
                    <a:pt x="1430" y="294"/>
                  </a:lnTo>
                  <a:lnTo>
                    <a:pt x="1424" y="293"/>
                  </a:lnTo>
                  <a:lnTo>
                    <a:pt x="1430" y="293"/>
                  </a:lnTo>
                  <a:lnTo>
                    <a:pt x="1433" y="291"/>
                  </a:lnTo>
                  <a:lnTo>
                    <a:pt x="1432" y="288"/>
                  </a:lnTo>
                  <a:lnTo>
                    <a:pt x="1430" y="289"/>
                  </a:lnTo>
                  <a:lnTo>
                    <a:pt x="1430" y="287"/>
                  </a:lnTo>
                  <a:lnTo>
                    <a:pt x="1427" y="287"/>
                  </a:lnTo>
                  <a:lnTo>
                    <a:pt x="1425" y="286"/>
                  </a:lnTo>
                  <a:lnTo>
                    <a:pt x="1427" y="285"/>
                  </a:lnTo>
                  <a:lnTo>
                    <a:pt x="1425" y="281"/>
                  </a:lnTo>
                  <a:lnTo>
                    <a:pt x="1423" y="284"/>
                  </a:lnTo>
                  <a:lnTo>
                    <a:pt x="1424" y="280"/>
                  </a:lnTo>
                  <a:lnTo>
                    <a:pt x="1420" y="279"/>
                  </a:lnTo>
                  <a:lnTo>
                    <a:pt x="1422" y="277"/>
                  </a:lnTo>
                  <a:lnTo>
                    <a:pt x="1422" y="273"/>
                  </a:lnTo>
                  <a:lnTo>
                    <a:pt x="1417" y="273"/>
                  </a:lnTo>
                  <a:lnTo>
                    <a:pt x="1417" y="272"/>
                  </a:lnTo>
                  <a:lnTo>
                    <a:pt x="1414" y="273"/>
                  </a:lnTo>
                  <a:lnTo>
                    <a:pt x="1413" y="273"/>
                  </a:lnTo>
                  <a:lnTo>
                    <a:pt x="1418" y="271"/>
                  </a:lnTo>
                  <a:lnTo>
                    <a:pt x="1417" y="269"/>
                  </a:lnTo>
                  <a:lnTo>
                    <a:pt x="1415" y="269"/>
                  </a:lnTo>
                  <a:lnTo>
                    <a:pt x="1417" y="268"/>
                  </a:lnTo>
                  <a:lnTo>
                    <a:pt x="1415" y="268"/>
                  </a:lnTo>
                  <a:lnTo>
                    <a:pt x="1413" y="269"/>
                  </a:lnTo>
                  <a:lnTo>
                    <a:pt x="1415" y="271"/>
                  </a:lnTo>
                  <a:lnTo>
                    <a:pt x="1413" y="273"/>
                  </a:lnTo>
                  <a:lnTo>
                    <a:pt x="1409" y="273"/>
                  </a:lnTo>
                  <a:lnTo>
                    <a:pt x="1408" y="278"/>
                  </a:lnTo>
                  <a:lnTo>
                    <a:pt x="1410" y="279"/>
                  </a:lnTo>
                  <a:lnTo>
                    <a:pt x="1406" y="278"/>
                  </a:lnTo>
                  <a:lnTo>
                    <a:pt x="1403" y="280"/>
                  </a:lnTo>
                  <a:lnTo>
                    <a:pt x="1405" y="282"/>
                  </a:lnTo>
                  <a:lnTo>
                    <a:pt x="1407" y="285"/>
                  </a:lnTo>
                  <a:lnTo>
                    <a:pt x="1408" y="285"/>
                  </a:lnTo>
                  <a:lnTo>
                    <a:pt x="1410" y="287"/>
                  </a:lnTo>
                  <a:lnTo>
                    <a:pt x="1407" y="285"/>
                  </a:lnTo>
                  <a:lnTo>
                    <a:pt x="1405" y="286"/>
                  </a:lnTo>
                  <a:lnTo>
                    <a:pt x="1403" y="289"/>
                  </a:lnTo>
                  <a:lnTo>
                    <a:pt x="1400" y="290"/>
                  </a:lnTo>
                  <a:lnTo>
                    <a:pt x="1403" y="293"/>
                  </a:lnTo>
                  <a:lnTo>
                    <a:pt x="1406" y="294"/>
                  </a:lnTo>
                  <a:lnTo>
                    <a:pt x="1403" y="293"/>
                  </a:lnTo>
                  <a:lnTo>
                    <a:pt x="1401" y="296"/>
                  </a:lnTo>
                  <a:lnTo>
                    <a:pt x="1399" y="295"/>
                  </a:lnTo>
                  <a:lnTo>
                    <a:pt x="1399" y="297"/>
                  </a:lnTo>
                  <a:lnTo>
                    <a:pt x="1399" y="297"/>
                  </a:lnTo>
                  <a:lnTo>
                    <a:pt x="1397" y="297"/>
                  </a:lnTo>
                  <a:lnTo>
                    <a:pt x="1397" y="299"/>
                  </a:lnTo>
                  <a:lnTo>
                    <a:pt x="1399" y="303"/>
                  </a:lnTo>
                  <a:lnTo>
                    <a:pt x="1398" y="305"/>
                  </a:lnTo>
                  <a:lnTo>
                    <a:pt x="1396" y="307"/>
                  </a:lnTo>
                  <a:lnTo>
                    <a:pt x="1397" y="306"/>
                  </a:lnTo>
                  <a:lnTo>
                    <a:pt x="1397" y="303"/>
                  </a:lnTo>
                  <a:lnTo>
                    <a:pt x="1396" y="301"/>
                  </a:lnTo>
                  <a:lnTo>
                    <a:pt x="1393" y="298"/>
                  </a:lnTo>
                  <a:lnTo>
                    <a:pt x="1390" y="299"/>
                  </a:lnTo>
                  <a:lnTo>
                    <a:pt x="1388" y="304"/>
                  </a:lnTo>
                  <a:lnTo>
                    <a:pt x="1383" y="305"/>
                  </a:lnTo>
                  <a:lnTo>
                    <a:pt x="1381" y="307"/>
                  </a:lnTo>
                  <a:lnTo>
                    <a:pt x="1375" y="310"/>
                  </a:lnTo>
                  <a:lnTo>
                    <a:pt x="1373" y="315"/>
                  </a:lnTo>
                  <a:lnTo>
                    <a:pt x="1373" y="315"/>
                  </a:lnTo>
                  <a:lnTo>
                    <a:pt x="1374" y="310"/>
                  </a:lnTo>
                  <a:lnTo>
                    <a:pt x="1372" y="306"/>
                  </a:lnTo>
                  <a:lnTo>
                    <a:pt x="1372" y="310"/>
                  </a:lnTo>
                  <a:lnTo>
                    <a:pt x="1368" y="311"/>
                  </a:lnTo>
                  <a:lnTo>
                    <a:pt x="1372" y="308"/>
                  </a:lnTo>
                  <a:lnTo>
                    <a:pt x="1369" y="303"/>
                  </a:lnTo>
                  <a:lnTo>
                    <a:pt x="1367" y="305"/>
                  </a:lnTo>
                  <a:lnTo>
                    <a:pt x="1367" y="307"/>
                  </a:lnTo>
                  <a:lnTo>
                    <a:pt x="1364" y="313"/>
                  </a:lnTo>
                  <a:lnTo>
                    <a:pt x="1364" y="313"/>
                  </a:lnTo>
                  <a:lnTo>
                    <a:pt x="1362" y="314"/>
                  </a:lnTo>
                  <a:lnTo>
                    <a:pt x="1356" y="315"/>
                  </a:lnTo>
                  <a:lnTo>
                    <a:pt x="1351" y="319"/>
                  </a:lnTo>
                  <a:lnTo>
                    <a:pt x="1352" y="318"/>
                  </a:lnTo>
                  <a:lnTo>
                    <a:pt x="1355" y="315"/>
                  </a:lnTo>
                  <a:lnTo>
                    <a:pt x="1356" y="315"/>
                  </a:lnTo>
                  <a:lnTo>
                    <a:pt x="1364" y="313"/>
                  </a:lnTo>
                  <a:lnTo>
                    <a:pt x="1365" y="311"/>
                  </a:lnTo>
                  <a:lnTo>
                    <a:pt x="1366" y="305"/>
                  </a:lnTo>
                  <a:lnTo>
                    <a:pt x="1365" y="302"/>
                  </a:lnTo>
                  <a:lnTo>
                    <a:pt x="1364" y="299"/>
                  </a:lnTo>
                  <a:lnTo>
                    <a:pt x="1362" y="297"/>
                  </a:lnTo>
                  <a:lnTo>
                    <a:pt x="1359" y="296"/>
                  </a:lnTo>
                  <a:lnTo>
                    <a:pt x="1357" y="297"/>
                  </a:lnTo>
                  <a:lnTo>
                    <a:pt x="1354" y="296"/>
                  </a:lnTo>
                  <a:lnTo>
                    <a:pt x="1351" y="297"/>
                  </a:lnTo>
                  <a:lnTo>
                    <a:pt x="1346" y="301"/>
                  </a:lnTo>
                  <a:lnTo>
                    <a:pt x="1343" y="301"/>
                  </a:lnTo>
                  <a:lnTo>
                    <a:pt x="1341" y="299"/>
                  </a:lnTo>
                  <a:lnTo>
                    <a:pt x="1339" y="298"/>
                  </a:lnTo>
                  <a:lnTo>
                    <a:pt x="1339" y="298"/>
                  </a:lnTo>
                  <a:lnTo>
                    <a:pt x="1342" y="298"/>
                  </a:lnTo>
                  <a:lnTo>
                    <a:pt x="1345" y="296"/>
                  </a:lnTo>
                  <a:lnTo>
                    <a:pt x="1343" y="293"/>
                  </a:lnTo>
                  <a:lnTo>
                    <a:pt x="1347" y="296"/>
                  </a:lnTo>
                  <a:lnTo>
                    <a:pt x="1348" y="298"/>
                  </a:lnTo>
                  <a:lnTo>
                    <a:pt x="1349" y="296"/>
                  </a:lnTo>
                  <a:lnTo>
                    <a:pt x="1351" y="288"/>
                  </a:lnTo>
                  <a:lnTo>
                    <a:pt x="1347" y="286"/>
                  </a:lnTo>
                  <a:lnTo>
                    <a:pt x="1346" y="284"/>
                  </a:lnTo>
                  <a:lnTo>
                    <a:pt x="1348" y="281"/>
                  </a:lnTo>
                  <a:lnTo>
                    <a:pt x="1347" y="277"/>
                  </a:lnTo>
                  <a:lnTo>
                    <a:pt x="1345" y="274"/>
                  </a:lnTo>
                  <a:lnTo>
                    <a:pt x="1335" y="274"/>
                  </a:lnTo>
                  <a:lnTo>
                    <a:pt x="1328" y="272"/>
                  </a:lnTo>
                  <a:lnTo>
                    <a:pt x="1333" y="273"/>
                  </a:lnTo>
                  <a:lnTo>
                    <a:pt x="1346" y="273"/>
                  </a:lnTo>
                  <a:lnTo>
                    <a:pt x="1345" y="272"/>
                  </a:lnTo>
                  <a:lnTo>
                    <a:pt x="1347" y="272"/>
                  </a:lnTo>
                  <a:lnTo>
                    <a:pt x="1347" y="269"/>
                  </a:lnTo>
                  <a:lnTo>
                    <a:pt x="1346" y="267"/>
                  </a:lnTo>
                  <a:lnTo>
                    <a:pt x="1345" y="264"/>
                  </a:lnTo>
                  <a:lnTo>
                    <a:pt x="1348" y="259"/>
                  </a:lnTo>
                  <a:lnTo>
                    <a:pt x="1350" y="256"/>
                  </a:lnTo>
                  <a:lnTo>
                    <a:pt x="1349" y="253"/>
                  </a:lnTo>
                  <a:lnTo>
                    <a:pt x="1347" y="253"/>
                  </a:lnTo>
                  <a:lnTo>
                    <a:pt x="1345" y="255"/>
                  </a:lnTo>
                  <a:lnTo>
                    <a:pt x="1342" y="256"/>
                  </a:lnTo>
                  <a:lnTo>
                    <a:pt x="1339" y="252"/>
                  </a:lnTo>
                  <a:lnTo>
                    <a:pt x="1337" y="253"/>
                  </a:lnTo>
                  <a:lnTo>
                    <a:pt x="1333" y="253"/>
                  </a:lnTo>
                  <a:lnTo>
                    <a:pt x="1331" y="252"/>
                  </a:lnTo>
                  <a:lnTo>
                    <a:pt x="1329" y="251"/>
                  </a:lnTo>
                  <a:lnTo>
                    <a:pt x="1323" y="250"/>
                  </a:lnTo>
                  <a:lnTo>
                    <a:pt x="1321" y="248"/>
                  </a:lnTo>
                  <a:lnTo>
                    <a:pt x="1317" y="245"/>
                  </a:lnTo>
                  <a:lnTo>
                    <a:pt x="1321" y="245"/>
                  </a:lnTo>
                  <a:lnTo>
                    <a:pt x="1317" y="243"/>
                  </a:lnTo>
                  <a:lnTo>
                    <a:pt x="1317" y="242"/>
                  </a:lnTo>
                  <a:lnTo>
                    <a:pt x="1320" y="241"/>
                  </a:lnTo>
                  <a:lnTo>
                    <a:pt x="1317" y="239"/>
                  </a:lnTo>
                  <a:lnTo>
                    <a:pt x="1315" y="241"/>
                  </a:lnTo>
                  <a:lnTo>
                    <a:pt x="1312" y="241"/>
                  </a:lnTo>
                  <a:lnTo>
                    <a:pt x="1315" y="239"/>
                  </a:lnTo>
                  <a:lnTo>
                    <a:pt x="1312" y="238"/>
                  </a:lnTo>
                  <a:lnTo>
                    <a:pt x="1312" y="235"/>
                  </a:lnTo>
                  <a:lnTo>
                    <a:pt x="1306" y="234"/>
                  </a:lnTo>
                  <a:lnTo>
                    <a:pt x="1306" y="236"/>
                  </a:lnTo>
                  <a:lnTo>
                    <a:pt x="1304" y="236"/>
                  </a:lnTo>
                  <a:lnTo>
                    <a:pt x="1305" y="235"/>
                  </a:lnTo>
                  <a:lnTo>
                    <a:pt x="1306" y="231"/>
                  </a:lnTo>
                  <a:lnTo>
                    <a:pt x="1305" y="229"/>
                  </a:lnTo>
                  <a:lnTo>
                    <a:pt x="1302" y="229"/>
                  </a:lnTo>
                  <a:lnTo>
                    <a:pt x="1299" y="227"/>
                  </a:lnTo>
                  <a:lnTo>
                    <a:pt x="1296" y="225"/>
                  </a:lnTo>
                  <a:lnTo>
                    <a:pt x="1294" y="224"/>
                  </a:lnTo>
                  <a:lnTo>
                    <a:pt x="1291" y="222"/>
                  </a:lnTo>
                  <a:lnTo>
                    <a:pt x="1288" y="224"/>
                  </a:lnTo>
                  <a:lnTo>
                    <a:pt x="1286" y="225"/>
                  </a:lnTo>
                  <a:lnTo>
                    <a:pt x="1280" y="227"/>
                  </a:lnTo>
                  <a:lnTo>
                    <a:pt x="1278" y="227"/>
                  </a:lnTo>
                  <a:lnTo>
                    <a:pt x="1279" y="230"/>
                  </a:lnTo>
                  <a:lnTo>
                    <a:pt x="1273" y="227"/>
                  </a:lnTo>
                  <a:lnTo>
                    <a:pt x="1270" y="226"/>
                  </a:lnTo>
                  <a:lnTo>
                    <a:pt x="1268" y="226"/>
                  </a:lnTo>
                  <a:lnTo>
                    <a:pt x="1262" y="229"/>
                  </a:lnTo>
                  <a:lnTo>
                    <a:pt x="1262" y="228"/>
                  </a:lnTo>
                  <a:lnTo>
                    <a:pt x="1263" y="226"/>
                  </a:lnTo>
                  <a:lnTo>
                    <a:pt x="1261" y="225"/>
                  </a:lnTo>
                  <a:lnTo>
                    <a:pt x="1247" y="221"/>
                  </a:lnTo>
                  <a:lnTo>
                    <a:pt x="1241" y="220"/>
                  </a:lnTo>
                  <a:lnTo>
                    <a:pt x="1238" y="221"/>
                  </a:lnTo>
                  <a:lnTo>
                    <a:pt x="1234" y="224"/>
                  </a:lnTo>
                  <a:lnTo>
                    <a:pt x="1230" y="227"/>
                  </a:lnTo>
                  <a:lnTo>
                    <a:pt x="1230" y="231"/>
                  </a:lnTo>
                  <a:lnTo>
                    <a:pt x="1234" y="238"/>
                  </a:lnTo>
                  <a:lnTo>
                    <a:pt x="1236" y="239"/>
                  </a:lnTo>
                  <a:lnTo>
                    <a:pt x="1238" y="241"/>
                  </a:lnTo>
                  <a:lnTo>
                    <a:pt x="1238" y="244"/>
                  </a:lnTo>
                  <a:lnTo>
                    <a:pt x="1236" y="244"/>
                  </a:lnTo>
                  <a:lnTo>
                    <a:pt x="1236" y="246"/>
                  </a:lnTo>
                  <a:lnTo>
                    <a:pt x="1236" y="250"/>
                  </a:lnTo>
                  <a:lnTo>
                    <a:pt x="1235" y="252"/>
                  </a:lnTo>
                  <a:lnTo>
                    <a:pt x="1231" y="254"/>
                  </a:lnTo>
                  <a:lnTo>
                    <a:pt x="1231" y="258"/>
                  </a:lnTo>
                  <a:lnTo>
                    <a:pt x="1234" y="256"/>
                  </a:lnTo>
                  <a:lnTo>
                    <a:pt x="1234" y="259"/>
                  </a:lnTo>
                  <a:lnTo>
                    <a:pt x="1237" y="259"/>
                  </a:lnTo>
                  <a:lnTo>
                    <a:pt x="1236" y="262"/>
                  </a:lnTo>
                  <a:lnTo>
                    <a:pt x="1238" y="263"/>
                  </a:lnTo>
                  <a:lnTo>
                    <a:pt x="1236" y="265"/>
                  </a:lnTo>
                  <a:lnTo>
                    <a:pt x="1240" y="271"/>
                  </a:lnTo>
                  <a:lnTo>
                    <a:pt x="1238" y="272"/>
                  </a:lnTo>
                  <a:lnTo>
                    <a:pt x="1243" y="273"/>
                  </a:lnTo>
                  <a:lnTo>
                    <a:pt x="1240" y="276"/>
                  </a:lnTo>
                  <a:lnTo>
                    <a:pt x="1241" y="278"/>
                  </a:lnTo>
                  <a:lnTo>
                    <a:pt x="1239" y="280"/>
                  </a:lnTo>
                  <a:lnTo>
                    <a:pt x="1241" y="282"/>
                  </a:lnTo>
                  <a:lnTo>
                    <a:pt x="1239" y="280"/>
                  </a:lnTo>
                  <a:lnTo>
                    <a:pt x="1236" y="281"/>
                  </a:lnTo>
                  <a:lnTo>
                    <a:pt x="1235" y="284"/>
                  </a:lnTo>
                  <a:lnTo>
                    <a:pt x="1235" y="287"/>
                  </a:lnTo>
                  <a:lnTo>
                    <a:pt x="1234" y="288"/>
                  </a:lnTo>
                  <a:lnTo>
                    <a:pt x="1229" y="293"/>
                  </a:lnTo>
                  <a:lnTo>
                    <a:pt x="1228" y="296"/>
                  </a:lnTo>
                  <a:lnTo>
                    <a:pt x="1226" y="297"/>
                  </a:lnTo>
                  <a:lnTo>
                    <a:pt x="1226" y="299"/>
                  </a:lnTo>
                  <a:lnTo>
                    <a:pt x="1226" y="302"/>
                  </a:lnTo>
                  <a:lnTo>
                    <a:pt x="1231" y="305"/>
                  </a:lnTo>
                  <a:lnTo>
                    <a:pt x="1232" y="306"/>
                  </a:lnTo>
                  <a:lnTo>
                    <a:pt x="1238" y="308"/>
                  </a:lnTo>
                  <a:lnTo>
                    <a:pt x="1244" y="313"/>
                  </a:lnTo>
                  <a:lnTo>
                    <a:pt x="1249" y="321"/>
                  </a:lnTo>
                  <a:lnTo>
                    <a:pt x="1253" y="332"/>
                  </a:lnTo>
                  <a:lnTo>
                    <a:pt x="1253" y="345"/>
                  </a:lnTo>
                  <a:lnTo>
                    <a:pt x="1253" y="347"/>
                  </a:lnTo>
                  <a:lnTo>
                    <a:pt x="1251" y="353"/>
                  </a:lnTo>
                  <a:lnTo>
                    <a:pt x="1245" y="358"/>
                  </a:lnTo>
                  <a:lnTo>
                    <a:pt x="1244" y="361"/>
                  </a:lnTo>
                  <a:lnTo>
                    <a:pt x="1236" y="367"/>
                  </a:lnTo>
                  <a:lnTo>
                    <a:pt x="1230" y="370"/>
                  </a:lnTo>
                  <a:lnTo>
                    <a:pt x="1228" y="372"/>
                  </a:lnTo>
                  <a:lnTo>
                    <a:pt x="1224" y="372"/>
                  </a:lnTo>
                  <a:lnTo>
                    <a:pt x="1223" y="373"/>
                  </a:lnTo>
                  <a:lnTo>
                    <a:pt x="1218" y="375"/>
                  </a:lnTo>
                  <a:lnTo>
                    <a:pt x="1215" y="376"/>
                  </a:lnTo>
                  <a:lnTo>
                    <a:pt x="1212" y="378"/>
                  </a:lnTo>
                  <a:lnTo>
                    <a:pt x="1210" y="379"/>
                  </a:lnTo>
                  <a:lnTo>
                    <a:pt x="1212" y="382"/>
                  </a:lnTo>
                  <a:lnTo>
                    <a:pt x="1212" y="384"/>
                  </a:lnTo>
                  <a:lnTo>
                    <a:pt x="1214" y="387"/>
                  </a:lnTo>
                  <a:lnTo>
                    <a:pt x="1215" y="390"/>
                  </a:lnTo>
                  <a:lnTo>
                    <a:pt x="1219" y="390"/>
                  </a:lnTo>
                  <a:lnTo>
                    <a:pt x="1218" y="393"/>
                  </a:lnTo>
                  <a:lnTo>
                    <a:pt x="1220" y="395"/>
                  </a:lnTo>
                  <a:lnTo>
                    <a:pt x="1218" y="397"/>
                  </a:lnTo>
                  <a:lnTo>
                    <a:pt x="1220" y="405"/>
                  </a:lnTo>
                  <a:lnTo>
                    <a:pt x="1220" y="408"/>
                  </a:lnTo>
                  <a:lnTo>
                    <a:pt x="1221" y="410"/>
                  </a:lnTo>
                  <a:lnTo>
                    <a:pt x="1220" y="412"/>
                  </a:lnTo>
                  <a:lnTo>
                    <a:pt x="1221" y="415"/>
                  </a:lnTo>
                  <a:lnTo>
                    <a:pt x="1223" y="417"/>
                  </a:lnTo>
                  <a:lnTo>
                    <a:pt x="1224" y="418"/>
                  </a:lnTo>
                  <a:lnTo>
                    <a:pt x="1226" y="422"/>
                  </a:lnTo>
                  <a:lnTo>
                    <a:pt x="1227" y="424"/>
                  </a:lnTo>
                  <a:lnTo>
                    <a:pt x="1224" y="425"/>
                  </a:lnTo>
                  <a:lnTo>
                    <a:pt x="1219" y="433"/>
                  </a:lnTo>
                  <a:lnTo>
                    <a:pt x="1223" y="438"/>
                  </a:lnTo>
                  <a:lnTo>
                    <a:pt x="1220" y="441"/>
                  </a:lnTo>
                  <a:lnTo>
                    <a:pt x="1221" y="443"/>
                  </a:lnTo>
                  <a:lnTo>
                    <a:pt x="1220" y="443"/>
                  </a:lnTo>
                  <a:lnTo>
                    <a:pt x="1219" y="438"/>
                  </a:lnTo>
                  <a:lnTo>
                    <a:pt x="1213" y="435"/>
                  </a:lnTo>
                  <a:lnTo>
                    <a:pt x="1211" y="439"/>
                  </a:lnTo>
                  <a:lnTo>
                    <a:pt x="1211" y="439"/>
                  </a:lnTo>
                  <a:lnTo>
                    <a:pt x="1210" y="441"/>
                  </a:lnTo>
                  <a:lnTo>
                    <a:pt x="1209" y="444"/>
                  </a:lnTo>
                  <a:lnTo>
                    <a:pt x="1213" y="449"/>
                  </a:lnTo>
                  <a:lnTo>
                    <a:pt x="1214" y="451"/>
                  </a:lnTo>
                  <a:lnTo>
                    <a:pt x="1212" y="448"/>
                  </a:lnTo>
                  <a:lnTo>
                    <a:pt x="1205" y="442"/>
                  </a:lnTo>
                  <a:lnTo>
                    <a:pt x="1200" y="441"/>
                  </a:lnTo>
                  <a:lnTo>
                    <a:pt x="1196" y="443"/>
                  </a:lnTo>
                  <a:lnTo>
                    <a:pt x="1192" y="445"/>
                  </a:lnTo>
                  <a:lnTo>
                    <a:pt x="1196" y="441"/>
                  </a:lnTo>
                  <a:lnTo>
                    <a:pt x="1200" y="440"/>
                  </a:lnTo>
                  <a:lnTo>
                    <a:pt x="1198" y="438"/>
                  </a:lnTo>
                  <a:lnTo>
                    <a:pt x="1195" y="432"/>
                  </a:lnTo>
                  <a:lnTo>
                    <a:pt x="1193" y="430"/>
                  </a:lnTo>
                  <a:lnTo>
                    <a:pt x="1191" y="427"/>
                  </a:lnTo>
                  <a:lnTo>
                    <a:pt x="1187" y="427"/>
                  </a:lnTo>
                  <a:lnTo>
                    <a:pt x="1185" y="424"/>
                  </a:lnTo>
                  <a:lnTo>
                    <a:pt x="1181" y="424"/>
                  </a:lnTo>
                  <a:lnTo>
                    <a:pt x="1179" y="425"/>
                  </a:lnTo>
                  <a:lnTo>
                    <a:pt x="1179" y="424"/>
                  </a:lnTo>
                  <a:lnTo>
                    <a:pt x="1185" y="423"/>
                  </a:lnTo>
                  <a:lnTo>
                    <a:pt x="1184" y="419"/>
                  </a:lnTo>
                  <a:lnTo>
                    <a:pt x="1176" y="412"/>
                  </a:lnTo>
                  <a:lnTo>
                    <a:pt x="1174" y="410"/>
                  </a:lnTo>
                  <a:lnTo>
                    <a:pt x="1175" y="406"/>
                  </a:lnTo>
                  <a:lnTo>
                    <a:pt x="1176" y="404"/>
                  </a:lnTo>
                  <a:lnTo>
                    <a:pt x="1175" y="401"/>
                  </a:lnTo>
                  <a:lnTo>
                    <a:pt x="1175" y="398"/>
                  </a:lnTo>
                  <a:lnTo>
                    <a:pt x="1176" y="396"/>
                  </a:lnTo>
                  <a:lnTo>
                    <a:pt x="1176" y="392"/>
                  </a:lnTo>
                  <a:lnTo>
                    <a:pt x="1174" y="390"/>
                  </a:lnTo>
                  <a:lnTo>
                    <a:pt x="1172" y="387"/>
                  </a:lnTo>
                  <a:lnTo>
                    <a:pt x="1172" y="384"/>
                  </a:lnTo>
                  <a:lnTo>
                    <a:pt x="1175" y="376"/>
                  </a:lnTo>
                  <a:lnTo>
                    <a:pt x="1174" y="370"/>
                  </a:lnTo>
                  <a:lnTo>
                    <a:pt x="1168" y="370"/>
                  </a:lnTo>
                  <a:lnTo>
                    <a:pt x="1166" y="370"/>
                  </a:lnTo>
                  <a:lnTo>
                    <a:pt x="1164" y="371"/>
                  </a:lnTo>
                  <a:lnTo>
                    <a:pt x="1162" y="368"/>
                  </a:lnTo>
                  <a:lnTo>
                    <a:pt x="1157" y="367"/>
                  </a:lnTo>
                  <a:lnTo>
                    <a:pt x="1154" y="368"/>
                  </a:lnTo>
                  <a:lnTo>
                    <a:pt x="1151" y="366"/>
                  </a:lnTo>
                  <a:lnTo>
                    <a:pt x="1149" y="367"/>
                  </a:lnTo>
                  <a:lnTo>
                    <a:pt x="1146" y="366"/>
                  </a:lnTo>
                  <a:lnTo>
                    <a:pt x="1143" y="367"/>
                  </a:lnTo>
                  <a:lnTo>
                    <a:pt x="1135" y="367"/>
                  </a:lnTo>
                  <a:lnTo>
                    <a:pt x="1133" y="370"/>
                  </a:lnTo>
                  <a:lnTo>
                    <a:pt x="1130" y="373"/>
                  </a:lnTo>
                  <a:lnTo>
                    <a:pt x="1132" y="371"/>
                  </a:lnTo>
                  <a:lnTo>
                    <a:pt x="1134" y="367"/>
                  </a:lnTo>
                  <a:lnTo>
                    <a:pt x="1133" y="365"/>
                  </a:lnTo>
                  <a:lnTo>
                    <a:pt x="1129" y="363"/>
                  </a:lnTo>
                  <a:lnTo>
                    <a:pt x="1127" y="361"/>
                  </a:lnTo>
                  <a:lnTo>
                    <a:pt x="1125" y="359"/>
                  </a:lnTo>
                  <a:lnTo>
                    <a:pt x="1121" y="359"/>
                  </a:lnTo>
                  <a:lnTo>
                    <a:pt x="1119" y="358"/>
                  </a:lnTo>
                  <a:lnTo>
                    <a:pt x="1116" y="357"/>
                  </a:lnTo>
                  <a:lnTo>
                    <a:pt x="1111" y="355"/>
                  </a:lnTo>
                  <a:lnTo>
                    <a:pt x="1106" y="354"/>
                  </a:lnTo>
                  <a:lnTo>
                    <a:pt x="1102" y="353"/>
                  </a:lnTo>
                  <a:lnTo>
                    <a:pt x="1101" y="354"/>
                  </a:lnTo>
                  <a:lnTo>
                    <a:pt x="1100" y="350"/>
                  </a:lnTo>
                  <a:lnTo>
                    <a:pt x="1095" y="345"/>
                  </a:lnTo>
                  <a:lnTo>
                    <a:pt x="1090" y="342"/>
                  </a:lnTo>
                  <a:lnTo>
                    <a:pt x="1085" y="338"/>
                  </a:lnTo>
                  <a:lnTo>
                    <a:pt x="1082" y="337"/>
                  </a:lnTo>
                  <a:lnTo>
                    <a:pt x="1076" y="336"/>
                  </a:lnTo>
                  <a:lnTo>
                    <a:pt x="1068" y="333"/>
                  </a:lnTo>
                  <a:lnTo>
                    <a:pt x="1060" y="330"/>
                  </a:lnTo>
                  <a:lnTo>
                    <a:pt x="1055" y="329"/>
                  </a:lnTo>
                  <a:lnTo>
                    <a:pt x="1039" y="333"/>
                  </a:lnTo>
                  <a:lnTo>
                    <a:pt x="1035" y="335"/>
                  </a:lnTo>
                  <a:lnTo>
                    <a:pt x="1034" y="336"/>
                  </a:lnTo>
                  <a:lnTo>
                    <a:pt x="1038" y="333"/>
                  </a:lnTo>
                  <a:lnTo>
                    <a:pt x="1034" y="333"/>
                  </a:lnTo>
                  <a:lnTo>
                    <a:pt x="1032" y="335"/>
                  </a:lnTo>
                  <a:lnTo>
                    <a:pt x="1029" y="336"/>
                  </a:lnTo>
                  <a:lnTo>
                    <a:pt x="1032" y="335"/>
                  </a:lnTo>
                  <a:lnTo>
                    <a:pt x="1033" y="331"/>
                  </a:lnTo>
                  <a:lnTo>
                    <a:pt x="1035" y="329"/>
                  </a:lnTo>
                  <a:lnTo>
                    <a:pt x="1034" y="327"/>
                  </a:lnTo>
                  <a:lnTo>
                    <a:pt x="1031" y="319"/>
                  </a:lnTo>
                  <a:lnTo>
                    <a:pt x="1030" y="313"/>
                  </a:lnTo>
                  <a:lnTo>
                    <a:pt x="1029" y="310"/>
                  </a:lnTo>
                  <a:lnTo>
                    <a:pt x="1025" y="304"/>
                  </a:lnTo>
                  <a:lnTo>
                    <a:pt x="1025" y="299"/>
                  </a:lnTo>
                  <a:lnTo>
                    <a:pt x="1022" y="301"/>
                  </a:lnTo>
                  <a:lnTo>
                    <a:pt x="1019" y="298"/>
                  </a:lnTo>
                  <a:lnTo>
                    <a:pt x="1012" y="299"/>
                  </a:lnTo>
                  <a:lnTo>
                    <a:pt x="1010" y="302"/>
                  </a:lnTo>
                  <a:lnTo>
                    <a:pt x="1010" y="307"/>
                  </a:lnTo>
                  <a:lnTo>
                    <a:pt x="1008" y="310"/>
                  </a:lnTo>
                  <a:lnTo>
                    <a:pt x="1010" y="299"/>
                  </a:lnTo>
                  <a:lnTo>
                    <a:pt x="1007" y="299"/>
                  </a:lnTo>
                  <a:lnTo>
                    <a:pt x="1004" y="295"/>
                  </a:lnTo>
                  <a:lnTo>
                    <a:pt x="1000" y="293"/>
                  </a:lnTo>
                  <a:lnTo>
                    <a:pt x="1002" y="293"/>
                  </a:lnTo>
                  <a:lnTo>
                    <a:pt x="1002" y="289"/>
                  </a:lnTo>
                  <a:lnTo>
                    <a:pt x="1005" y="287"/>
                  </a:lnTo>
                  <a:lnTo>
                    <a:pt x="1002" y="281"/>
                  </a:lnTo>
                  <a:lnTo>
                    <a:pt x="1002" y="279"/>
                  </a:lnTo>
                  <a:lnTo>
                    <a:pt x="1002" y="273"/>
                  </a:lnTo>
                  <a:lnTo>
                    <a:pt x="1004" y="271"/>
                  </a:lnTo>
                  <a:lnTo>
                    <a:pt x="1004" y="269"/>
                  </a:lnTo>
                  <a:lnTo>
                    <a:pt x="1005" y="265"/>
                  </a:lnTo>
                  <a:lnTo>
                    <a:pt x="1002" y="263"/>
                  </a:lnTo>
                  <a:lnTo>
                    <a:pt x="1004" y="263"/>
                  </a:lnTo>
                  <a:lnTo>
                    <a:pt x="1006" y="263"/>
                  </a:lnTo>
                  <a:lnTo>
                    <a:pt x="1008" y="256"/>
                  </a:lnTo>
                  <a:lnTo>
                    <a:pt x="1012" y="253"/>
                  </a:lnTo>
                  <a:lnTo>
                    <a:pt x="1013" y="251"/>
                  </a:lnTo>
                  <a:lnTo>
                    <a:pt x="1013" y="248"/>
                  </a:lnTo>
                  <a:lnTo>
                    <a:pt x="1012" y="246"/>
                  </a:lnTo>
                  <a:lnTo>
                    <a:pt x="1015" y="247"/>
                  </a:lnTo>
                  <a:lnTo>
                    <a:pt x="1014" y="245"/>
                  </a:lnTo>
                  <a:lnTo>
                    <a:pt x="1015" y="242"/>
                  </a:lnTo>
                  <a:lnTo>
                    <a:pt x="1018" y="241"/>
                  </a:lnTo>
                  <a:lnTo>
                    <a:pt x="1024" y="238"/>
                  </a:lnTo>
                  <a:lnTo>
                    <a:pt x="1022" y="236"/>
                  </a:lnTo>
                  <a:lnTo>
                    <a:pt x="1019" y="236"/>
                  </a:lnTo>
                  <a:lnTo>
                    <a:pt x="1022" y="235"/>
                  </a:lnTo>
                  <a:lnTo>
                    <a:pt x="1022" y="231"/>
                  </a:lnTo>
                  <a:lnTo>
                    <a:pt x="1025" y="231"/>
                  </a:lnTo>
                  <a:lnTo>
                    <a:pt x="1029" y="230"/>
                  </a:lnTo>
                  <a:lnTo>
                    <a:pt x="1030" y="227"/>
                  </a:lnTo>
                  <a:lnTo>
                    <a:pt x="1025" y="225"/>
                  </a:lnTo>
                  <a:lnTo>
                    <a:pt x="1030" y="226"/>
                  </a:lnTo>
                  <a:lnTo>
                    <a:pt x="1033" y="229"/>
                  </a:lnTo>
                  <a:lnTo>
                    <a:pt x="1033" y="226"/>
                  </a:lnTo>
                  <a:lnTo>
                    <a:pt x="1030" y="225"/>
                  </a:lnTo>
                  <a:lnTo>
                    <a:pt x="1033" y="222"/>
                  </a:lnTo>
                  <a:lnTo>
                    <a:pt x="1033" y="220"/>
                  </a:lnTo>
                  <a:lnTo>
                    <a:pt x="1035" y="221"/>
                  </a:lnTo>
                  <a:lnTo>
                    <a:pt x="1038" y="219"/>
                  </a:lnTo>
                  <a:lnTo>
                    <a:pt x="1040" y="221"/>
                  </a:lnTo>
                  <a:lnTo>
                    <a:pt x="1042" y="219"/>
                  </a:lnTo>
                  <a:lnTo>
                    <a:pt x="1039" y="218"/>
                  </a:lnTo>
                  <a:lnTo>
                    <a:pt x="1036" y="217"/>
                  </a:lnTo>
                  <a:lnTo>
                    <a:pt x="1035" y="214"/>
                  </a:lnTo>
                  <a:lnTo>
                    <a:pt x="1039" y="214"/>
                  </a:lnTo>
                  <a:lnTo>
                    <a:pt x="1041" y="214"/>
                  </a:lnTo>
                  <a:lnTo>
                    <a:pt x="1050" y="216"/>
                  </a:lnTo>
                  <a:lnTo>
                    <a:pt x="1052" y="213"/>
                  </a:lnTo>
                  <a:lnTo>
                    <a:pt x="1055" y="212"/>
                  </a:lnTo>
                  <a:lnTo>
                    <a:pt x="1058" y="212"/>
                  </a:lnTo>
                  <a:lnTo>
                    <a:pt x="1059" y="209"/>
                  </a:lnTo>
                  <a:lnTo>
                    <a:pt x="1059" y="207"/>
                  </a:lnTo>
                  <a:lnTo>
                    <a:pt x="1058" y="204"/>
                  </a:lnTo>
                  <a:lnTo>
                    <a:pt x="1052" y="201"/>
                  </a:lnTo>
                  <a:lnTo>
                    <a:pt x="1050" y="201"/>
                  </a:lnTo>
                  <a:lnTo>
                    <a:pt x="1047" y="199"/>
                  </a:lnTo>
                  <a:lnTo>
                    <a:pt x="1044" y="196"/>
                  </a:lnTo>
                  <a:lnTo>
                    <a:pt x="1042" y="196"/>
                  </a:lnTo>
                  <a:lnTo>
                    <a:pt x="1036" y="199"/>
                  </a:lnTo>
                  <a:lnTo>
                    <a:pt x="1033" y="199"/>
                  </a:lnTo>
                  <a:lnTo>
                    <a:pt x="1036" y="196"/>
                  </a:lnTo>
                  <a:lnTo>
                    <a:pt x="1039" y="196"/>
                  </a:lnTo>
                  <a:lnTo>
                    <a:pt x="1036" y="195"/>
                  </a:lnTo>
                  <a:lnTo>
                    <a:pt x="1033" y="193"/>
                  </a:lnTo>
                  <a:lnTo>
                    <a:pt x="1031" y="193"/>
                  </a:lnTo>
                  <a:lnTo>
                    <a:pt x="1029" y="193"/>
                  </a:lnTo>
                  <a:lnTo>
                    <a:pt x="1022" y="190"/>
                  </a:lnTo>
                  <a:lnTo>
                    <a:pt x="1023" y="193"/>
                  </a:lnTo>
                  <a:lnTo>
                    <a:pt x="1021" y="193"/>
                  </a:lnTo>
                  <a:lnTo>
                    <a:pt x="1016" y="191"/>
                  </a:lnTo>
                  <a:lnTo>
                    <a:pt x="1016" y="190"/>
                  </a:lnTo>
                  <a:lnTo>
                    <a:pt x="1019" y="190"/>
                  </a:lnTo>
                  <a:lnTo>
                    <a:pt x="1016" y="185"/>
                  </a:lnTo>
                  <a:lnTo>
                    <a:pt x="1019" y="187"/>
                  </a:lnTo>
                  <a:lnTo>
                    <a:pt x="1022" y="190"/>
                  </a:lnTo>
                  <a:lnTo>
                    <a:pt x="1031" y="192"/>
                  </a:lnTo>
                  <a:lnTo>
                    <a:pt x="1035" y="194"/>
                  </a:lnTo>
                  <a:lnTo>
                    <a:pt x="1039" y="195"/>
                  </a:lnTo>
                  <a:lnTo>
                    <a:pt x="1041" y="193"/>
                  </a:lnTo>
                  <a:lnTo>
                    <a:pt x="1044" y="195"/>
                  </a:lnTo>
                  <a:lnTo>
                    <a:pt x="1049" y="195"/>
                  </a:lnTo>
                  <a:lnTo>
                    <a:pt x="1051" y="197"/>
                  </a:lnTo>
                  <a:lnTo>
                    <a:pt x="1057" y="199"/>
                  </a:lnTo>
                  <a:lnTo>
                    <a:pt x="1063" y="196"/>
                  </a:lnTo>
                  <a:lnTo>
                    <a:pt x="1065" y="197"/>
                  </a:lnTo>
                  <a:lnTo>
                    <a:pt x="1068" y="194"/>
                  </a:lnTo>
                  <a:lnTo>
                    <a:pt x="1068" y="193"/>
                  </a:lnTo>
                  <a:lnTo>
                    <a:pt x="1066" y="190"/>
                  </a:lnTo>
                  <a:lnTo>
                    <a:pt x="1068" y="190"/>
                  </a:lnTo>
                  <a:lnTo>
                    <a:pt x="1069" y="187"/>
                  </a:lnTo>
                  <a:lnTo>
                    <a:pt x="1067" y="186"/>
                  </a:lnTo>
                  <a:lnTo>
                    <a:pt x="1068" y="186"/>
                  </a:lnTo>
                  <a:lnTo>
                    <a:pt x="1070" y="185"/>
                  </a:lnTo>
                  <a:lnTo>
                    <a:pt x="1072" y="187"/>
                  </a:lnTo>
                  <a:lnTo>
                    <a:pt x="1074" y="190"/>
                  </a:lnTo>
                  <a:lnTo>
                    <a:pt x="1075" y="191"/>
                  </a:lnTo>
                  <a:lnTo>
                    <a:pt x="1074" y="188"/>
                  </a:lnTo>
                  <a:lnTo>
                    <a:pt x="1077" y="188"/>
                  </a:lnTo>
                  <a:lnTo>
                    <a:pt x="1079" y="190"/>
                  </a:lnTo>
                  <a:lnTo>
                    <a:pt x="1078" y="187"/>
                  </a:lnTo>
                  <a:lnTo>
                    <a:pt x="1082" y="188"/>
                  </a:lnTo>
                  <a:lnTo>
                    <a:pt x="1084" y="190"/>
                  </a:lnTo>
                  <a:lnTo>
                    <a:pt x="1087" y="190"/>
                  </a:lnTo>
                  <a:lnTo>
                    <a:pt x="1095" y="185"/>
                  </a:lnTo>
                  <a:lnTo>
                    <a:pt x="1098" y="179"/>
                  </a:lnTo>
                  <a:lnTo>
                    <a:pt x="1102" y="176"/>
                  </a:lnTo>
                  <a:lnTo>
                    <a:pt x="1103" y="173"/>
                  </a:lnTo>
                  <a:lnTo>
                    <a:pt x="1108" y="168"/>
                  </a:lnTo>
                  <a:lnTo>
                    <a:pt x="1109" y="166"/>
                  </a:lnTo>
                  <a:lnTo>
                    <a:pt x="1109" y="162"/>
                  </a:lnTo>
                  <a:lnTo>
                    <a:pt x="1106" y="161"/>
                  </a:lnTo>
                  <a:lnTo>
                    <a:pt x="1103" y="161"/>
                  </a:lnTo>
                  <a:lnTo>
                    <a:pt x="1100" y="161"/>
                  </a:lnTo>
                  <a:lnTo>
                    <a:pt x="1094" y="161"/>
                  </a:lnTo>
                  <a:lnTo>
                    <a:pt x="1086" y="160"/>
                  </a:lnTo>
                  <a:lnTo>
                    <a:pt x="1082" y="160"/>
                  </a:lnTo>
                  <a:lnTo>
                    <a:pt x="1078" y="158"/>
                  </a:lnTo>
                  <a:lnTo>
                    <a:pt x="1076" y="156"/>
                  </a:lnTo>
                  <a:lnTo>
                    <a:pt x="1074" y="153"/>
                  </a:lnTo>
                  <a:lnTo>
                    <a:pt x="1070" y="151"/>
                  </a:lnTo>
                  <a:lnTo>
                    <a:pt x="1068" y="149"/>
                  </a:lnTo>
                  <a:lnTo>
                    <a:pt x="1060" y="148"/>
                  </a:lnTo>
                  <a:lnTo>
                    <a:pt x="1055" y="147"/>
                  </a:lnTo>
                  <a:lnTo>
                    <a:pt x="1051" y="148"/>
                  </a:lnTo>
                  <a:lnTo>
                    <a:pt x="1049" y="147"/>
                  </a:lnTo>
                  <a:lnTo>
                    <a:pt x="1055" y="147"/>
                  </a:lnTo>
                  <a:lnTo>
                    <a:pt x="1060" y="148"/>
                  </a:lnTo>
                  <a:lnTo>
                    <a:pt x="1063" y="147"/>
                  </a:lnTo>
                  <a:lnTo>
                    <a:pt x="1066" y="148"/>
                  </a:lnTo>
                  <a:lnTo>
                    <a:pt x="1068" y="148"/>
                  </a:lnTo>
                  <a:lnTo>
                    <a:pt x="1070" y="149"/>
                  </a:lnTo>
                  <a:lnTo>
                    <a:pt x="1068" y="147"/>
                  </a:lnTo>
                  <a:lnTo>
                    <a:pt x="1074" y="147"/>
                  </a:lnTo>
                  <a:lnTo>
                    <a:pt x="1082" y="151"/>
                  </a:lnTo>
                  <a:lnTo>
                    <a:pt x="1090" y="153"/>
                  </a:lnTo>
                  <a:lnTo>
                    <a:pt x="1084" y="153"/>
                  </a:lnTo>
                  <a:lnTo>
                    <a:pt x="1090" y="156"/>
                  </a:lnTo>
                  <a:lnTo>
                    <a:pt x="1092" y="158"/>
                  </a:lnTo>
                  <a:lnTo>
                    <a:pt x="1095" y="159"/>
                  </a:lnTo>
                  <a:lnTo>
                    <a:pt x="1098" y="160"/>
                  </a:lnTo>
                  <a:lnTo>
                    <a:pt x="1103" y="160"/>
                  </a:lnTo>
                  <a:lnTo>
                    <a:pt x="1106" y="159"/>
                  </a:lnTo>
                  <a:lnTo>
                    <a:pt x="1108" y="157"/>
                  </a:lnTo>
                  <a:lnTo>
                    <a:pt x="1116" y="151"/>
                  </a:lnTo>
                  <a:lnTo>
                    <a:pt x="1117" y="150"/>
                  </a:lnTo>
                  <a:lnTo>
                    <a:pt x="1117" y="149"/>
                  </a:lnTo>
                  <a:lnTo>
                    <a:pt x="1121" y="145"/>
                  </a:lnTo>
                  <a:lnTo>
                    <a:pt x="1123" y="142"/>
                  </a:lnTo>
                  <a:lnTo>
                    <a:pt x="1123" y="140"/>
                  </a:lnTo>
                  <a:lnTo>
                    <a:pt x="1119" y="139"/>
                  </a:lnTo>
                  <a:lnTo>
                    <a:pt x="1118" y="139"/>
                  </a:lnTo>
                  <a:lnTo>
                    <a:pt x="1113" y="137"/>
                  </a:lnTo>
                  <a:lnTo>
                    <a:pt x="1113" y="134"/>
                  </a:lnTo>
                  <a:lnTo>
                    <a:pt x="1116" y="133"/>
                  </a:lnTo>
                  <a:lnTo>
                    <a:pt x="1119" y="133"/>
                  </a:lnTo>
                  <a:lnTo>
                    <a:pt x="1121" y="133"/>
                  </a:lnTo>
                  <a:lnTo>
                    <a:pt x="1125" y="133"/>
                  </a:lnTo>
                  <a:lnTo>
                    <a:pt x="1127" y="133"/>
                  </a:lnTo>
                  <a:lnTo>
                    <a:pt x="1129" y="132"/>
                  </a:lnTo>
                  <a:lnTo>
                    <a:pt x="1132" y="134"/>
                  </a:lnTo>
                  <a:lnTo>
                    <a:pt x="1133" y="136"/>
                  </a:lnTo>
                  <a:lnTo>
                    <a:pt x="1137" y="139"/>
                  </a:lnTo>
                  <a:lnTo>
                    <a:pt x="1137" y="139"/>
                  </a:lnTo>
                  <a:lnTo>
                    <a:pt x="1138" y="139"/>
                  </a:lnTo>
                  <a:lnTo>
                    <a:pt x="1141" y="140"/>
                  </a:lnTo>
                  <a:lnTo>
                    <a:pt x="1144" y="141"/>
                  </a:lnTo>
                  <a:lnTo>
                    <a:pt x="1143" y="139"/>
                  </a:lnTo>
                  <a:lnTo>
                    <a:pt x="1143" y="135"/>
                  </a:lnTo>
                  <a:lnTo>
                    <a:pt x="1145" y="139"/>
                  </a:lnTo>
                  <a:lnTo>
                    <a:pt x="1147" y="137"/>
                  </a:lnTo>
                  <a:lnTo>
                    <a:pt x="1151" y="140"/>
                  </a:lnTo>
                  <a:lnTo>
                    <a:pt x="1153" y="141"/>
                  </a:lnTo>
                  <a:lnTo>
                    <a:pt x="1153" y="139"/>
                  </a:lnTo>
                  <a:lnTo>
                    <a:pt x="1153" y="137"/>
                  </a:lnTo>
                  <a:lnTo>
                    <a:pt x="1152" y="135"/>
                  </a:lnTo>
                  <a:lnTo>
                    <a:pt x="1150" y="133"/>
                  </a:lnTo>
                  <a:lnTo>
                    <a:pt x="1149" y="130"/>
                  </a:lnTo>
                  <a:lnTo>
                    <a:pt x="1146" y="130"/>
                  </a:lnTo>
                  <a:lnTo>
                    <a:pt x="1143" y="126"/>
                  </a:lnTo>
                  <a:lnTo>
                    <a:pt x="1141" y="125"/>
                  </a:lnTo>
                  <a:lnTo>
                    <a:pt x="1137" y="124"/>
                  </a:lnTo>
                  <a:lnTo>
                    <a:pt x="1135" y="126"/>
                  </a:lnTo>
                  <a:lnTo>
                    <a:pt x="1136" y="123"/>
                  </a:lnTo>
                  <a:lnTo>
                    <a:pt x="1137" y="123"/>
                  </a:lnTo>
                  <a:lnTo>
                    <a:pt x="1137" y="123"/>
                  </a:lnTo>
                  <a:lnTo>
                    <a:pt x="1141" y="123"/>
                  </a:lnTo>
                  <a:lnTo>
                    <a:pt x="1138" y="123"/>
                  </a:lnTo>
                  <a:lnTo>
                    <a:pt x="1142" y="122"/>
                  </a:lnTo>
                  <a:lnTo>
                    <a:pt x="1144" y="123"/>
                  </a:lnTo>
                  <a:lnTo>
                    <a:pt x="1142" y="123"/>
                  </a:lnTo>
                  <a:lnTo>
                    <a:pt x="1145" y="124"/>
                  </a:lnTo>
                  <a:lnTo>
                    <a:pt x="1145" y="126"/>
                  </a:lnTo>
                  <a:lnTo>
                    <a:pt x="1147" y="128"/>
                  </a:lnTo>
                  <a:lnTo>
                    <a:pt x="1151" y="127"/>
                  </a:lnTo>
                  <a:lnTo>
                    <a:pt x="1152" y="130"/>
                  </a:lnTo>
                  <a:lnTo>
                    <a:pt x="1152" y="132"/>
                  </a:lnTo>
                  <a:lnTo>
                    <a:pt x="1154" y="133"/>
                  </a:lnTo>
                  <a:lnTo>
                    <a:pt x="1157" y="135"/>
                  </a:lnTo>
                  <a:lnTo>
                    <a:pt x="1160" y="136"/>
                  </a:lnTo>
                  <a:lnTo>
                    <a:pt x="1162" y="135"/>
                  </a:lnTo>
                  <a:lnTo>
                    <a:pt x="1164" y="132"/>
                  </a:lnTo>
                  <a:lnTo>
                    <a:pt x="1168" y="132"/>
                  </a:lnTo>
                  <a:lnTo>
                    <a:pt x="1170" y="131"/>
                  </a:lnTo>
                  <a:lnTo>
                    <a:pt x="1172" y="128"/>
                  </a:lnTo>
                  <a:lnTo>
                    <a:pt x="1176" y="128"/>
                  </a:lnTo>
                  <a:lnTo>
                    <a:pt x="1177" y="126"/>
                  </a:lnTo>
                  <a:lnTo>
                    <a:pt x="1178" y="123"/>
                  </a:lnTo>
                  <a:lnTo>
                    <a:pt x="1180" y="122"/>
                  </a:lnTo>
                  <a:lnTo>
                    <a:pt x="1184" y="122"/>
                  </a:lnTo>
                  <a:lnTo>
                    <a:pt x="1186" y="119"/>
                  </a:lnTo>
                  <a:lnTo>
                    <a:pt x="1186" y="116"/>
                  </a:lnTo>
                  <a:lnTo>
                    <a:pt x="1187" y="114"/>
                  </a:lnTo>
                  <a:lnTo>
                    <a:pt x="1188" y="110"/>
                  </a:lnTo>
                  <a:lnTo>
                    <a:pt x="1186" y="108"/>
                  </a:lnTo>
                  <a:lnTo>
                    <a:pt x="1183" y="107"/>
                  </a:lnTo>
                  <a:lnTo>
                    <a:pt x="1180" y="105"/>
                  </a:lnTo>
                  <a:lnTo>
                    <a:pt x="1178" y="101"/>
                  </a:lnTo>
                  <a:lnTo>
                    <a:pt x="1176" y="99"/>
                  </a:lnTo>
                  <a:lnTo>
                    <a:pt x="1176" y="97"/>
                  </a:lnTo>
                  <a:lnTo>
                    <a:pt x="1177" y="93"/>
                  </a:lnTo>
                  <a:lnTo>
                    <a:pt x="1175" y="96"/>
                  </a:lnTo>
                  <a:lnTo>
                    <a:pt x="1174" y="93"/>
                  </a:lnTo>
                  <a:lnTo>
                    <a:pt x="1171" y="92"/>
                  </a:lnTo>
                  <a:lnTo>
                    <a:pt x="1171" y="89"/>
                  </a:lnTo>
                  <a:lnTo>
                    <a:pt x="1169" y="89"/>
                  </a:lnTo>
                  <a:lnTo>
                    <a:pt x="1169" y="87"/>
                  </a:lnTo>
                  <a:lnTo>
                    <a:pt x="1172" y="88"/>
                  </a:lnTo>
                  <a:lnTo>
                    <a:pt x="1175" y="88"/>
                  </a:lnTo>
                  <a:lnTo>
                    <a:pt x="1178" y="89"/>
                  </a:lnTo>
                  <a:lnTo>
                    <a:pt x="1178" y="89"/>
                  </a:lnTo>
                  <a:lnTo>
                    <a:pt x="1181" y="87"/>
                  </a:lnTo>
                  <a:lnTo>
                    <a:pt x="1184" y="87"/>
                  </a:lnTo>
                  <a:lnTo>
                    <a:pt x="1186" y="84"/>
                  </a:lnTo>
                  <a:lnTo>
                    <a:pt x="1188" y="82"/>
                  </a:lnTo>
                  <a:lnTo>
                    <a:pt x="1187" y="79"/>
                  </a:lnTo>
                  <a:lnTo>
                    <a:pt x="1185" y="79"/>
                  </a:lnTo>
                  <a:lnTo>
                    <a:pt x="1181" y="77"/>
                  </a:lnTo>
                  <a:lnTo>
                    <a:pt x="1179" y="77"/>
                  </a:lnTo>
                  <a:lnTo>
                    <a:pt x="1181" y="76"/>
                  </a:lnTo>
                  <a:lnTo>
                    <a:pt x="1184" y="74"/>
                  </a:lnTo>
                  <a:lnTo>
                    <a:pt x="1187" y="73"/>
                  </a:lnTo>
                  <a:lnTo>
                    <a:pt x="1186" y="70"/>
                  </a:lnTo>
                  <a:lnTo>
                    <a:pt x="1184" y="70"/>
                  </a:lnTo>
                  <a:lnTo>
                    <a:pt x="1180" y="68"/>
                  </a:lnTo>
                  <a:lnTo>
                    <a:pt x="1178" y="68"/>
                  </a:lnTo>
                  <a:lnTo>
                    <a:pt x="1175" y="70"/>
                  </a:lnTo>
                  <a:lnTo>
                    <a:pt x="1174" y="66"/>
                  </a:lnTo>
                  <a:lnTo>
                    <a:pt x="1171" y="64"/>
                  </a:lnTo>
                  <a:lnTo>
                    <a:pt x="1170" y="64"/>
                  </a:lnTo>
                  <a:lnTo>
                    <a:pt x="1167" y="63"/>
                  </a:lnTo>
                  <a:lnTo>
                    <a:pt x="1164" y="63"/>
                  </a:lnTo>
                  <a:lnTo>
                    <a:pt x="1161" y="62"/>
                  </a:lnTo>
                  <a:lnTo>
                    <a:pt x="1164" y="62"/>
                  </a:lnTo>
                  <a:lnTo>
                    <a:pt x="1167" y="63"/>
                  </a:lnTo>
                  <a:lnTo>
                    <a:pt x="1170" y="63"/>
                  </a:lnTo>
                  <a:lnTo>
                    <a:pt x="1169" y="60"/>
                  </a:lnTo>
                  <a:lnTo>
                    <a:pt x="1171" y="59"/>
                  </a:lnTo>
                  <a:lnTo>
                    <a:pt x="1175" y="59"/>
                  </a:lnTo>
                  <a:lnTo>
                    <a:pt x="1171" y="59"/>
                  </a:lnTo>
                  <a:lnTo>
                    <a:pt x="1169" y="58"/>
                  </a:lnTo>
                  <a:lnTo>
                    <a:pt x="1166" y="58"/>
                  </a:lnTo>
                  <a:lnTo>
                    <a:pt x="1163" y="58"/>
                  </a:lnTo>
                  <a:lnTo>
                    <a:pt x="1160" y="58"/>
                  </a:lnTo>
                  <a:lnTo>
                    <a:pt x="1158" y="58"/>
                  </a:lnTo>
                  <a:lnTo>
                    <a:pt x="1155" y="58"/>
                  </a:lnTo>
                  <a:lnTo>
                    <a:pt x="1152" y="57"/>
                  </a:lnTo>
                  <a:lnTo>
                    <a:pt x="1146" y="55"/>
                  </a:lnTo>
                  <a:lnTo>
                    <a:pt x="1144" y="54"/>
                  </a:lnTo>
                  <a:lnTo>
                    <a:pt x="1141" y="55"/>
                  </a:lnTo>
                  <a:lnTo>
                    <a:pt x="1138" y="54"/>
                  </a:lnTo>
                  <a:lnTo>
                    <a:pt x="1135" y="56"/>
                  </a:lnTo>
                  <a:lnTo>
                    <a:pt x="1133" y="55"/>
                  </a:lnTo>
                  <a:lnTo>
                    <a:pt x="1129" y="54"/>
                  </a:lnTo>
                  <a:lnTo>
                    <a:pt x="1128" y="55"/>
                  </a:lnTo>
                  <a:lnTo>
                    <a:pt x="1132" y="55"/>
                  </a:lnTo>
                  <a:lnTo>
                    <a:pt x="1130" y="57"/>
                  </a:lnTo>
                  <a:lnTo>
                    <a:pt x="1130" y="60"/>
                  </a:lnTo>
                  <a:lnTo>
                    <a:pt x="1129" y="63"/>
                  </a:lnTo>
                  <a:lnTo>
                    <a:pt x="1130" y="66"/>
                  </a:lnTo>
                  <a:lnTo>
                    <a:pt x="1130" y="68"/>
                  </a:lnTo>
                  <a:lnTo>
                    <a:pt x="1134" y="71"/>
                  </a:lnTo>
                  <a:lnTo>
                    <a:pt x="1136" y="71"/>
                  </a:lnTo>
                  <a:lnTo>
                    <a:pt x="1138" y="73"/>
                  </a:lnTo>
                  <a:lnTo>
                    <a:pt x="1142" y="74"/>
                  </a:lnTo>
                  <a:lnTo>
                    <a:pt x="1138" y="74"/>
                  </a:lnTo>
                  <a:lnTo>
                    <a:pt x="1137" y="75"/>
                  </a:lnTo>
                  <a:lnTo>
                    <a:pt x="1140" y="76"/>
                  </a:lnTo>
                  <a:lnTo>
                    <a:pt x="1137" y="76"/>
                  </a:lnTo>
                  <a:lnTo>
                    <a:pt x="1134" y="77"/>
                  </a:lnTo>
                  <a:lnTo>
                    <a:pt x="1137" y="80"/>
                  </a:lnTo>
                  <a:lnTo>
                    <a:pt x="1140" y="80"/>
                  </a:lnTo>
                  <a:lnTo>
                    <a:pt x="1137" y="81"/>
                  </a:lnTo>
                  <a:lnTo>
                    <a:pt x="1134" y="81"/>
                  </a:lnTo>
                  <a:lnTo>
                    <a:pt x="1133" y="81"/>
                  </a:lnTo>
                  <a:lnTo>
                    <a:pt x="1129" y="81"/>
                  </a:lnTo>
                  <a:lnTo>
                    <a:pt x="1126" y="84"/>
                  </a:lnTo>
                  <a:lnTo>
                    <a:pt x="1127" y="87"/>
                  </a:lnTo>
                  <a:lnTo>
                    <a:pt x="1127" y="90"/>
                  </a:lnTo>
                  <a:lnTo>
                    <a:pt x="1125" y="92"/>
                  </a:lnTo>
                  <a:lnTo>
                    <a:pt x="1125" y="94"/>
                  </a:lnTo>
                  <a:lnTo>
                    <a:pt x="1125" y="98"/>
                  </a:lnTo>
                  <a:lnTo>
                    <a:pt x="1121" y="99"/>
                  </a:lnTo>
                  <a:lnTo>
                    <a:pt x="1118" y="102"/>
                  </a:lnTo>
                  <a:lnTo>
                    <a:pt x="1116" y="106"/>
                  </a:lnTo>
                  <a:lnTo>
                    <a:pt x="1117" y="108"/>
                  </a:lnTo>
                  <a:lnTo>
                    <a:pt x="1117" y="111"/>
                  </a:lnTo>
                  <a:lnTo>
                    <a:pt x="1116" y="114"/>
                  </a:lnTo>
                  <a:lnTo>
                    <a:pt x="1113" y="113"/>
                  </a:lnTo>
                  <a:lnTo>
                    <a:pt x="1110" y="114"/>
                  </a:lnTo>
                  <a:lnTo>
                    <a:pt x="1109" y="116"/>
                  </a:lnTo>
                  <a:lnTo>
                    <a:pt x="1107" y="116"/>
                  </a:lnTo>
                  <a:lnTo>
                    <a:pt x="1106" y="119"/>
                  </a:lnTo>
                  <a:lnTo>
                    <a:pt x="1102" y="119"/>
                  </a:lnTo>
                  <a:lnTo>
                    <a:pt x="1103" y="117"/>
                  </a:lnTo>
                  <a:lnTo>
                    <a:pt x="1103" y="114"/>
                  </a:lnTo>
                  <a:lnTo>
                    <a:pt x="1100" y="111"/>
                  </a:lnTo>
                  <a:lnTo>
                    <a:pt x="1098" y="109"/>
                  </a:lnTo>
                  <a:lnTo>
                    <a:pt x="1094" y="107"/>
                  </a:lnTo>
                  <a:lnTo>
                    <a:pt x="1091" y="101"/>
                  </a:lnTo>
                  <a:lnTo>
                    <a:pt x="1091" y="99"/>
                  </a:lnTo>
                  <a:lnTo>
                    <a:pt x="1092" y="97"/>
                  </a:lnTo>
                  <a:lnTo>
                    <a:pt x="1091" y="93"/>
                  </a:lnTo>
                  <a:lnTo>
                    <a:pt x="1092" y="91"/>
                  </a:lnTo>
                  <a:lnTo>
                    <a:pt x="1094" y="93"/>
                  </a:lnTo>
                  <a:lnTo>
                    <a:pt x="1098" y="93"/>
                  </a:lnTo>
                  <a:lnTo>
                    <a:pt x="1098" y="92"/>
                  </a:lnTo>
                  <a:lnTo>
                    <a:pt x="1099" y="90"/>
                  </a:lnTo>
                  <a:lnTo>
                    <a:pt x="1096" y="84"/>
                  </a:lnTo>
                  <a:lnTo>
                    <a:pt x="1096" y="82"/>
                  </a:lnTo>
                  <a:lnTo>
                    <a:pt x="1094" y="79"/>
                  </a:lnTo>
                  <a:lnTo>
                    <a:pt x="1092" y="76"/>
                  </a:lnTo>
                  <a:lnTo>
                    <a:pt x="1086" y="73"/>
                  </a:lnTo>
                  <a:lnTo>
                    <a:pt x="1081" y="68"/>
                  </a:lnTo>
                  <a:lnTo>
                    <a:pt x="1078" y="68"/>
                  </a:lnTo>
                  <a:lnTo>
                    <a:pt x="1073" y="74"/>
                  </a:lnTo>
                  <a:lnTo>
                    <a:pt x="1072" y="76"/>
                  </a:lnTo>
                  <a:lnTo>
                    <a:pt x="1073" y="79"/>
                  </a:lnTo>
                  <a:lnTo>
                    <a:pt x="1072" y="82"/>
                  </a:lnTo>
                  <a:lnTo>
                    <a:pt x="1069" y="84"/>
                  </a:lnTo>
                  <a:lnTo>
                    <a:pt x="1070" y="85"/>
                  </a:lnTo>
                  <a:lnTo>
                    <a:pt x="1068" y="89"/>
                  </a:lnTo>
                  <a:lnTo>
                    <a:pt x="1068" y="90"/>
                  </a:lnTo>
                  <a:lnTo>
                    <a:pt x="1067" y="91"/>
                  </a:lnTo>
                  <a:lnTo>
                    <a:pt x="1064" y="92"/>
                  </a:lnTo>
                  <a:lnTo>
                    <a:pt x="1063" y="89"/>
                  </a:lnTo>
                  <a:lnTo>
                    <a:pt x="1060" y="84"/>
                  </a:lnTo>
                  <a:lnTo>
                    <a:pt x="1061" y="79"/>
                  </a:lnTo>
                  <a:lnTo>
                    <a:pt x="1059" y="73"/>
                  </a:lnTo>
                  <a:lnTo>
                    <a:pt x="1051" y="68"/>
                  </a:lnTo>
                  <a:lnTo>
                    <a:pt x="1053" y="67"/>
                  </a:lnTo>
                  <a:lnTo>
                    <a:pt x="1053" y="68"/>
                  </a:lnTo>
                  <a:lnTo>
                    <a:pt x="1056" y="68"/>
                  </a:lnTo>
                  <a:lnTo>
                    <a:pt x="1058" y="66"/>
                  </a:lnTo>
                  <a:lnTo>
                    <a:pt x="1060" y="65"/>
                  </a:lnTo>
                  <a:lnTo>
                    <a:pt x="1063" y="65"/>
                  </a:lnTo>
                  <a:lnTo>
                    <a:pt x="1060" y="63"/>
                  </a:lnTo>
                  <a:lnTo>
                    <a:pt x="1058" y="63"/>
                  </a:lnTo>
                  <a:lnTo>
                    <a:pt x="1052" y="62"/>
                  </a:lnTo>
                  <a:lnTo>
                    <a:pt x="1049" y="62"/>
                  </a:lnTo>
                  <a:lnTo>
                    <a:pt x="1052" y="60"/>
                  </a:lnTo>
                  <a:lnTo>
                    <a:pt x="1049" y="59"/>
                  </a:lnTo>
                  <a:lnTo>
                    <a:pt x="1047" y="60"/>
                  </a:lnTo>
                  <a:lnTo>
                    <a:pt x="1046" y="62"/>
                  </a:lnTo>
                  <a:lnTo>
                    <a:pt x="1042" y="63"/>
                  </a:lnTo>
                  <a:lnTo>
                    <a:pt x="1040" y="62"/>
                  </a:lnTo>
                  <a:lnTo>
                    <a:pt x="1034" y="58"/>
                  </a:lnTo>
                  <a:lnTo>
                    <a:pt x="1032" y="59"/>
                  </a:lnTo>
                  <a:lnTo>
                    <a:pt x="1029" y="59"/>
                  </a:lnTo>
                  <a:lnTo>
                    <a:pt x="1032" y="58"/>
                  </a:lnTo>
                  <a:lnTo>
                    <a:pt x="1030" y="58"/>
                  </a:lnTo>
                  <a:lnTo>
                    <a:pt x="1038" y="54"/>
                  </a:lnTo>
                  <a:lnTo>
                    <a:pt x="1040" y="51"/>
                  </a:lnTo>
                  <a:lnTo>
                    <a:pt x="1041" y="50"/>
                  </a:lnTo>
                  <a:lnTo>
                    <a:pt x="1038" y="49"/>
                  </a:lnTo>
                  <a:lnTo>
                    <a:pt x="1035" y="49"/>
                  </a:lnTo>
                  <a:lnTo>
                    <a:pt x="1036" y="46"/>
                  </a:lnTo>
                  <a:lnTo>
                    <a:pt x="1039" y="47"/>
                  </a:lnTo>
                  <a:lnTo>
                    <a:pt x="1042" y="48"/>
                  </a:lnTo>
                  <a:lnTo>
                    <a:pt x="1047" y="47"/>
                  </a:lnTo>
                  <a:lnTo>
                    <a:pt x="1043" y="41"/>
                  </a:lnTo>
                  <a:lnTo>
                    <a:pt x="1040" y="43"/>
                  </a:lnTo>
                  <a:lnTo>
                    <a:pt x="1040" y="40"/>
                  </a:lnTo>
                  <a:lnTo>
                    <a:pt x="1038" y="39"/>
                  </a:lnTo>
                  <a:lnTo>
                    <a:pt x="1039" y="36"/>
                  </a:lnTo>
                  <a:lnTo>
                    <a:pt x="1033" y="33"/>
                  </a:lnTo>
                  <a:lnTo>
                    <a:pt x="1030" y="31"/>
                  </a:lnTo>
                  <a:lnTo>
                    <a:pt x="1027" y="30"/>
                  </a:lnTo>
                  <a:lnTo>
                    <a:pt x="1029" y="26"/>
                  </a:lnTo>
                  <a:lnTo>
                    <a:pt x="1029" y="22"/>
                  </a:lnTo>
                  <a:lnTo>
                    <a:pt x="1029" y="19"/>
                  </a:lnTo>
                  <a:lnTo>
                    <a:pt x="1025" y="16"/>
                  </a:lnTo>
                  <a:lnTo>
                    <a:pt x="1024" y="14"/>
                  </a:lnTo>
                  <a:lnTo>
                    <a:pt x="1018" y="12"/>
                  </a:lnTo>
                  <a:lnTo>
                    <a:pt x="1017" y="8"/>
                  </a:lnTo>
                  <a:lnTo>
                    <a:pt x="1014" y="7"/>
                  </a:lnTo>
                  <a:lnTo>
                    <a:pt x="1012" y="7"/>
                  </a:lnTo>
                  <a:lnTo>
                    <a:pt x="1009" y="8"/>
                  </a:lnTo>
                  <a:lnTo>
                    <a:pt x="1008" y="5"/>
                  </a:lnTo>
                  <a:lnTo>
                    <a:pt x="1006" y="7"/>
                  </a:lnTo>
                  <a:lnTo>
                    <a:pt x="1006" y="5"/>
                  </a:lnTo>
                  <a:lnTo>
                    <a:pt x="1007" y="2"/>
                  </a:lnTo>
                  <a:lnTo>
                    <a:pt x="1004" y="0"/>
                  </a:lnTo>
                  <a:lnTo>
                    <a:pt x="998" y="2"/>
                  </a:lnTo>
                  <a:lnTo>
                    <a:pt x="997" y="5"/>
                  </a:lnTo>
                  <a:lnTo>
                    <a:pt x="1002" y="5"/>
                  </a:lnTo>
                  <a:lnTo>
                    <a:pt x="1005" y="4"/>
                  </a:lnTo>
                  <a:lnTo>
                    <a:pt x="1002" y="5"/>
                  </a:lnTo>
                  <a:lnTo>
                    <a:pt x="997" y="5"/>
                  </a:lnTo>
                  <a:lnTo>
                    <a:pt x="995" y="8"/>
                  </a:lnTo>
                  <a:lnTo>
                    <a:pt x="989" y="11"/>
                  </a:lnTo>
                  <a:lnTo>
                    <a:pt x="989" y="13"/>
                  </a:lnTo>
                  <a:lnTo>
                    <a:pt x="991" y="14"/>
                  </a:lnTo>
                  <a:lnTo>
                    <a:pt x="995" y="13"/>
                  </a:lnTo>
                  <a:lnTo>
                    <a:pt x="992" y="16"/>
                  </a:lnTo>
                  <a:lnTo>
                    <a:pt x="992" y="19"/>
                  </a:lnTo>
                  <a:lnTo>
                    <a:pt x="990" y="19"/>
                  </a:lnTo>
                  <a:lnTo>
                    <a:pt x="987" y="15"/>
                  </a:lnTo>
                  <a:lnTo>
                    <a:pt x="983" y="16"/>
                  </a:lnTo>
                  <a:lnTo>
                    <a:pt x="981" y="19"/>
                  </a:lnTo>
                  <a:lnTo>
                    <a:pt x="979" y="26"/>
                  </a:lnTo>
                  <a:lnTo>
                    <a:pt x="978" y="30"/>
                  </a:lnTo>
                  <a:lnTo>
                    <a:pt x="980" y="32"/>
                  </a:lnTo>
                  <a:lnTo>
                    <a:pt x="982" y="34"/>
                  </a:lnTo>
                  <a:lnTo>
                    <a:pt x="984" y="34"/>
                  </a:lnTo>
                  <a:lnTo>
                    <a:pt x="988" y="33"/>
                  </a:lnTo>
                  <a:lnTo>
                    <a:pt x="985" y="36"/>
                  </a:lnTo>
                  <a:lnTo>
                    <a:pt x="988" y="37"/>
                  </a:lnTo>
                  <a:lnTo>
                    <a:pt x="985" y="36"/>
                  </a:lnTo>
                  <a:lnTo>
                    <a:pt x="982" y="37"/>
                  </a:lnTo>
                  <a:lnTo>
                    <a:pt x="981" y="40"/>
                  </a:lnTo>
                  <a:lnTo>
                    <a:pt x="979" y="42"/>
                  </a:lnTo>
                  <a:lnTo>
                    <a:pt x="979" y="45"/>
                  </a:lnTo>
                  <a:lnTo>
                    <a:pt x="979" y="48"/>
                  </a:lnTo>
                  <a:lnTo>
                    <a:pt x="981" y="50"/>
                  </a:lnTo>
                  <a:lnTo>
                    <a:pt x="984" y="51"/>
                  </a:lnTo>
                  <a:lnTo>
                    <a:pt x="984" y="55"/>
                  </a:lnTo>
                  <a:lnTo>
                    <a:pt x="988" y="56"/>
                  </a:lnTo>
                  <a:lnTo>
                    <a:pt x="990" y="56"/>
                  </a:lnTo>
                  <a:lnTo>
                    <a:pt x="992" y="57"/>
                  </a:lnTo>
                  <a:lnTo>
                    <a:pt x="1001" y="60"/>
                  </a:lnTo>
                  <a:lnTo>
                    <a:pt x="1004" y="58"/>
                  </a:lnTo>
                  <a:lnTo>
                    <a:pt x="1007" y="62"/>
                  </a:lnTo>
                  <a:lnTo>
                    <a:pt x="1009" y="64"/>
                  </a:lnTo>
                  <a:lnTo>
                    <a:pt x="1015" y="65"/>
                  </a:lnTo>
                  <a:lnTo>
                    <a:pt x="1017" y="63"/>
                  </a:lnTo>
                  <a:lnTo>
                    <a:pt x="1021" y="63"/>
                  </a:lnTo>
                  <a:lnTo>
                    <a:pt x="1019" y="65"/>
                  </a:lnTo>
                  <a:lnTo>
                    <a:pt x="1022" y="66"/>
                  </a:lnTo>
                  <a:lnTo>
                    <a:pt x="1016" y="71"/>
                  </a:lnTo>
                  <a:lnTo>
                    <a:pt x="1016" y="67"/>
                  </a:lnTo>
                  <a:lnTo>
                    <a:pt x="1018" y="65"/>
                  </a:lnTo>
                  <a:lnTo>
                    <a:pt x="1016" y="66"/>
                  </a:lnTo>
                  <a:lnTo>
                    <a:pt x="1014" y="66"/>
                  </a:lnTo>
                  <a:lnTo>
                    <a:pt x="1010" y="67"/>
                  </a:lnTo>
                  <a:lnTo>
                    <a:pt x="1009" y="70"/>
                  </a:lnTo>
                  <a:lnTo>
                    <a:pt x="1012" y="72"/>
                  </a:lnTo>
                  <a:lnTo>
                    <a:pt x="1010" y="74"/>
                  </a:lnTo>
                  <a:lnTo>
                    <a:pt x="1008" y="76"/>
                  </a:lnTo>
                  <a:lnTo>
                    <a:pt x="1006" y="79"/>
                  </a:lnTo>
                  <a:lnTo>
                    <a:pt x="1006" y="82"/>
                  </a:lnTo>
                  <a:lnTo>
                    <a:pt x="1010" y="81"/>
                  </a:lnTo>
                  <a:lnTo>
                    <a:pt x="1016" y="77"/>
                  </a:lnTo>
                  <a:lnTo>
                    <a:pt x="1013" y="79"/>
                  </a:lnTo>
                  <a:lnTo>
                    <a:pt x="1014" y="76"/>
                  </a:lnTo>
                  <a:lnTo>
                    <a:pt x="1016" y="73"/>
                  </a:lnTo>
                  <a:lnTo>
                    <a:pt x="1018" y="76"/>
                  </a:lnTo>
                  <a:lnTo>
                    <a:pt x="1019" y="79"/>
                  </a:lnTo>
                  <a:lnTo>
                    <a:pt x="1017" y="84"/>
                  </a:lnTo>
                  <a:lnTo>
                    <a:pt x="1019" y="84"/>
                  </a:lnTo>
                  <a:lnTo>
                    <a:pt x="1019" y="85"/>
                  </a:lnTo>
                  <a:lnTo>
                    <a:pt x="1014" y="88"/>
                  </a:lnTo>
                  <a:lnTo>
                    <a:pt x="1012" y="89"/>
                  </a:lnTo>
                  <a:lnTo>
                    <a:pt x="1010" y="92"/>
                  </a:lnTo>
                  <a:lnTo>
                    <a:pt x="1006" y="94"/>
                  </a:lnTo>
                  <a:lnTo>
                    <a:pt x="1002" y="98"/>
                  </a:lnTo>
                  <a:lnTo>
                    <a:pt x="998" y="97"/>
                  </a:lnTo>
                  <a:lnTo>
                    <a:pt x="995" y="97"/>
                  </a:lnTo>
                  <a:lnTo>
                    <a:pt x="992" y="100"/>
                  </a:lnTo>
                  <a:lnTo>
                    <a:pt x="992" y="102"/>
                  </a:lnTo>
                  <a:lnTo>
                    <a:pt x="990" y="106"/>
                  </a:lnTo>
                  <a:lnTo>
                    <a:pt x="993" y="107"/>
                  </a:lnTo>
                  <a:lnTo>
                    <a:pt x="996" y="109"/>
                  </a:lnTo>
                  <a:lnTo>
                    <a:pt x="995" y="113"/>
                  </a:lnTo>
                  <a:lnTo>
                    <a:pt x="997" y="115"/>
                  </a:lnTo>
                  <a:lnTo>
                    <a:pt x="995" y="119"/>
                  </a:lnTo>
                  <a:lnTo>
                    <a:pt x="996" y="123"/>
                  </a:lnTo>
                  <a:lnTo>
                    <a:pt x="991" y="124"/>
                  </a:lnTo>
                  <a:lnTo>
                    <a:pt x="985" y="123"/>
                  </a:lnTo>
                  <a:lnTo>
                    <a:pt x="989" y="128"/>
                  </a:lnTo>
                  <a:lnTo>
                    <a:pt x="989" y="132"/>
                  </a:lnTo>
                  <a:lnTo>
                    <a:pt x="989" y="128"/>
                  </a:lnTo>
                  <a:lnTo>
                    <a:pt x="981" y="122"/>
                  </a:lnTo>
                  <a:lnTo>
                    <a:pt x="983" y="123"/>
                  </a:lnTo>
                  <a:lnTo>
                    <a:pt x="985" y="120"/>
                  </a:lnTo>
                  <a:lnTo>
                    <a:pt x="989" y="123"/>
                  </a:lnTo>
                  <a:lnTo>
                    <a:pt x="991" y="123"/>
                  </a:lnTo>
                  <a:lnTo>
                    <a:pt x="995" y="123"/>
                  </a:lnTo>
                  <a:lnTo>
                    <a:pt x="995" y="119"/>
                  </a:lnTo>
                  <a:lnTo>
                    <a:pt x="993" y="117"/>
                  </a:lnTo>
                  <a:lnTo>
                    <a:pt x="990" y="117"/>
                  </a:lnTo>
                  <a:lnTo>
                    <a:pt x="992" y="115"/>
                  </a:lnTo>
                  <a:lnTo>
                    <a:pt x="990" y="114"/>
                  </a:lnTo>
                  <a:lnTo>
                    <a:pt x="987" y="115"/>
                  </a:lnTo>
                  <a:lnTo>
                    <a:pt x="984" y="116"/>
                  </a:lnTo>
                  <a:lnTo>
                    <a:pt x="984" y="114"/>
                  </a:lnTo>
                  <a:lnTo>
                    <a:pt x="982" y="111"/>
                  </a:lnTo>
                  <a:lnTo>
                    <a:pt x="980" y="109"/>
                  </a:lnTo>
                  <a:lnTo>
                    <a:pt x="983" y="104"/>
                  </a:lnTo>
                  <a:lnTo>
                    <a:pt x="987" y="93"/>
                  </a:lnTo>
                  <a:lnTo>
                    <a:pt x="983" y="93"/>
                  </a:lnTo>
                  <a:lnTo>
                    <a:pt x="981" y="94"/>
                  </a:lnTo>
                  <a:lnTo>
                    <a:pt x="980" y="98"/>
                  </a:lnTo>
                  <a:lnTo>
                    <a:pt x="976" y="98"/>
                  </a:lnTo>
                  <a:lnTo>
                    <a:pt x="980" y="92"/>
                  </a:lnTo>
                  <a:lnTo>
                    <a:pt x="976" y="94"/>
                  </a:lnTo>
                  <a:lnTo>
                    <a:pt x="974" y="92"/>
                  </a:lnTo>
                  <a:lnTo>
                    <a:pt x="972" y="92"/>
                  </a:lnTo>
                  <a:lnTo>
                    <a:pt x="971" y="90"/>
                  </a:lnTo>
                  <a:lnTo>
                    <a:pt x="967" y="88"/>
                  </a:lnTo>
                  <a:lnTo>
                    <a:pt x="965" y="87"/>
                  </a:lnTo>
                  <a:lnTo>
                    <a:pt x="959" y="85"/>
                  </a:lnTo>
                  <a:lnTo>
                    <a:pt x="959" y="90"/>
                  </a:lnTo>
                  <a:lnTo>
                    <a:pt x="955" y="91"/>
                  </a:lnTo>
                  <a:lnTo>
                    <a:pt x="951" y="89"/>
                  </a:lnTo>
                  <a:lnTo>
                    <a:pt x="949" y="90"/>
                  </a:lnTo>
                  <a:lnTo>
                    <a:pt x="951" y="92"/>
                  </a:lnTo>
                  <a:lnTo>
                    <a:pt x="954" y="94"/>
                  </a:lnTo>
                  <a:lnTo>
                    <a:pt x="951" y="94"/>
                  </a:lnTo>
                  <a:lnTo>
                    <a:pt x="953" y="98"/>
                  </a:lnTo>
                  <a:lnTo>
                    <a:pt x="955" y="100"/>
                  </a:lnTo>
                  <a:lnTo>
                    <a:pt x="958" y="100"/>
                  </a:lnTo>
                  <a:lnTo>
                    <a:pt x="964" y="99"/>
                  </a:lnTo>
                  <a:lnTo>
                    <a:pt x="966" y="101"/>
                  </a:lnTo>
                  <a:lnTo>
                    <a:pt x="968" y="100"/>
                  </a:lnTo>
                  <a:lnTo>
                    <a:pt x="971" y="106"/>
                  </a:lnTo>
                  <a:lnTo>
                    <a:pt x="970" y="107"/>
                  </a:lnTo>
                  <a:lnTo>
                    <a:pt x="964" y="108"/>
                  </a:lnTo>
                  <a:lnTo>
                    <a:pt x="958" y="105"/>
                  </a:lnTo>
                  <a:lnTo>
                    <a:pt x="953" y="99"/>
                  </a:lnTo>
                  <a:lnTo>
                    <a:pt x="950" y="97"/>
                  </a:lnTo>
                  <a:lnTo>
                    <a:pt x="949" y="100"/>
                  </a:lnTo>
                  <a:lnTo>
                    <a:pt x="951" y="101"/>
                  </a:lnTo>
                  <a:lnTo>
                    <a:pt x="949" y="105"/>
                  </a:lnTo>
                  <a:lnTo>
                    <a:pt x="946" y="106"/>
                  </a:lnTo>
                  <a:lnTo>
                    <a:pt x="938" y="104"/>
                  </a:lnTo>
                  <a:lnTo>
                    <a:pt x="932" y="102"/>
                  </a:lnTo>
                  <a:lnTo>
                    <a:pt x="931" y="104"/>
                  </a:lnTo>
                  <a:lnTo>
                    <a:pt x="929" y="102"/>
                  </a:lnTo>
                  <a:lnTo>
                    <a:pt x="925" y="102"/>
                  </a:lnTo>
                  <a:lnTo>
                    <a:pt x="923" y="104"/>
                  </a:lnTo>
                  <a:lnTo>
                    <a:pt x="921" y="102"/>
                  </a:lnTo>
                  <a:lnTo>
                    <a:pt x="918" y="105"/>
                  </a:lnTo>
                  <a:lnTo>
                    <a:pt x="915" y="105"/>
                  </a:lnTo>
                  <a:lnTo>
                    <a:pt x="910" y="106"/>
                  </a:lnTo>
                  <a:lnTo>
                    <a:pt x="906" y="106"/>
                  </a:lnTo>
                  <a:lnTo>
                    <a:pt x="904" y="104"/>
                  </a:lnTo>
                  <a:lnTo>
                    <a:pt x="902" y="105"/>
                  </a:lnTo>
                  <a:lnTo>
                    <a:pt x="893" y="102"/>
                  </a:lnTo>
                  <a:lnTo>
                    <a:pt x="890" y="101"/>
                  </a:lnTo>
                  <a:lnTo>
                    <a:pt x="887" y="100"/>
                  </a:lnTo>
                  <a:lnTo>
                    <a:pt x="885" y="97"/>
                  </a:lnTo>
                  <a:lnTo>
                    <a:pt x="879" y="98"/>
                  </a:lnTo>
                  <a:lnTo>
                    <a:pt x="877" y="98"/>
                  </a:lnTo>
                  <a:lnTo>
                    <a:pt x="874" y="98"/>
                  </a:lnTo>
                  <a:lnTo>
                    <a:pt x="871" y="98"/>
                  </a:lnTo>
                  <a:lnTo>
                    <a:pt x="869" y="97"/>
                  </a:lnTo>
                  <a:lnTo>
                    <a:pt x="868" y="94"/>
                  </a:lnTo>
                  <a:lnTo>
                    <a:pt x="865" y="92"/>
                  </a:lnTo>
                  <a:lnTo>
                    <a:pt x="862" y="91"/>
                  </a:lnTo>
                  <a:lnTo>
                    <a:pt x="860" y="91"/>
                  </a:lnTo>
                  <a:lnTo>
                    <a:pt x="857" y="89"/>
                  </a:lnTo>
                  <a:lnTo>
                    <a:pt x="857" y="87"/>
                  </a:lnTo>
                  <a:lnTo>
                    <a:pt x="855" y="83"/>
                  </a:lnTo>
                  <a:lnTo>
                    <a:pt x="855" y="81"/>
                  </a:lnTo>
                  <a:lnTo>
                    <a:pt x="853" y="79"/>
                  </a:lnTo>
                  <a:lnTo>
                    <a:pt x="847" y="76"/>
                  </a:lnTo>
                  <a:lnTo>
                    <a:pt x="842" y="79"/>
                  </a:lnTo>
                  <a:lnTo>
                    <a:pt x="836" y="80"/>
                  </a:lnTo>
                  <a:lnTo>
                    <a:pt x="830" y="82"/>
                  </a:lnTo>
                  <a:lnTo>
                    <a:pt x="825" y="83"/>
                  </a:lnTo>
                  <a:lnTo>
                    <a:pt x="820" y="83"/>
                  </a:lnTo>
                  <a:lnTo>
                    <a:pt x="817" y="84"/>
                  </a:lnTo>
                  <a:lnTo>
                    <a:pt x="812" y="90"/>
                  </a:lnTo>
                  <a:lnTo>
                    <a:pt x="811" y="92"/>
                  </a:lnTo>
                  <a:lnTo>
                    <a:pt x="813" y="92"/>
                  </a:lnTo>
                  <a:lnTo>
                    <a:pt x="817" y="93"/>
                  </a:lnTo>
                  <a:lnTo>
                    <a:pt x="819" y="94"/>
                  </a:lnTo>
                  <a:lnTo>
                    <a:pt x="822" y="94"/>
                  </a:lnTo>
                  <a:lnTo>
                    <a:pt x="825" y="94"/>
                  </a:lnTo>
                  <a:lnTo>
                    <a:pt x="823" y="92"/>
                  </a:lnTo>
                  <a:lnTo>
                    <a:pt x="827" y="91"/>
                  </a:lnTo>
                  <a:lnTo>
                    <a:pt x="829" y="91"/>
                  </a:lnTo>
                  <a:lnTo>
                    <a:pt x="831" y="92"/>
                  </a:lnTo>
                  <a:lnTo>
                    <a:pt x="837" y="90"/>
                  </a:lnTo>
                  <a:lnTo>
                    <a:pt x="839" y="90"/>
                  </a:lnTo>
                  <a:lnTo>
                    <a:pt x="840" y="88"/>
                  </a:lnTo>
                  <a:lnTo>
                    <a:pt x="843" y="87"/>
                  </a:lnTo>
                  <a:lnTo>
                    <a:pt x="848" y="84"/>
                  </a:lnTo>
                  <a:lnTo>
                    <a:pt x="852" y="84"/>
                  </a:lnTo>
                  <a:lnTo>
                    <a:pt x="853" y="87"/>
                  </a:lnTo>
                  <a:lnTo>
                    <a:pt x="851" y="89"/>
                  </a:lnTo>
                  <a:lnTo>
                    <a:pt x="847" y="90"/>
                  </a:lnTo>
                  <a:lnTo>
                    <a:pt x="845" y="90"/>
                  </a:lnTo>
                  <a:lnTo>
                    <a:pt x="843" y="92"/>
                  </a:lnTo>
                  <a:lnTo>
                    <a:pt x="839" y="94"/>
                  </a:lnTo>
                  <a:lnTo>
                    <a:pt x="838" y="97"/>
                  </a:lnTo>
                  <a:lnTo>
                    <a:pt x="834" y="96"/>
                  </a:lnTo>
                  <a:lnTo>
                    <a:pt x="830" y="98"/>
                  </a:lnTo>
                  <a:lnTo>
                    <a:pt x="828" y="97"/>
                  </a:lnTo>
                  <a:lnTo>
                    <a:pt x="825" y="99"/>
                  </a:lnTo>
                  <a:lnTo>
                    <a:pt x="823" y="97"/>
                  </a:lnTo>
                  <a:lnTo>
                    <a:pt x="823" y="99"/>
                  </a:lnTo>
                  <a:lnTo>
                    <a:pt x="826" y="100"/>
                  </a:lnTo>
                  <a:lnTo>
                    <a:pt x="822" y="102"/>
                  </a:lnTo>
                  <a:lnTo>
                    <a:pt x="821" y="105"/>
                  </a:lnTo>
                  <a:lnTo>
                    <a:pt x="826" y="109"/>
                  </a:lnTo>
                  <a:lnTo>
                    <a:pt x="827" y="115"/>
                  </a:lnTo>
                  <a:lnTo>
                    <a:pt x="829" y="118"/>
                  </a:lnTo>
                  <a:lnTo>
                    <a:pt x="831" y="119"/>
                  </a:lnTo>
                  <a:lnTo>
                    <a:pt x="831" y="122"/>
                  </a:lnTo>
                  <a:lnTo>
                    <a:pt x="834" y="125"/>
                  </a:lnTo>
                  <a:lnTo>
                    <a:pt x="830" y="123"/>
                  </a:lnTo>
                  <a:lnTo>
                    <a:pt x="829" y="126"/>
                  </a:lnTo>
                  <a:lnTo>
                    <a:pt x="827" y="125"/>
                  </a:lnTo>
                  <a:lnTo>
                    <a:pt x="828" y="122"/>
                  </a:lnTo>
                  <a:lnTo>
                    <a:pt x="826" y="123"/>
                  </a:lnTo>
                  <a:lnTo>
                    <a:pt x="826" y="125"/>
                  </a:lnTo>
                  <a:lnTo>
                    <a:pt x="826" y="127"/>
                  </a:lnTo>
                  <a:lnTo>
                    <a:pt x="827" y="131"/>
                  </a:lnTo>
                  <a:lnTo>
                    <a:pt x="829" y="133"/>
                  </a:lnTo>
                  <a:lnTo>
                    <a:pt x="833" y="135"/>
                  </a:lnTo>
                  <a:lnTo>
                    <a:pt x="829" y="134"/>
                  </a:lnTo>
                  <a:lnTo>
                    <a:pt x="822" y="126"/>
                  </a:lnTo>
                  <a:lnTo>
                    <a:pt x="819" y="125"/>
                  </a:lnTo>
                  <a:lnTo>
                    <a:pt x="819" y="123"/>
                  </a:lnTo>
                  <a:lnTo>
                    <a:pt x="817" y="122"/>
                  </a:lnTo>
                  <a:lnTo>
                    <a:pt x="814" y="119"/>
                  </a:lnTo>
                  <a:lnTo>
                    <a:pt x="817" y="120"/>
                  </a:lnTo>
                  <a:lnTo>
                    <a:pt x="822" y="120"/>
                  </a:lnTo>
                  <a:lnTo>
                    <a:pt x="823" y="118"/>
                  </a:lnTo>
                  <a:lnTo>
                    <a:pt x="821" y="115"/>
                  </a:lnTo>
                  <a:lnTo>
                    <a:pt x="816" y="111"/>
                  </a:lnTo>
                  <a:lnTo>
                    <a:pt x="814" y="109"/>
                  </a:lnTo>
                  <a:lnTo>
                    <a:pt x="811" y="111"/>
                  </a:lnTo>
                  <a:lnTo>
                    <a:pt x="809" y="111"/>
                  </a:lnTo>
                  <a:lnTo>
                    <a:pt x="808" y="110"/>
                  </a:lnTo>
                  <a:lnTo>
                    <a:pt x="808" y="108"/>
                  </a:lnTo>
                  <a:lnTo>
                    <a:pt x="808" y="105"/>
                  </a:lnTo>
                  <a:lnTo>
                    <a:pt x="802" y="105"/>
                  </a:lnTo>
                  <a:lnTo>
                    <a:pt x="799" y="106"/>
                  </a:lnTo>
                  <a:lnTo>
                    <a:pt x="797" y="102"/>
                  </a:lnTo>
                  <a:lnTo>
                    <a:pt x="795" y="101"/>
                  </a:lnTo>
                  <a:lnTo>
                    <a:pt x="794" y="102"/>
                  </a:lnTo>
                  <a:lnTo>
                    <a:pt x="794" y="99"/>
                  </a:lnTo>
                  <a:lnTo>
                    <a:pt x="788" y="100"/>
                  </a:lnTo>
                  <a:lnTo>
                    <a:pt x="780" y="105"/>
                  </a:lnTo>
                  <a:lnTo>
                    <a:pt x="773" y="105"/>
                  </a:lnTo>
                  <a:lnTo>
                    <a:pt x="769" y="105"/>
                  </a:lnTo>
                  <a:lnTo>
                    <a:pt x="768" y="106"/>
                  </a:lnTo>
                  <a:lnTo>
                    <a:pt x="766" y="105"/>
                  </a:lnTo>
                  <a:lnTo>
                    <a:pt x="763" y="105"/>
                  </a:lnTo>
                  <a:lnTo>
                    <a:pt x="760" y="106"/>
                  </a:lnTo>
                  <a:lnTo>
                    <a:pt x="741" y="106"/>
                  </a:lnTo>
                  <a:lnTo>
                    <a:pt x="739" y="105"/>
                  </a:lnTo>
                  <a:lnTo>
                    <a:pt x="735" y="105"/>
                  </a:lnTo>
                  <a:lnTo>
                    <a:pt x="733" y="104"/>
                  </a:lnTo>
                  <a:lnTo>
                    <a:pt x="729" y="104"/>
                  </a:lnTo>
                  <a:lnTo>
                    <a:pt x="725" y="104"/>
                  </a:lnTo>
                  <a:lnTo>
                    <a:pt x="722" y="101"/>
                  </a:lnTo>
                  <a:lnTo>
                    <a:pt x="719" y="101"/>
                  </a:lnTo>
                  <a:lnTo>
                    <a:pt x="724" y="99"/>
                  </a:lnTo>
                  <a:lnTo>
                    <a:pt x="724" y="96"/>
                  </a:lnTo>
                  <a:lnTo>
                    <a:pt x="726" y="96"/>
                  </a:lnTo>
                  <a:lnTo>
                    <a:pt x="728" y="94"/>
                  </a:lnTo>
                  <a:lnTo>
                    <a:pt x="728" y="93"/>
                  </a:lnTo>
                  <a:lnTo>
                    <a:pt x="733" y="92"/>
                  </a:lnTo>
                  <a:lnTo>
                    <a:pt x="736" y="93"/>
                  </a:lnTo>
                  <a:lnTo>
                    <a:pt x="739" y="93"/>
                  </a:lnTo>
                  <a:lnTo>
                    <a:pt x="740" y="90"/>
                  </a:lnTo>
                  <a:lnTo>
                    <a:pt x="739" y="88"/>
                  </a:lnTo>
                  <a:lnTo>
                    <a:pt x="736" y="85"/>
                  </a:lnTo>
                  <a:lnTo>
                    <a:pt x="728" y="79"/>
                  </a:lnTo>
                  <a:lnTo>
                    <a:pt x="719" y="76"/>
                  </a:lnTo>
                  <a:lnTo>
                    <a:pt x="714" y="75"/>
                  </a:lnTo>
                  <a:lnTo>
                    <a:pt x="711" y="75"/>
                  </a:lnTo>
                  <a:lnTo>
                    <a:pt x="708" y="75"/>
                  </a:lnTo>
                  <a:lnTo>
                    <a:pt x="710" y="79"/>
                  </a:lnTo>
                  <a:lnTo>
                    <a:pt x="705" y="79"/>
                  </a:lnTo>
                  <a:lnTo>
                    <a:pt x="702" y="77"/>
                  </a:lnTo>
                  <a:lnTo>
                    <a:pt x="700" y="76"/>
                  </a:lnTo>
                  <a:lnTo>
                    <a:pt x="697" y="77"/>
                  </a:lnTo>
                  <a:lnTo>
                    <a:pt x="691" y="75"/>
                  </a:lnTo>
                  <a:lnTo>
                    <a:pt x="685" y="75"/>
                  </a:lnTo>
                  <a:lnTo>
                    <a:pt x="677" y="72"/>
                  </a:lnTo>
                  <a:lnTo>
                    <a:pt x="675" y="70"/>
                  </a:lnTo>
                  <a:lnTo>
                    <a:pt x="658" y="66"/>
                  </a:lnTo>
                  <a:lnTo>
                    <a:pt x="655" y="66"/>
                  </a:lnTo>
                  <a:lnTo>
                    <a:pt x="651" y="64"/>
                  </a:lnTo>
                  <a:lnTo>
                    <a:pt x="647" y="60"/>
                  </a:lnTo>
                  <a:lnTo>
                    <a:pt x="638" y="57"/>
                  </a:lnTo>
                  <a:lnTo>
                    <a:pt x="630" y="55"/>
                  </a:lnTo>
                  <a:lnTo>
                    <a:pt x="628" y="56"/>
                  </a:lnTo>
                  <a:lnTo>
                    <a:pt x="624" y="55"/>
                  </a:lnTo>
                  <a:lnTo>
                    <a:pt x="618" y="56"/>
                  </a:lnTo>
                  <a:lnTo>
                    <a:pt x="616" y="55"/>
                  </a:lnTo>
                  <a:lnTo>
                    <a:pt x="615" y="57"/>
                  </a:lnTo>
                  <a:lnTo>
                    <a:pt x="614" y="60"/>
                  </a:lnTo>
                  <a:lnTo>
                    <a:pt x="612" y="63"/>
                  </a:lnTo>
                  <a:lnTo>
                    <a:pt x="611" y="66"/>
                  </a:lnTo>
                  <a:lnTo>
                    <a:pt x="607" y="66"/>
                  </a:lnTo>
                  <a:lnTo>
                    <a:pt x="598" y="66"/>
                  </a:lnTo>
                  <a:lnTo>
                    <a:pt x="596" y="66"/>
                  </a:lnTo>
                  <a:lnTo>
                    <a:pt x="597" y="63"/>
                  </a:lnTo>
                  <a:lnTo>
                    <a:pt x="601" y="57"/>
                  </a:lnTo>
                  <a:lnTo>
                    <a:pt x="596" y="57"/>
                  </a:lnTo>
                  <a:lnTo>
                    <a:pt x="597" y="53"/>
                  </a:lnTo>
                  <a:lnTo>
                    <a:pt x="597" y="48"/>
                  </a:lnTo>
                  <a:lnTo>
                    <a:pt x="594" y="47"/>
                  </a:lnTo>
                  <a:lnTo>
                    <a:pt x="597" y="49"/>
                  </a:lnTo>
                  <a:lnTo>
                    <a:pt x="591" y="49"/>
                  </a:lnTo>
                  <a:lnTo>
                    <a:pt x="586" y="50"/>
                  </a:lnTo>
                  <a:lnTo>
                    <a:pt x="586" y="53"/>
                  </a:lnTo>
                  <a:lnTo>
                    <a:pt x="589" y="50"/>
                  </a:lnTo>
                  <a:lnTo>
                    <a:pt x="594" y="50"/>
                  </a:lnTo>
                  <a:lnTo>
                    <a:pt x="590" y="53"/>
                  </a:lnTo>
                  <a:lnTo>
                    <a:pt x="589" y="55"/>
                  </a:lnTo>
                  <a:lnTo>
                    <a:pt x="586" y="57"/>
                  </a:lnTo>
                  <a:lnTo>
                    <a:pt x="589" y="57"/>
                  </a:lnTo>
                  <a:lnTo>
                    <a:pt x="591" y="57"/>
                  </a:lnTo>
                  <a:lnTo>
                    <a:pt x="589" y="57"/>
                  </a:lnTo>
                  <a:lnTo>
                    <a:pt x="586" y="58"/>
                  </a:lnTo>
                  <a:lnTo>
                    <a:pt x="583" y="60"/>
                  </a:lnTo>
                  <a:lnTo>
                    <a:pt x="586" y="63"/>
                  </a:lnTo>
                  <a:lnTo>
                    <a:pt x="583" y="64"/>
                  </a:lnTo>
                  <a:lnTo>
                    <a:pt x="586" y="66"/>
                  </a:lnTo>
                  <a:lnTo>
                    <a:pt x="582" y="67"/>
                  </a:lnTo>
                  <a:lnTo>
                    <a:pt x="578" y="66"/>
                  </a:lnTo>
                  <a:lnTo>
                    <a:pt x="572" y="63"/>
                  </a:lnTo>
                  <a:lnTo>
                    <a:pt x="566" y="57"/>
                  </a:lnTo>
                  <a:lnTo>
                    <a:pt x="565" y="55"/>
                  </a:lnTo>
                  <a:lnTo>
                    <a:pt x="564" y="53"/>
                  </a:lnTo>
                  <a:lnTo>
                    <a:pt x="560" y="43"/>
                  </a:lnTo>
                  <a:lnTo>
                    <a:pt x="556" y="41"/>
                  </a:lnTo>
                  <a:lnTo>
                    <a:pt x="555" y="40"/>
                  </a:lnTo>
                  <a:lnTo>
                    <a:pt x="548" y="37"/>
                  </a:lnTo>
                  <a:lnTo>
                    <a:pt x="546" y="39"/>
                  </a:lnTo>
                  <a:lnTo>
                    <a:pt x="546" y="41"/>
                  </a:lnTo>
                  <a:lnTo>
                    <a:pt x="549" y="41"/>
                  </a:lnTo>
                  <a:lnTo>
                    <a:pt x="548" y="43"/>
                  </a:lnTo>
                  <a:lnTo>
                    <a:pt x="554" y="45"/>
                  </a:lnTo>
                  <a:lnTo>
                    <a:pt x="546" y="47"/>
                  </a:lnTo>
                  <a:lnTo>
                    <a:pt x="543" y="48"/>
                  </a:lnTo>
                  <a:lnTo>
                    <a:pt x="544" y="50"/>
                  </a:lnTo>
                  <a:lnTo>
                    <a:pt x="543" y="53"/>
                  </a:lnTo>
                  <a:lnTo>
                    <a:pt x="540" y="54"/>
                  </a:lnTo>
                  <a:lnTo>
                    <a:pt x="538" y="56"/>
                  </a:lnTo>
                  <a:lnTo>
                    <a:pt x="535" y="58"/>
                  </a:lnTo>
                  <a:lnTo>
                    <a:pt x="532" y="57"/>
                  </a:lnTo>
                  <a:lnTo>
                    <a:pt x="532" y="55"/>
                  </a:lnTo>
                  <a:lnTo>
                    <a:pt x="534" y="53"/>
                  </a:lnTo>
                  <a:lnTo>
                    <a:pt x="531" y="55"/>
                  </a:lnTo>
                  <a:lnTo>
                    <a:pt x="526" y="55"/>
                  </a:lnTo>
                  <a:lnTo>
                    <a:pt x="515" y="58"/>
                  </a:lnTo>
                  <a:lnTo>
                    <a:pt x="511" y="64"/>
                  </a:lnTo>
                  <a:lnTo>
                    <a:pt x="510" y="66"/>
                  </a:lnTo>
                  <a:lnTo>
                    <a:pt x="507" y="70"/>
                  </a:lnTo>
                  <a:lnTo>
                    <a:pt x="506" y="66"/>
                  </a:lnTo>
                  <a:lnTo>
                    <a:pt x="507" y="64"/>
                  </a:lnTo>
                  <a:lnTo>
                    <a:pt x="505" y="66"/>
                  </a:lnTo>
                  <a:lnTo>
                    <a:pt x="506" y="64"/>
                  </a:lnTo>
                  <a:lnTo>
                    <a:pt x="504" y="62"/>
                  </a:lnTo>
                  <a:lnTo>
                    <a:pt x="505" y="64"/>
                  </a:lnTo>
                  <a:lnTo>
                    <a:pt x="503" y="62"/>
                  </a:lnTo>
                  <a:lnTo>
                    <a:pt x="504" y="64"/>
                  </a:lnTo>
                  <a:lnTo>
                    <a:pt x="502" y="66"/>
                  </a:lnTo>
                  <a:lnTo>
                    <a:pt x="502" y="64"/>
                  </a:lnTo>
                  <a:lnTo>
                    <a:pt x="500" y="66"/>
                  </a:lnTo>
                  <a:lnTo>
                    <a:pt x="500" y="64"/>
                  </a:lnTo>
                  <a:lnTo>
                    <a:pt x="495" y="65"/>
                  </a:lnTo>
                  <a:lnTo>
                    <a:pt x="495" y="67"/>
                  </a:lnTo>
                  <a:lnTo>
                    <a:pt x="492" y="70"/>
                  </a:lnTo>
                  <a:lnTo>
                    <a:pt x="487" y="71"/>
                  </a:lnTo>
                  <a:lnTo>
                    <a:pt x="481" y="74"/>
                  </a:lnTo>
                  <a:lnTo>
                    <a:pt x="481" y="77"/>
                  </a:lnTo>
                  <a:lnTo>
                    <a:pt x="485" y="77"/>
                  </a:lnTo>
                  <a:lnTo>
                    <a:pt x="487" y="79"/>
                  </a:lnTo>
                  <a:lnTo>
                    <a:pt x="485" y="80"/>
                  </a:lnTo>
                  <a:lnTo>
                    <a:pt x="479" y="79"/>
                  </a:lnTo>
                  <a:lnTo>
                    <a:pt x="476" y="81"/>
                  </a:lnTo>
                  <a:lnTo>
                    <a:pt x="479" y="82"/>
                  </a:lnTo>
                  <a:lnTo>
                    <a:pt x="473" y="80"/>
                  </a:lnTo>
                  <a:lnTo>
                    <a:pt x="473" y="77"/>
                  </a:lnTo>
                  <a:lnTo>
                    <a:pt x="476" y="76"/>
                  </a:lnTo>
                  <a:lnTo>
                    <a:pt x="478" y="73"/>
                  </a:lnTo>
                  <a:lnTo>
                    <a:pt x="480" y="74"/>
                  </a:lnTo>
                  <a:lnTo>
                    <a:pt x="481" y="72"/>
                  </a:lnTo>
                  <a:lnTo>
                    <a:pt x="484" y="68"/>
                  </a:lnTo>
                  <a:lnTo>
                    <a:pt x="486" y="70"/>
                  </a:lnTo>
                  <a:lnTo>
                    <a:pt x="489" y="67"/>
                  </a:lnTo>
                  <a:lnTo>
                    <a:pt x="492" y="65"/>
                  </a:lnTo>
                  <a:lnTo>
                    <a:pt x="493" y="62"/>
                  </a:lnTo>
                  <a:lnTo>
                    <a:pt x="496" y="62"/>
                  </a:lnTo>
                  <a:lnTo>
                    <a:pt x="502" y="62"/>
                  </a:lnTo>
                  <a:lnTo>
                    <a:pt x="504" y="60"/>
                  </a:lnTo>
                  <a:lnTo>
                    <a:pt x="506" y="60"/>
                  </a:lnTo>
                  <a:lnTo>
                    <a:pt x="510" y="58"/>
                  </a:lnTo>
                  <a:lnTo>
                    <a:pt x="512" y="58"/>
                  </a:lnTo>
                  <a:lnTo>
                    <a:pt x="515" y="56"/>
                  </a:lnTo>
                  <a:lnTo>
                    <a:pt x="527" y="50"/>
                  </a:lnTo>
                  <a:lnTo>
                    <a:pt x="528" y="48"/>
                  </a:lnTo>
                  <a:lnTo>
                    <a:pt x="526" y="46"/>
                  </a:lnTo>
                  <a:lnTo>
                    <a:pt x="520" y="49"/>
                  </a:lnTo>
                  <a:lnTo>
                    <a:pt x="518" y="49"/>
                  </a:lnTo>
                  <a:lnTo>
                    <a:pt x="515" y="48"/>
                  </a:lnTo>
                  <a:lnTo>
                    <a:pt x="512" y="48"/>
                  </a:lnTo>
                  <a:lnTo>
                    <a:pt x="510" y="48"/>
                  </a:lnTo>
                  <a:lnTo>
                    <a:pt x="506" y="50"/>
                  </a:lnTo>
                  <a:lnTo>
                    <a:pt x="506" y="53"/>
                  </a:lnTo>
                  <a:lnTo>
                    <a:pt x="504" y="55"/>
                  </a:lnTo>
                  <a:lnTo>
                    <a:pt x="503" y="53"/>
                  </a:lnTo>
                  <a:lnTo>
                    <a:pt x="497" y="55"/>
                  </a:lnTo>
                  <a:lnTo>
                    <a:pt x="495" y="56"/>
                  </a:lnTo>
                  <a:lnTo>
                    <a:pt x="492" y="57"/>
                  </a:lnTo>
                  <a:lnTo>
                    <a:pt x="489" y="58"/>
                  </a:lnTo>
                  <a:lnTo>
                    <a:pt x="487" y="57"/>
                  </a:lnTo>
                  <a:lnTo>
                    <a:pt x="489" y="56"/>
                  </a:lnTo>
                  <a:lnTo>
                    <a:pt x="486" y="57"/>
                  </a:lnTo>
                  <a:lnTo>
                    <a:pt x="487" y="59"/>
                  </a:lnTo>
                  <a:lnTo>
                    <a:pt x="481" y="59"/>
                  </a:lnTo>
                  <a:lnTo>
                    <a:pt x="478" y="65"/>
                  </a:lnTo>
                  <a:lnTo>
                    <a:pt x="472" y="65"/>
                  </a:lnTo>
                  <a:lnTo>
                    <a:pt x="469" y="67"/>
                  </a:lnTo>
                  <a:lnTo>
                    <a:pt x="467" y="68"/>
                  </a:lnTo>
                  <a:lnTo>
                    <a:pt x="463" y="68"/>
                  </a:lnTo>
                  <a:lnTo>
                    <a:pt x="461" y="71"/>
                  </a:lnTo>
                  <a:lnTo>
                    <a:pt x="459" y="72"/>
                  </a:lnTo>
                  <a:lnTo>
                    <a:pt x="459" y="72"/>
                  </a:lnTo>
                  <a:lnTo>
                    <a:pt x="462" y="70"/>
                  </a:lnTo>
                  <a:lnTo>
                    <a:pt x="464" y="66"/>
                  </a:lnTo>
                  <a:lnTo>
                    <a:pt x="468" y="65"/>
                  </a:lnTo>
                  <a:lnTo>
                    <a:pt x="469" y="62"/>
                  </a:lnTo>
                  <a:lnTo>
                    <a:pt x="467" y="63"/>
                  </a:lnTo>
                  <a:lnTo>
                    <a:pt x="463" y="62"/>
                  </a:lnTo>
                  <a:lnTo>
                    <a:pt x="463" y="58"/>
                  </a:lnTo>
                  <a:lnTo>
                    <a:pt x="460" y="57"/>
                  </a:lnTo>
                  <a:lnTo>
                    <a:pt x="460" y="60"/>
                  </a:lnTo>
                  <a:lnTo>
                    <a:pt x="458" y="63"/>
                  </a:lnTo>
                  <a:lnTo>
                    <a:pt x="455" y="64"/>
                  </a:lnTo>
                  <a:lnTo>
                    <a:pt x="452" y="64"/>
                  </a:lnTo>
                  <a:lnTo>
                    <a:pt x="451" y="63"/>
                  </a:lnTo>
                  <a:lnTo>
                    <a:pt x="449" y="64"/>
                  </a:lnTo>
                  <a:lnTo>
                    <a:pt x="449" y="67"/>
                  </a:lnTo>
                  <a:lnTo>
                    <a:pt x="450" y="68"/>
                  </a:lnTo>
                  <a:lnTo>
                    <a:pt x="446" y="67"/>
                  </a:lnTo>
                  <a:lnTo>
                    <a:pt x="444" y="66"/>
                  </a:lnTo>
                  <a:lnTo>
                    <a:pt x="444" y="70"/>
                  </a:lnTo>
                  <a:lnTo>
                    <a:pt x="442" y="67"/>
                  </a:lnTo>
                  <a:lnTo>
                    <a:pt x="442" y="70"/>
                  </a:lnTo>
                  <a:lnTo>
                    <a:pt x="445" y="72"/>
                  </a:lnTo>
                  <a:lnTo>
                    <a:pt x="442" y="71"/>
                  </a:lnTo>
                  <a:lnTo>
                    <a:pt x="440" y="70"/>
                  </a:lnTo>
                  <a:lnTo>
                    <a:pt x="440" y="72"/>
                  </a:lnTo>
                  <a:lnTo>
                    <a:pt x="442" y="74"/>
                  </a:lnTo>
                  <a:lnTo>
                    <a:pt x="444" y="74"/>
                  </a:lnTo>
                  <a:lnTo>
                    <a:pt x="445" y="74"/>
                  </a:lnTo>
                  <a:lnTo>
                    <a:pt x="442" y="75"/>
                  </a:lnTo>
                  <a:lnTo>
                    <a:pt x="441" y="75"/>
                  </a:lnTo>
                  <a:lnTo>
                    <a:pt x="440" y="75"/>
                  </a:lnTo>
                  <a:lnTo>
                    <a:pt x="442" y="77"/>
                  </a:lnTo>
                  <a:lnTo>
                    <a:pt x="445" y="77"/>
                  </a:lnTo>
                  <a:lnTo>
                    <a:pt x="446" y="75"/>
                  </a:lnTo>
                  <a:lnTo>
                    <a:pt x="449" y="76"/>
                  </a:lnTo>
                  <a:lnTo>
                    <a:pt x="451" y="77"/>
                  </a:lnTo>
                  <a:lnTo>
                    <a:pt x="454" y="75"/>
                  </a:lnTo>
                  <a:lnTo>
                    <a:pt x="454" y="75"/>
                  </a:lnTo>
                  <a:lnTo>
                    <a:pt x="455" y="75"/>
                  </a:lnTo>
                  <a:lnTo>
                    <a:pt x="458" y="79"/>
                  </a:lnTo>
                  <a:lnTo>
                    <a:pt x="459" y="81"/>
                  </a:lnTo>
                  <a:lnTo>
                    <a:pt x="462" y="82"/>
                  </a:lnTo>
                  <a:lnTo>
                    <a:pt x="460" y="80"/>
                  </a:lnTo>
                  <a:lnTo>
                    <a:pt x="458" y="76"/>
                  </a:lnTo>
                  <a:lnTo>
                    <a:pt x="456" y="74"/>
                  </a:lnTo>
                  <a:lnTo>
                    <a:pt x="459" y="73"/>
                  </a:lnTo>
                  <a:lnTo>
                    <a:pt x="458" y="75"/>
                  </a:lnTo>
                  <a:lnTo>
                    <a:pt x="462" y="82"/>
                  </a:lnTo>
                  <a:lnTo>
                    <a:pt x="462" y="83"/>
                  </a:lnTo>
                  <a:lnTo>
                    <a:pt x="459" y="81"/>
                  </a:lnTo>
                  <a:lnTo>
                    <a:pt x="456" y="79"/>
                  </a:lnTo>
                  <a:lnTo>
                    <a:pt x="454" y="76"/>
                  </a:lnTo>
                  <a:lnTo>
                    <a:pt x="451" y="77"/>
                  </a:lnTo>
                  <a:lnTo>
                    <a:pt x="449" y="76"/>
                  </a:lnTo>
                  <a:lnTo>
                    <a:pt x="446" y="79"/>
                  </a:lnTo>
                  <a:lnTo>
                    <a:pt x="447" y="81"/>
                  </a:lnTo>
                  <a:lnTo>
                    <a:pt x="450" y="83"/>
                  </a:lnTo>
                  <a:lnTo>
                    <a:pt x="449" y="83"/>
                  </a:lnTo>
                  <a:lnTo>
                    <a:pt x="449" y="82"/>
                  </a:lnTo>
                  <a:lnTo>
                    <a:pt x="443" y="81"/>
                  </a:lnTo>
                  <a:lnTo>
                    <a:pt x="441" y="79"/>
                  </a:lnTo>
                  <a:lnTo>
                    <a:pt x="436" y="77"/>
                  </a:lnTo>
                  <a:lnTo>
                    <a:pt x="433" y="77"/>
                  </a:lnTo>
                  <a:lnTo>
                    <a:pt x="433" y="77"/>
                  </a:lnTo>
                  <a:lnTo>
                    <a:pt x="429" y="77"/>
                  </a:lnTo>
                  <a:lnTo>
                    <a:pt x="427" y="77"/>
                  </a:lnTo>
                  <a:lnTo>
                    <a:pt x="424" y="76"/>
                  </a:lnTo>
                  <a:lnTo>
                    <a:pt x="421" y="76"/>
                  </a:lnTo>
                  <a:lnTo>
                    <a:pt x="419" y="74"/>
                  </a:lnTo>
                  <a:lnTo>
                    <a:pt x="410" y="72"/>
                  </a:lnTo>
                  <a:lnTo>
                    <a:pt x="404" y="70"/>
                  </a:lnTo>
                  <a:lnTo>
                    <a:pt x="402" y="70"/>
                  </a:lnTo>
                  <a:lnTo>
                    <a:pt x="400" y="66"/>
                  </a:lnTo>
                  <a:lnTo>
                    <a:pt x="398" y="65"/>
                  </a:lnTo>
                  <a:lnTo>
                    <a:pt x="394" y="63"/>
                  </a:lnTo>
                  <a:lnTo>
                    <a:pt x="386" y="60"/>
                  </a:lnTo>
                  <a:lnTo>
                    <a:pt x="384" y="60"/>
                  </a:lnTo>
                  <a:lnTo>
                    <a:pt x="378" y="60"/>
                  </a:lnTo>
                  <a:lnTo>
                    <a:pt x="369" y="59"/>
                  </a:lnTo>
                  <a:lnTo>
                    <a:pt x="369" y="59"/>
                  </a:lnTo>
                  <a:lnTo>
                    <a:pt x="366" y="59"/>
                  </a:lnTo>
                  <a:lnTo>
                    <a:pt x="366" y="59"/>
                  </a:lnTo>
                  <a:lnTo>
                    <a:pt x="364" y="58"/>
                  </a:lnTo>
                  <a:lnTo>
                    <a:pt x="360" y="56"/>
                  </a:lnTo>
                  <a:lnTo>
                    <a:pt x="357" y="55"/>
                  </a:lnTo>
                  <a:lnTo>
                    <a:pt x="357" y="56"/>
                  </a:lnTo>
                  <a:lnTo>
                    <a:pt x="349" y="51"/>
                  </a:lnTo>
                  <a:lnTo>
                    <a:pt x="348" y="50"/>
                  </a:lnTo>
                  <a:lnTo>
                    <a:pt x="344" y="49"/>
                  </a:lnTo>
                  <a:lnTo>
                    <a:pt x="339" y="48"/>
                  </a:lnTo>
                  <a:lnTo>
                    <a:pt x="331" y="49"/>
                  </a:lnTo>
                  <a:lnTo>
                    <a:pt x="328" y="50"/>
                  </a:lnTo>
                  <a:lnTo>
                    <a:pt x="327" y="49"/>
                  </a:lnTo>
                  <a:lnTo>
                    <a:pt x="324" y="49"/>
                  </a:lnTo>
                  <a:lnTo>
                    <a:pt x="321" y="51"/>
                  </a:lnTo>
                  <a:lnTo>
                    <a:pt x="315" y="51"/>
                  </a:lnTo>
                  <a:lnTo>
                    <a:pt x="312" y="50"/>
                  </a:lnTo>
                  <a:lnTo>
                    <a:pt x="309" y="49"/>
                  </a:lnTo>
                  <a:lnTo>
                    <a:pt x="307" y="49"/>
                  </a:lnTo>
                  <a:lnTo>
                    <a:pt x="305" y="47"/>
                  </a:lnTo>
                  <a:lnTo>
                    <a:pt x="296" y="46"/>
                  </a:lnTo>
                  <a:lnTo>
                    <a:pt x="290" y="46"/>
                  </a:lnTo>
                  <a:lnTo>
                    <a:pt x="288" y="47"/>
                  </a:lnTo>
                  <a:lnTo>
                    <a:pt x="280" y="46"/>
                  </a:lnTo>
                  <a:lnTo>
                    <a:pt x="276" y="45"/>
                  </a:lnTo>
                  <a:lnTo>
                    <a:pt x="275" y="43"/>
                  </a:lnTo>
                  <a:lnTo>
                    <a:pt x="273" y="42"/>
                  </a:lnTo>
                  <a:lnTo>
                    <a:pt x="272" y="42"/>
                  </a:lnTo>
                  <a:lnTo>
                    <a:pt x="268" y="43"/>
                  </a:lnTo>
                  <a:lnTo>
                    <a:pt x="266" y="41"/>
                  </a:lnTo>
                  <a:lnTo>
                    <a:pt x="264" y="40"/>
                  </a:lnTo>
                  <a:lnTo>
                    <a:pt x="261" y="40"/>
                  </a:lnTo>
                  <a:lnTo>
                    <a:pt x="258" y="39"/>
                  </a:lnTo>
                  <a:lnTo>
                    <a:pt x="255" y="39"/>
                  </a:lnTo>
                  <a:lnTo>
                    <a:pt x="253" y="38"/>
                  </a:lnTo>
                  <a:lnTo>
                    <a:pt x="247" y="39"/>
                  </a:lnTo>
                  <a:lnTo>
                    <a:pt x="244" y="40"/>
                  </a:lnTo>
                  <a:lnTo>
                    <a:pt x="241" y="40"/>
                  </a:lnTo>
                  <a:lnTo>
                    <a:pt x="239" y="38"/>
                  </a:lnTo>
                  <a:lnTo>
                    <a:pt x="231" y="40"/>
                  </a:lnTo>
                  <a:lnTo>
                    <a:pt x="230" y="41"/>
                  </a:lnTo>
                  <a:lnTo>
                    <a:pt x="225" y="40"/>
                  </a:lnTo>
                  <a:lnTo>
                    <a:pt x="220" y="40"/>
                  </a:lnTo>
                  <a:lnTo>
                    <a:pt x="222" y="37"/>
                  </a:lnTo>
                  <a:lnTo>
                    <a:pt x="219" y="37"/>
                  </a:lnTo>
                  <a:lnTo>
                    <a:pt x="216" y="37"/>
                  </a:lnTo>
                  <a:lnTo>
                    <a:pt x="211" y="37"/>
                  </a:lnTo>
                  <a:lnTo>
                    <a:pt x="216" y="36"/>
                  </a:lnTo>
                  <a:lnTo>
                    <a:pt x="213" y="36"/>
                  </a:lnTo>
                  <a:lnTo>
                    <a:pt x="214" y="32"/>
                  </a:lnTo>
                  <a:lnTo>
                    <a:pt x="215" y="30"/>
                  </a:lnTo>
                  <a:lnTo>
                    <a:pt x="213" y="29"/>
                  </a:lnTo>
                  <a:lnTo>
                    <a:pt x="211" y="30"/>
                  </a:lnTo>
                  <a:lnTo>
                    <a:pt x="207" y="30"/>
                  </a:lnTo>
                  <a:lnTo>
                    <a:pt x="202" y="28"/>
                  </a:lnTo>
                  <a:lnTo>
                    <a:pt x="199" y="29"/>
                  </a:lnTo>
                  <a:lnTo>
                    <a:pt x="194" y="29"/>
                  </a:lnTo>
                  <a:lnTo>
                    <a:pt x="190" y="31"/>
                  </a:lnTo>
                  <a:lnTo>
                    <a:pt x="185" y="30"/>
                  </a:lnTo>
                  <a:lnTo>
                    <a:pt x="182" y="28"/>
                  </a:lnTo>
                  <a:lnTo>
                    <a:pt x="184" y="25"/>
                  </a:lnTo>
                  <a:lnTo>
                    <a:pt x="180" y="23"/>
                  </a:lnTo>
                  <a:lnTo>
                    <a:pt x="178" y="25"/>
                  </a:lnTo>
                  <a:lnTo>
                    <a:pt x="176" y="23"/>
                  </a:lnTo>
                  <a:lnTo>
                    <a:pt x="171" y="28"/>
                  </a:lnTo>
                  <a:lnTo>
                    <a:pt x="170" y="30"/>
                  </a:lnTo>
                  <a:lnTo>
                    <a:pt x="164" y="30"/>
                  </a:lnTo>
                  <a:lnTo>
                    <a:pt x="165" y="30"/>
                  </a:lnTo>
                  <a:lnTo>
                    <a:pt x="162" y="28"/>
                  </a:lnTo>
                  <a:lnTo>
                    <a:pt x="165" y="26"/>
                  </a:lnTo>
                  <a:lnTo>
                    <a:pt x="168" y="26"/>
                  </a:lnTo>
                  <a:lnTo>
                    <a:pt x="171" y="23"/>
                  </a:lnTo>
                  <a:lnTo>
                    <a:pt x="168" y="21"/>
                  </a:lnTo>
                  <a:lnTo>
                    <a:pt x="157" y="19"/>
                  </a:lnTo>
                  <a:lnTo>
                    <a:pt x="159" y="16"/>
                  </a:lnTo>
                  <a:lnTo>
                    <a:pt x="153" y="19"/>
                  </a:lnTo>
                  <a:lnTo>
                    <a:pt x="151" y="21"/>
                  </a:lnTo>
                  <a:lnTo>
                    <a:pt x="148" y="24"/>
                  </a:lnTo>
                  <a:lnTo>
                    <a:pt x="144" y="26"/>
                  </a:lnTo>
                  <a:lnTo>
                    <a:pt x="139" y="29"/>
                  </a:lnTo>
                  <a:lnTo>
                    <a:pt x="137" y="30"/>
                  </a:lnTo>
                  <a:lnTo>
                    <a:pt x="123" y="31"/>
                  </a:lnTo>
                  <a:lnTo>
                    <a:pt x="120" y="32"/>
                  </a:lnTo>
                  <a:lnTo>
                    <a:pt x="118" y="31"/>
                  </a:lnTo>
                  <a:lnTo>
                    <a:pt x="120" y="29"/>
                  </a:lnTo>
                  <a:lnTo>
                    <a:pt x="116" y="31"/>
                  </a:lnTo>
                  <a:lnTo>
                    <a:pt x="110" y="34"/>
                  </a:lnTo>
                  <a:lnTo>
                    <a:pt x="110" y="36"/>
                  </a:lnTo>
                  <a:lnTo>
                    <a:pt x="112" y="37"/>
                  </a:lnTo>
                  <a:lnTo>
                    <a:pt x="118" y="39"/>
                  </a:lnTo>
                  <a:lnTo>
                    <a:pt x="112" y="39"/>
                  </a:lnTo>
                  <a:lnTo>
                    <a:pt x="111" y="42"/>
                  </a:lnTo>
                  <a:lnTo>
                    <a:pt x="112" y="45"/>
                  </a:lnTo>
                  <a:lnTo>
                    <a:pt x="110" y="42"/>
                  </a:lnTo>
                  <a:lnTo>
                    <a:pt x="108" y="42"/>
                  </a:lnTo>
                  <a:lnTo>
                    <a:pt x="110" y="40"/>
                  </a:lnTo>
                  <a:lnTo>
                    <a:pt x="110" y="39"/>
                  </a:lnTo>
                  <a:lnTo>
                    <a:pt x="106" y="39"/>
                  </a:lnTo>
                  <a:lnTo>
                    <a:pt x="110" y="38"/>
                  </a:lnTo>
                  <a:lnTo>
                    <a:pt x="110" y="36"/>
                  </a:lnTo>
                  <a:lnTo>
                    <a:pt x="108" y="36"/>
                  </a:lnTo>
                  <a:lnTo>
                    <a:pt x="96" y="43"/>
                  </a:lnTo>
                  <a:lnTo>
                    <a:pt x="93" y="43"/>
                  </a:lnTo>
                  <a:lnTo>
                    <a:pt x="88" y="45"/>
                  </a:lnTo>
                  <a:lnTo>
                    <a:pt x="85" y="46"/>
                  </a:lnTo>
                  <a:lnTo>
                    <a:pt x="83" y="46"/>
                  </a:lnTo>
                  <a:lnTo>
                    <a:pt x="85" y="45"/>
                  </a:lnTo>
                  <a:lnTo>
                    <a:pt x="86" y="43"/>
                  </a:lnTo>
                  <a:lnTo>
                    <a:pt x="83" y="43"/>
                  </a:lnTo>
                  <a:lnTo>
                    <a:pt x="80" y="46"/>
                  </a:lnTo>
                  <a:lnTo>
                    <a:pt x="77" y="48"/>
                  </a:lnTo>
                  <a:lnTo>
                    <a:pt x="76" y="51"/>
                  </a:lnTo>
                  <a:lnTo>
                    <a:pt x="70" y="56"/>
                  </a:lnTo>
                  <a:lnTo>
                    <a:pt x="69" y="58"/>
                  </a:lnTo>
                  <a:lnTo>
                    <a:pt x="68" y="59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6" y="66"/>
                  </a:lnTo>
                  <a:lnTo>
                    <a:pt x="61" y="72"/>
                  </a:lnTo>
                  <a:lnTo>
                    <a:pt x="56" y="75"/>
                  </a:lnTo>
                  <a:lnTo>
                    <a:pt x="53" y="76"/>
                  </a:lnTo>
                  <a:lnTo>
                    <a:pt x="49" y="76"/>
                  </a:lnTo>
                  <a:lnTo>
                    <a:pt x="33" y="79"/>
                  </a:lnTo>
                  <a:lnTo>
                    <a:pt x="27" y="77"/>
                  </a:lnTo>
                  <a:lnTo>
                    <a:pt x="24" y="79"/>
                  </a:lnTo>
                  <a:lnTo>
                    <a:pt x="25" y="81"/>
                  </a:lnTo>
                  <a:lnTo>
                    <a:pt x="23" y="89"/>
                  </a:lnTo>
                  <a:lnTo>
                    <a:pt x="19" y="90"/>
                  </a:lnTo>
                  <a:lnTo>
                    <a:pt x="18" y="90"/>
                  </a:lnTo>
                  <a:lnTo>
                    <a:pt x="18" y="91"/>
                  </a:lnTo>
                  <a:lnTo>
                    <a:pt x="20" y="91"/>
                  </a:lnTo>
                  <a:lnTo>
                    <a:pt x="24" y="92"/>
                  </a:lnTo>
                  <a:lnTo>
                    <a:pt x="26" y="93"/>
                  </a:lnTo>
                  <a:lnTo>
                    <a:pt x="28" y="96"/>
                  </a:lnTo>
                  <a:lnTo>
                    <a:pt x="32" y="97"/>
                  </a:lnTo>
                  <a:lnTo>
                    <a:pt x="36" y="98"/>
                  </a:lnTo>
                  <a:lnTo>
                    <a:pt x="42" y="101"/>
                  </a:lnTo>
                  <a:lnTo>
                    <a:pt x="45" y="104"/>
                  </a:lnTo>
                  <a:lnTo>
                    <a:pt x="45" y="104"/>
                  </a:lnTo>
                  <a:lnTo>
                    <a:pt x="54" y="108"/>
                  </a:lnTo>
                  <a:lnTo>
                    <a:pt x="58" y="114"/>
                  </a:lnTo>
                  <a:lnTo>
                    <a:pt x="59" y="119"/>
                  </a:lnTo>
                  <a:lnTo>
                    <a:pt x="67" y="120"/>
                  </a:lnTo>
                  <a:lnTo>
                    <a:pt x="72" y="120"/>
                  </a:lnTo>
                  <a:lnTo>
                    <a:pt x="72" y="122"/>
                  </a:lnTo>
                  <a:lnTo>
                    <a:pt x="76" y="120"/>
                  </a:lnTo>
                  <a:lnTo>
                    <a:pt x="76" y="118"/>
                  </a:lnTo>
                  <a:lnTo>
                    <a:pt x="78" y="120"/>
                  </a:lnTo>
                  <a:lnTo>
                    <a:pt x="80" y="122"/>
                  </a:lnTo>
                  <a:lnTo>
                    <a:pt x="84" y="120"/>
                  </a:lnTo>
                  <a:lnTo>
                    <a:pt x="86" y="122"/>
                  </a:lnTo>
                  <a:lnTo>
                    <a:pt x="89" y="123"/>
                  </a:lnTo>
                  <a:lnTo>
                    <a:pt x="86" y="123"/>
                  </a:lnTo>
                  <a:lnTo>
                    <a:pt x="84" y="126"/>
                  </a:lnTo>
                  <a:lnTo>
                    <a:pt x="85" y="130"/>
                  </a:lnTo>
                  <a:lnTo>
                    <a:pt x="88" y="132"/>
                  </a:lnTo>
                  <a:lnTo>
                    <a:pt x="92" y="133"/>
                  </a:lnTo>
                  <a:lnTo>
                    <a:pt x="94" y="130"/>
                  </a:lnTo>
                  <a:lnTo>
                    <a:pt x="97" y="130"/>
                  </a:lnTo>
                  <a:lnTo>
                    <a:pt x="100" y="131"/>
                  </a:lnTo>
                  <a:lnTo>
                    <a:pt x="105" y="131"/>
                  </a:lnTo>
                  <a:lnTo>
                    <a:pt x="106" y="133"/>
                  </a:lnTo>
                  <a:lnTo>
                    <a:pt x="105" y="135"/>
                  </a:lnTo>
                  <a:lnTo>
                    <a:pt x="100" y="136"/>
                  </a:lnTo>
                  <a:lnTo>
                    <a:pt x="97" y="135"/>
                  </a:lnTo>
                  <a:lnTo>
                    <a:pt x="94" y="134"/>
                  </a:lnTo>
                  <a:lnTo>
                    <a:pt x="92" y="133"/>
                  </a:lnTo>
                  <a:lnTo>
                    <a:pt x="89" y="134"/>
                  </a:lnTo>
                  <a:lnTo>
                    <a:pt x="86" y="134"/>
                  </a:lnTo>
                  <a:lnTo>
                    <a:pt x="84" y="132"/>
                  </a:lnTo>
                  <a:lnTo>
                    <a:pt x="82" y="130"/>
                  </a:lnTo>
                  <a:lnTo>
                    <a:pt x="82" y="127"/>
                  </a:lnTo>
                  <a:lnTo>
                    <a:pt x="79" y="125"/>
                  </a:lnTo>
                  <a:lnTo>
                    <a:pt x="76" y="124"/>
                  </a:lnTo>
                  <a:lnTo>
                    <a:pt x="74" y="125"/>
                  </a:lnTo>
                  <a:lnTo>
                    <a:pt x="76" y="128"/>
                  </a:lnTo>
                  <a:lnTo>
                    <a:pt x="78" y="128"/>
                  </a:lnTo>
                  <a:lnTo>
                    <a:pt x="84" y="134"/>
                  </a:lnTo>
                  <a:lnTo>
                    <a:pt x="84" y="136"/>
                  </a:lnTo>
                  <a:lnTo>
                    <a:pt x="87" y="135"/>
                  </a:lnTo>
                  <a:lnTo>
                    <a:pt x="93" y="136"/>
                  </a:lnTo>
                  <a:lnTo>
                    <a:pt x="95" y="139"/>
                  </a:lnTo>
                  <a:lnTo>
                    <a:pt x="95" y="141"/>
                  </a:lnTo>
                  <a:lnTo>
                    <a:pt x="89" y="139"/>
                  </a:lnTo>
                  <a:lnTo>
                    <a:pt x="87" y="140"/>
                  </a:lnTo>
                  <a:lnTo>
                    <a:pt x="85" y="143"/>
                  </a:lnTo>
                  <a:lnTo>
                    <a:pt x="85" y="143"/>
                  </a:lnTo>
                  <a:lnTo>
                    <a:pt x="83" y="144"/>
                  </a:lnTo>
                  <a:lnTo>
                    <a:pt x="80" y="143"/>
                  </a:lnTo>
                  <a:lnTo>
                    <a:pt x="77" y="144"/>
                  </a:lnTo>
                  <a:lnTo>
                    <a:pt x="75" y="144"/>
                  </a:lnTo>
                  <a:lnTo>
                    <a:pt x="71" y="142"/>
                  </a:lnTo>
                  <a:lnTo>
                    <a:pt x="69" y="142"/>
                  </a:lnTo>
                  <a:lnTo>
                    <a:pt x="67" y="143"/>
                  </a:lnTo>
                  <a:lnTo>
                    <a:pt x="63" y="143"/>
                  </a:lnTo>
                  <a:lnTo>
                    <a:pt x="58" y="143"/>
                  </a:lnTo>
                  <a:lnTo>
                    <a:pt x="56" y="140"/>
                  </a:lnTo>
                  <a:lnTo>
                    <a:pt x="53" y="140"/>
                  </a:lnTo>
                  <a:lnTo>
                    <a:pt x="56" y="140"/>
                  </a:lnTo>
                  <a:lnTo>
                    <a:pt x="58" y="134"/>
                  </a:lnTo>
                  <a:lnTo>
                    <a:pt x="58" y="132"/>
                  </a:lnTo>
                  <a:lnTo>
                    <a:pt x="50" y="132"/>
                  </a:lnTo>
                  <a:lnTo>
                    <a:pt x="48" y="132"/>
                  </a:lnTo>
                  <a:lnTo>
                    <a:pt x="42" y="134"/>
                  </a:lnTo>
                  <a:lnTo>
                    <a:pt x="36" y="135"/>
                  </a:lnTo>
                  <a:lnTo>
                    <a:pt x="32" y="137"/>
                  </a:lnTo>
                  <a:lnTo>
                    <a:pt x="31" y="140"/>
                  </a:lnTo>
                  <a:lnTo>
                    <a:pt x="34" y="141"/>
                  </a:lnTo>
                  <a:lnTo>
                    <a:pt x="31" y="142"/>
                  </a:lnTo>
                  <a:lnTo>
                    <a:pt x="26" y="141"/>
                  </a:lnTo>
                  <a:lnTo>
                    <a:pt x="23" y="141"/>
                  </a:lnTo>
                  <a:lnTo>
                    <a:pt x="17" y="144"/>
                  </a:lnTo>
                  <a:lnTo>
                    <a:pt x="15" y="147"/>
                  </a:lnTo>
                  <a:lnTo>
                    <a:pt x="12" y="148"/>
                  </a:lnTo>
                  <a:lnTo>
                    <a:pt x="10" y="148"/>
                  </a:lnTo>
                  <a:lnTo>
                    <a:pt x="7" y="149"/>
                  </a:lnTo>
                  <a:lnTo>
                    <a:pt x="6" y="151"/>
                  </a:lnTo>
                  <a:lnTo>
                    <a:pt x="2" y="151"/>
                  </a:lnTo>
                  <a:lnTo>
                    <a:pt x="0" y="153"/>
                  </a:lnTo>
                  <a:lnTo>
                    <a:pt x="0" y="154"/>
                  </a:lnTo>
                  <a:lnTo>
                    <a:pt x="8" y="158"/>
                  </a:lnTo>
                  <a:lnTo>
                    <a:pt x="14" y="159"/>
                  </a:lnTo>
                  <a:lnTo>
                    <a:pt x="16" y="159"/>
                  </a:lnTo>
                  <a:lnTo>
                    <a:pt x="18" y="160"/>
                  </a:lnTo>
                  <a:lnTo>
                    <a:pt x="16" y="159"/>
                  </a:lnTo>
                  <a:lnTo>
                    <a:pt x="24" y="160"/>
                  </a:lnTo>
                  <a:lnTo>
                    <a:pt x="27" y="162"/>
                  </a:lnTo>
                  <a:lnTo>
                    <a:pt x="22" y="162"/>
                  </a:lnTo>
                  <a:lnTo>
                    <a:pt x="19" y="165"/>
                  </a:lnTo>
                  <a:lnTo>
                    <a:pt x="17" y="165"/>
                  </a:lnTo>
                  <a:lnTo>
                    <a:pt x="15" y="162"/>
                  </a:lnTo>
                  <a:lnTo>
                    <a:pt x="16" y="166"/>
                  </a:lnTo>
                  <a:lnTo>
                    <a:pt x="18" y="168"/>
                  </a:lnTo>
                  <a:lnTo>
                    <a:pt x="22" y="170"/>
                  </a:lnTo>
                  <a:lnTo>
                    <a:pt x="20" y="173"/>
                  </a:lnTo>
                  <a:lnTo>
                    <a:pt x="23" y="175"/>
                  </a:lnTo>
                  <a:lnTo>
                    <a:pt x="25" y="176"/>
                  </a:lnTo>
                  <a:lnTo>
                    <a:pt x="36" y="178"/>
                  </a:lnTo>
                  <a:lnTo>
                    <a:pt x="39" y="179"/>
                  </a:lnTo>
                  <a:lnTo>
                    <a:pt x="50" y="177"/>
                  </a:lnTo>
                  <a:lnTo>
                    <a:pt x="59" y="176"/>
                  </a:lnTo>
                  <a:lnTo>
                    <a:pt x="61" y="177"/>
                  </a:lnTo>
                  <a:lnTo>
                    <a:pt x="63" y="178"/>
                  </a:lnTo>
                  <a:lnTo>
                    <a:pt x="67" y="181"/>
                  </a:lnTo>
                  <a:lnTo>
                    <a:pt x="66" y="175"/>
                  </a:lnTo>
                  <a:lnTo>
                    <a:pt x="71" y="179"/>
                  </a:lnTo>
                  <a:lnTo>
                    <a:pt x="74" y="181"/>
                  </a:lnTo>
                  <a:lnTo>
                    <a:pt x="75" y="178"/>
                  </a:lnTo>
                  <a:lnTo>
                    <a:pt x="77" y="176"/>
                  </a:lnTo>
                  <a:lnTo>
                    <a:pt x="80" y="174"/>
                  </a:lnTo>
                  <a:lnTo>
                    <a:pt x="83" y="174"/>
                  </a:lnTo>
                  <a:lnTo>
                    <a:pt x="85" y="171"/>
                  </a:lnTo>
                  <a:lnTo>
                    <a:pt x="88" y="173"/>
                  </a:lnTo>
                  <a:lnTo>
                    <a:pt x="91" y="171"/>
                  </a:lnTo>
                  <a:lnTo>
                    <a:pt x="93" y="169"/>
                  </a:lnTo>
                  <a:lnTo>
                    <a:pt x="96" y="168"/>
                  </a:lnTo>
                  <a:lnTo>
                    <a:pt x="95" y="170"/>
                  </a:lnTo>
                  <a:lnTo>
                    <a:pt x="97" y="171"/>
                  </a:lnTo>
                  <a:lnTo>
                    <a:pt x="99" y="175"/>
                  </a:lnTo>
                  <a:lnTo>
                    <a:pt x="96" y="177"/>
                  </a:lnTo>
                  <a:lnTo>
                    <a:pt x="94" y="178"/>
                  </a:lnTo>
                  <a:lnTo>
                    <a:pt x="91" y="177"/>
                  </a:lnTo>
                  <a:lnTo>
                    <a:pt x="91" y="179"/>
                  </a:lnTo>
                  <a:lnTo>
                    <a:pt x="93" y="181"/>
                  </a:lnTo>
                  <a:lnTo>
                    <a:pt x="96" y="185"/>
                  </a:lnTo>
                  <a:lnTo>
                    <a:pt x="97" y="188"/>
                  </a:lnTo>
                  <a:lnTo>
                    <a:pt x="99" y="191"/>
                  </a:lnTo>
                  <a:lnTo>
                    <a:pt x="99" y="194"/>
                  </a:lnTo>
                  <a:lnTo>
                    <a:pt x="97" y="196"/>
                  </a:lnTo>
                  <a:lnTo>
                    <a:pt x="95" y="199"/>
                  </a:lnTo>
                  <a:lnTo>
                    <a:pt x="92" y="201"/>
                  </a:lnTo>
                  <a:lnTo>
                    <a:pt x="84" y="201"/>
                  </a:lnTo>
                  <a:lnTo>
                    <a:pt x="80" y="200"/>
                  </a:lnTo>
                  <a:lnTo>
                    <a:pt x="78" y="200"/>
                  </a:lnTo>
                  <a:lnTo>
                    <a:pt x="74" y="205"/>
                  </a:lnTo>
                  <a:lnTo>
                    <a:pt x="71" y="207"/>
                  </a:lnTo>
                  <a:lnTo>
                    <a:pt x="68" y="209"/>
                  </a:lnTo>
                  <a:lnTo>
                    <a:pt x="66" y="210"/>
                  </a:lnTo>
                  <a:lnTo>
                    <a:pt x="63" y="210"/>
                  </a:lnTo>
                  <a:lnTo>
                    <a:pt x="60" y="210"/>
                  </a:lnTo>
                  <a:lnTo>
                    <a:pt x="58" y="211"/>
                  </a:lnTo>
                  <a:lnTo>
                    <a:pt x="60" y="209"/>
                  </a:lnTo>
                  <a:lnTo>
                    <a:pt x="59" y="207"/>
                  </a:lnTo>
                  <a:lnTo>
                    <a:pt x="54" y="205"/>
                  </a:lnTo>
                  <a:lnTo>
                    <a:pt x="49" y="207"/>
                  </a:lnTo>
                  <a:lnTo>
                    <a:pt x="48" y="209"/>
                  </a:lnTo>
                  <a:lnTo>
                    <a:pt x="50" y="211"/>
                  </a:lnTo>
                  <a:lnTo>
                    <a:pt x="46" y="210"/>
                  </a:lnTo>
                  <a:lnTo>
                    <a:pt x="44" y="213"/>
                  </a:lnTo>
                  <a:lnTo>
                    <a:pt x="44" y="216"/>
                  </a:lnTo>
                  <a:lnTo>
                    <a:pt x="43" y="216"/>
                  </a:lnTo>
                  <a:lnTo>
                    <a:pt x="45" y="219"/>
                  </a:lnTo>
                  <a:lnTo>
                    <a:pt x="49" y="217"/>
                  </a:lnTo>
                  <a:lnTo>
                    <a:pt x="45" y="219"/>
                  </a:lnTo>
                  <a:lnTo>
                    <a:pt x="44" y="222"/>
                  </a:lnTo>
                  <a:lnTo>
                    <a:pt x="46" y="222"/>
                  </a:lnTo>
                  <a:lnTo>
                    <a:pt x="44" y="222"/>
                  </a:lnTo>
                  <a:lnTo>
                    <a:pt x="42" y="221"/>
                  </a:lnTo>
                  <a:lnTo>
                    <a:pt x="40" y="221"/>
                  </a:lnTo>
                  <a:lnTo>
                    <a:pt x="32" y="230"/>
                  </a:lnTo>
                  <a:lnTo>
                    <a:pt x="31" y="233"/>
                  </a:lnTo>
                  <a:lnTo>
                    <a:pt x="33" y="235"/>
                  </a:lnTo>
                  <a:lnTo>
                    <a:pt x="31" y="236"/>
                  </a:lnTo>
                  <a:lnTo>
                    <a:pt x="28" y="238"/>
                  </a:lnTo>
                  <a:lnTo>
                    <a:pt x="31" y="239"/>
                  </a:lnTo>
                  <a:lnTo>
                    <a:pt x="28" y="239"/>
                  </a:lnTo>
                  <a:lnTo>
                    <a:pt x="25" y="239"/>
                  </a:lnTo>
                  <a:lnTo>
                    <a:pt x="27" y="242"/>
                  </a:lnTo>
                  <a:lnTo>
                    <a:pt x="29" y="244"/>
                  </a:lnTo>
                  <a:lnTo>
                    <a:pt x="29" y="246"/>
                  </a:lnTo>
                  <a:lnTo>
                    <a:pt x="33" y="248"/>
                  </a:lnTo>
                  <a:lnTo>
                    <a:pt x="33" y="251"/>
                  </a:lnTo>
                  <a:lnTo>
                    <a:pt x="36" y="250"/>
                  </a:lnTo>
                  <a:lnTo>
                    <a:pt x="39" y="247"/>
                  </a:lnTo>
                  <a:lnTo>
                    <a:pt x="39" y="244"/>
                  </a:lnTo>
                  <a:lnTo>
                    <a:pt x="44" y="241"/>
                  </a:lnTo>
                  <a:lnTo>
                    <a:pt x="45" y="241"/>
                  </a:lnTo>
                  <a:lnTo>
                    <a:pt x="43" y="243"/>
                  </a:lnTo>
                  <a:lnTo>
                    <a:pt x="41" y="244"/>
                  </a:lnTo>
                  <a:lnTo>
                    <a:pt x="36" y="250"/>
                  </a:lnTo>
                  <a:lnTo>
                    <a:pt x="40" y="248"/>
                  </a:lnTo>
                  <a:lnTo>
                    <a:pt x="40" y="251"/>
                  </a:lnTo>
                  <a:lnTo>
                    <a:pt x="42" y="253"/>
                  </a:lnTo>
                  <a:lnTo>
                    <a:pt x="40" y="255"/>
                  </a:lnTo>
                  <a:lnTo>
                    <a:pt x="43" y="254"/>
                  </a:lnTo>
                  <a:lnTo>
                    <a:pt x="45" y="254"/>
                  </a:lnTo>
                  <a:lnTo>
                    <a:pt x="49" y="256"/>
                  </a:lnTo>
                  <a:lnTo>
                    <a:pt x="54" y="256"/>
                  </a:lnTo>
                  <a:lnTo>
                    <a:pt x="59" y="253"/>
                  </a:lnTo>
                  <a:lnTo>
                    <a:pt x="59" y="256"/>
                  </a:lnTo>
                  <a:lnTo>
                    <a:pt x="57" y="256"/>
                  </a:lnTo>
                  <a:lnTo>
                    <a:pt x="59" y="256"/>
                  </a:lnTo>
                  <a:lnTo>
                    <a:pt x="61" y="258"/>
                  </a:lnTo>
                  <a:lnTo>
                    <a:pt x="62" y="260"/>
                  </a:lnTo>
                  <a:lnTo>
                    <a:pt x="59" y="262"/>
                  </a:lnTo>
                  <a:lnTo>
                    <a:pt x="57" y="261"/>
                  </a:lnTo>
                  <a:lnTo>
                    <a:pt x="57" y="258"/>
                  </a:lnTo>
                  <a:lnTo>
                    <a:pt x="54" y="259"/>
                  </a:lnTo>
                  <a:lnTo>
                    <a:pt x="49" y="262"/>
                  </a:lnTo>
                  <a:lnTo>
                    <a:pt x="51" y="260"/>
                  </a:lnTo>
                  <a:lnTo>
                    <a:pt x="50" y="258"/>
                  </a:lnTo>
                  <a:lnTo>
                    <a:pt x="48" y="258"/>
                  </a:lnTo>
                  <a:lnTo>
                    <a:pt x="44" y="255"/>
                  </a:lnTo>
                  <a:lnTo>
                    <a:pt x="42" y="255"/>
                  </a:lnTo>
                  <a:lnTo>
                    <a:pt x="41" y="258"/>
                  </a:lnTo>
                  <a:lnTo>
                    <a:pt x="36" y="263"/>
                  </a:lnTo>
                  <a:lnTo>
                    <a:pt x="42" y="263"/>
                  </a:lnTo>
                  <a:lnTo>
                    <a:pt x="40" y="265"/>
                  </a:lnTo>
                  <a:lnTo>
                    <a:pt x="42" y="267"/>
                  </a:lnTo>
                  <a:lnTo>
                    <a:pt x="44" y="268"/>
                  </a:lnTo>
                  <a:lnTo>
                    <a:pt x="45" y="268"/>
                  </a:lnTo>
                  <a:lnTo>
                    <a:pt x="51" y="272"/>
                  </a:lnTo>
                  <a:lnTo>
                    <a:pt x="53" y="273"/>
                  </a:lnTo>
                  <a:lnTo>
                    <a:pt x="53" y="277"/>
                  </a:lnTo>
                  <a:lnTo>
                    <a:pt x="56" y="278"/>
                  </a:lnTo>
                  <a:lnTo>
                    <a:pt x="58" y="278"/>
                  </a:lnTo>
                  <a:lnTo>
                    <a:pt x="63" y="278"/>
                  </a:lnTo>
                  <a:lnTo>
                    <a:pt x="67" y="277"/>
                  </a:lnTo>
                  <a:lnTo>
                    <a:pt x="69" y="276"/>
                  </a:lnTo>
                  <a:lnTo>
                    <a:pt x="71" y="273"/>
                  </a:lnTo>
                  <a:lnTo>
                    <a:pt x="75" y="273"/>
                  </a:lnTo>
                  <a:lnTo>
                    <a:pt x="76" y="272"/>
                  </a:lnTo>
                  <a:lnTo>
                    <a:pt x="76" y="270"/>
                  </a:lnTo>
                  <a:lnTo>
                    <a:pt x="75" y="267"/>
                  </a:lnTo>
                  <a:lnTo>
                    <a:pt x="77" y="264"/>
                  </a:lnTo>
                  <a:lnTo>
                    <a:pt x="80" y="259"/>
                  </a:lnTo>
                  <a:lnTo>
                    <a:pt x="82" y="260"/>
                  </a:lnTo>
                  <a:lnTo>
                    <a:pt x="84" y="260"/>
                  </a:lnTo>
                  <a:lnTo>
                    <a:pt x="82" y="261"/>
                  </a:lnTo>
                  <a:lnTo>
                    <a:pt x="79" y="263"/>
                  </a:lnTo>
                  <a:lnTo>
                    <a:pt x="77" y="267"/>
                  </a:lnTo>
                  <a:lnTo>
                    <a:pt x="77" y="269"/>
                  </a:lnTo>
                  <a:lnTo>
                    <a:pt x="79" y="271"/>
                  </a:lnTo>
                  <a:lnTo>
                    <a:pt x="79" y="273"/>
                  </a:lnTo>
                  <a:lnTo>
                    <a:pt x="83" y="279"/>
                  </a:lnTo>
                  <a:lnTo>
                    <a:pt x="84" y="281"/>
                  </a:lnTo>
                  <a:lnTo>
                    <a:pt x="86" y="284"/>
                  </a:lnTo>
                  <a:lnTo>
                    <a:pt x="84" y="286"/>
                  </a:lnTo>
                  <a:lnTo>
                    <a:pt x="82" y="289"/>
                  </a:lnTo>
                  <a:lnTo>
                    <a:pt x="84" y="291"/>
                  </a:lnTo>
                  <a:lnTo>
                    <a:pt x="87" y="293"/>
                  </a:lnTo>
                  <a:lnTo>
                    <a:pt x="84" y="294"/>
                  </a:lnTo>
                  <a:lnTo>
                    <a:pt x="85" y="299"/>
                  </a:lnTo>
                  <a:lnTo>
                    <a:pt x="83" y="301"/>
                  </a:lnTo>
                  <a:lnTo>
                    <a:pt x="80" y="301"/>
                  </a:lnTo>
                  <a:lnTo>
                    <a:pt x="88" y="302"/>
                  </a:lnTo>
                  <a:lnTo>
                    <a:pt x="91" y="301"/>
                  </a:lnTo>
                  <a:lnTo>
                    <a:pt x="92" y="298"/>
                  </a:lnTo>
                  <a:lnTo>
                    <a:pt x="94" y="298"/>
                  </a:lnTo>
                  <a:lnTo>
                    <a:pt x="100" y="296"/>
                  </a:lnTo>
                  <a:lnTo>
                    <a:pt x="102" y="294"/>
                  </a:lnTo>
                  <a:lnTo>
                    <a:pt x="105" y="293"/>
                  </a:lnTo>
                  <a:lnTo>
                    <a:pt x="106" y="296"/>
                  </a:lnTo>
                  <a:lnTo>
                    <a:pt x="110" y="297"/>
                  </a:lnTo>
                  <a:lnTo>
                    <a:pt x="112" y="298"/>
                  </a:lnTo>
                  <a:lnTo>
                    <a:pt x="113" y="296"/>
                  </a:lnTo>
                  <a:lnTo>
                    <a:pt x="116" y="297"/>
                  </a:lnTo>
                  <a:lnTo>
                    <a:pt x="119" y="301"/>
                  </a:lnTo>
                  <a:lnTo>
                    <a:pt x="122" y="305"/>
                  </a:lnTo>
                  <a:lnTo>
                    <a:pt x="123" y="306"/>
                  </a:lnTo>
                  <a:lnTo>
                    <a:pt x="127" y="304"/>
                  </a:lnTo>
                  <a:lnTo>
                    <a:pt x="125" y="301"/>
                  </a:lnTo>
                  <a:lnTo>
                    <a:pt x="130" y="293"/>
                  </a:lnTo>
                  <a:lnTo>
                    <a:pt x="129" y="290"/>
                  </a:lnTo>
                  <a:lnTo>
                    <a:pt x="131" y="293"/>
                  </a:lnTo>
                  <a:lnTo>
                    <a:pt x="135" y="294"/>
                  </a:lnTo>
                  <a:lnTo>
                    <a:pt x="136" y="295"/>
                  </a:lnTo>
                  <a:lnTo>
                    <a:pt x="133" y="294"/>
                  </a:lnTo>
                  <a:lnTo>
                    <a:pt x="130" y="296"/>
                  </a:lnTo>
                  <a:lnTo>
                    <a:pt x="129" y="298"/>
                  </a:lnTo>
                  <a:lnTo>
                    <a:pt x="134" y="302"/>
                  </a:lnTo>
                  <a:lnTo>
                    <a:pt x="136" y="302"/>
                  </a:lnTo>
                  <a:lnTo>
                    <a:pt x="142" y="299"/>
                  </a:lnTo>
                  <a:lnTo>
                    <a:pt x="150" y="296"/>
                  </a:lnTo>
                  <a:lnTo>
                    <a:pt x="153" y="294"/>
                  </a:lnTo>
                  <a:lnTo>
                    <a:pt x="154" y="291"/>
                  </a:lnTo>
                  <a:lnTo>
                    <a:pt x="153" y="294"/>
                  </a:lnTo>
                  <a:lnTo>
                    <a:pt x="151" y="297"/>
                  </a:lnTo>
                  <a:lnTo>
                    <a:pt x="152" y="299"/>
                  </a:lnTo>
                  <a:lnTo>
                    <a:pt x="148" y="301"/>
                  </a:lnTo>
                  <a:lnTo>
                    <a:pt x="143" y="306"/>
                  </a:lnTo>
                  <a:lnTo>
                    <a:pt x="144" y="308"/>
                  </a:lnTo>
                  <a:lnTo>
                    <a:pt x="146" y="310"/>
                  </a:lnTo>
                  <a:lnTo>
                    <a:pt x="148" y="311"/>
                  </a:lnTo>
                  <a:lnTo>
                    <a:pt x="146" y="310"/>
                  </a:lnTo>
                  <a:lnTo>
                    <a:pt x="143" y="311"/>
                  </a:lnTo>
                  <a:lnTo>
                    <a:pt x="143" y="313"/>
                  </a:lnTo>
                  <a:lnTo>
                    <a:pt x="142" y="316"/>
                  </a:lnTo>
                  <a:lnTo>
                    <a:pt x="142" y="319"/>
                  </a:lnTo>
                  <a:lnTo>
                    <a:pt x="143" y="324"/>
                  </a:lnTo>
                  <a:lnTo>
                    <a:pt x="145" y="323"/>
                  </a:lnTo>
                  <a:lnTo>
                    <a:pt x="145" y="324"/>
                  </a:lnTo>
                  <a:lnTo>
                    <a:pt x="142" y="324"/>
                  </a:lnTo>
                  <a:lnTo>
                    <a:pt x="142" y="323"/>
                  </a:lnTo>
                  <a:lnTo>
                    <a:pt x="138" y="324"/>
                  </a:lnTo>
                  <a:lnTo>
                    <a:pt x="136" y="327"/>
                  </a:lnTo>
                  <a:lnTo>
                    <a:pt x="133" y="328"/>
                  </a:lnTo>
                  <a:lnTo>
                    <a:pt x="128" y="332"/>
                  </a:lnTo>
                  <a:lnTo>
                    <a:pt x="128" y="336"/>
                  </a:lnTo>
                  <a:lnTo>
                    <a:pt x="126" y="338"/>
                  </a:lnTo>
                  <a:lnTo>
                    <a:pt x="123" y="337"/>
                  </a:lnTo>
                  <a:lnTo>
                    <a:pt x="120" y="340"/>
                  </a:lnTo>
                  <a:lnTo>
                    <a:pt x="112" y="342"/>
                  </a:lnTo>
                  <a:lnTo>
                    <a:pt x="106" y="347"/>
                  </a:lnTo>
                  <a:lnTo>
                    <a:pt x="104" y="349"/>
                  </a:lnTo>
                  <a:lnTo>
                    <a:pt x="103" y="352"/>
                  </a:lnTo>
                  <a:lnTo>
                    <a:pt x="103" y="355"/>
                  </a:lnTo>
                  <a:lnTo>
                    <a:pt x="104" y="357"/>
                  </a:lnTo>
                  <a:lnTo>
                    <a:pt x="102" y="356"/>
                  </a:lnTo>
                  <a:lnTo>
                    <a:pt x="99" y="356"/>
                  </a:lnTo>
                  <a:lnTo>
                    <a:pt x="99" y="358"/>
                  </a:lnTo>
                  <a:lnTo>
                    <a:pt x="97" y="356"/>
                  </a:lnTo>
                  <a:lnTo>
                    <a:pt x="97" y="354"/>
                  </a:lnTo>
                  <a:lnTo>
                    <a:pt x="95" y="355"/>
                  </a:lnTo>
                  <a:lnTo>
                    <a:pt x="92" y="354"/>
                  </a:lnTo>
                  <a:lnTo>
                    <a:pt x="80" y="357"/>
                  </a:lnTo>
                  <a:lnTo>
                    <a:pt x="78" y="359"/>
                  </a:lnTo>
                  <a:lnTo>
                    <a:pt x="76" y="363"/>
                  </a:lnTo>
                  <a:lnTo>
                    <a:pt x="76" y="365"/>
                  </a:lnTo>
                  <a:lnTo>
                    <a:pt x="72" y="366"/>
                  </a:lnTo>
                  <a:lnTo>
                    <a:pt x="70" y="368"/>
                  </a:lnTo>
                  <a:lnTo>
                    <a:pt x="67" y="368"/>
                  </a:lnTo>
                  <a:lnTo>
                    <a:pt x="65" y="370"/>
                  </a:lnTo>
                  <a:lnTo>
                    <a:pt x="65" y="373"/>
                  </a:lnTo>
                  <a:lnTo>
                    <a:pt x="66" y="375"/>
                  </a:lnTo>
                  <a:lnTo>
                    <a:pt x="67" y="373"/>
                  </a:lnTo>
                  <a:lnTo>
                    <a:pt x="66" y="370"/>
                  </a:lnTo>
                  <a:lnTo>
                    <a:pt x="69" y="373"/>
                  </a:lnTo>
                  <a:lnTo>
                    <a:pt x="71" y="374"/>
                  </a:lnTo>
                  <a:lnTo>
                    <a:pt x="75" y="373"/>
                  </a:lnTo>
                  <a:lnTo>
                    <a:pt x="74" y="370"/>
                  </a:lnTo>
                  <a:lnTo>
                    <a:pt x="72" y="367"/>
                  </a:lnTo>
                  <a:lnTo>
                    <a:pt x="76" y="368"/>
                  </a:lnTo>
                  <a:lnTo>
                    <a:pt x="77" y="372"/>
                  </a:lnTo>
                  <a:lnTo>
                    <a:pt x="80" y="370"/>
                  </a:lnTo>
                  <a:lnTo>
                    <a:pt x="83" y="370"/>
                  </a:lnTo>
                  <a:lnTo>
                    <a:pt x="84" y="367"/>
                  </a:lnTo>
                  <a:lnTo>
                    <a:pt x="86" y="364"/>
                  </a:lnTo>
                  <a:lnTo>
                    <a:pt x="87" y="362"/>
                  </a:lnTo>
                  <a:lnTo>
                    <a:pt x="89" y="361"/>
                  </a:lnTo>
                  <a:lnTo>
                    <a:pt x="93" y="362"/>
                  </a:lnTo>
                  <a:lnTo>
                    <a:pt x="89" y="363"/>
                  </a:lnTo>
                  <a:lnTo>
                    <a:pt x="89" y="365"/>
                  </a:lnTo>
                  <a:lnTo>
                    <a:pt x="93" y="366"/>
                  </a:lnTo>
                  <a:lnTo>
                    <a:pt x="97" y="363"/>
                  </a:lnTo>
                  <a:lnTo>
                    <a:pt x="101" y="362"/>
                  </a:lnTo>
                  <a:lnTo>
                    <a:pt x="103" y="363"/>
                  </a:lnTo>
                  <a:lnTo>
                    <a:pt x="104" y="359"/>
                  </a:lnTo>
                  <a:lnTo>
                    <a:pt x="106" y="359"/>
                  </a:lnTo>
                  <a:lnTo>
                    <a:pt x="110" y="357"/>
                  </a:lnTo>
                  <a:lnTo>
                    <a:pt x="111" y="357"/>
                  </a:lnTo>
                  <a:lnTo>
                    <a:pt x="114" y="358"/>
                  </a:lnTo>
                  <a:lnTo>
                    <a:pt x="113" y="361"/>
                  </a:lnTo>
                  <a:lnTo>
                    <a:pt x="116" y="361"/>
                  </a:lnTo>
                  <a:lnTo>
                    <a:pt x="117" y="357"/>
                  </a:lnTo>
                  <a:lnTo>
                    <a:pt x="120" y="355"/>
                  </a:lnTo>
                  <a:lnTo>
                    <a:pt x="122" y="355"/>
                  </a:lnTo>
                  <a:lnTo>
                    <a:pt x="126" y="353"/>
                  </a:lnTo>
                  <a:lnTo>
                    <a:pt x="128" y="354"/>
                  </a:lnTo>
                  <a:lnTo>
                    <a:pt x="129" y="350"/>
                  </a:lnTo>
                  <a:lnTo>
                    <a:pt x="130" y="354"/>
                  </a:lnTo>
                  <a:lnTo>
                    <a:pt x="131" y="353"/>
                  </a:lnTo>
                  <a:lnTo>
                    <a:pt x="133" y="350"/>
                  </a:lnTo>
                  <a:lnTo>
                    <a:pt x="135" y="349"/>
                  </a:lnTo>
                  <a:lnTo>
                    <a:pt x="133" y="349"/>
                  </a:lnTo>
                  <a:lnTo>
                    <a:pt x="133" y="347"/>
                  </a:lnTo>
                  <a:lnTo>
                    <a:pt x="129" y="347"/>
                  </a:lnTo>
                  <a:lnTo>
                    <a:pt x="133" y="344"/>
                  </a:lnTo>
                  <a:lnTo>
                    <a:pt x="135" y="344"/>
                  </a:lnTo>
                  <a:lnTo>
                    <a:pt x="138" y="342"/>
                  </a:lnTo>
                  <a:lnTo>
                    <a:pt x="135" y="342"/>
                  </a:lnTo>
                  <a:lnTo>
                    <a:pt x="138" y="341"/>
                  </a:lnTo>
                  <a:lnTo>
                    <a:pt x="140" y="340"/>
                  </a:lnTo>
                  <a:lnTo>
                    <a:pt x="143" y="339"/>
                  </a:lnTo>
                  <a:lnTo>
                    <a:pt x="146" y="337"/>
                  </a:lnTo>
                  <a:lnTo>
                    <a:pt x="150" y="337"/>
                  </a:lnTo>
                  <a:lnTo>
                    <a:pt x="152" y="335"/>
                  </a:lnTo>
                  <a:lnTo>
                    <a:pt x="157" y="332"/>
                  </a:lnTo>
                  <a:lnTo>
                    <a:pt x="159" y="330"/>
                  </a:lnTo>
                  <a:lnTo>
                    <a:pt x="157" y="328"/>
                  </a:lnTo>
                  <a:lnTo>
                    <a:pt x="160" y="325"/>
                  </a:lnTo>
                  <a:lnTo>
                    <a:pt x="165" y="323"/>
                  </a:lnTo>
                  <a:lnTo>
                    <a:pt x="168" y="323"/>
                  </a:lnTo>
                  <a:lnTo>
                    <a:pt x="169" y="321"/>
                  </a:lnTo>
                  <a:lnTo>
                    <a:pt x="172" y="319"/>
                  </a:lnTo>
                  <a:lnTo>
                    <a:pt x="177" y="316"/>
                  </a:lnTo>
                  <a:lnTo>
                    <a:pt x="179" y="314"/>
                  </a:lnTo>
                  <a:lnTo>
                    <a:pt x="185" y="312"/>
                  </a:lnTo>
                  <a:lnTo>
                    <a:pt x="187" y="313"/>
                  </a:lnTo>
                  <a:lnTo>
                    <a:pt x="189" y="310"/>
                  </a:lnTo>
                  <a:lnTo>
                    <a:pt x="189" y="307"/>
                  </a:lnTo>
                  <a:lnTo>
                    <a:pt x="190" y="305"/>
                  </a:lnTo>
                  <a:lnTo>
                    <a:pt x="194" y="302"/>
                  </a:lnTo>
                  <a:lnTo>
                    <a:pt x="196" y="302"/>
                  </a:lnTo>
                  <a:lnTo>
                    <a:pt x="198" y="301"/>
                  </a:lnTo>
                  <a:lnTo>
                    <a:pt x="200" y="297"/>
                  </a:lnTo>
                  <a:lnTo>
                    <a:pt x="199" y="295"/>
                  </a:lnTo>
                  <a:lnTo>
                    <a:pt x="197" y="294"/>
                  </a:lnTo>
                  <a:lnTo>
                    <a:pt x="195" y="293"/>
                  </a:lnTo>
                  <a:lnTo>
                    <a:pt x="189" y="293"/>
                  </a:lnTo>
                  <a:lnTo>
                    <a:pt x="189" y="291"/>
                  </a:lnTo>
                  <a:lnTo>
                    <a:pt x="190" y="287"/>
                  </a:lnTo>
                  <a:lnTo>
                    <a:pt x="193" y="286"/>
                  </a:lnTo>
                  <a:lnTo>
                    <a:pt x="194" y="284"/>
                  </a:lnTo>
                  <a:lnTo>
                    <a:pt x="196" y="281"/>
                  </a:lnTo>
                  <a:lnTo>
                    <a:pt x="202" y="280"/>
                  </a:lnTo>
                  <a:lnTo>
                    <a:pt x="204" y="280"/>
                  </a:lnTo>
                  <a:lnTo>
                    <a:pt x="205" y="277"/>
                  </a:lnTo>
                  <a:lnTo>
                    <a:pt x="202" y="277"/>
                  </a:lnTo>
                  <a:lnTo>
                    <a:pt x="207" y="276"/>
                  </a:lnTo>
                  <a:lnTo>
                    <a:pt x="211" y="273"/>
                  </a:lnTo>
                  <a:lnTo>
                    <a:pt x="211" y="272"/>
                  </a:lnTo>
                  <a:lnTo>
                    <a:pt x="206" y="268"/>
                  </a:lnTo>
                  <a:lnTo>
                    <a:pt x="208" y="269"/>
                  </a:lnTo>
                  <a:lnTo>
                    <a:pt x="211" y="269"/>
                  </a:lnTo>
                  <a:lnTo>
                    <a:pt x="214" y="268"/>
                  </a:lnTo>
                  <a:lnTo>
                    <a:pt x="214" y="264"/>
                  </a:lnTo>
                  <a:lnTo>
                    <a:pt x="216" y="262"/>
                  </a:lnTo>
                  <a:lnTo>
                    <a:pt x="220" y="260"/>
                  </a:lnTo>
                  <a:lnTo>
                    <a:pt x="222" y="258"/>
                  </a:lnTo>
                  <a:lnTo>
                    <a:pt x="223" y="255"/>
                  </a:lnTo>
                  <a:lnTo>
                    <a:pt x="225" y="253"/>
                  </a:lnTo>
                  <a:lnTo>
                    <a:pt x="231" y="252"/>
                  </a:lnTo>
                  <a:lnTo>
                    <a:pt x="233" y="248"/>
                  </a:lnTo>
                  <a:lnTo>
                    <a:pt x="237" y="248"/>
                  </a:lnTo>
                  <a:lnTo>
                    <a:pt x="239" y="245"/>
                  </a:lnTo>
                  <a:lnTo>
                    <a:pt x="241" y="248"/>
                  </a:lnTo>
                  <a:lnTo>
                    <a:pt x="247" y="248"/>
                  </a:lnTo>
                  <a:lnTo>
                    <a:pt x="249" y="245"/>
                  </a:lnTo>
                  <a:lnTo>
                    <a:pt x="251" y="243"/>
                  </a:lnTo>
                  <a:lnTo>
                    <a:pt x="255" y="244"/>
                  </a:lnTo>
                  <a:lnTo>
                    <a:pt x="249" y="246"/>
                  </a:lnTo>
                  <a:lnTo>
                    <a:pt x="247" y="248"/>
                  </a:lnTo>
                  <a:lnTo>
                    <a:pt x="247" y="251"/>
                  </a:lnTo>
                  <a:lnTo>
                    <a:pt x="251" y="253"/>
                  </a:lnTo>
                  <a:lnTo>
                    <a:pt x="257" y="255"/>
                  </a:lnTo>
                  <a:lnTo>
                    <a:pt x="249" y="254"/>
                  </a:lnTo>
                  <a:lnTo>
                    <a:pt x="246" y="255"/>
                  </a:lnTo>
                  <a:lnTo>
                    <a:pt x="240" y="253"/>
                  </a:lnTo>
                  <a:lnTo>
                    <a:pt x="237" y="254"/>
                  </a:lnTo>
                  <a:lnTo>
                    <a:pt x="232" y="258"/>
                  </a:lnTo>
                  <a:lnTo>
                    <a:pt x="229" y="258"/>
                  </a:lnTo>
                  <a:lnTo>
                    <a:pt x="228" y="261"/>
                  </a:lnTo>
                  <a:lnTo>
                    <a:pt x="229" y="263"/>
                  </a:lnTo>
                  <a:lnTo>
                    <a:pt x="229" y="267"/>
                  </a:lnTo>
                  <a:lnTo>
                    <a:pt x="228" y="269"/>
                  </a:lnTo>
                  <a:lnTo>
                    <a:pt x="223" y="273"/>
                  </a:lnTo>
                  <a:lnTo>
                    <a:pt x="221" y="278"/>
                  </a:lnTo>
                  <a:lnTo>
                    <a:pt x="223" y="280"/>
                  </a:lnTo>
                  <a:lnTo>
                    <a:pt x="225" y="281"/>
                  </a:lnTo>
                  <a:lnTo>
                    <a:pt x="229" y="280"/>
                  </a:lnTo>
                  <a:lnTo>
                    <a:pt x="231" y="280"/>
                  </a:lnTo>
                  <a:lnTo>
                    <a:pt x="229" y="282"/>
                  </a:lnTo>
                  <a:lnTo>
                    <a:pt x="227" y="285"/>
                  </a:lnTo>
                  <a:lnTo>
                    <a:pt x="223" y="285"/>
                  </a:lnTo>
                  <a:lnTo>
                    <a:pt x="221" y="286"/>
                  </a:lnTo>
                  <a:lnTo>
                    <a:pt x="220" y="289"/>
                  </a:lnTo>
                  <a:lnTo>
                    <a:pt x="222" y="290"/>
                  </a:lnTo>
                  <a:lnTo>
                    <a:pt x="231" y="288"/>
                  </a:lnTo>
                  <a:lnTo>
                    <a:pt x="233" y="289"/>
                  </a:lnTo>
                  <a:lnTo>
                    <a:pt x="236" y="287"/>
                  </a:lnTo>
                  <a:lnTo>
                    <a:pt x="238" y="285"/>
                  </a:lnTo>
                  <a:lnTo>
                    <a:pt x="239" y="282"/>
                  </a:lnTo>
                  <a:lnTo>
                    <a:pt x="241" y="282"/>
                  </a:lnTo>
                  <a:lnTo>
                    <a:pt x="244" y="279"/>
                  </a:lnTo>
                  <a:lnTo>
                    <a:pt x="244" y="282"/>
                  </a:lnTo>
                  <a:lnTo>
                    <a:pt x="247" y="281"/>
                  </a:lnTo>
                  <a:lnTo>
                    <a:pt x="247" y="278"/>
                  </a:lnTo>
                  <a:lnTo>
                    <a:pt x="250" y="279"/>
                  </a:lnTo>
                  <a:lnTo>
                    <a:pt x="249" y="277"/>
                  </a:lnTo>
                  <a:lnTo>
                    <a:pt x="251" y="277"/>
                  </a:lnTo>
                  <a:lnTo>
                    <a:pt x="253" y="279"/>
                  </a:lnTo>
                  <a:lnTo>
                    <a:pt x="253" y="277"/>
                  </a:lnTo>
                  <a:lnTo>
                    <a:pt x="255" y="273"/>
                  </a:lnTo>
                  <a:lnTo>
                    <a:pt x="256" y="273"/>
                  </a:lnTo>
                  <a:lnTo>
                    <a:pt x="256" y="277"/>
                  </a:lnTo>
                  <a:lnTo>
                    <a:pt x="257" y="273"/>
                  </a:lnTo>
                  <a:lnTo>
                    <a:pt x="264" y="274"/>
                  </a:lnTo>
                  <a:lnTo>
                    <a:pt x="266" y="273"/>
                  </a:lnTo>
                  <a:lnTo>
                    <a:pt x="268" y="273"/>
                  </a:lnTo>
                  <a:lnTo>
                    <a:pt x="268" y="271"/>
                  </a:lnTo>
                  <a:lnTo>
                    <a:pt x="272" y="271"/>
                  </a:lnTo>
                  <a:lnTo>
                    <a:pt x="270" y="268"/>
                  </a:lnTo>
                  <a:lnTo>
                    <a:pt x="273" y="265"/>
                  </a:lnTo>
                  <a:lnTo>
                    <a:pt x="274" y="263"/>
                  </a:lnTo>
                  <a:lnTo>
                    <a:pt x="272" y="262"/>
                  </a:lnTo>
                  <a:lnTo>
                    <a:pt x="268" y="263"/>
                  </a:lnTo>
                  <a:lnTo>
                    <a:pt x="266" y="263"/>
                  </a:lnTo>
                  <a:lnTo>
                    <a:pt x="268" y="262"/>
                  </a:lnTo>
                  <a:lnTo>
                    <a:pt x="271" y="261"/>
                  </a:lnTo>
                  <a:lnTo>
                    <a:pt x="271" y="258"/>
                  </a:lnTo>
                  <a:lnTo>
                    <a:pt x="268" y="261"/>
                  </a:lnTo>
                  <a:lnTo>
                    <a:pt x="267" y="258"/>
                  </a:lnTo>
                  <a:lnTo>
                    <a:pt x="265" y="260"/>
                  </a:lnTo>
                  <a:lnTo>
                    <a:pt x="266" y="256"/>
                  </a:lnTo>
                  <a:lnTo>
                    <a:pt x="270" y="256"/>
                  </a:lnTo>
                  <a:lnTo>
                    <a:pt x="271" y="254"/>
                  </a:lnTo>
                  <a:lnTo>
                    <a:pt x="271" y="251"/>
                  </a:lnTo>
                  <a:lnTo>
                    <a:pt x="273" y="253"/>
                  </a:lnTo>
                  <a:lnTo>
                    <a:pt x="275" y="250"/>
                  </a:lnTo>
                  <a:lnTo>
                    <a:pt x="278" y="247"/>
                  </a:lnTo>
                  <a:lnTo>
                    <a:pt x="278" y="250"/>
                  </a:lnTo>
                  <a:lnTo>
                    <a:pt x="275" y="252"/>
                  </a:lnTo>
                  <a:lnTo>
                    <a:pt x="274" y="255"/>
                  </a:lnTo>
                  <a:lnTo>
                    <a:pt x="280" y="256"/>
                  </a:lnTo>
                  <a:lnTo>
                    <a:pt x="280" y="253"/>
                  </a:lnTo>
                  <a:lnTo>
                    <a:pt x="281" y="251"/>
                  </a:lnTo>
                  <a:lnTo>
                    <a:pt x="281" y="253"/>
                  </a:lnTo>
                  <a:lnTo>
                    <a:pt x="287" y="253"/>
                  </a:lnTo>
                  <a:lnTo>
                    <a:pt x="289" y="254"/>
                  </a:lnTo>
                  <a:lnTo>
                    <a:pt x="292" y="252"/>
                  </a:lnTo>
                  <a:lnTo>
                    <a:pt x="295" y="251"/>
                  </a:lnTo>
                  <a:lnTo>
                    <a:pt x="298" y="252"/>
                  </a:lnTo>
                  <a:lnTo>
                    <a:pt x="295" y="252"/>
                  </a:lnTo>
                  <a:lnTo>
                    <a:pt x="292" y="253"/>
                  </a:lnTo>
                  <a:lnTo>
                    <a:pt x="292" y="255"/>
                  </a:lnTo>
                  <a:lnTo>
                    <a:pt x="295" y="258"/>
                  </a:lnTo>
                  <a:lnTo>
                    <a:pt x="298" y="256"/>
                  </a:lnTo>
                  <a:lnTo>
                    <a:pt x="300" y="256"/>
                  </a:lnTo>
                  <a:lnTo>
                    <a:pt x="296" y="258"/>
                  </a:lnTo>
                  <a:lnTo>
                    <a:pt x="293" y="260"/>
                  </a:lnTo>
                  <a:lnTo>
                    <a:pt x="296" y="260"/>
                  </a:lnTo>
                  <a:lnTo>
                    <a:pt x="301" y="258"/>
                  </a:lnTo>
                  <a:lnTo>
                    <a:pt x="300" y="261"/>
                  </a:lnTo>
                  <a:lnTo>
                    <a:pt x="302" y="260"/>
                  </a:lnTo>
                  <a:lnTo>
                    <a:pt x="306" y="262"/>
                  </a:lnTo>
                  <a:lnTo>
                    <a:pt x="304" y="264"/>
                  </a:lnTo>
                  <a:lnTo>
                    <a:pt x="307" y="264"/>
                  </a:lnTo>
                  <a:lnTo>
                    <a:pt x="309" y="267"/>
                  </a:lnTo>
                  <a:lnTo>
                    <a:pt x="313" y="265"/>
                  </a:lnTo>
                  <a:lnTo>
                    <a:pt x="317" y="261"/>
                  </a:lnTo>
                  <a:lnTo>
                    <a:pt x="321" y="259"/>
                  </a:lnTo>
                  <a:lnTo>
                    <a:pt x="321" y="260"/>
                  </a:lnTo>
                  <a:lnTo>
                    <a:pt x="317" y="262"/>
                  </a:lnTo>
                  <a:lnTo>
                    <a:pt x="317" y="268"/>
                  </a:lnTo>
                  <a:lnTo>
                    <a:pt x="319" y="269"/>
                  </a:lnTo>
                  <a:lnTo>
                    <a:pt x="323" y="270"/>
                  </a:lnTo>
                  <a:lnTo>
                    <a:pt x="325" y="271"/>
                  </a:lnTo>
                  <a:lnTo>
                    <a:pt x="326" y="273"/>
                  </a:lnTo>
                  <a:lnTo>
                    <a:pt x="331" y="273"/>
                  </a:lnTo>
                  <a:lnTo>
                    <a:pt x="333" y="273"/>
                  </a:lnTo>
                  <a:lnTo>
                    <a:pt x="347" y="271"/>
                  </a:lnTo>
                  <a:lnTo>
                    <a:pt x="349" y="272"/>
                  </a:lnTo>
                  <a:lnTo>
                    <a:pt x="358" y="273"/>
                  </a:lnTo>
                  <a:lnTo>
                    <a:pt x="360" y="274"/>
                  </a:lnTo>
                  <a:lnTo>
                    <a:pt x="364" y="273"/>
                  </a:lnTo>
                  <a:lnTo>
                    <a:pt x="365" y="271"/>
                  </a:lnTo>
                  <a:lnTo>
                    <a:pt x="366" y="273"/>
                  </a:lnTo>
                  <a:lnTo>
                    <a:pt x="365" y="277"/>
                  </a:lnTo>
                  <a:lnTo>
                    <a:pt x="373" y="279"/>
                  </a:lnTo>
                  <a:lnTo>
                    <a:pt x="378" y="280"/>
                  </a:lnTo>
                  <a:lnTo>
                    <a:pt x="381" y="279"/>
                  </a:lnTo>
                  <a:lnTo>
                    <a:pt x="384" y="278"/>
                  </a:lnTo>
                  <a:lnTo>
                    <a:pt x="386" y="277"/>
                  </a:lnTo>
                  <a:lnTo>
                    <a:pt x="390" y="273"/>
                  </a:lnTo>
                  <a:lnTo>
                    <a:pt x="392" y="273"/>
                  </a:lnTo>
                  <a:lnTo>
                    <a:pt x="393" y="276"/>
                  </a:lnTo>
                  <a:lnTo>
                    <a:pt x="399" y="278"/>
                  </a:lnTo>
                  <a:lnTo>
                    <a:pt x="396" y="277"/>
                  </a:lnTo>
                  <a:lnTo>
                    <a:pt x="393" y="279"/>
                  </a:lnTo>
                  <a:lnTo>
                    <a:pt x="393" y="282"/>
                  </a:lnTo>
                  <a:lnTo>
                    <a:pt x="393" y="277"/>
                  </a:lnTo>
                  <a:lnTo>
                    <a:pt x="390" y="274"/>
                  </a:lnTo>
                  <a:lnTo>
                    <a:pt x="390" y="277"/>
                  </a:lnTo>
                  <a:lnTo>
                    <a:pt x="391" y="280"/>
                  </a:lnTo>
                  <a:lnTo>
                    <a:pt x="389" y="282"/>
                  </a:lnTo>
                  <a:lnTo>
                    <a:pt x="385" y="284"/>
                  </a:lnTo>
                  <a:lnTo>
                    <a:pt x="389" y="285"/>
                  </a:lnTo>
                  <a:lnTo>
                    <a:pt x="391" y="286"/>
                  </a:lnTo>
                  <a:lnTo>
                    <a:pt x="393" y="287"/>
                  </a:lnTo>
                  <a:lnTo>
                    <a:pt x="396" y="288"/>
                  </a:lnTo>
                  <a:lnTo>
                    <a:pt x="399" y="289"/>
                  </a:lnTo>
                  <a:lnTo>
                    <a:pt x="402" y="291"/>
                  </a:lnTo>
                  <a:lnTo>
                    <a:pt x="404" y="290"/>
                  </a:lnTo>
                  <a:lnTo>
                    <a:pt x="403" y="293"/>
                  </a:lnTo>
                  <a:lnTo>
                    <a:pt x="407" y="293"/>
                  </a:lnTo>
                  <a:lnTo>
                    <a:pt x="409" y="295"/>
                  </a:lnTo>
                  <a:lnTo>
                    <a:pt x="411" y="297"/>
                  </a:lnTo>
                  <a:lnTo>
                    <a:pt x="416" y="302"/>
                  </a:lnTo>
                  <a:lnTo>
                    <a:pt x="421" y="305"/>
                  </a:lnTo>
                  <a:lnTo>
                    <a:pt x="427" y="307"/>
                  </a:lnTo>
                  <a:lnTo>
                    <a:pt x="429" y="310"/>
                  </a:lnTo>
                  <a:lnTo>
                    <a:pt x="429" y="307"/>
                  </a:lnTo>
                  <a:lnTo>
                    <a:pt x="433" y="306"/>
                  </a:lnTo>
                  <a:lnTo>
                    <a:pt x="435" y="307"/>
                  </a:lnTo>
                  <a:lnTo>
                    <a:pt x="437" y="306"/>
                  </a:lnTo>
                  <a:lnTo>
                    <a:pt x="435" y="304"/>
                  </a:lnTo>
                  <a:lnTo>
                    <a:pt x="435" y="301"/>
                  </a:lnTo>
                  <a:lnTo>
                    <a:pt x="432" y="301"/>
                  </a:lnTo>
                  <a:lnTo>
                    <a:pt x="432" y="298"/>
                  </a:lnTo>
                  <a:lnTo>
                    <a:pt x="426" y="296"/>
                  </a:lnTo>
                  <a:lnTo>
                    <a:pt x="424" y="297"/>
                  </a:lnTo>
                  <a:lnTo>
                    <a:pt x="426" y="296"/>
                  </a:lnTo>
                  <a:lnTo>
                    <a:pt x="424" y="293"/>
                  </a:lnTo>
                  <a:lnTo>
                    <a:pt x="426" y="295"/>
                  </a:lnTo>
                  <a:lnTo>
                    <a:pt x="429" y="294"/>
                  </a:lnTo>
                  <a:lnTo>
                    <a:pt x="432" y="297"/>
                  </a:lnTo>
                  <a:lnTo>
                    <a:pt x="434" y="298"/>
                  </a:lnTo>
                  <a:lnTo>
                    <a:pt x="437" y="297"/>
                  </a:lnTo>
                  <a:lnTo>
                    <a:pt x="437" y="294"/>
                  </a:lnTo>
                  <a:lnTo>
                    <a:pt x="437" y="297"/>
                  </a:lnTo>
                  <a:lnTo>
                    <a:pt x="441" y="297"/>
                  </a:lnTo>
                  <a:lnTo>
                    <a:pt x="437" y="298"/>
                  </a:lnTo>
                  <a:lnTo>
                    <a:pt x="441" y="304"/>
                  </a:lnTo>
                  <a:lnTo>
                    <a:pt x="441" y="306"/>
                  </a:lnTo>
                  <a:lnTo>
                    <a:pt x="443" y="305"/>
                  </a:lnTo>
                  <a:lnTo>
                    <a:pt x="446" y="306"/>
                  </a:lnTo>
                  <a:lnTo>
                    <a:pt x="447" y="308"/>
                  </a:lnTo>
                  <a:lnTo>
                    <a:pt x="450" y="310"/>
                  </a:lnTo>
                  <a:lnTo>
                    <a:pt x="451" y="307"/>
                  </a:lnTo>
                  <a:lnTo>
                    <a:pt x="450" y="305"/>
                  </a:lnTo>
                  <a:lnTo>
                    <a:pt x="450" y="302"/>
                  </a:lnTo>
                  <a:lnTo>
                    <a:pt x="446" y="295"/>
                  </a:lnTo>
                  <a:lnTo>
                    <a:pt x="446" y="293"/>
                  </a:lnTo>
                  <a:lnTo>
                    <a:pt x="445" y="289"/>
                  </a:lnTo>
                  <a:lnTo>
                    <a:pt x="447" y="290"/>
                  </a:lnTo>
                  <a:lnTo>
                    <a:pt x="445" y="288"/>
                  </a:lnTo>
                  <a:lnTo>
                    <a:pt x="446" y="288"/>
                  </a:lnTo>
                  <a:lnTo>
                    <a:pt x="447" y="285"/>
                  </a:lnTo>
                  <a:lnTo>
                    <a:pt x="447" y="287"/>
                  </a:lnTo>
                  <a:lnTo>
                    <a:pt x="447" y="289"/>
                  </a:lnTo>
                  <a:lnTo>
                    <a:pt x="449" y="293"/>
                  </a:lnTo>
                  <a:lnTo>
                    <a:pt x="450" y="297"/>
                  </a:lnTo>
                  <a:lnTo>
                    <a:pt x="453" y="298"/>
                  </a:lnTo>
                  <a:lnTo>
                    <a:pt x="452" y="302"/>
                  </a:lnTo>
                  <a:lnTo>
                    <a:pt x="455" y="306"/>
                  </a:lnTo>
                  <a:lnTo>
                    <a:pt x="459" y="307"/>
                  </a:lnTo>
                  <a:lnTo>
                    <a:pt x="461" y="310"/>
                  </a:lnTo>
                  <a:lnTo>
                    <a:pt x="464" y="310"/>
                  </a:lnTo>
                  <a:lnTo>
                    <a:pt x="467" y="304"/>
                  </a:lnTo>
                  <a:lnTo>
                    <a:pt x="469" y="304"/>
                  </a:lnTo>
                  <a:lnTo>
                    <a:pt x="467" y="306"/>
                  </a:lnTo>
                  <a:lnTo>
                    <a:pt x="464" y="308"/>
                  </a:lnTo>
                  <a:lnTo>
                    <a:pt x="464" y="311"/>
                  </a:lnTo>
                  <a:lnTo>
                    <a:pt x="467" y="314"/>
                  </a:lnTo>
                  <a:lnTo>
                    <a:pt x="469" y="313"/>
                  </a:lnTo>
                  <a:lnTo>
                    <a:pt x="468" y="315"/>
                  </a:lnTo>
                  <a:lnTo>
                    <a:pt x="470" y="319"/>
                  </a:lnTo>
                  <a:lnTo>
                    <a:pt x="472" y="315"/>
                  </a:lnTo>
                  <a:lnTo>
                    <a:pt x="475" y="316"/>
                  </a:lnTo>
                  <a:lnTo>
                    <a:pt x="477" y="318"/>
                  </a:lnTo>
                  <a:lnTo>
                    <a:pt x="475" y="316"/>
                  </a:lnTo>
                  <a:lnTo>
                    <a:pt x="472" y="318"/>
                  </a:lnTo>
                  <a:lnTo>
                    <a:pt x="473" y="320"/>
                  </a:lnTo>
                  <a:lnTo>
                    <a:pt x="479" y="323"/>
                  </a:lnTo>
                  <a:lnTo>
                    <a:pt x="471" y="320"/>
                  </a:lnTo>
                  <a:lnTo>
                    <a:pt x="472" y="323"/>
                  </a:lnTo>
                  <a:lnTo>
                    <a:pt x="475" y="322"/>
                  </a:lnTo>
                  <a:lnTo>
                    <a:pt x="472" y="325"/>
                  </a:lnTo>
                  <a:lnTo>
                    <a:pt x="476" y="328"/>
                  </a:lnTo>
                  <a:lnTo>
                    <a:pt x="478" y="328"/>
                  </a:lnTo>
                  <a:lnTo>
                    <a:pt x="472" y="329"/>
                  </a:lnTo>
                  <a:lnTo>
                    <a:pt x="473" y="331"/>
                  </a:lnTo>
                  <a:lnTo>
                    <a:pt x="477" y="331"/>
                  </a:lnTo>
                  <a:lnTo>
                    <a:pt x="479" y="332"/>
                  </a:lnTo>
                  <a:lnTo>
                    <a:pt x="481" y="333"/>
                  </a:lnTo>
                  <a:lnTo>
                    <a:pt x="481" y="336"/>
                  </a:lnTo>
                  <a:lnTo>
                    <a:pt x="484" y="338"/>
                  </a:lnTo>
                  <a:lnTo>
                    <a:pt x="487" y="339"/>
                  </a:lnTo>
                  <a:lnTo>
                    <a:pt x="486" y="341"/>
                  </a:lnTo>
                  <a:lnTo>
                    <a:pt x="489" y="341"/>
                  </a:lnTo>
                  <a:lnTo>
                    <a:pt x="489" y="344"/>
                  </a:lnTo>
                  <a:lnTo>
                    <a:pt x="493" y="346"/>
                  </a:lnTo>
                  <a:lnTo>
                    <a:pt x="494" y="349"/>
                  </a:lnTo>
                  <a:lnTo>
                    <a:pt x="498" y="349"/>
                  </a:lnTo>
                  <a:lnTo>
                    <a:pt x="496" y="349"/>
                  </a:lnTo>
                  <a:lnTo>
                    <a:pt x="494" y="352"/>
                  </a:lnTo>
                  <a:lnTo>
                    <a:pt x="494" y="354"/>
                  </a:lnTo>
                  <a:lnTo>
                    <a:pt x="490" y="359"/>
                  </a:lnTo>
                  <a:lnTo>
                    <a:pt x="492" y="362"/>
                  </a:lnTo>
                  <a:lnTo>
                    <a:pt x="495" y="361"/>
                  </a:lnTo>
                  <a:lnTo>
                    <a:pt x="496" y="358"/>
                  </a:lnTo>
                  <a:lnTo>
                    <a:pt x="496" y="356"/>
                  </a:lnTo>
                  <a:lnTo>
                    <a:pt x="498" y="354"/>
                  </a:lnTo>
                  <a:lnTo>
                    <a:pt x="504" y="354"/>
                  </a:lnTo>
                  <a:lnTo>
                    <a:pt x="509" y="358"/>
                  </a:lnTo>
                  <a:lnTo>
                    <a:pt x="509" y="364"/>
                  </a:lnTo>
                  <a:lnTo>
                    <a:pt x="510" y="367"/>
                  </a:lnTo>
                  <a:lnTo>
                    <a:pt x="507" y="367"/>
                  </a:lnTo>
                  <a:lnTo>
                    <a:pt x="509" y="371"/>
                  </a:lnTo>
                  <a:lnTo>
                    <a:pt x="511" y="370"/>
                  </a:lnTo>
                  <a:lnTo>
                    <a:pt x="514" y="366"/>
                  </a:lnTo>
                  <a:lnTo>
                    <a:pt x="511" y="370"/>
                  </a:lnTo>
                  <a:lnTo>
                    <a:pt x="509" y="371"/>
                  </a:lnTo>
                  <a:lnTo>
                    <a:pt x="507" y="373"/>
                  </a:lnTo>
                  <a:lnTo>
                    <a:pt x="507" y="376"/>
                  </a:lnTo>
                  <a:lnTo>
                    <a:pt x="511" y="374"/>
                  </a:lnTo>
                  <a:lnTo>
                    <a:pt x="511" y="376"/>
                  </a:lnTo>
                  <a:lnTo>
                    <a:pt x="514" y="375"/>
                  </a:lnTo>
                  <a:lnTo>
                    <a:pt x="517" y="373"/>
                  </a:lnTo>
                  <a:lnTo>
                    <a:pt x="518" y="370"/>
                  </a:lnTo>
                  <a:lnTo>
                    <a:pt x="520" y="367"/>
                  </a:lnTo>
                  <a:lnTo>
                    <a:pt x="519" y="363"/>
                  </a:lnTo>
                  <a:lnTo>
                    <a:pt x="518" y="357"/>
                  </a:lnTo>
                  <a:lnTo>
                    <a:pt x="520" y="355"/>
                  </a:lnTo>
                  <a:lnTo>
                    <a:pt x="520" y="355"/>
                  </a:lnTo>
                  <a:lnTo>
                    <a:pt x="519" y="357"/>
                  </a:lnTo>
                  <a:lnTo>
                    <a:pt x="520" y="366"/>
                  </a:lnTo>
                  <a:lnTo>
                    <a:pt x="520" y="371"/>
                  </a:lnTo>
                  <a:lnTo>
                    <a:pt x="521" y="370"/>
                  </a:lnTo>
                  <a:lnTo>
                    <a:pt x="523" y="366"/>
                  </a:lnTo>
                  <a:lnTo>
                    <a:pt x="523" y="362"/>
                  </a:lnTo>
                  <a:lnTo>
                    <a:pt x="526" y="364"/>
                  </a:lnTo>
                  <a:lnTo>
                    <a:pt x="524" y="367"/>
                  </a:lnTo>
                  <a:lnTo>
                    <a:pt x="522" y="370"/>
                  </a:lnTo>
                  <a:lnTo>
                    <a:pt x="523" y="372"/>
                  </a:lnTo>
                  <a:lnTo>
                    <a:pt x="526" y="372"/>
                  </a:lnTo>
                  <a:lnTo>
                    <a:pt x="520" y="373"/>
                  </a:lnTo>
                  <a:lnTo>
                    <a:pt x="518" y="378"/>
                  </a:lnTo>
                  <a:lnTo>
                    <a:pt x="519" y="379"/>
                  </a:lnTo>
                  <a:lnTo>
                    <a:pt x="515" y="380"/>
                  </a:lnTo>
                  <a:lnTo>
                    <a:pt x="518" y="382"/>
                  </a:lnTo>
                  <a:lnTo>
                    <a:pt x="520" y="382"/>
                  </a:lnTo>
                  <a:lnTo>
                    <a:pt x="520" y="382"/>
                  </a:lnTo>
                  <a:lnTo>
                    <a:pt x="520" y="382"/>
                  </a:lnTo>
                  <a:lnTo>
                    <a:pt x="520" y="385"/>
                  </a:lnTo>
                  <a:lnTo>
                    <a:pt x="520" y="384"/>
                  </a:lnTo>
                  <a:lnTo>
                    <a:pt x="514" y="380"/>
                  </a:lnTo>
                  <a:lnTo>
                    <a:pt x="514" y="384"/>
                  </a:lnTo>
                  <a:lnTo>
                    <a:pt x="517" y="384"/>
                  </a:lnTo>
                  <a:lnTo>
                    <a:pt x="517" y="387"/>
                  </a:lnTo>
                  <a:lnTo>
                    <a:pt x="518" y="388"/>
                  </a:lnTo>
                  <a:lnTo>
                    <a:pt x="520" y="388"/>
                  </a:lnTo>
                  <a:lnTo>
                    <a:pt x="522" y="387"/>
                  </a:lnTo>
                  <a:lnTo>
                    <a:pt x="528" y="387"/>
                  </a:lnTo>
                  <a:lnTo>
                    <a:pt x="521" y="388"/>
                  </a:lnTo>
                  <a:lnTo>
                    <a:pt x="523" y="391"/>
                  </a:lnTo>
                  <a:lnTo>
                    <a:pt x="520" y="388"/>
                  </a:lnTo>
                  <a:lnTo>
                    <a:pt x="520" y="391"/>
                  </a:lnTo>
                  <a:lnTo>
                    <a:pt x="520" y="393"/>
                  </a:lnTo>
                  <a:lnTo>
                    <a:pt x="528" y="401"/>
                  </a:lnTo>
                  <a:lnTo>
                    <a:pt x="530" y="402"/>
                  </a:lnTo>
                  <a:lnTo>
                    <a:pt x="531" y="398"/>
                  </a:lnTo>
                  <a:lnTo>
                    <a:pt x="534" y="396"/>
                  </a:lnTo>
                  <a:lnTo>
                    <a:pt x="537" y="393"/>
                  </a:lnTo>
                  <a:lnTo>
                    <a:pt x="538" y="391"/>
                  </a:lnTo>
                  <a:lnTo>
                    <a:pt x="539" y="391"/>
                  </a:lnTo>
                  <a:lnTo>
                    <a:pt x="538" y="393"/>
                  </a:lnTo>
                  <a:lnTo>
                    <a:pt x="541" y="395"/>
                  </a:lnTo>
                  <a:lnTo>
                    <a:pt x="538" y="395"/>
                  </a:lnTo>
                  <a:lnTo>
                    <a:pt x="537" y="397"/>
                  </a:lnTo>
                  <a:lnTo>
                    <a:pt x="538" y="399"/>
                  </a:lnTo>
                  <a:lnTo>
                    <a:pt x="540" y="401"/>
                  </a:lnTo>
                  <a:lnTo>
                    <a:pt x="544" y="401"/>
                  </a:lnTo>
                  <a:lnTo>
                    <a:pt x="546" y="401"/>
                  </a:lnTo>
                  <a:lnTo>
                    <a:pt x="547" y="401"/>
                  </a:lnTo>
                  <a:lnTo>
                    <a:pt x="548" y="405"/>
                  </a:lnTo>
                  <a:lnTo>
                    <a:pt x="546" y="401"/>
                  </a:lnTo>
                  <a:lnTo>
                    <a:pt x="544" y="401"/>
                  </a:lnTo>
                  <a:lnTo>
                    <a:pt x="541" y="402"/>
                  </a:lnTo>
                  <a:lnTo>
                    <a:pt x="538" y="401"/>
                  </a:lnTo>
                  <a:lnTo>
                    <a:pt x="536" y="401"/>
                  </a:lnTo>
                  <a:lnTo>
                    <a:pt x="536" y="405"/>
                  </a:lnTo>
                  <a:lnTo>
                    <a:pt x="541" y="408"/>
                  </a:lnTo>
                  <a:lnTo>
                    <a:pt x="541" y="410"/>
                  </a:lnTo>
                  <a:lnTo>
                    <a:pt x="543" y="414"/>
                  </a:lnTo>
                  <a:lnTo>
                    <a:pt x="546" y="413"/>
                  </a:lnTo>
                  <a:lnTo>
                    <a:pt x="545" y="419"/>
                  </a:lnTo>
                  <a:lnTo>
                    <a:pt x="545" y="422"/>
                  </a:lnTo>
                  <a:lnTo>
                    <a:pt x="547" y="419"/>
                  </a:lnTo>
                  <a:lnTo>
                    <a:pt x="548" y="422"/>
                  </a:lnTo>
                  <a:lnTo>
                    <a:pt x="549" y="419"/>
                  </a:lnTo>
                  <a:lnTo>
                    <a:pt x="549" y="422"/>
                  </a:lnTo>
                  <a:lnTo>
                    <a:pt x="549" y="425"/>
                  </a:lnTo>
                  <a:lnTo>
                    <a:pt x="558" y="419"/>
                  </a:lnTo>
                  <a:lnTo>
                    <a:pt x="562" y="414"/>
                  </a:lnTo>
                  <a:lnTo>
                    <a:pt x="561" y="417"/>
                  </a:lnTo>
                  <a:lnTo>
                    <a:pt x="558" y="419"/>
                  </a:lnTo>
                  <a:lnTo>
                    <a:pt x="560" y="422"/>
                  </a:lnTo>
                  <a:lnTo>
                    <a:pt x="564" y="422"/>
                  </a:lnTo>
                  <a:lnTo>
                    <a:pt x="563" y="424"/>
                  </a:lnTo>
                  <a:lnTo>
                    <a:pt x="564" y="426"/>
                  </a:lnTo>
                  <a:lnTo>
                    <a:pt x="562" y="424"/>
                  </a:lnTo>
                  <a:lnTo>
                    <a:pt x="560" y="423"/>
                  </a:lnTo>
                  <a:lnTo>
                    <a:pt x="557" y="424"/>
                  </a:lnTo>
                  <a:lnTo>
                    <a:pt x="555" y="427"/>
                  </a:lnTo>
                  <a:lnTo>
                    <a:pt x="553" y="427"/>
                  </a:lnTo>
                  <a:lnTo>
                    <a:pt x="551" y="430"/>
                  </a:lnTo>
                  <a:lnTo>
                    <a:pt x="549" y="432"/>
                  </a:lnTo>
                  <a:lnTo>
                    <a:pt x="551" y="436"/>
                  </a:lnTo>
                  <a:lnTo>
                    <a:pt x="553" y="438"/>
                  </a:lnTo>
                  <a:lnTo>
                    <a:pt x="554" y="435"/>
                  </a:lnTo>
                  <a:lnTo>
                    <a:pt x="554" y="434"/>
                  </a:lnTo>
                  <a:lnTo>
                    <a:pt x="557" y="432"/>
                  </a:lnTo>
                  <a:lnTo>
                    <a:pt x="558" y="434"/>
                  </a:lnTo>
                  <a:lnTo>
                    <a:pt x="563" y="434"/>
                  </a:lnTo>
                  <a:lnTo>
                    <a:pt x="566" y="432"/>
                  </a:lnTo>
                  <a:lnTo>
                    <a:pt x="565" y="435"/>
                  </a:lnTo>
                  <a:lnTo>
                    <a:pt x="557" y="435"/>
                  </a:lnTo>
                  <a:lnTo>
                    <a:pt x="555" y="436"/>
                  </a:lnTo>
                  <a:lnTo>
                    <a:pt x="552" y="441"/>
                  </a:lnTo>
                  <a:lnTo>
                    <a:pt x="557" y="441"/>
                  </a:lnTo>
                  <a:lnTo>
                    <a:pt x="560" y="440"/>
                  </a:lnTo>
                  <a:lnTo>
                    <a:pt x="557" y="441"/>
                  </a:lnTo>
                  <a:lnTo>
                    <a:pt x="553" y="442"/>
                  </a:lnTo>
                  <a:lnTo>
                    <a:pt x="552" y="444"/>
                  </a:lnTo>
                  <a:lnTo>
                    <a:pt x="557" y="445"/>
                  </a:lnTo>
                  <a:lnTo>
                    <a:pt x="563" y="445"/>
                  </a:lnTo>
                  <a:lnTo>
                    <a:pt x="565" y="444"/>
                  </a:lnTo>
                  <a:lnTo>
                    <a:pt x="563" y="445"/>
                  </a:lnTo>
                  <a:lnTo>
                    <a:pt x="560" y="445"/>
                  </a:lnTo>
                  <a:lnTo>
                    <a:pt x="557" y="445"/>
                  </a:lnTo>
                  <a:lnTo>
                    <a:pt x="555" y="445"/>
                  </a:lnTo>
                  <a:lnTo>
                    <a:pt x="556" y="448"/>
                  </a:lnTo>
                  <a:lnTo>
                    <a:pt x="558" y="449"/>
                  </a:lnTo>
                  <a:lnTo>
                    <a:pt x="562" y="449"/>
                  </a:lnTo>
                  <a:lnTo>
                    <a:pt x="558" y="448"/>
                  </a:lnTo>
                  <a:lnTo>
                    <a:pt x="562" y="449"/>
                  </a:lnTo>
                  <a:lnTo>
                    <a:pt x="568" y="449"/>
                  </a:lnTo>
                  <a:lnTo>
                    <a:pt x="570" y="448"/>
                  </a:lnTo>
                  <a:lnTo>
                    <a:pt x="572" y="448"/>
                  </a:lnTo>
                  <a:lnTo>
                    <a:pt x="570" y="449"/>
                  </a:lnTo>
                  <a:lnTo>
                    <a:pt x="572" y="450"/>
                  </a:lnTo>
                  <a:lnTo>
                    <a:pt x="573" y="452"/>
                  </a:lnTo>
                  <a:lnTo>
                    <a:pt x="577" y="452"/>
                  </a:lnTo>
                  <a:lnTo>
                    <a:pt x="579" y="451"/>
                  </a:lnTo>
                  <a:lnTo>
                    <a:pt x="581" y="445"/>
                  </a:lnTo>
                  <a:lnTo>
                    <a:pt x="581" y="449"/>
                  </a:lnTo>
                  <a:lnTo>
                    <a:pt x="580" y="451"/>
                  </a:lnTo>
                  <a:lnTo>
                    <a:pt x="577" y="452"/>
                  </a:lnTo>
                  <a:lnTo>
                    <a:pt x="572" y="453"/>
                  </a:lnTo>
                  <a:lnTo>
                    <a:pt x="572" y="453"/>
                  </a:lnTo>
                  <a:lnTo>
                    <a:pt x="575" y="453"/>
                  </a:lnTo>
                  <a:lnTo>
                    <a:pt x="572" y="456"/>
                  </a:lnTo>
                  <a:lnTo>
                    <a:pt x="575" y="456"/>
                  </a:lnTo>
                  <a:lnTo>
                    <a:pt x="578" y="455"/>
                  </a:lnTo>
                  <a:lnTo>
                    <a:pt x="580" y="457"/>
                  </a:lnTo>
                  <a:lnTo>
                    <a:pt x="581" y="453"/>
                  </a:lnTo>
                  <a:lnTo>
                    <a:pt x="582" y="457"/>
                  </a:lnTo>
                  <a:lnTo>
                    <a:pt x="584" y="457"/>
                  </a:lnTo>
                  <a:lnTo>
                    <a:pt x="588" y="456"/>
                  </a:lnTo>
                  <a:lnTo>
                    <a:pt x="590" y="453"/>
                  </a:lnTo>
                  <a:lnTo>
                    <a:pt x="589" y="450"/>
                  </a:lnTo>
                  <a:lnTo>
                    <a:pt x="591" y="448"/>
                  </a:lnTo>
                  <a:lnTo>
                    <a:pt x="591" y="449"/>
                  </a:lnTo>
                  <a:lnTo>
                    <a:pt x="590" y="455"/>
                  </a:lnTo>
                  <a:lnTo>
                    <a:pt x="588" y="456"/>
                  </a:lnTo>
                  <a:lnTo>
                    <a:pt x="588" y="459"/>
                  </a:lnTo>
                  <a:lnTo>
                    <a:pt x="591" y="459"/>
                  </a:lnTo>
                  <a:lnTo>
                    <a:pt x="594" y="457"/>
                  </a:lnTo>
                  <a:lnTo>
                    <a:pt x="596" y="457"/>
                  </a:lnTo>
                  <a:lnTo>
                    <a:pt x="594" y="459"/>
                  </a:lnTo>
                  <a:lnTo>
                    <a:pt x="594" y="462"/>
                  </a:lnTo>
                  <a:lnTo>
                    <a:pt x="594" y="465"/>
                  </a:lnTo>
                  <a:lnTo>
                    <a:pt x="591" y="465"/>
                  </a:lnTo>
                  <a:lnTo>
                    <a:pt x="596" y="468"/>
                  </a:lnTo>
                  <a:lnTo>
                    <a:pt x="598" y="469"/>
                  </a:lnTo>
                  <a:lnTo>
                    <a:pt x="601" y="468"/>
                  </a:lnTo>
                  <a:lnTo>
                    <a:pt x="604" y="467"/>
                  </a:lnTo>
                  <a:lnTo>
                    <a:pt x="603" y="465"/>
                  </a:lnTo>
                  <a:lnTo>
                    <a:pt x="605" y="462"/>
                  </a:lnTo>
                  <a:lnTo>
                    <a:pt x="604" y="465"/>
                  </a:lnTo>
                  <a:lnTo>
                    <a:pt x="604" y="466"/>
                  </a:lnTo>
                  <a:lnTo>
                    <a:pt x="604" y="469"/>
                  </a:lnTo>
                  <a:lnTo>
                    <a:pt x="606" y="470"/>
                  </a:lnTo>
                  <a:lnTo>
                    <a:pt x="609" y="470"/>
                  </a:lnTo>
                  <a:lnTo>
                    <a:pt x="607" y="470"/>
                  </a:lnTo>
                  <a:lnTo>
                    <a:pt x="601" y="472"/>
                  </a:lnTo>
                  <a:lnTo>
                    <a:pt x="604" y="474"/>
                  </a:lnTo>
                  <a:lnTo>
                    <a:pt x="609" y="475"/>
                  </a:lnTo>
                  <a:lnTo>
                    <a:pt x="611" y="473"/>
                  </a:lnTo>
                  <a:lnTo>
                    <a:pt x="614" y="472"/>
                  </a:lnTo>
                  <a:lnTo>
                    <a:pt x="613" y="474"/>
                  </a:lnTo>
                  <a:lnTo>
                    <a:pt x="614" y="476"/>
                  </a:lnTo>
                  <a:lnTo>
                    <a:pt x="616" y="477"/>
                  </a:lnTo>
                  <a:lnTo>
                    <a:pt x="615" y="479"/>
                  </a:lnTo>
                  <a:lnTo>
                    <a:pt x="616" y="479"/>
                  </a:lnTo>
                  <a:lnTo>
                    <a:pt x="615" y="483"/>
                  </a:lnTo>
                  <a:lnTo>
                    <a:pt x="616" y="483"/>
                  </a:lnTo>
                  <a:lnTo>
                    <a:pt x="617" y="481"/>
                  </a:lnTo>
                  <a:lnTo>
                    <a:pt x="620" y="483"/>
                  </a:lnTo>
                  <a:lnTo>
                    <a:pt x="620" y="485"/>
                  </a:lnTo>
                  <a:lnTo>
                    <a:pt x="623" y="486"/>
                  </a:lnTo>
                  <a:lnTo>
                    <a:pt x="624" y="490"/>
                  </a:lnTo>
                  <a:lnTo>
                    <a:pt x="623" y="492"/>
                  </a:lnTo>
                  <a:lnTo>
                    <a:pt x="621" y="492"/>
                  </a:lnTo>
                  <a:lnTo>
                    <a:pt x="624" y="494"/>
                  </a:lnTo>
                  <a:lnTo>
                    <a:pt x="625" y="498"/>
                  </a:lnTo>
                  <a:lnTo>
                    <a:pt x="626" y="500"/>
                  </a:lnTo>
                  <a:lnTo>
                    <a:pt x="625" y="503"/>
                  </a:lnTo>
                  <a:lnTo>
                    <a:pt x="624" y="506"/>
                  </a:lnTo>
                  <a:lnTo>
                    <a:pt x="625" y="511"/>
                  </a:lnTo>
                  <a:lnTo>
                    <a:pt x="623" y="512"/>
                  </a:lnTo>
                  <a:lnTo>
                    <a:pt x="621" y="516"/>
                  </a:lnTo>
                  <a:lnTo>
                    <a:pt x="618" y="516"/>
                  </a:lnTo>
                  <a:lnTo>
                    <a:pt x="616" y="515"/>
                  </a:lnTo>
                  <a:lnTo>
                    <a:pt x="620" y="511"/>
                  </a:lnTo>
                  <a:lnTo>
                    <a:pt x="620" y="515"/>
                  </a:lnTo>
                  <a:lnTo>
                    <a:pt x="622" y="511"/>
                  </a:lnTo>
                  <a:lnTo>
                    <a:pt x="623" y="509"/>
                  </a:lnTo>
                  <a:lnTo>
                    <a:pt x="622" y="506"/>
                  </a:lnTo>
                  <a:lnTo>
                    <a:pt x="623" y="503"/>
                  </a:lnTo>
                  <a:lnTo>
                    <a:pt x="621" y="503"/>
                  </a:lnTo>
                  <a:lnTo>
                    <a:pt x="618" y="506"/>
                  </a:lnTo>
                  <a:lnTo>
                    <a:pt x="616" y="508"/>
                  </a:lnTo>
                  <a:lnTo>
                    <a:pt x="617" y="510"/>
                  </a:lnTo>
                  <a:lnTo>
                    <a:pt x="614" y="511"/>
                  </a:lnTo>
                  <a:lnTo>
                    <a:pt x="616" y="508"/>
                  </a:lnTo>
                  <a:lnTo>
                    <a:pt x="621" y="503"/>
                  </a:lnTo>
                  <a:lnTo>
                    <a:pt x="621" y="500"/>
                  </a:lnTo>
                  <a:lnTo>
                    <a:pt x="620" y="498"/>
                  </a:lnTo>
                  <a:lnTo>
                    <a:pt x="617" y="498"/>
                  </a:lnTo>
                  <a:lnTo>
                    <a:pt x="614" y="496"/>
                  </a:lnTo>
                  <a:lnTo>
                    <a:pt x="612" y="498"/>
                  </a:lnTo>
                  <a:lnTo>
                    <a:pt x="604" y="496"/>
                  </a:lnTo>
                  <a:lnTo>
                    <a:pt x="598" y="495"/>
                  </a:lnTo>
                  <a:lnTo>
                    <a:pt x="596" y="493"/>
                  </a:lnTo>
                  <a:lnTo>
                    <a:pt x="592" y="493"/>
                  </a:lnTo>
                  <a:lnTo>
                    <a:pt x="594" y="495"/>
                  </a:lnTo>
                  <a:lnTo>
                    <a:pt x="594" y="498"/>
                  </a:lnTo>
                  <a:lnTo>
                    <a:pt x="594" y="500"/>
                  </a:lnTo>
                  <a:lnTo>
                    <a:pt x="596" y="503"/>
                  </a:lnTo>
                  <a:lnTo>
                    <a:pt x="598" y="506"/>
                  </a:lnTo>
                  <a:lnTo>
                    <a:pt x="598" y="509"/>
                  </a:lnTo>
                  <a:lnTo>
                    <a:pt x="599" y="511"/>
                  </a:lnTo>
                  <a:lnTo>
                    <a:pt x="599" y="511"/>
                  </a:lnTo>
                  <a:lnTo>
                    <a:pt x="600" y="515"/>
                  </a:lnTo>
                  <a:lnTo>
                    <a:pt x="603" y="517"/>
                  </a:lnTo>
                  <a:lnTo>
                    <a:pt x="605" y="518"/>
                  </a:lnTo>
                  <a:lnTo>
                    <a:pt x="601" y="519"/>
                  </a:lnTo>
                  <a:lnTo>
                    <a:pt x="603" y="522"/>
                  </a:lnTo>
                  <a:lnTo>
                    <a:pt x="604" y="524"/>
                  </a:lnTo>
                  <a:lnTo>
                    <a:pt x="603" y="526"/>
                  </a:lnTo>
                  <a:lnTo>
                    <a:pt x="601" y="524"/>
                  </a:lnTo>
                  <a:lnTo>
                    <a:pt x="603" y="527"/>
                  </a:lnTo>
                  <a:lnTo>
                    <a:pt x="603" y="529"/>
                  </a:lnTo>
                  <a:lnTo>
                    <a:pt x="608" y="529"/>
                  </a:lnTo>
                  <a:lnTo>
                    <a:pt x="612" y="530"/>
                  </a:lnTo>
                  <a:lnTo>
                    <a:pt x="614" y="532"/>
                  </a:lnTo>
                  <a:lnTo>
                    <a:pt x="612" y="532"/>
                  </a:lnTo>
                  <a:lnTo>
                    <a:pt x="608" y="530"/>
                  </a:lnTo>
                  <a:lnTo>
                    <a:pt x="603" y="530"/>
                  </a:lnTo>
                  <a:lnTo>
                    <a:pt x="604" y="534"/>
                  </a:lnTo>
                  <a:lnTo>
                    <a:pt x="604" y="544"/>
                  </a:lnTo>
                  <a:lnTo>
                    <a:pt x="601" y="554"/>
                  </a:lnTo>
                  <a:lnTo>
                    <a:pt x="600" y="570"/>
                  </a:lnTo>
                  <a:lnTo>
                    <a:pt x="601" y="573"/>
                  </a:lnTo>
                  <a:lnTo>
                    <a:pt x="599" y="575"/>
                  </a:lnTo>
                  <a:lnTo>
                    <a:pt x="600" y="577"/>
                  </a:lnTo>
                  <a:lnTo>
                    <a:pt x="598" y="580"/>
                  </a:lnTo>
                  <a:lnTo>
                    <a:pt x="596" y="586"/>
                  </a:lnTo>
                  <a:lnTo>
                    <a:pt x="596" y="589"/>
                  </a:lnTo>
                  <a:lnTo>
                    <a:pt x="597" y="592"/>
                  </a:lnTo>
                  <a:lnTo>
                    <a:pt x="597" y="596"/>
                  </a:lnTo>
                  <a:lnTo>
                    <a:pt x="598" y="598"/>
                  </a:lnTo>
                  <a:lnTo>
                    <a:pt x="600" y="602"/>
                  </a:lnTo>
                  <a:lnTo>
                    <a:pt x="600" y="604"/>
                  </a:lnTo>
                  <a:lnTo>
                    <a:pt x="601" y="609"/>
                  </a:lnTo>
                  <a:lnTo>
                    <a:pt x="601" y="613"/>
                  </a:lnTo>
                  <a:lnTo>
                    <a:pt x="600" y="615"/>
                  </a:lnTo>
                  <a:lnTo>
                    <a:pt x="601" y="619"/>
                  </a:lnTo>
                  <a:lnTo>
                    <a:pt x="600" y="621"/>
                  </a:lnTo>
                  <a:lnTo>
                    <a:pt x="598" y="623"/>
                  </a:lnTo>
                  <a:lnTo>
                    <a:pt x="598" y="626"/>
                  </a:lnTo>
                  <a:lnTo>
                    <a:pt x="598" y="629"/>
                  </a:lnTo>
                  <a:lnTo>
                    <a:pt x="600" y="631"/>
                  </a:lnTo>
                  <a:lnTo>
                    <a:pt x="604" y="635"/>
                  </a:lnTo>
                  <a:lnTo>
                    <a:pt x="605" y="638"/>
                  </a:lnTo>
                  <a:lnTo>
                    <a:pt x="606" y="640"/>
                  </a:lnTo>
                  <a:lnTo>
                    <a:pt x="606" y="646"/>
                  </a:lnTo>
                  <a:lnTo>
                    <a:pt x="607" y="648"/>
                  </a:lnTo>
                  <a:lnTo>
                    <a:pt x="607" y="652"/>
                  </a:lnTo>
                  <a:lnTo>
                    <a:pt x="615" y="658"/>
                  </a:lnTo>
                  <a:lnTo>
                    <a:pt x="617" y="663"/>
                  </a:lnTo>
                  <a:lnTo>
                    <a:pt x="618" y="665"/>
                  </a:lnTo>
                  <a:lnTo>
                    <a:pt x="621" y="667"/>
                  </a:lnTo>
                  <a:lnTo>
                    <a:pt x="623" y="666"/>
                  </a:lnTo>
                  <a:lnTo>
                    <a:pt x="625" y="664"/>
                  </a:lnTo>
                  <a:lnTo>
                    <a:pt x="629" y="665"/>
                  </a:lnTo>
                  <a:lnTo>
                    <a:pt x="629" y="665"/>
                  </a:lnTo>
                  <a:lnTo>
                    <a:pt x="632" y="665"/>
                  </a:lnTo>
                  <a:lnTo>
                    <a:pt x="634" y="664"/>
                  </a:lnTo>
                  <a:lnTo>
                    <a:pt x="637" y="665"/>
                  </a:lnTo>
                  <a:lnTo>
                    <a:pt x="633" y="666"/>
                  </a:lnTo>
                  <a:lnTo>
                    <a:pt x="631" y="665"/>
                  </a:lnTo>
                  <a:lnTo>
                    <a:pt x="625" y="666"/>
                  </a:lnTo>
                  <a:lnTo>
                    <a:pt x="625" y="669"/>
                  </a:lnTo>
                  <a:lnTo>
                    <a:pt x="629" y="671"/>
                  </a:lnTo>
                  <a:lnTo>
                    <a:pt x="629" y="674"/>
                  </a:lnTo>
                  <a:lnTo>
                    <a:pt x="626" y="672"/>
                  </a:lnTo>
                  <a:lnTo>
                    <a:pt x="623" y="670"/>
                  </a:lnTo>
                  <a:lnTo>
                    <a:pt x="623" y="673"/>
                  </a:lnTo>
                  <a:lnTo>
                    <a:pt x="624" y="675"/>
                  </a:lnTo>
                  <a:lnTo>
                    <a:pt x="624" y="678"/>
                  </a:lnTo>
                  <a:lnTo>
                    <a:pt x="626" y="681"/>
                  </a:lnTo>
                  <a:lnTo>
                    <a:pt x="630" y="682"/>
                  </a:lnTo>
                  <a:lnTo>
                    <a:pt x="632" y="683"/>
                  </a:lnTo>
                  <a:lnTo>
                    <a:pt x="633" y="686"/>
                  </a:lnTo>
                  <a:lnTo>
                    <a:pt x="631" y="690"/>
                  </a:lnTo>
                  <a:lnTo>
                    <a:pt x="632" y="693"/>
                  </a:lnTo>
                  <a:lnTo>
                    <a:pt x="634" y="695"/>
                  </a:lnTo>
                  <a:lnTo>
                    <a:pt x="638" y="698"/>
                  </a:lnTo>
                  <a:lnTo>
                    <a:pt x="639" y="700"/>
                  </a:lnTo>
                  <a:lnTo>
                    <a:pt x="641" y="703"/>
                  </a:lnTo>
                  <a:lnTo>
                    <a:pt x="646" y="707"/>
                  </a:lnTo>
                  <a:lnTo>
                    <a:pt x="647" y="710"/>
                  </a:lnTo>
                  <a:lnTo>
                    <a:pt x="649" y="712"/>
                  </a:lnTo>
                  <a:lnTo>
                    <a:pt x="649" y="715"/>
                  </a:lnTo>
                  <a:lnTo>
                    <a:pt x="649" y="720"/>
                  </a:lnTo>
                  <a:lnTo>
                    <a:pt x="651" y="722"/>
                  </a:lnTo>
                  <a:lnTo>
                    <a:pt x="658" y="722"/>
                  </a:lnTo>
                  <a:lnTo>
                    <a:pt x="663" y="722"/>
                  </a:lnTo>
                  <a:lnTo>
                    <a:pt x="666" y="723"/>
                  </a:lnTo>
                  <a:lnTo>
                    <a:pt x="668" y="726"/>
                  </a:lnTo>
                  <a:lnTo>
                    <a:pt x="671" y="727"/>
                  </a:lnTo>
                  <a:lnTo>
                    <a:pt x="674" y="729"/>
                  </a:lnTo>
                  <a:lnTo>
                    <a:pt x="676" y="727"/>
                  </a:lnTo>
                  <a:lnTo>
                    <a:pt x="680" y="730"/>
                  </a:lnTo>
                  <a:lnTo>
                    <a:pt x="681" y="733"/>
                  </a:lnTo>
                  <a:lnTo>
                    <a:pt x="682" y="732"/>
                  </a:lnTo>
                  <a:lnTo>
                    <a:pt x="684" y="733"/>
                  </a:lnTo>
                  <a:lnTo>
                    <a:pt x="690" y="737"/>
                  </a:lnTo>
                  <a:lnTo>
                    <a:pt x="692" y="740"/>
                  </a:lnTo>
                  <a:lnTo>
                    <a:pt x="694" y="742"/>
                  </a:lnTo>
                  <a:lnTo>
                    <a:pt x="694" y="746"/>
                  </a:lnTo>
                  <a:lnTo>
                    <a:pt x="694" y="748"/>
                  </a:lnTo>
                  <a:lnTo>
                    <a:pt x="697" y="750"/>
                  </a:lnTo>
                  <a:lnTo>
                    <a:pt x="698" y="752"/>
                  </a:lnTo>
                  <a:lnTo>
                    <a:pt x="700" y="756"/>
                  </a:lnTo>
                  <a:lnTo>
                    <a:pt x="700" y="758"/>
                  </a:lnTo>
                  <a:lnTo>
                    <a:pt x="702" y="761"/>
                  </a:lnTo>
                  <a:lnTo>
                    <a:pt x="703" y="766"/>
                  </a:lnTo>
                  <a:lnTo>
                    <a:pt x="708" y="772"/>
                  </a:lnTo>
                  <a:lnTo>
                    <a:pt x="709" y="775"/>
                  </a:lnTo>
                  <a:lnTo>
                    <a:pt x="711" y="777"/>
                  </a:lnTo>
                  <a:lnTo>
                    <a:pt x="711" y="780"/>
                  </a:lnTo>
                  <a:lnTo>
                    <a:pt x="714" y="783"/>
                  </a:lnTo>
                  <a:lnTo>
                    <a:pt x="715" y="784"/>
                  </a:lnTo>
                  <a:lnTo>
                    <a:pt x="715" y="786"/>
                  </a:lnTo>
                  <a:lnTo>
                    <a:pt x="715" y="790"/>
                  </a:lnTo>
                  <a:lnTo>
                    <a:pt x="716" y="791"/>
                  </a:lnTo>
                  <a:lnTo>
                    <a:pt x="717" y="793"/>
                  </a:lnTo>
                  <a:lnTo>
                    <a:pt x="720" y="795"/>
                  </a:lnTo>
                  <a:lnTo>
                    <a:pt x="720" y="797"/>
                  </a:lnTo>
                  <a:lnTo>
                    <a:pt x="724" y="798"/>
                  </a:lnTo>
                  <a:lnTo>
                    <a:pt x="725" y="798"/>
                  </a:lnTo>
                  <a:lnTo>
                    <a:pt x="727" y="799"/>
                  </a:lnTo>
                  <a:lnTo>
                    <a:pt x="727" y="800"/>
                  </a:lnTo>
                  <a:lnTo>
                    <a:pt x="728" y="801"/>
                  </a:lnTo>
                  <a:lnTo>
                    <a:pt x="732" y="806"/>
                  </a:lnTo>
                  <a:lnTo>
                    <a:pt x="737" y="810"/>
                  </a:lnTo>
                  <a:lnTo>
                    <a:pt x="737" y="811"/>
                  </a:lnTo>
                  <a:lnTo>
                    <a:pt x="739" y="814"/>
                  </a:lnTo>
                  <a:lnTo>
                    <a:pt x="739" y="817"/>
                  </a:lnTo>
                  <a:lnTo>
                    <a:pt x="737" y="819"/>
                  </a:lnTo>
                  <a:lnTo>
                    <a:pt x="737" y="821"/>
                  </a:lnTo>
                  <a:lnTo>
                    <a:pt x="737" y="824"/>
                  </a:lnTo>
                  <a:lnTo>
                    <a:pt x="741" y="821"/>
                  </a:lnTo>
                  <a:lnTo>
                    <a:pt x="741" y="824"/>
                  </a:lnTo>
                  <a:lnTo>
                    <a:pt x="741" y="827"/>
                  </a:lnTo>
                  <a:lnTo>
                    <a:pt x="740" y="824"/>
                  </a:lnTo>
                  <a:lnTo>
                    <a:pt x="737" y="824"/>
                  </a:lnTo>
                  <a:lnTo>
                    <a:pt x="734" y="821"/>
                  </a:lnTo>
                  <a:lnTo>
                    <a:pt x="732" y="823"/>
                  </a:lnTo>
                  <a:lnTo>
                    <a:pt x="728" y="823"/>
                  </a:lnTo>
                  <a:lnTo>
                    <a:pt x="726" y="824"/>
                  </a:lnTo>
                  <a:lnTo>
                    <a:pt x="728" y="825"/>
                  </a:lnTo>
                  <a:lnTo>
                    <a:pt x="732" y="827"/>
                  </a:lnTo>
                  <a:lnTo>
                    <a:pt x="733" y="829"/>
                  </a:lnTo>
                  <a:lnTo>
                    <a:pt x="735" y="832"/>
                  </a:lnTo>
                  <a:lnTo>
                    <a:pt x="739" y="833"/>
                  </a:lnTo>
                  <a:lnTo>
                    <a:pt x="739" y="833"/>
                  </a:lnTo>
                  <a:lnTo>
                    <a:pt x="742" y="835"/>
                  </a:lnTo>
                  <a:lnTo>
                    <a:pt x="744" y="837"/>
                  </a:lnTo>
                  <a:lnTo>
                    <a:pt x="746" y="837"/>
                  </a:lnTo>
                  <a:lnTo>
                    <a:pt x="749" y="837"/>
                  </a:lnTo>
                  <a:lnTo>
                    <a:pt x="751" y="835"/>
                  </a:lnTo>
                  <a:lnTo>
                    <a:pt x="751" y="834"/>
                  </a:lnTo>
                  <a:lnTo>
                    <a:pt x="751" y="837"/>
                  </a:lnTo>
                  <a:lnTo>
                    <a:pt x="752" y="840"/>
                  </a:lnTo>
                  <a:lnTo>
                    <a:pt x="756" y="842"/>
                  </a:lnTo>
                  <a:lnTo>
                    <a:pt x="758" y="844"/>
                  </a:lnTo>
                  <a:lnTo>
                    <a:pt x="758" y="844"/>
                  </a:lnTo>
                  <a:lnTo>
                    <a:pt x="761" y="845"/>
                  </a:lnTo>
                  <a:lnTo>
                    <a:pt x="761" y="845"/>
                  </a:lnTo>
                  <a:lnTo>
                    <a:pt x="763" y="849"/>
                  </a:lnTo>
                  <a:lnTo>
                    <a:pt x="763" y="849"/>
                  </a:lnTo>
                  <a:lnTo>
                    <a:pt x="766" y="851"/>
                  </a:lnTo>
                  <a:lnTo>
                    <a:pt x="766" y="854"/>
                  </a:lnTo>
                  <a:lnTo>
                    <a:pt x="766" y="857"/>
                  </a:lnTo>
                  <a:lnTo>
                    <a:pt x="766" y="859"/>
                  </a:lnTo>
                  <a:lnTo>
                    <a:pt x="766" y="860"/>
                  </a:lnTo>
                  <a:lnTo>
                    <a:pt x="765" y="862"/>
                  </a:lnTo>
                  <a:lnTo>
                    <a:pt x="765" y="864"/>
                  </a:lnTo>
                  <a:lnTo>
                    <a:pt x="768" y="867"/>
                  </a:lnTo>
                  <a:lnTo>
                    <a:pt x="769" y="869"/>
                  </a:lnTo>
                  <a:lnTo>
                    <a:pt x="773" y="871"/>
                  </a:lnTo>
                  <a:lnTo>
                    <a:pt x="773" y="871"/>
                  </a:lnTo>
                  <a:lnTo>
                    <a:pt x="778" y="875"/>
                  </a:lnTo>
                  <a:lnTo>
                    <a:pt x="780" y="877"/>
                  </a:lnTo>
                  <a:lnTo>
                    <a:pt x="783" y="879"/>
                  </a:lnTo>
                  <a:lnTo>
                    <a:pt x="786" y="881"/>
                  </a:lnTo>
                  <a:lnTo>
                    <a:pt x="788" y="883"/>
                  </a:lnTo>
                  <a:lnTo>
                    <a:pt x="791" y="886"/>
                  </a:lnTo>
                  <a:lnTo>
                    <a:pt x="792" y="888"/>
                  </a:lnTo>
                  <a:lnTo>
                    <a:pt x="793" y="891"/>
                  </a:lnTo>
                  <a:lnTo>
                    <a:pt x="794" y="893"/>
                  </a:lnTo>
                  <a:lnTo>
                    <a:pt x="795" y="894"/>
                  </a:lnTo>
                  <a:lnTo>
                    <a:pt x="796" y="893"/>
                  </a:lnTo>
                  <a:lnTo>
                    <a:pt x="799" y="891"/>
                  </a:lnTo>
                  <a:lnTo>
                    <a:pt x="802" y="889"/>
                  </a:lnTo>
                  <a:lnTo>
                    <a:pt x="802" y="886"/>
                  </a:lnTo>
                  <a:lnTo>
                    <a:pt x="801" y="884"/>
                  </a:lnTo>
                  <a:lnTo>
                    <a:pt x="799" y="883"/>
                  </a:lnTo>
                  <a:lnTo>
                    <a:pt x="797" y="880"/>
                  </a:lnTo>
                  <a:lnTo>
                    <a:pt x="797" y="877"/>
                  </a:lnTo>
                  <a:lnTo>
                    <a:pt x="794" y="876"/>
                  </a:lnTo>
                  <a:lnTo>
                    <a:pt x="793" y="875"/>
                  </a:lnTo>
                  <a:lnTo>
                    <a:pt x="790" y="874"/>
                  </a:lnTo>
                  <a:lnTo>
                    <a:pt x="788" y="875"/>
                  </a:lnTo>
                  <a:lnTo>
                    <a:pt x="787" y="875"/>
                  </a:lnTo>
                  <a:lnTo>
                    <a:pt x="785" y="872"/>
                  </a:lnTo>
                  <a:lnTo>
                    <a:pt x="784" y="870"/>
                  </a:lnTo>
                  <a:lnTo>
                    <a:pt x="784" y="867"/>
                  </a:lnTo>
                  <a:lnTo>
                    <a:pt x="784" y="864"/>
                  </a:lnTo>
                  <a:lnTo>
                    <a:pt x="782" y="861"/>
                  </a:lnTo>
                  <a:lnTo>
                    <a:pt x="782" y="859"/>
                  </a:lnTo>
                  <a:lnTo>
                    <a:pt x="780" y="857"/>
                  </a:lnTo>
                  <a:lnTo>
                    <a:pt x="778" y="853"/>
                  </a:lnTo>
                  <a:lnTo>
                    <a:pt x="776" y="851"/>
                  </a:lnTo>
                  <a:lnTo>
                    <a:pt x="776" y="848"/>
                  </a:lnTo>
                  <a:lnTo>
                    <a:pt x="775" y="845"/>
                  </a:lnTo>
                  <a:lnTo>
                    <a:pt x="775" y="843"/>
                  </a:lnTo>
                  <a:lnTo>
                    <a:pt x="773" y="840"/>
                  </a:lnTo>
                  <a:lnTo>
                    <a:pt x="771" y="837"/>
                  </a:lnTo>
                  <a:lnTo>
                    <a:pt x="768" y="835"/>
                  </a:lnTo>
                  <a:lnTo>
                    <a:pt x="768" y="838"/>
                  </a:lnTo>
                  <a:lnTo>
                    <a:pt x="768" y="835"/>
                  </a:lnTo>
                  <a:lnTo>
                    <a:pt x="768" y="833"/>
                  </a:lnTo>
                  <a:lnTo>
                    <a:pt x="766" y="832"/>
                  </a:lnTo>
                  <a:lnTo>
                    <a:pt x="763" y="829"/>
                  </a:lnTo>
                  <a:lnTo>
                    <a:pt x="762" y="826"/>
                  </a:lnTo>
                  <a:lnTo>
                    <a:pt x="760" y="825"/>
                  </a:lnTo>
                  <a:lnTo>
                    <a:pt x="757" y="821"/>
                  </a:lnTo>
                  <a:lnTo>
                    <a:pt x="757" y="819"/>
                  </a:lnTo>
                  <a:lnTo>
                    <a:pt x="756" y="818"/>
                  </a:lnTo>
                  <a:lnTo>
                    <a:pt x="756" y="815"/>
                  </a:lnTo>
                  <a:lnTo>
                    <a:pt x="751" y="809"/>
                  </a:lnTo>
                  <a:lnTo>
                    <a:pt x="746" y="806"/>
                  </a:lnTo>
                  <a:lnTo>
                    <a:pt x="745" y="802"/>
                  </a:lnTo>
                  <a:lnTo>
                    <a:pt x="744" y="800"/>
                  </a:lnTo>
                  <a:lnTo>
                    <a:pt x="737" y="793"/>
                  </a:lnTo>
                  <a:lnTo>
                    <a:pt x="734" y="792"/>
                  </a:lnTo>
                  <a:lnTo>
                    <a:pt x="732" y="790"/>
                  </a:lnTo>
                  <a:lnTo>
                    <a:pt x="731" y="785"/>
                  </a:lnTo>
                  <a:lnTo>
                    <a:pt x="731" y="782"/>
                  </a:lnTo>
                  <a:lnTo>
                    <a:pt x="729" y="780"/>
                  </a:lnTo>
                  <a:lnTo>
                    <a:pt x="729" y="777"/>
                  </a:lnTo>
                  <a:lnTo>
                    <a:pt x="728" y="774"/>
                  </a:lnTo>
                  <a:lnTo>
                    <a:pt x="727" y="772"/>
                  </a:lnTo>
                  <a:lnTo>
                    <a:pt x="728" y="764"/>
                  </a:lnTo>
                  <a:lnTo>
                    <a:pt x="726" y="760"/>
                  </a:lnTo>
                  <a:lnTo>
                    <a:pt x="725" y="759"/>
                  </a:lnTo>
                  <a:lnTo>
                    <a:pt x="726" y="760"/>
                  </a:lnTo>
                  <a:lnTo>
                    <a:pt x="727" y="760"/>
                  </a:lnTo>
                  <a:lnTo>
                    <a:pt x="735" y="766"/>
                  </a:lnTo>
                  <a:lnTo>
                    <a:pt x="739" y="767"/>
                  </a:lnTo>
                  <a:lnTo>
                    <a:pt x="741" y="765"/>
                  </a:lnTo>
                  <a:lnTo>
                    <a:pt x="744" y="766"/>
                  </a:lnTo>
                  <a:lnTo>
                    <a:pt x="744" y="769"/>
                  </a:lnTo>
                  <a:lnTo>
                    <a:pt x="746" y="770"/>
                  </a:lnTo>
                  <a:lnTo>
                    <a:pt x="750" y="770"/>
                  </a:lnTo>
                  <a:lnTo>
                    <a:pt x="752" y="772"/>
                  </a:lnTo>
                  <a:lnTo>
                    <a:pt x="752" y="773"/>
                  </a:lnTo>
                  <a:lnTo>
                    <a:pt x="752" y="778"/>
                  </a:lnTo>
                  <a:lnTo>
                    <a:pt x="757" y="786"/>
                  </a:lnTo>
                  <a:lnTo>
                    <a:pt x="757" y="790"/>
                  </a:lnTo>
                  <a:lnTo>
                    <a:pt x="759" y="794"/>
                  </a:lnTo>
                  <a:lnTo>
                    <a:pt x="761" y="797"/>
                  </a:lnTo>
                  <a:lnTo>
                    <a:pt x="761" y="799"/>
                  </a:lnTo>
                  <a:lnTo>
                    <a:pt x="765" y="801"/>
                  </a:lnTo>
                  <a:lnTo>
                    <a:pt x="765" y="802"/>
                  </a:lnTo>
                  <a:lnTo>
                    <a:pt x="766" y="806"/>
                  </a:lnTo>
                  <a:lnTo>
                    <a:pt x="769" y="808"/>
                  </a:lnTo>
                  <a:lnTo>
                    <a:pt x="770" y="810"/>
                  </a:lnTo>
                  <a:lnTo>
                    <a:pt x="775" y="815"/>
                  </a:lnTo>
                  <a:lnTo>
                    <a:pt x="777" y="818"/>
                  </a:lnTo>
                  <a:lnTo>
                    <a:pt x="779" y="820"/>
                  </a:lnTo>
                  <a:lnTo>
                    <a:pt x="783" y="821"/>
                  </a:lnTo>
                  <a:lnTo>
                    <a:pt x="783" y="819"/>
                  </a:lnTo>
                  <a:lnTo>
                    <a:pt x="783" y="819"/>
                  </a:lnTo>
                  <a:lnTo>
                    <a:pt x="783" y="820"/>
                  </a:lnTo>
                  <a:lnTo>
                    <a:pt x="787" y="821"/>
                  </a:lnTo>
                  <a:lnTo>
                    <a:pt x="785" y="824"/>
                  </a:lnTo>
                  <a:lnTo>
                    <a:pt x="786" y="827"/>
                  </a:lnTo>
                  <a:lnTo>
                    <a:pt x="790" y="831"/>
                  </a:lnTo>
                  <a:lnTo>
                    <a:pt x="792" y="832"/>
                  </a:lnTo>
                  <a:lnTo>
                    <a:pt x="795" y="833"/>
                  </a:lnTo>
                  <a:lnTo>
                    <a:pt x="797" y="837"/>
                  </a:lnTo>
                  <a:lnTo>
                    <a:pt x="799" y="838"/>
                  </a:lnTo>
                  <a:lnTo>
                    <a:pt x="802" y="838"/>
                  </a:lnTo>
                  <a:lnTo>
                    <a:pt x="804" y="841"/>
                  </a:lnTo>
                  <a:lnTo>
                    <a:pt x="804" y="844"/>
                  </a:lnTo>
                  <a:lnTo>
                    <a:pt x="807" y="843"/>
                  </a:lnTo>
                  <a:lnTo>
                    <a:pt x="805" y="845"/>
                  </a:lnTo>
                  <a:lnTo>
                    <a:pt x="804" y="845"/>
                  </a:lnTo>
                  <a:lnTo>
                    <a:pt x="802" y="848"/>
                  </a:lnTo>
                  <a:lnTo>
                    <a:pt x="802" y="851"/>
                  </a:lnTo>
                  <a:lnTo>
                    <a:pt x="803" y="852"/>
                  </a:lnTo>
                  <a:lnTo>
                    <a:pt x="805" y="854"/>
                  </a:lnTo>
                  <a:lnTo>
                    <a:pt x="808" y="854"/>
                  </a:lnTo>
                  <a:lnTo>
                    <a:pt x="810" y="854"/>
                  </a:lnTo>
                  <a:lnTo>
                    <a:pt x="813" y="858"/>
                  </a:lnTo>
                  <a:lnTo>
                    <a:pt x="814" y="859"/>
                  </a:lnTo>
                  <a:lnTo>
                    <a:pt x="818" y="860"/>
                  </a:lnTo>
                  <a:lnTo>
                    <a:pt x="821" y="862"/>
                  </a:lnTo>
                  <a:lnTo>
                    <a:pt x="821" y="863"/>
                  </a:lnTo>
                  <a:lnTo>
                    <a:pt x="821" y="867"/>
                  </a:lnTo>
                  <a:lnTo>
                    <a:pt x="822" y="869"/>
                  </a:lnTo>
                  <a:lnTo>
                    <a:pt x="826" y="870"/>
                  </a:lnTo>
                  <a:lnTo>
                    <a:pt x="827" y="872"/>
                  </a:lnTo>
                  <a:lnTo>
                    <a:pt x="834" y="877"/>
                  </a:lnTo>
                  <a:lnTo>
                    <a:pt x="842" y="887"/>
                  </a:lnTo>
                  <a:lnTo>
                    <a:pt x="844" y="889"/>
                  </a:lnTo>
                  <a:lnTo>
                    <a:pt x="850" y="894"/>
                  </a:lnTo>
                  <a:lnTo>
                    <a:pt x="853" y="900"/>
                  </a:lnTo>
                  <a:lnTo>
                    <a:pt x="854" y="902"/>
                  </a:lnTo>
                  <a:lnTo>
                    <a:pt x="854" y="908"/>
                  </a:lnTo>
                  <a:lnTo>
                    <a:pt x="857" y="913"/>
                  </a:lnTo>
                  <a:lnTo>
                    <a:pt x="860" y="913"/>
                  </a:lnTo>
                  <a:lnTo>
                    <a:pt x="860" y="919"/>
                  </a:lnTo>
                  <a:lnTo>
                    <a:pt x="857" y="921"/>
                  </a:lnTo>
                  <a:lnTo>
                    <a:pt x="856" y="925"/>
                  </a:lnTo>
                  <a:lnTo>
                    <a:pt x="860" y="926"/>
                  </a:lnTo>
                  <a:lnTo>
                    <a:pt x="860" y="926"/>
                  </a:lnTo>
                  <a:lnTo>
                    <a:pt x="859" y="927"/>
                  </a:lnTo>
                  <a:lnTo>
                    <a:pt x="854" y="930"/>
                  </a:lnTo>
                  <a:lnTo>
                    <a:pt x="855" y="932"/>
                  </a:lnTo>
                  <a:lnTo>
                    <a:pt x="856" y="935"/>
                  </a:lnTo>
                  <a:lnTo>
                    <a:pt x="862" y="943"/>
                  </a:lnTo>
                  <a:lnTo>
                    <a:pt x="865" y="946"/>
                  </a:lnTo>
                  <a:lnTo>
                    <a:pt x="872" y="948"/>
                  </a:lnTo>
                  <a:lnTo>
                    <a:pt x="877" y="952"/>
                  </a:lnTo>
                  <a:lnTo>
                    <a:pt x="880" y="954"/>
                  </a:lnTo>
                  <a:lnTo>
                    <a:pt x="885" y="960"/>
                  </a:lnTo>
                  <a:lnTo>
                    <a:pt x="890" y="961"/>
                  </a:lnTo>
                  <a:lnTo>
                    <a:pt x="893" y="963"/>
                  </a:lnTo>
                  <a:lnTo>
                    <a:pt x="902" y="964"/>
                  </a:lnTo>
                  <a:lnTo>
                    <a:pt x="903" y="964"/>
                  </a:lnTo>
                  <a:lnTo>
                    <a:pt x="906" y="964"/>
                  </a:lnTo>
                  <a:lnTo>
                    <a:pt x="908" y="968"/>
                  </a:lnTo>
                  <a:lnTo>
                    <a:pt x="916" y="974"/>
                  </a:lnTo>
                  <a:lnTo>
                    <a:pt x="931" y="979"/>
                  </a:lnTo>
                  <a:lnTo>
                    <a:pt x="935" y="981"/>
                  </a:lnTo>
                  <a:lnTo>
                    <a:pt x="949" y="985"/>
                  </a:lnTo>
                  <a:lnTo>
                    <a:pt x="950" y="987"/>
                  </a:lnTo>
                  <a:lnTo>
                    <a:pt x="957" y="989"/>
                  </a:lnTo>
                  <a:lnTo>
                    <a:pt x="962" y="992"/>
                  </a:lnTo>
                  <a:lnTo>
                    <a:pt x="965" y="992"/>
                  </a:lnTo>
                  <a:lnTo>
                    <a:pt x="970" y="994"/>
                  </a:lnTo>
                  <a:lnTo>
                    <a:pt x="974" y="996"/>
                  </a:lnTo>
                  <a:lnTo>
                    <a:pt x="980" y="997"/>
                  </a:lnTo>
                  <a:lnTo>
                    <a:pt x="980" y="996"/>
                  </a:lnTo>
                  <a:lnTo>
                    <a:pt x="982" y="996"/>
                  </a:lnTo>
                  <a:lnTo>
                    <a:pt x="985" y="995"/>
                  </a:lnTo>
                  <a:lnTo>
                    <a:pt x="987" y="994"/>
                  </a:lnTo>
                  <a:lnTo>
                    <a:pt x="992" y="992"/>
                  </a:lnTo>
                  <a:lnTo>
                    <a:pt x="998" y="989"/>
                  </a:lnTo>
                  <a:lnTo>
                    <a:pt x="998" y="989"/>
                  </a:lnTo>
                  <a:lnTo>
                    <a:pt x="1000" y="989"/>
                  </a:lnTo>
                  <a:lnTo>
                    <a:pt x="1002" y="989"/>
                  </a:lnTo>
                  <a:lnTo>
                    <a:pt x="1000" y="988"/>
                  </a:lnTo>
                  <a:lnTo>
                    <a:pt x="1000" y="987"/>
                  </a:lnTo>
                  <a:lnTo>
                    <a:pt x="1002" y="986"/>
                  </a:lnTo>
                  <a:lnTo>
                    <a:pt x="1004" y="989"/>
                  </a:lnTo>
                  <a:lnTo>
                    <a:pt x="1006" y="989"/>
                  </a:lnTo>
                  <a:lnTo>
                    <a:pt x="1013" y="991"/>
                  </a:lnTo>
                  <a:lnTo>
                    <a:pt x="1012" y="990"/>
                  </a:lnTo>
                  <a:lnTo>
                    <a:pt x="1009" y="989"/>
                  </a:lnTo>
                  <a:lnTo>
                    <a:pt x="1013" y="989"/>
                  </a:lnTo>
                  <a:lnTo>
                    <a:pt x="1015" y="990"/>
                  </a:lnTo>
                  <a:lnTo>
                    <a:pt x="1017" y="994"/>
                  </a:lnTo>
                  <a:lnTo>
                    <a:pt x="1027" y="1002"/>
                  </a:lnTo>
                  <a:lnTo>
                    <a:pt x="1030" y="1003"/>
                  </a:lnTo>
                  <a:lnTo>
                    <a:pt x="1031" y="1006"/>
                  </a:lnTo>
                  <a:lnTo>
                    <a:pt x="1038" y="1012"/>
                  </a:lnTo>
                  <a:lnTo>
                    <a:pt x="1047" y="1020"/>
                  </a:lnTo>
                  <a:lnTo>
                    <a:pt x="1050" y="1021"/>
                  </a:lnTo>
                  <a:lnTo>
                    <a:pt x="1053" y="1021"/>
                  </a:lnTo>
                  <a:lnTo>
                    <a:pt x="1059" y="1021"/>
                  </a:lnTo>
                  <a:lnTo>
                    <a:pt x="1061" y="1021"/>
                  </a:lnTo>
                  <a:lnTo>
                    <a:pt x="1068" y="1024"/>
                  </a:lnTo>
                  <a:lnTo>
                    <a:pt x="1070" y="1026"/>
                  </a:lnTo>
                  <a:lnTo>
                    <a:pt x="1077" y="1028"/>
                  </a:lnTo>
                  <a:lnTo>
                    <a:pt x="1079" y="1028"/>
                  </a:lnTo>
                  <a:lnTo>
                    <a:pt x="1084" y="1030"/>
                  </a:lnTo>
                  <a:lnTo>
                    <a:pt x="1090" y="1031"/>
                  </a:lnTo>
                  <a:lnTo>
                    <a:pt x="1086" y="1030"/>
                  </a:lnTo>
                  <a:lnTo>
                    <a:pt x="1091" y="1031"/>
                  </a:lnTo>
                  <a:lnTo>
                    <a:pt x="1091" y="1031"/>
                  </a:lnTo>
                  <a:lnTo>
                    <a:pt x="1095" y="1031"/>
                  </a:lnTo>
                  <a:lnTo>
                    <a:pt x="1098" y="1030"/>
                  </a:lnTo>
                  <a:lnTo>
                    <a:pt x="1098" y="1028"/>
                  </a:lnTo>
                  <a:lnTo>
                    <a:pt x="1098" y="1029"/>
                  </a:lnTo>
                  <a:lnTo>
                    <a:pt x="1100" y="1029"/>
                  </a:lnTo>
                  <a:lnTo>
                    <a:pt x="1101" y="1029"/>
                  </a:lnTo>
                  <a:lnTo>
                    <a:pt x="1104" y="1029"/>
                  </a:lnTo>
                  <a:lnTo>
                    <a:pt x="1103" y="1029"/>
                  </a:lnTo>
                  <a:lnTo>
                    <a:pt x="1103" y="1032"/>
                  </a:lnTo>
                  <a:lnTo>
                    <a:pt x="1106" y="1033"/>
                  </a:lnTo>
                  <a:lnTo>
                    <a:pt x="1106" y="1034"/>
                  </a:lnTo>
                  <a:lnTo>
                    <a:pt x="1104" y="1034"/>
                  </a:lnTo>
                  <a:lnTo>
                    <a:pt x="1101" y="1033"/>
                  </a:lnTo>
                  <a:lnTo>
                    <a:pt x="1100" y="1033"/>
                  </a:lnTo>
                  <a:lnTo>
                    <a:pt x="1102" y="1037"/>
                  </a:lnTo>
                  <a:lnTo>
                    <a:pt x="1107" y="1041"/>
                  </a:lnTo>
                  <a:lnTo>
                    <a:pt x="1108" y="1041"/>
                  </a:lnTo>
                  <a:lnTo>
                    <a:pt x="1108" y="1041"/>
                  </a:lnTo>
                  <a:lnTo>
                    <a:pt x="1107" y="1041"/>
                  </a:lnTo>
                  <a:lnTo>
                    <a:pt x="1112" y="1045"/>
                  </a:lnTo>
                  <a:lnTo>
                    <a:pt x="1113" y="1048"/>
                  </a:lnTo>
                  <a:lnTo>
                    <a:pt x="1118" y="1052"/>
                  </a:lnTo>
                  <a:lnTo>
                    <a:pt x="1120" y="1055"/>
                  </a:lnTo>
                  <a:lnTo>
                    <a:pt x="1127" y="1060"/>
                  </a:lnTo>
                  <a:lnTo>
                    <a:pt x="1125" y="1063"/>
                  </a:lnTo>
                  <a:lnTo>
                    <a:pt x="1125" y="1064"/>
                  </a:lnTo>
                  <a:lnTo>
                    <a:pt x="1128" y="1065"/>
                  </a:lnTo>
                  <a:lnTo>
                    <a:pt x="1127" y="1067"/>
                  </a:lnTo>
                  <a:lnTo>
                    <a:pt x="1125" y="1071"/>
                  </a:lnTo>
                  <a:lnTo>
                    <a:pt x="1125" y="1073"/>
                  </a:lnTo>
                  <a:lnTo>
                    <a:pt x="1128" y="1076"/>
                  </a:lnTo>
                  <a:lnTo>
                    <a:pt x="1130" y="1077"/>
                  </a:lnTo>
                  <a:lnTo>
                    <a:pt x="1134" y="1079"/>
                  </a:lnTo>
                  <a:lnTo>
                    <a:pt x="1135" y="1081"/>
                  </a:lnTo>
                  <a:lnTo>
                    <a:pt x="1137" y="1079"/>
                  </a:lnTo>
                  <a:lnTo>
                    <a:pt x="1137" y="1076"/>
                  </a:lnTo>
                  <a:lnTo>
                    <a:pt x="1135" y="1075"/>
                  </a:lnTo>
                  <a:lnTo>
                    <a:pt x="1134" y="1074"/>
                  </a:lnTo>
                  <a:lnTo>
                    <a:pt x="1133" y="1072"/>
                  </a:lnTo>
                  <a:lnTo>
                    <a:pt x="1134" y="1072"/>
                  </a:lnTo>
                  <a:lnTo>
                    <a:pt x="1134" y="1073"/>
                  </a:lnTo>
                  <a:lnTo>
                    <a:pt x="1136" y="1073"/>
                  </a:lnTo>
                  <a:lnTo>
                    <a:pt x="1142" y="1079"/>
                  </a:lnTo>
                  <a:lnTo>
                    <a:pt x="1142" y="1080"/>
                  </a:lnTo>
                  <a:lnTo>
                    <a:pt x="1143" y="1082"/>
                  </a:lnTo>
                  <a:lnTo>
                    <a:pt x="1147" y="1083"/>
                  </a:lnTo>
                  <a:lnTo>
                    <a:pt x="1153" y="1086"/>
                  </a:lnTo>
                  <a:lnTo>
                    <a:pt x="1155" y="1090"/>
                  </a:lnTo>
                  <a:lnTo>
                    <a:pt x="1157" y="1091"/>
                  </a:lnTo>
                  <a:lnTo>
                    <a:pt x="1154" y="1093"/>
                  </a:lnTo>
                  <a:lnTo>
                    <a:pt x="1154" y="1096"/>
                  </a:lnTo>
                  <a:lnTo>
                    <a:pt x="1160" y="1098"/>
                  </a:lnTo>
                  <a:lnTo>
                    <a:pt x="1160" y="1096"/>
                  </a:lnTo>
                  <a:lnTo>
                    <a:pt x="1159" y="1093"/>
                  </a:lnTo>
                  <a:lnTo>
                    <a:pt x="1161" y="1094"/>
                  </a:lnTo>
                  <a:lnTo>
                    <a:pt x="1166" y="1102"/>
                  </a:lnTo>
                  <a:lnTo>
                    <a:pt x="1164" y="1099"/>
                  </a:lnTo>
                  <a:lnTo>
                    <a:pt x="1164" y="1099"/>
                  </a:lnTo>
                  <a:lnTo>
                    <a:pt x="1164" y="1098"/>
                  </a:lnTo>
                  <a:lnTo>
                    <a:pt x="1166" y="1097"/>
                  </a:lnTo>
                  <a:lnTo>
                    <a:pt x="1167" y="1097"/>
                  </a:lnTo>
                  <a:lnTo>
                    <a:pt x="1167" y="1096"/>
                  </a:lnTo>
                  <a:lnTo>
                    <a:pt x="1166" y="1092"/>
                  </a:lnTo>
                  <a:lnTo>
                    <a:pt x="1167" y="1091"/>
                  </a:lnTo>
                  <a:lnTo>
                    <a:pt x="1168" y="1090"/>
                  </a:lnTo>
                  <a:lnTo>
                    <a:pt x="1168" y="1090"/>
                  </a:lnTo>
                  <a:lnTo>
                    <a:pt x="1164" y="1089"/>
                  </a:lnTo>
                  <a:lnTo>
                    <a:pt x="1164" y="1085"/>
                  </a:lnTo>
                  <a:lnTo>
                    <a:pt x="1167" y="1082"/>
                  </a:lnTo>
                  <a:lnTo>
                    <a:pt x="1166" y="1081"/>
                  </a:lnTo>
                  <a:lnTo>
                    <a:pt x="1167" y="1081"/>
                  </a:lnTo>
                  <a:lnTo>
                    <a:pt x="1169" y="1082"/>
                  </a:lnTo>
                  <a:lnTo>
                    <a:pt x="1170" y="1081"/>
                  </a:lnTo>
                  <a:lnTo>
                    <a:pt x="1166" y="1079"/>
                  </a:lnTo>
                  <a:lnTo>
                    <a:pt x="1163" y="1075"/>
                  </a:lnTo>
                  <a:lnTo>
                    <a:pt x="1163" y="1075"/>
                  </a:lnTo>
                  <a:lnTo>
                    <a:pt x="1160" y="1072"/>
                  </a:lnTo>
                  <a:lnTo>
                    <a:pt x="1157" y="1067"/>
                  </a:lnTo>
                  <a:lnTo>
                    <a:pt x="1155" y="1065"/>
                  </a:lnTo>
                  <a:lnTo>
                    <a:pt x="1155" y="1065"/>
                  </a:lnTo>
                  <a:lnTo>
                    <a:pt x="1155" y="1063"/>
                  </a:lnTo>
                  <a:lnTo>
                    <a:pt x="1154" y="1063"/>
                  </a:lnTo>
                  <a:lnTo>
                    <a:pt x="1153" y="1060"/>
                  </a:lnTo>
                  <a:lnTo>
                    <a:pt x="1152" y="1057"/>
                  </a:lnTo>
                  <a:lnTo>
                    <a:pt x="1155" y="1051"/>
                  </a:lnTo>
                  <a:lnTo>
                    <a:pt x="1153" y="1049"/>
                  </a:lnTo>
                  <a:lnTo>
                    <a:pt x="1154" y="1046"/>
                  </a:lnTo>
                  <a:lnTo>
                    <a:pt x="1155" y="1043"/>
                  </a:lnTo>
                  <a:lnTo>
                    <a:pt x="1154" y="1042"/>
                  </a:lnTo>
                  <a:lnTo>
                    <a:pt x="1155" y="1039"/>
                  </a:lnTo>
                  <a:lnTo>
                    <a:pt x="1155" y="1037"/>
                  </a:lnTo>
                  <a:lnTo>
                    <a:pt x="1157" y="1037"/>
                  </a:lnTo>
                  <a:lnTo>
                    <a:pt x="1155" y="1040"/>
                  </a:lnTo>
                  <a:lnTo>
                    <a:pt x="1155" y="1040"/>
                  </a:lnTo>
                  <a:lnTo>
                    <a:pt x="1155" y="1042"/>
                  </a:lnTo>
                  <a:lnTo>
                    <a:pt x="1157" y="1040"/>
                  </a:lnTo>
                  <a:lnTo>
                    <a:pt x="1157" y="1038"/>
                  </a:lnTo>
                  <a:lnTo>
                    <a:pt x="1158" y="1035"/>
                  </a:lnTo>
                  <a:lnTo>
                    <a:pt x="1157" y="1033"/>
                  </a:lnTo>
                  <a:lnTo>
                    <a:pt x="1157" y="1029"/>
                  </a:lnTo>
                  <a:lnTo>
                    <a:pt x="1158" y="1021"/>
                  </a:lnTo>
                  <a:lnTo>
                    <a:pt x="1161" y="1016"/>
                  </a:lnTo>
                  <a:lnTo>
                    <a:pt x="1161" y="1014"/>
                  </a:lnTo>
                  <a:lnTo>
                    <a:pt x="1160" y="1009"/>
                  </a:lnTo>
                  <a:lnTo>
                    <a:pt x="1162" y="1006"/>
                  </a:lnTo>
                  <a:lnTo>
                    <a:pt x="1161" y="1005"/>
                  </a:lnTo>
                  <a:lnTo>
                    <a:pt x="1159" y="1003"/>
                  </a:lnTo>
                  <a:lnTo>
                    <a:pt x="1157" y="1002"/>
                  </a:lnTo>
                  <a:lnTo>
                    <a:pt x="1157" y="1002"/>
                  </a:lnTo>
                  <a:lnTo>
                    <a:pt x="1153" y="1003"/>
                  </a:lnTo>
                  <a:lnTo>
                    <a:pt x="1151" y="1000"/>
                  </a:lnTo>
                  <a:lnTo>
                    <a:pt x="1152" y="1003"/>
                  </a:lnTo>
                  <a:lnTo>
                    <a:pt x="1151" y="1002"/>
                  </a:lnTo>
                  <a:lnTo>
                    <a:pt x="1149" y="999"/>
                  </a:lnTo>
                  <a:lnTo>
                    <a:pt x="1151" y="998"/>
                  </a:lnTo>
                  <a:lnTo>
                    <a:pt x="1154" y="1000"/>
                  </a:lnTo>
                  <a:lnTo>
                    <a:pt x="1154" y="1000"/>
                  </a:lnTo>
                  <a:lnTo>
                    <a:pt x="1151" y="998"/>
                  </a:lnTo>
                  <a:lnTo>
                    <a:pt x="1146" y="994"/>
                  </a:lnTo>
                  <a:lnTo>
                    <a:pt x="1144" y="995"/>
                  </a:lnTo>
                  <a:lnTo>
                    <a:pt x="1142" y="994"/>
                  </a:lnTo>
                  <a:lnTo>
                    <a:pt x="1137" y="992"/>
                  </a:lnTo>
                  <a:lnTo>
                    <a:pt x="1130" y="994"/>
                  </a:lnTo>
                  <a:lnTo>
                    <a:pt x="1127" y="992"/>
                  </a:lnTo>
                  <a:lnTo>
                    <a:pt x="1127" y="992"/>
                  </a:lnTo>
                  <a:lnTo>
                    <a:pt x="1125" y="992"/>
                  </a:lnTo>
                  <a:lnTo>
                    <a:pt x="1124" y="994"/>
                  </a:lnTo>
                  <a:lnTo>
                    <a:pt x="1120" y="994"/>
                  </a:lnTo>
                  <a:lnTo>
                    <a:pt x="1118" y="995"/>
                  </a:lnTo>
                  <a:lnTo>
                    <a:pt x="1117" y="995"/>
                  </a:lnTo>
                  <a:lnTo>
                    <a:pt x="1108" y="995"/>
                  </a:lnTo>
                  <a:lnTo>
                    <a:pt x="1104" y="994"/>
                  </a:lnTo>
                  <a:lnTo>
                    <a:pt x="1102" y="995"/>
                  </a:lnTo>
                  <a:lnTo>
                    <a:pt x="1099" y="992"/>
                  </a:lnTo>
                  <a:lnTo>
                    <a:pt x="1095" y="995"/>
                  </a:lnTo>
                  <a:lnTo>
                    <a:pt x="1093" y="996"/>
                  </a:lnTo>
                  <a:lnTo>
                    <a:pt x="1090" y="994"/>
                  </a:lnTo>
                  <a:lnTo>
                    <a:pt x="1089" y="994"/>
                  </a:lnTo>
                  <a:lnTo>
                    <a:pt x="1087" y="996"/>
                  </a:lnTo>
                  <a:lnTo>
                    <a:pt x="1087" y="995"/>
                  </a:lnTo>
                  <a:lnTo>
                    <a:pt x="1083" y="994"/>
                  </a:lnTo>
                  <a:lnTo>
                    <a:pt x="1083" y="992"/>
                  </a:lnTo>
                  <a:lnTo>
                    <a:pt x="1086" y="988"/>
                  </a:lnTo>
                  <a:lnTo>
                    <a:pt x="1089" y="987"/>
                  </a:lnTo>
                  <a:lnTo>
                    <a:pt x="1090" y="985"/>
                  </a:lnTo>
                  <a:lnTo>
                    <a:pt x="1091" y="985"/>
                  </a:lnTo>
                  <a:lnTo>
                    <a:pt x="1092" y="981"/>
                  </a:lnTo>
                  <a:lnTo>
                    <a:pt x="1092" y="973"/>
                  </a:lnTo>
                  <a:lnTo>
                    <a:pt x="1093" y="971"/>
                  </a:lnTo>
                  <a:lnTo>
                    <a:pt x="1092" y="970"/>
                  </a:lnTo>
                  <a:lnTo>
                    <a:pt x="1094" y="962"/>
                  </a:lnTo>
                  <a:lnTo>
                    <a:pt x="1094" y="960"/>
                  </a:lnTo>
                  <a:lnTo>
                    <a:pt x="1092" y="956"/>
                  </a:lnTo>
                  <a:lnTo>
                    <a:pt x="1092" y="954"/>
                  </a:lnTo>
                  <a:lnTo>
                    <a:pt x="1095" y="953"/>
                  </a:lnTo>
                  <a:lnTo>
                    <a:pt x="1094" y="955"/>
                  </a:lnTo>
                  <a:lnTo>
                    <a:pt x="1098" y="961"/>
                  </a:lnTo>
                  <a:lnTo>
                    <a:pt x="1103" y="945"/>
                  </a:lnTo>
                  <a:lnTo>
                    <a:pt x="1101" y="946"/>
                  </a:lnTo>
                  <a:lnTo>
                    <a:pt x="1100" y="945"/>
                  </a:lnTo>
                  <a:lnTo>
                    <a:pt x="1102" y="941"/>
                  </a:lnTo>
                  <a:lnTo>
                    <a:pt x="1100" y="941"/>
                  </a:lnTo>
                  <a:lnTo>
                    <a:pt x="1103" y="936"/>
                  </a:lnTo>
                  <a:lnTo>
                    <a:pt x="1103" y="934"/>
                  </a:lnTo>
                  <a:lnTo>
                    <a:pt x="1104" y="931"/>
                  </a:lnTo>
                  <a:lnTo>
                    <a:pt x="1106" y="929"/>
                  </a:lnTo>
                  <a:lnTo>
                    <a:pt x="1109" y="926"/>
                  </a:lnTo>
                  <a:lnTo>
                    <a:pt x="1111" y="923"/>
                  </a:lnTo>
                  <a:lnTo>
                    <a:pt x="1111" y="921"/>
                  </a:lnTo>
                  <a:lnTo>
                    <a:pt x="1111" y="917"/>
                  </a:lnTo>
                  <a:lnTo>
                    <a:pt x="1110" y="914"/>
                  </a:lnTo>
                  <a:lnTo>
                    <a:pt x="1108" y="912"/>
                  </a:lnTo>
                  <a:lnTo>
                    <a:pt x="1104" y="914"/>
                  </a:lnTo>
                  <a:lnTo>
                    <a:pt x="1094" y="912"/>
                  </a:lnTo>
                  <a:lnTo>
                    <a:pt x="1091" y="913"/>
                  </a:lnTo>
                  <a:lnTo>
                    <a:pt x="1090" y="913"/>
                  </a:lnTo>
                  <a:lnTo>
                    <a:pt x="1084" y="915"/>
                  </a:lnTo>
                  <a:lnTo>
                    <a:pt x="1070" y="917"/>
                  </a:lnTo>
                  <a:lnTo>
                    <a:pt x="1065" y="920"/>
                  </a:lnTo>
                  <a:lnTo>
                    <a:pt x="1063" y="922"/>
                  </a:lnTo>
                  <a:lnTo>
                    <a:pt x="1064" y="923"/>
                  </a:lnTo>
                  <a:lnTo>
                    <a:pt x="1063" y="925"/>
                  </a:lnTo>
                  <a:lnTo>
                    <a:pt x="1061" y="927"/>
                  </a:lnTo>
                  <a:lnTo>
                    <a:pt x="1061" y="930"/>
                  </a:lnTo>
                  <a:lnTo>
                    <a:pt x="1061" y="932"/>
                  </a:lnTo>
                  <a:lnTo>
                    <a:pt x="1061" y="935"/>
                  </a:lnTo>
                  <a:lnTo>
                    <a:pt x="1061" y="936"/>
                  </a:lnTo>
                  <a:lnTo>
                    <a:pt x="1059" y="938"/>
                  </a:lnTo>
                  <a:lnTo>
                    <a:pt x="1058" y="944"/>
                  </a:lnTo>
                  <a:lnTo>
                    <a:pt x="1056" y="947"/>
                  </a:lnTo>
                  <a:lnTo>
                    <a:pt x="1050" y="949"/>
                  </a:lnTo>
                  <a:lnTo>
                    <a:pt x="1048" y="952"/>
                  </a:lnTo>
                  <a:lnTo>
                    <a:pt x="1049" y="952"/>
                  </a:lnTo>
                  <a:lnTo>
                    <a:pt x="1051" y="955"/>
                  </a:lnTo>
                  <a:lnTo>
                    <a:pt x="1050" y="955"/>
                  </a:lnTo>
                  <a:lnTo>
                    <a:pt x="1048" y="957"/>
                  </a:lnTo>
                  <a:lnTo>
                    <a:pt x="1046" y="957"/>
                  </a:lnTo>
                  <a:lnTo>
                    <a:pt x="1043" y="957"/>
                  </a:lnTo>
                  <a:lnTo>
                    <a:pt x="1041" y="955"/>
                  </a:lnTo>
                  <a:lnTo>
                    <a:pt x="1042" y="955"/>
                  </a:lnTo>
                  <a:lnTo>
                    <a:pt x="1040" y="954"/>
                  </a:lnTo>
                  <a:lnTo>
                    <a:pt x="1034" y="954"/>
                  </a:lnTo>
                  <a:lnTo>
                    <a:pt x="1033" y="955"/>
                  </a:lnTo>
                  <a:lnTo>
                    <a:pt x="1032" y="957"/>
                  </a:lnTo>
                  <a:lnTo>
                    <a:pt x="1031" y="956"/>
                  </a:lnTo>
                  <a:lnTo>
                    <a:pt x="1029" y="957"/>
                  </a:lnTo>
                  <a:lnTo>
                    <a:pt x="1025" y="957"/>
                  </a:lnTo>
                  <a:lnTo>
                    <a:pt x="1021" y="957"/>
                  </a:lnTo>
                  <a:lnTo>
                    <a:pt x="1010" y="961"/>
                  </a:lnTo>
                  <a:lnTo>
                    <a:pt x="1007" y="962"/>
                  </a:lnTo>
                  <a:lnTo>
                    <a:pt x="1006" y="961"/>
                  </a:lnTo>
                  <a:lnTo>
                    <a:pt x="1002" y="956"/>
                  </a:lnTo>
                  <a:lnTo>
                    <a:pt x="1000" y="956"/>
                  </a:lnTo>
                  <a:lnTo>
                    <a:pt x="996" y="954"/>
                  </a:lnTo>
                  <a:lnTo>
                    <a:pt x="991" y="953"/>
                  </a:lnTo>
                  <a:lnTo>
                    <a:pt x="989" y="953"/>
                  </a:lnTo>
                  <a:lnTo>
                    <a:pt x="989" y="953"/>
                  </a:lnTo>
                  <a:lnTo>
                    <a:pt x="988" y="954"/>
                  </a:lnTo>
                  <a:lnTo>
                    <a:pt x="988" y="955"/>
                  </a:lnTo>
                  <a:lnTo>
                    <a:pt x="987" y="955"/>
                  </a:lnTo>
                  <a:lnTo>
                    <a:pt x="988" y="954"/>
                  </a:lnTo>
                  <a:lnTo>
                    <a:pt x="987" y="952"/>
                  </a:lnTo>
                  <a:lnTo>
                    <a:pt x="989" y="953"/>
                  </a:lnTo>
                  <a:lnTo>
                    <a:pt x="987" y="952"/>
                  </a:lnTo>
                  <a:lnTo>
                    <a:pt x="985" y="948"/>
                  </a:lnTo>
                  <a:lnTo>
                    <a:pt x="982" y="945"/>
                  </a:lnTo>
                  <a:lnTo>
                    <a:pt x="981" y="944"/>
                  </a:lnTo>
                  <a:lnTo>
                    <a:pt x="980" y="938"/>
                  </a:lnTo>
                  <a:lnTo>
                    <a:pt x="979" y="935"/>
                  </a:lnTo>
                  <a:lnTo>
                    <a:pt x="971" y="927"/>
                  </a:lnTo>
                  <a:lnTo>
                    <a:pt x="967" y="919"/>
                  </a:lnTo>
                  <a:lnTo>
                    <a:pt x="965" y="914"/>
                  </a:lnTo>
                  <a:lnTo>
                    <a:pt x="964" y="912"/>
                  </a:lnTo>
                  <a:lnTo>
                    <a:pt x="963" y="910"/>
                  </a:lnTo>
                  <a:lnTo>
                    <a:pt x="963" y="906"/>
                  </a:lnTo>
                  <a:lnTo>
                    <a:pt x="964" y="910"/>
                  </a:lnTo>
                  <a:lnTo>
                    <a:pt x="967" y="913"/>
                  </a:lnTo>
                  <a:lnTo>
                    <a:pt x="966" y="915"/>
                  </a:lnTo>
                  <a:lnTo>
                    <a:pt x="967" y="917"/>
                  </a:lnTo>
                  <a:lnTo>
                    <a:pt x="968" y="913"/>
                  </a:lnTo>
                  <a:lnTo>
                    <a:pt x="967" y="912"/>
                  </a:lnTo>
                  <a:lnTo>
                    <a:pt x="964" y="910"/>
                  </a:lnTo>
                  <a:lnTo>
                    <a:pt x="963" y="906"/>
                  </a:lnTo>
                  <a:lnTo>
                    <a:pt x="962" y="904"/>
                  </a:lnTo>
                  <a:lnTo>
                    <a:pt x="962" y="903"/>
                  </a:lnTo>
                  <a:lnTo>
                    <a:pt x="961" y="901"/>
                  </a:lnTo>
                  <a:lnTo>
                    <a:pt x="961" y="896"/>
                  </a:lnTo>
                  <a:lnTo>
                    <a:pt x="962" y="893"/>
                  </a:lnTo>
                  <a:lnTo>
                    <a:pt x="962" y="891"/>
                  </a:lnTo>
                  <a:lnTo>
                    <a:pt x="962" y="884"/>
                  </a:lnTo>
                  <a:lnTo>
                    <a:pt x="961" y="880"/>
                  </a:lnTo>
                  <a:lnTo>
                    <a:pt x="962" y="880"/>
                  </a:lnTo>
                  <a:lnTo>
                    <a:pt x="962" y="878"/>
                  </a:lnTo>
                  <a:lnTo>
                    <a:pt x="962" y="872"/>
                  </a:lnTo>
                  <a:lnTo>
                    <a:pt x="961" y="869"/>
                  </a:lnTo>
                  <a:lnTo>
                    <a:pt x="963" y="867"/>
                  </a:lnTo>
                  <a:lnTo>
                    <a:pt x="963" y="864"/>
                  </a:lnTo>
                  <a:lnTo>
                    <a:pt x="963" y="863"/>
                  </a:lnTo>
                  <a:lnTo>
                    <a:pt x="963" y="858"/>
                  </a:lnTo>
                  <a:lnTo>
                    <a:pt x="965" y="859"/>
                  </a:lnTo>
                  <a:lnTo>
                    <a:pt x="965" y="863"/>
                  </a:lnTo>
                  <a:lnTo>
                    <a:pt x="964" y="869"/>
                  </a:lnTo>
                  <a:lnTo>
                    <a:pt x="962" y="879"/>
                  </a:lnTo>
                  <a:lnTo>
                    <a:pt x="963" y="879"/>
                  </a:lnTo>
                  <a:lnTo>
                    <a:pt x="963" y="871"/>
                  </a:lnTo>
                  <a:lnTo>
                    <a:pt x="965" y="862"/>
                  </a:lnTo>
                  <a:lnTo>
                    <a:pt x="970" y="854"/>
                  </a:lnTo>
                  <a:lnTo>
                    <a:pt x="971" y="849"/>
                  </a:lnTo>
                  <a:lnTo>
                    <a:pt x="968" y="846"/>
                  </a:lnTo>
                  <a:lnTo>
                    <a:pt x="964" y="834"/>
                  </a:lnTo>
                  <a:lnTo>
                    <a:pt x="966" y="832"/>
                  </a:lnTo>
                  <a:lnTo>
                    <a:pt x="964" y="831"/>
                  </a:lnTo>
                  <a:lnTo>
                    <a:pt x="962" y="827"/>
                  </a:lnTo>
                  <a:lnTo>
                    <a:pt x="964" y="828"/>
                  </a:lnTo>
                  <a:lnTo>
                    <a:pt x="966" y="829"/>
                  </a:lnTo>
                  <a:lnTo>
                    <a:pt x="968" y="824"/>
                  </a:lnTo>
                  <a:lnTo>
                    <a:pt x="967" y="821"/>
                  </a:lnTo>
                  <a:lnTo>
                    <a:pt x="965" y="821"/>
                  </a:lnTo>
                  <a:lnTo>
                    <a:pt x="970" y="821"/>
                  </a:lnTo>
                  <a:lnTo>
                    <a:pt x="972" y="818"/>
                  </a:lnTo>
                  <a:lnTo>
                    <a:pt x="972" y="817"/>
                  </a:lnTo>
                  <a:lnTo>
                    <a:pt x="975" y="816"/>
                  </a:lnTo>
                  <a:lnTo>
                    <a:pt x="974" y="814"/>
                  </a:lnTo>
                  <a:lnTo>
                    <a:pt x="975" y="812"/>
                  </a:lnTo>
                  <a:lnTo>
                    <a:pt x="978" y="815"/>
                  </a:lnTo>
                  <a:lnTo>
                    <a:pt x="981" y="812"/>
                  </a:lnTo>
                  <a:lnTo>
                    <a:pt x="978" y="810"/>
                  </a:lnTo>
                  <a:lnTo>
                    <a:pt x="978" y="810"/>
                  </a:lnTo>
                  <a:lnTo>
                    <a:pt x="979" y="809"/>
                  </a:lnTo>
                  <a:lnTo>
                    <a:pt x="980" y="810"/>
                  </a:lnTo>
                  <a:lnTo>
                    <a:pt x="980" y="808"/>
                  </a:lnTo>
                  <a:lnTo>
                    <a:pt x="983" y="809"/>
                  </a:lnTo>
                  <a:lnTo>
                    <a:pt x="984" y="810"/>
                  </a:lnTo>
                  <a:lnTo>
                    <a:pt x="983" y="810"/>
                  </a:lnTo>
                  <a:lnTo>
                    <a:pt x="987" y="810"/>
                  </a:lnTo>
                  <a:lnTo>
                    <a:pt x="983" y="812"/>
                  </a:lnTo>
                  <a:lnTo>
                    <a:pt x="991" y="808"/>
                  </a:lnTo>
                  <a:lnTo>
                    <a:pt x="993" y="807"/>
                  </a:lnTo>
                  <a:lnTo>
                    <a:pt x="995" y="807"/>
                  </a:lnTo>
                  <a:lnTo>
                    <a:pt x="997" y="804"/>
                  </a:lnTo>
                  <a:lnTo>
                    <a:pt x="998" y="802"/>
                  </a:lnTo>
                  <a:lnTo>
                    <a:pt x="1001" y="800"/>
                  </a:lnTo>
                  <a:lnTo>
                    <a:pt x="999" y="794"/>
                  </a:lnTo>
                  <a:lnTo>
                    <a:pt x="999" y="793"/>
                  </a:lnTo>
                  <a:lnTo>
                    <a:pt x="1001" y="794"/>
                  </a:lnTo>
                  <a:lnTo>
                    <a:pt x="1004" y="793"/>
                  </a:lnTo>
                  <a:lnTo>
                    <a:pt x="1005" y="797"/>
                  </a:lnTo>
                  <a:lnTo>
                    <a:pt x="1007" y="797"/>
                  </a:lnTo>
                  <a:lnTo>
                    <a:pt x="1006" y="797"/>
                  </a:lnTo>
                  <a:lnTo>
                    <a:pt x="1002" y="799"/>
                  </a:lnTo>
                  <a:lnTo>
                    <a:pt x="1008" y="795"/>
                  </a:lnTo>
                  <a:lnTo>
                    <a:pt x="1012" y="794"/>
                  </a:lnTo>
                  <a:lnTo>
                    <a:pt x="1014" y="794"/>
                  </a:lnTo>
                  <a:lnTo>
                    <a:pt x="1015" y="793"/>
                  </a:lnTo>
                  <a:lnTo>
                    <a:pt x="1014" y="792"/>
                  </a:lnTo>
                  <a:lnTo>
                    <a:pt x="1016" y="790"/>
                  </a:lnTo>
                  <a:lnTo>
                    <a:pt x="1015" y="792"/>
                  </a:lnTo>
                  <a:lnTo>
                    <a:pt x="1015" y="793"/>
                  </a:lnTo>
                  <a:lnTo>
                    <a:pt x="1021" y="793"/>
                  </a:lnTo>
                  <a:lnTo>
                    <a:pt x="1022" y="792"/>
                  </a:lnTo>
                  <a:lnTo>
                    <a:pt x="1023" y="790"/>
                  </a:lnTo>
                  <a:lnTo>
                    <a:pt x="1023" y="790"/>
                  </a:lnTo>
                  <a:lnTo>
                    <a:pt x="1022" y="792"/>
                  </a:lnTo>
                  <a:lnTo>
                    <a:pt x="1027" y="793"/>
                  </a:lnTo>
                  <a:lnTo>
                    <a:pt x="1031" y="795"/>
                  </a:lnTo>
                  <a:lnTo>
                    <a:pt x="1036" y="797"/>
                  </a:lnTo>
                  <a:lnTo>
                    <a:pt x="1039" y="795"/>
                  </a:lnTo>
                  <a:lnTo>
                    <a:pt x="1040" y="795"/>
                  </a:lnTo>
                  <a:lnTo>
                    <a:pt x="1041" y="792"/>
                  </a:lnTo>
                  <a:lnTo>
                    <a:pt x="1043" y="793"/>
                  </a:lnTo>
                  <a:lnTo>
                    <a:pt x="1049" y="797"/>
                  </a:lnTo>
                  <a:lnTo>
                    <a:pt x="1051" y="795"/>
                  </a:lnTo>
                  <a:lnTo>
                    <a:pt x="1051" y="797"/>
                  </a:lnTo>
                  <a:lnTo>
                    <a:pt x="1055" y="802"/>
                  </a:lnTo>
                  <a:lnTo>
                    <a:pt x="1059" y="802"/>
                  </a:lnTo>
                  <a:lnTo>
                    <a:pt x="1059" y="801"/>
                  </a:lnTo>
                  <a:lnTo>
                    <a:pt x="1063" y="799"/>
                  </a:lnTo>
                  <a:lnTo>
                    <a:pt x="1066" y="802"/>
                  </a:lnTo>
                  <a:lnTo>
                    <a:pt x="1067" y="801"/>
                  </a:lnTo>
                  <a:lnTo>
                    <a:pt x="1067" y="799"/>
                  </a:lnTo>
                  <a:lnTo>
                    <a:pt x="1066" y="795"/>
                  </a:lnTo>
                  <a:lnTo>
                    <a:pt x="1070" y="798"/>
                  </a:lnTo>
                  <a:lnTo>
                    <a:pt x="1074" y="801"/>
                  </a:lnTo>
                  <a:lnTo>
                    <a:pt x="1076" y="802"/>
                  </a:lnTo>
                  <a:lnTo>
                    <a:pt x="1076" y="806"/>
                  </a:lnTo>
                  <a:lnTo>
                    <a:pt x="1078" y="803"/>
                  </a:lnTo>
                  <a:lnTo>
                    <a:pt x="1082" y="802"/>
                  </a:lnTo>
                  <a:lnTo>
                    <a:pt x="1082" y="801"/>
                  </a:lnTo>
                  <a:lnTo>
                    <a:pt x="1079" y="800"/>
                  </a:lnTo>
                  <a:lnTo>
                    <a:pt x="1077" y="799"/>
                  </a:lnTo>
                  <a:lnTo>
                    <a:pt x="1074" y="797"/>
                  </a:lnTo>
                  <a:lnTo>
                    <a:pt x="1073" y="794"/>
                  </a:lnTo>
                  <a:lnTo>
                    <a:pt x="1076" y="792"/>
                  </a:lnTo>
                  <a:lnTo>
                    <a:pt x="1076" y="790"/>
                  </a:lnTo>
                  <a:lnTo>
                    <a:pt x="1074" y="790"/>
                  </a:lnTo>
                  <a:lnTo>
                    <a:pt x="1072" y="790"/>
                  </a:lnTo>
                  <a:lnTo>
                    <a:pt x="1070" y="790"/>
                  </a:lnTo>
                  <a:lnTo>
                    <a:pt x="1073" y="787"/>
                  </a:lnTo>
                  <a:lnTo>
                    <a:pt x="1073" y="787"/>
                  </a:lnTo>
                  <a:lnTo>
                    <a:pt x="1070" y="787"/>
                  </a:lnTo>
                  <a:lnTo>
                    <a:pt x="1068" y="789"/>
                  </a:lnTo>
                  <a:lnTo>
                    <a:pt x="1066" y="789"/>
                  </a:lnTo>
                  <a:lnTo>
                    <a:pt x="1063" y="787"/>
                  </a:lnTo>
                  <a:lnTo>
                    <a:pt x="1064" y="785"/>
                  </a:lnTo>
                  <a:lnTo>
                    <a:pt x="1067" y="784"/>
                  </a:lnTo>
                  <a:lnTo>
                    <a:pt x="1070" y="786"/>
                  </a:lnTo>
                  <a:lnTo>
                    <a:pt x="1072" y="785"/>
                  </a:lnTo>
                  <a:lnTo>
                    <a:pt x="1074" y="786"/>
                  </a:lnTo>
                  <a:lnTo>
                    <a:pt x="1074" y="787"/>
                  </a:lnTo>
                  <a:lnTo>
                    <a:pt x="1077" y="785"/>
                  </a:lnTo>
                  <a:lnTo>
                    <a:pt x="1077" y="784"/>
                  </a:lnTo>
                  <a:lnTo>
                    <a:pt x="1084" y="784"/>
                  </a:lnTo>
                  <a:lnTo>
                    <a:pt x="1084" y="783"/>
                  </a:lnTo>
                  <a:lnTo>
                    <a:pt x="1083" y="783"/>
                  </a:lnTo>
                  <a:lnTo>
                    <a:pt x="1086" y="784"/>
                  </a:lnTo>
                  <a:lnTo>
                    <a:pt x="1093" y="784"/>
                  </a:lnTo>
                  <a:lnTo>
                    <a:pt x="1094" y="781"/>
                  </a:lnTo>
                  <a:lnTo>
                    <a:pt x="1095" y="778"/>
                  </a:lnTo>
                  <a:lnTo>
                    <a:pt x="1096" y="780"/>
                  </a:lnTo>
                  <a:lnTo>
                    <a:pt x="1096" y="782"/>
                  </a:lnTo>
                  <a:lnTo>
                    <a:pt x="1099" y="784"/>
                  </a:lnTo>
                  <a:lnTo>
                    <a:pt x="1095" y="785"/>
                  </a:lnTo>
                  <a:lnTo>
                    <a:pt x="1099" y="786"/>
                  </a:lnTo>
                  <a:lnTo>
                    <a:pt x="1101" y="785"/>
                  </a:lnTo>
                  <a:lnTo>
                    <a:pt x="1103" y="783"/>
                  </a:lnTo>
                  <a:lnTo>
                    <a:pt x="1103" y="782"/>
                  </a:lnTo>
                  <a:lnTo>
                    <a:pt x="1104" y="783"/>
                  </a:lnTo>
                  <a:lnTo>
                    <a:pt x="1107" y="783"/>
                  </a:lnTo>
                  <a:lnTo>
                    <a:pt x="1107" y="782"/>
                  </a:lnTo>
                  <a:lnTo>
                    <a:pt x="1109" y="781"/>
                  </a:lnTo>
                  <a:lnTo>
                    <a:pt x="1109" y="783"/>
                  </a:lnTo>
                  <a:lnTo>
                    <a:pt x="1108" y="784"/>
                  </a:lnTo>
                  <a:lnTo>
                    <a:pt x="1115" y="783"/>
                  </a:lnTo>
                  <a:lnTo>
                    <a:pt x="1120" y="782"/>
                  </a:lnTo>
                  <a:lnTo>
                    <a:pt x="1121" y="783"/>
                  </a:lnTo>
                  <a:lnTo>
                    <a:pt x="1121" y="784"/>
                  </a:lnTo>
                  <a:lnTo>
                    <a:pt x="1120" y="783"/>
                  </a:lnTo>
                  <a:lnTo>
                    <a:pt x="1116" y="783"/>
                  </a:lnTo>
                  <a:lnTo>
                    <a:pt x="1121" y="784"/>
                  </a:lnTo>
                  <a:lnTo>
                    <a:pt x="1127" y="787"/>
                  </a:lnTo>
                  <a:lnTo>
                    <a:pt x="1125" y="785"/>
                  </a:lnTo>
                  <a:lnTo>
                    <a:pt x="1128" y="785"/>
                  </a:lnTo>
                  <a:lnTo>
                    <a:pt x="1127" y="786"/>
                  </a:lnTo>
                  <a:lnTo>
                    <a:pt x="1132" y="789"/>
                  </a:lnTo>
                  <a:lnTo>
                    <a:pt x="1128" y="787"/>
                  </a:lnTo>
                  <a:lnTo>
                    <a:pt x="1129" y="790"/>
                  </a:lnTo>
                  <a:lnTo>
                    <a:pt x="1132" y="791"/>
                  </a:lnTo>
                  <a:lnTo>
                    <a:pt x="1133" y="794"/>
                  </a:lnTo>
                  <a:lnTo>
                    <a:pt x="1134" y="793"/>
                  </a:lnTo>
                  <a:lnTo>
                    <a:pt x="1137" y="793"/>
                  </a:lnTo>
                  <a:lnTo>
                    <a:pt x="1144" y="791"/>
                  </a:lnTo>
                  <a:lnTo>
                    <a:pt x="1144" y="790"/>
                  </a:lnTo>
                  <a:lnTo>
                    <a:pt x="1145" y="790"/>
                  </a:lnTo>
                  <a:lnTo>
                    <a:pt x="1147" y="787"/>
                  </a:lnTo>
                  <a:lnTo>
                    <a:pt x="1151" y="789"/>
                  </a:lnTo>
                  <a:lnTo>
                    <a:pt x="1155" y="791"/>
                  </a:lnTo>
                  <a:lnTo>
                    <a:pt x="1159" y="797"/>
                  </a:lnTo>
                  <a:lnTo>
                    <a:pt x="1161" y="799"/>
                  </a:lnTo>
                  <a:lnTo>
                    <a:pt x="1162" y="800"/>
                  </a:lnTo>
                  <a:lnTo>
                    <a:pt x="1168" y="803"/>
                  </a:lnTo>
                  <a:lnTo>
                    <a:pt x="1169" y="806"/>
                  </a:lnTo>
                  <a:lnTo>
                    <a:pt x="1169" y="811"/>
                  </a:lnTo>
                  <a:lnTo>
                    <a:pt x="1167" y="817"/>
                  </a:lnTo>
                  <a:lnTo>
                    <a:pt x="1167" y="819"/>
                  </a:lnTo>
                  <a:lnTo>
                    <a:pt x="1166" y="821"/>
                  </a:lnTo>
                  <a:lnTo>
                    <a:pt x="1168" y="824"/>
                  </a:lnTo>
                  <a:lnTo>
                    <a:pt x="1169" y="821"/>
                  </a:lnTo>
                  <a:lnTo>
                    <a:pt x="1168" y="819"/>
                  </a:lnTo>
                  <a:lnTo>
                    <a:pt x="1170" y="821"/>
                  </a:lnTo>
                  <a:lnTo>
                    <a:pt x="1171" y="824"/>
                  </a:lnTo>
                  <a:lnTo>
                    <a:pt x="1170" y="825"/>
                  </a:lnTo>
                  <a:lnTo>
                    <a:pt x="1169" y="828"/>
                  </a:lnTo>
                  <a:lnTo>
                    <a:pt x="1171" y="831"/>
                  </a:lnTo>
                  <a:lnTo>
                    <a:pt x="1172" y="835"/>
                  </a:lnTo>
                  <a:lnTo>
                    <a:pt x="1176" y="836"/>
                  </a:lnTo>
                  <a:lnTo>
                    <a:pt x="1174" y="834"/>
                  </a:lnTo>
                  <a:lnTo>
                    <a:pt x="1177" y="835"/>
                  </a:lnTo>
                  <a:lnTo>
                    <a:pt x="1177" y="840"/>
                  </a:lnTo>
                  <a:lnTo>
                    <a:pt x="1180" y="838"/>
                  </a:lnTo>
                  <a:lnTo>
                    <a:pt x="1179" y="841"/>
                  </a:lnTo>
                  <a:lnTo>
                    <a:pt x="1180" y="846"/>
                  </a:lnTo>
                  <a:lnTo>
                    <a:pt x="1181" y="849"/>
                  </a:lnTo>
                  <a:lnTo>
                    <a:pt x="1181" y="850"/>
                  </a:lnTo>
                  <a:lnTo>
                    <a:pt x="1187" y="851"/>
                  </a:lnTo>
                  <a:lnTo>
                    <a:pt x="1189" y="857"/>
                  </a:lnTo>
                  <a:lnTo>
                    <a:pt x="1192" y="859"/>
                  </a:lnTo>
                  <a:lnTo>
                    <a:pt x="1189" y="859"/>
                  </a:lnTo>
                  <a:lnTo>
                    <a:pt x="1192" y="861"/>
                  </a:lnTo>
                  <a:lnTo>
                    <a:pt x="1195" y="861"/>
                  </a:lnTo>
                  <a:lnTo>
                    <a:pt x="1200" y="859"/>
                  </a:lnTo>
                  <a:lnTo>
                    <a:pt x="1202" y="853"/>
                  </a:lnTo>
                  <a:lnTo>
                    <a:pt x="1203" y="852"/>
                  </a:lnTo>
                  <a:lnTo>
                    <a:pt x="1203" y="850"/>
                  </a:lnTo>
                  <a:lnTo>
                    <a:pt x="1204" y="838"/>
                  </a:lnTo>
                  <a:lnTo>
                    <a:pt x="1204" y="836"/>
                  </a:lnTo>
                  <a:lnTo>
                    <a:pt x="1204" y="835"/>
                  </a:lnTo>
                  <a:lnTo>
                    <a:pt x="1203" y="832"/>
                  </a:lnTo>
                  <a:lnTo>
                    <a:pt x="1202" y="831"/>
                  </a:lnTo>
                  <a:lnTo>
                    <a:pt x="1202" y="831"/>
                  </a:lnTo>
                  <a:lnTo>
                    <a:pt x="1201" y="825"/>
                  </a:lnTo>
                  <a:lnTo>
                    <a:pt x="1195" y="814"/>
                  </a:lnTo>
                  <a:lnTo>
                    <a:pt x="1194" y="811"/>
                  </a:lnTo>
                  <a:lnTo>
                    <a:pt x="1194" y="808"/>
                  </a:lnTo>
                  <a:lnTo>
                    <a:pt x="1196" y="810"/>
                  </a:lnTo>
                  <a:lnTo>
                    <a:pt x="1197" y="812"/>
                  </a:lnTo>
                  <a:lnTo>
                    <a:pt x="1196" y="816"/>
                  </a:lnTo>
                  <a:lnTo>
                    <a:pt x="1197" y="818"/>
                  </a:lnTo>
                  <a:lnTo>
                    <a:pt x="1198" y="821"/>
                  </a:lnTo>
                  <a:lnTo>
                    <a:pt x="1197" y="816"/>
                  </a:lnTo>
                  <a:lnTo>
                    <a:pt x="1197" y="810"/>
                  </a:lnTo>
                  <a:lnTo>
                    <a:pt x="1193" y="803"/>
                  </a:lnTo>
                  <a:lnTo>
                    <a:pt x="1191" y="799"/>
                  </a:lnTo>
                  <a:lnTo>
                    <a:pt x="1188" y="793"/>
                  </a:lnTo>
                  <a:lnTo>
                    <a:pt x="1186" y="784"/>
                  </a:lnTo>
                  <a:lnTo>
                    <a:pt x="1185" y="781"/>
                  </a:lnTo>
                  <a:lnTo>
                    <a:pt x="1185" y="773"/>
                  </a:lnTo>
                  <a:lnTo>
                    <a:pt x="1187" y="772"/>
                  </a:lnTo>
                  <a:lnTo>
                    <a:pt x="1185" y="768"/>
                  </a:lnTo>
                  <a:lnTo>
                    <a:pt x="1187" y="769"/>
                  </a:lnTo>
                  <a:lnTo>
                    <a:pt x="1188" y="768"/>
                  </a:lnTo>
                  <a:lnTo>
                    <a:pt x="1187" y="766"/>
                  </a:lnTo>
                  <a:lnTo>
                    <a:pt x="1189" y="764"/>
                  </a:lnTo>
                  <a:lnTo>
                    <a:pt x="1189" y="761"/>
                  </a:lnTo>
                  <a:lnTo>
                    <a:pt x="1193" y="760"/>
                  </a:lnTo>
                  <a:lnTo>
                    <a:pt x="1193" y="759"/>
                  </a:lnTo>
                  <a:lnTo>
                    <a:pt x="1195" y="756"/>
                  </a:lnTo>
                  <a:lnTo>
                    <a:pt x="1194" y="752"/>
                  </a:lnTo>
                  <a:lnTo>
                    <a:pt x="1196" y="755"/>
                  </a:lnTo>
                  <a:lnTo>
                    <a:pt x="1198" y="755"/>
                  </a:lnTo>
                  <a:lnTo>
                    <a:pt x="1198" y="751"/>
                  </a:lnTo>
                  <a:lnTo>
                    <a:pt x="1201" y="751"/>
                  </a:lnTo>
                  <a:lnTo>
                    <a:pt x="1203" y="750"/>
                  </a:lnTo>
                  <a:lnTo>
                    <a:pt x="1205" y="750"/>
                  </a:lnTo>
                  <a:lnTo>
                    <a:pt x="1206" y="746"/>
                  </a:lnTo>
                  <a:lnTo>
                    <a:pt x="1209" y="747"/>
                  </a:lnTo>
                  <a:lnTo>
                    <a:pt x="1211" y="744"/>
                  </a:lnTo>
                  <a:lnTo>
                    <a:pt x="1213" y="743"/>
                  </a:lnTo>
                  <a:lnTo>
                    <a:pt x="1215" y="739"/>
                  </a:lnTo>
                  <a:lnTo>
                    <a:pt x="1222" y="732"/>
                  </a:lnTo>
                  <a:lnTo>
                    <a:pt x="1224" y="731"/>
                  </a:lnTo>
                  <a:lnTo>
                    <a:pt x="1224" y="731"/>
                  </a:lnTo>
                  <a:lnTo>
                    <a:pt x="1230" y="730"/>
                  </a:lnTo>
                  <a:lnTo>
                    <a:pt x="1234" y="729"/>
                  </a:lnTo>
                  <a:lnTo>
                    <a:pt x="1234" y="726"/>
                  </a:lnTo>
                  <a:lnTo>
                    <a:pt x="1234" y="729"/>
                  </a:lnTo>
                  <a:lnTo>
                    <a:pt x="1235" y="726"/>
                  </a:lnTo>
                  <a:lnTo>
                    <a:pt x="1236" y="724"/>
                  </a:lnTo>
                  <a:lnTo>
                    <a:pt x="1239" y="722"/>
                  </a:lnTo>
                  <a:lnTo>
                    <a:pt x="1241" y="720"/>
                  </a:lnTo>
                  <a:lnTo>
                    <a:pt x="1249" y="717"/>
                  </a:lnTo>
                  <a:lnTo>
                    <a:pt x="1252" y="717"/>
                  </a:lnTo>
                  <a:lnTo>
                    <a:pt x="1255" y="715"/>
                  </a:lnTo>
                  <a:lnTo>
                    <a:pt x="1255" y="713"/>
                  </a:lnTo>
                  <a:lnTo>
                    <a:pt x="1253" y="713"/>
                  </a:lnTo>
                  <a:lnTo>
                    <a:pt x="1249" y="715"/>
                  </a:lnTo>
                  <a:lnTo>
                    <a:pt x="1247" y="714"/>
                  </a:lnTo>
                  <a:lnTo>
                    <a:pt x="1246" y="713"/>
                  </a:lnTo>
                  <a:lnTo>
                    <a:pt x="1251" y="713"/>
                  </a:lnTo>
                  <a:lnTo>
                    <a:pt x="1252" y="710"/>
                  </a:lnTo>
                  <a:lnTo>
                    <a:pt x="1251" y="708"/>
                  </a:lnTo>
                  <a:lnTo>
                    <a:pt x="1248" y="706"/>
                  </a:lnTo>
                  <a:lnTo>
                    <a:pt x="1251" y="706"/>
                  </a:lnTo>
                  <a:lnTo>
                    <a:pt x="1254" y="705"/>
                  </a:lnTo>
                  <a:lnTo>
                    <a:pt x="1254" y="707"/>
                  </a:lnTo>
                  <a:lnTo>
                    <a:pt x="1257" y="708"/>
                  </a:lnTo>
                  <a:lnTo>
                    <a:pt x="1260" y="705"/>
                  </a:lnTo>
                  <a:lnTo>
                    <a:pt x="1263" y="704"/>
                  </a:lnTo>
                  <a:lnTo>
                    <a:pt x="1264" y="701"/>
                  </a:lnTo>
                  <a:lnTo>
                    <a:pt x="1263" y="699"/>
                  </a:lnTo>
                  <a:lnTo>
                    <a:pt x="1260" y="699"/>
                  </a:lnTo>
                  <a:lnTo>
                    <a:pt x="1260" y="701"/>
                  </a:lnTo>
                  <a:lnTo>
                    <a:pt x="1260" y="699"/>
                  </a:lnTo>
                  <a:lnTo>
                    <a:pt x="1256" y="698"/>
                  </a:lnTo>
                  <a:lnTo>
                    <a:pt x="1251" y="698"/>
                  </a:lnTo>
                  <a:lnTo>
                    <a:pt x="1249" y="696"/>
                  </a:lnTo>
                  <a:lnTo>
                    <a:pt x="1251" y="693"/>
                  </a:lnTo>
                  <a:lnTo>
                    <a:pt x="1251" y="696"/>
                  </a:lnTo>
                  <a:lnTo>
                    <a:pt x="1253" y="698"/>
                  </a:lnTo>
                  <a:lnTo>
                    <a:pt x="1255" y="696"/>
                  </a:lnTo>
                  <a:lnTo>
                    <a:pt x="1258" y="696"/>
                  </a:lnTo>
                  <a:lnTo>
                    <a:pt x="1257" y="693"/>
                  </a:lnTo>
                  <a:lnTo>
                    <a:pt x="1262" y="696"/>
                  </a:lnTo>
                  <a:lnTo>
                    <a:pt x="1262" y="693"/>
                  </a:lnTo>
                  <a:lnTo>
                    <a:pt x="1260" y="691"/>
                  </a:lnTo>
                  <a:lnTo>
                    <a:pt x="1260" y="689"/>
                  </a:lnTo>
                  <a:lnTo>
                    <a:pt x="1262" y="689"/>
                  </a:lnTo>
                  <a:lnTo>
                    <a:pt x="1263" y="695"/>
                  </a:lnTo>
                  <a:lnTo>
                    <a:pt x="1265" y="700"/>
                  </a:lnTo>
                  <a:lnTo>
                    <a:pt x="1263" y="695"/>
                  </a:lnTo>
                  <a:lnTo>
                    <a:pt x="1260" y="683"/>
                  </a:lnTo>
                  <a:lnTo>
                    <a:pt x="1257" y="683"/>
                  </a:lnTo>
                  <a:lnTo>
                    <a:pt x="1255" y="683"/>
                  </a:lnTo>
                  <a:lnTo>
                    <a:pt x="1256" y="684"/>
                  </a:lnTo>
                  <a:lnTo>
                    <a:pt x="1252" y="681"/>
                  </a:lnTo>
                  <a:lnTo>
                    <a:pt x="1248" y="679"/>
                  </a:lnTo>
                  <a:lnTo>
                    <a:pt x="1246" y="678"/>
                  </a:lnTo>
                  <a:lnTo>
                    <a:pt x="1244" y="678"/>
                  </a:lnTo>
                  <a:lnTo>
                    <a:pt x="1243" y="677"/>
                  </a:lnTo>
                  <a:lnTo>
                    <a:pt x="1246" y="678"/>
                  </a:lnTo>
                  <a:lnTo>
                    <a:pt x="1248" y="677"/>
                  </a:lnTo>
                  <a:lnTo>
                    <a:pt x="1251" y="679"/>
                  </a:lnTo>
                  <a:lnTo>
                    <a:pt x="1253" y="681"/>
                  </a:lnTo>
                  <a:lnTo>
                    <a:pt x="1255" y="682"/>
                  </a:lnTo>
                  <a:lnTo>
                    <a:pt x="1255" y="679"/>
                  </a:lnTo>
                  <a:lnTo>
                    <a:pt x="1253" y="678"/>
                  </a:lnTo>
                  <a:lnTo>
                    <a:pt x="1251" y="675"/>
                  </a:lnTo>
                  <a:lnTo>
                    <a:pt x="1252" y="677"/>
                  </a:lnTo>
                  <a:lnTo>
                    <a:pt x="1255" y="678"/>
                  </a:lnTo>
                  <a:lnTo>
                    <a:pt x="1256" y="675"/>
                  </a:lnTo>
                  <a:lnTo>
                    <a:pt x="1248" y="667"/>
                  </a:lnTo>
                  <a:lnTo>
                    <a:pt x="1247" y="665"/>
                  </a:lnTo>
                  <a:lnTo>
                    <a:pt x="1245" y="663"/>
                  </a:lnTo>
                  <a:lnTo>
                    <a:pt x="1247" y="664"/>
                  </a:lnTo>
                  <a:lnTo>
                    <a:pt x="1249" y="667"/>
                  </a:lnTo>
                  <a:lnTo>
                    <a:pt x="1254" y="671"/>
                  </a:lnTo>
                  <a:lnTo>
                    <a:pt x="1255" y="669"/>
                  </a:lnTo>
                  <a:lnTo>
                    <a:pt x="1256" y="667"/>
                  </a:lnTo>
                  <a:lnTo>
                    <a:pt x="1254" y="666"/>
                  </a:lnTo>
                  <a:lnTo>
                    <a:pt x="1252" y="664"/>
                  </a:lnTo>
                  <a:lnTo>
                    <a:pt x="1247" y="663"/>
                  </a:lnTo>
                  <a:lnTo>
                    <a:pt x="1244" y="661"/>
                  </a:lnTo>
                  <a:lnTo>
                    <a:pt x="1243" y="661"/>
                  </a:lnTo>
                  <a:lnTo>
                    <a:pt x="1243" y="660"/>
                  </a:lnTo>
                  <a:lnTo>
                    <a:pt x="1243" y="657"/>
                  </a:lnTo>
                  <a:lnTo>
                    <a:pt x="1245" y="656"/>
                  </a:lnTo>
                  <a:lnTo>
                    <a:pt x="1245" y="655"/>
                  </a:lnTo>
                  <a:lnTo>
                    <a:pt x="1246" y="654"/>
                  </a:lnTo>
                  <a:lnTo>
                    <a:pt x="1246" y="654"/>
                  </a:lnTo>
                  <a:lnTo>
                    <a:pt x="1245" y="652"/>
                  </a:lnTo>
                  <a:lnTo>
                    <a:pt x="1246" y="653"/>
                  </a:lnTo>
                  <a:lnTo>
                    <a:pt x="1246" y="654"/>
                  </a:lnTo>
                  <a:lnTo>
                    <a:pt x="1246" y="654"/>
                  </a:lnTo>
                  <a:lnTo>
                    <a:pt x="1246" y="654"/>
                  </a:lnTo>
                  <a:lnTo>
                    <a:pt x="1245" y="656"/>
                  </a:lnTo>
                  <a:lnTo>
                    <a:pt x="1243" y="658"/>
                  </a:lnTo>
                  <a:lnTo>
                    <a:pt x="1245" y="660"/>
                  </a:lnTo>
                  <a:lnTo>
                    <a:pt x="1248" y="662"/>
                  </a:lnTo>
                  <a:lnTo>
                    <a:pt x="1248" y="661"/>
                  </a:lnTo>
                  <a:lnTo>
                    <a:pt x="1252" y="663"/>
                  </a:lnTo>
                  <a:lnTo>
                    <a:pt x="1254" y="663"/>
                  </a:lnTo>
                  <a:lnTo>
                    <a:pt x="1253" y="661"/>
                  </a:lnTo>
                  <a:lnTo>
                    <a:pt x="1252" y="658"/>
                  </a:lnTo>
                  <a:lnTo>
                    <a:pt x="1251" y="658"/>
                  </a:lnTo>
                  <a:lnTo>
                    <a:pt x="1251" y="655"/>
                  </a:lnTo>
                  <a:lnTo>
                    <a:pt x="1252" y="658"/>
                  </a:lnTo>
                  <a:lnTo>
                    <a:pt x="1254" y="661"/>
                  </a:lnTo>
                  <a:lnTo>
                    <a:pt x="1253" y="655"/>
                  </a:lnTo>
                  <a:lnTo>
                    <a:pt x="1253" y="647"/>
                  </a:lnTo>
                  <a:lnTo>
                    <a:pt x="1255" y="645"/>
                  </a:lnTo>
                  <a:lnTo>
                    <a:pt x="1255" y="645"/>
                  </a:lnTo>
                  <a:lnTo>
                    <a:pt x="1257" y="643"/>
                  </a:lnTo>
                  <a:lnTo>
                    <a:pt x="1258" y="641"/>
                  </a:lnTo>
                  <a:lnTo>
                    <a:pt x="1261" y="641"/>
                  </a:lnTo>
                  <a:lnTo>
                    <a:pt x="1260" y="644"/>
                  </a:lnTo>
                  <a:lnTo>
                    <a:pt x="1257" y="646"/>
                  </a:lnTo>
                  <a:lnTo>
                    <a:pt x="1257" y="649"/>
                  </a:lnTo>
                  <a:lnTo>
                    <a:pt x="1257" y="649"/>
                  </a:lnTo>
                  <a:lnTo>
                    <a:pt x="1255" y="650"/>
                  </a:lnTo>
                  <a:lnTo>
                    <a:pt x="1256" y="652"/>
                  </a:lnTo>
                  <a:lnTo>
                    <a:pt x="1258" y="654"/>
                  </a:lnTo>
                  <a:lnTo>
                    <a:pt x="1255" y="654"/>
                  </a:lnTo>
                  <a:lnTo>
                    <a:pt x="1258" y="655"/>
                  </a:lnTo>
                  <a:lnTo>
                    <a:pt x="1260" y="657"/>
                  </a:lnTo>
                  <a:lnTo>
                    <a:pt x="1256" y="656"/>
                  </a:lnTo>
                  <a:lnTo>
                    <a:pt x="1256" y="658"/>
                  </a:lnTo>
                  <a:lnTo>
                    <a:pt x="1258" y="662"/>
                  </a:lnTo>
                  <a:lnTo>
                    <a:pt x="1261" y="662"/>
                  </a:lnTo>
                  <a:lnTo>
                    <a:pt x="1262" y="664"/>
                  </a:lnTo>
                  <a:lnTo>
                    <a:pt x="1262" y="667"/>
                  </a:lnTo>
                  <a:lnTo>
                    <a:pt x="1264" y="666"/>
                  </a:lnTo>
                  <a:lnTo>
                    <a:pt x="1264" y="670"/>
                  </a:lnTo>
                  <a:lnTo>
                    <a:pt x="1261" y="675"/>
                  </a:lnTo>
                  <a:lnTo>
                    <a:pt x="1260" y="678"/>
                  </a:lnTo>
                  <a:lnTo>
                    <a:pt x="1261" y="680"/>
                  </a:lnTo>
                  <a:lnTo>
                    <a:pt x="1263" y="674"/>
                  </a:lnTo>
                  <a:lnTo>
                    <a:pt x="1265" y="671"/>
                  </a:lnTo>
                  <a:lnTo>
                    <a:pt x="1272" y="658"/>
                  </a:lnTo>
                  <a:lnTo>
                    <a:pt x="1273" y="658"/>
                  </a:lnTo>
                  <a:lnTo>
                    <a:pt x="1272" y="656"/>
                  </a:lnTo>
                  <a:lnTo>
                    <a:pt x="1271" y="654"/>
                  </a:lnTo>
                  <a:lnTo>
                    <a:pt x="1269" y="648"/>
                  </a:lnTo>
                  <a:lnTo>
                    <a:pt x="1268" y="645"/>
                  </a:lnTo>
                  <a:lnTo>
                    <a:pt x="1265" y="643"/>
                  </a:lnTo>
                  <a:lnTo>
                    <a:pt x="1265" y="640"/>
                  </a:lnTo>
                  <a:lnTo>
                    <a:pt x="1268" y="637"/>
                  </a:lnTo>
                  <a:lnTo>
                    <a:pt x="1271" y="637"/>
                  </a:lnTo>
                  <a:lnTo>
                    <a:pt x="1270" y="637"/>
                  </a:lnTo>
                  <a:lnTo>
                    <a:pt x="1269" y="637"/>
                  </a:lnTo>
                  <a:lnTo>
                    <a:pt x="1266" y="640"/>
                  </a:lnTo>
                  <a:lnTo>
                    <a:pt x="1266" y="643"/>
                  </a:lnTo>
                  <a:lnTo>
                    <a:pt x="1269" y="645"/>
                  </a:lnTo>
                  <a:lnTo>
                    <a:pt x="1271" y="646"/>
                  </a:lnTo>
                  <a:lnTo>
                    <a:pt x="1274" y="647"/>
                  </a:lnTo>
                  <a:lnTo>
                    <a:pt x="1274" y="649"/>
                  </a:lnTo>
                  <a:lnTo>
                    <a:pt x="1277" y="650"/>
                  </a:lnTo>
                  <a:lnTo>
                    <a:pt x="1278" y="648"/>
                  </a:lnTo>
                  <a:lnTo>
                    <a:pt x="1279" y="645"/>
                  </a:lnTo>
                  <a:lnTo>
                    <a:pt x="1281" y="645"/>
                  </a:lnTo>
                  <a:lnTo>
                    <a:pt x="1281" y="641"/>
                  </a:lnTo>
                  <a:lnTo>
                    <a:pt x="1283" y="640"/>
                  </a:lnTo>
                  <a:lnTo>
                    <a:pt x="1285" y="638"/>
                  </a:lnTo>
                  <a:lnTo>
                    <a:pt x="1286" y="636"/>
                  </a:lnTo>
                  <a:lnTo>
                    <a:pt x="1286" y="635"/>
                  </a:lnTo>
                  <a:lnTo>
                    <a:pt x="1287" y="635"/>
                  </a:lnTo>
                  <a:lnTo>
                    <a:pt x="1288" y="629"/>
                  </a:lnTo>
                  <a:lnTo>
                    <a:pt x="1283" y="626"/>
                  </a:lnTo>
                  <a:lnTo>
                    <a:pt x="1286" y="623"/>
                  </a:lnTo>
                  <a:lnTo>
                    <a:pt x="1286" y="623"/>
                  </a:lnTo>
                  <a:lnTo>
                    <a:pt x="1287" y="622"/>
                  </a:lnTo>
                  <a:lnTo>
                    <a:pt x="1288" y="619"/>
                  </a:lnTo>
                  <a:lnTo>
                    <a:pt x="1289" y="615"/>
                  </a:lnTo>
                  <a:lnTo>
                    <a:pt x="1288" y="613"/>
                  </a:lnTo>
                  <a:lnTo>
                    <a:pt x="1289" y="615"/>
                  </a:lnTo>
                  <a:lnTo>
                    <a:pt x="1289" y="619"/>
                  </a:lnTo>
                  <a:lnTo>
                    <a:pt x="1287" y="622"/>
                  </a:lnTo>
                  <a:lnTo>
                    <a:pt x="1290" y="621"/>
                  </a:lnTo>
                  <a:lnTo>
                    <a:pt x="1292" y="618"/>
                  </a:lnTo>
                  <a:lnTo>
                    <a:pt x="1303" y="614"/>
                  </a:lnTo>
                  <a:lnTo>
                    <a:pt x="1309" y="613"/>
                  </a:lnTo>
                  <a:lnTo>
                    <a:pt x="1315" y="612"/>
                  </a:lnTo>
                  <a:lnTo>
                    <a:pt x="1316" y="613"/>
                  </a:lnTo>
                  <a:lnTo>
                    <a:pt x="1320" y="612"/>
                  </a:lnTo>
                  <a:lnTo>
                    <a:pt x="1322" y="611"/>
                  </a:lnTo>
                  <a:lnTo>
                    <a:pt x="1323" y="605"/>
                  </a:lnTo>
                  <a:lnTo>
                    <a:pt x="1325" y="606"/>
                  </a:lnTo>
                  <a:lnTo>
                    <a:pt x="1325" y="610"/>
                  </a:lnTo>
                  <a:lnTo>
                    <a:pt x="1329" y="609"/>
                  </a:lnTo>
                  <a:lnTo>
                    <a:pt x="1333" y="606"/>
                  </a:lnTo>
                  <a:lnTo>
                    <a:pt x="1333" y="609"/>
                  </a:lnTo>
                  <a:lnTo>
                    <a:pt x="1335" y="609"/>
                  </a:lnTo>
                  <a:lnTo>
                    <a:pt x="1339" y="607"/>
                  </a:lnTo>
                  <a:lnTo>
                    <a:pt x="1341" y="606"/>
                  </a:lnTo>
                  <a:lnTo>
                    <a:pt x="1342" y="607"/>
                  </a:lnTo>
                  <a:lnTo>
                    <a:pt x="1342" y="604"/>
                  </a:lnTo>
                  <a:lnTo>
                    <a:pt x="1342" y="602"/>
                  </a:lnTo>
                  <a:lnTo>
                    <a:pt x="1339" y="601"/>
                  </a:lnTo>
                  <a:lnTo>
                    <a:pt x="1341" y="603"/>
                  </a:lnTo>
                  <a:lnTo>
                    <a:pt x="1342" y="603"/>
                  </a:lnTo>
                  <a:lnTo>
                    <a:pt x="1342" y="605"/>
                  </a:lnTo>
                  <a:lnTo>
                    <a:pt x="1339" y="606"/>
                  </a:lnTo>
                  <a:lnTo>
                    <a:pt x="1337" y="606"/>
                  </a:lnTo>
                  <a:lnTo>
                    <a:pt x="1335" y="605"/>
                  </a:lnTo>
                  <a:lnTo>
                    <a:pt x="1333" y="600"/>
                  </a:lnTo>
                  <a:lnTo>
                    <a:pt x="1331" y="597"/>
                  </a:lnTo>
                  <a:lnTo>
                    <a:pt x="1328" y="597"/>
                  </a:lnTo>
                  <a:lnTo>
                    <a:pt x="1330" y="594"/>
                  </a:lnTo>
                  <a:lnTo>
                    <a:pt x="1332" y="592"/>
                  </a:lnTo>
                  <a:lnTo>
                    <a:pt x="1330" y="588"/>
                  </a:lnTo>
                  <a:lnTo>
                    <a:pt x="1332" y="584"/>
                  </a:lnTo>
                  <a:lnTo>
                    <a:pt x="1332" y="584"/>
                  </a:lnTo>
                  <a:lnTo>
                    <a:pt x="1337" y="578"/>
                  </a:lnTo>
                  <a:lnTo>
                    <a:pt x="1339" y="573"/>
                  </a:lnTo>
                  <a:lnTo>
                    <a:pt x="1342" y="570"/>
                  </a:lnTo>
                  <a:lnTo>
                    <a:pt x="1342" y="572"/>
                  </a:lnTo>
                  <a:lnTo>
                    <a:pt x="1345" y="573"/>
                  </a:lnTo>
                  <a:lnTo>
                    <a:pt x="1345" y="570"/>
                  </a:lnTo>
                  <a:lnTo>
                    <a:pt x="1343" y="569"/>
                  </a:lnTo>
                  <a:lnTo>
                    <a:pt x="1346" y="567"/>
                  </a:lnTo>
                  <a:lnTo>
                    <a:pt x="1345" y="570"/>
                  </a:lnTo>
                  <a:lnTo>
                    <a:pt x="1348" y="571"/>
                  </a:lnTo>
                  <a:lnTo>
                    <a:pt x="1348" y="568"/>
                  </a:lnTo>
                  <a:lnTo>
                    <a:pt x="1348" y="571"/>
                  </a:lnTo>
                  <a:lnTo>
                    <a:pt x="1349" y="571"/>
                  </a:lnTo>
                  <a:lnTo>
                    <a:pt x="1350" y="568"/>
                  </a:lnTo>
                  <a:lnTo>
                    <a:pt x="1352" y="569"/>
                  </a:lnTo>
                  <a:lnTo>
                    <a:pt x="1355" y="567"/>
                  </a:lnTo>
                  <a:lnTo>
                    <a:pt x="1356" y="563"/>
                  </a:lnTo>
                  <a:lnTo>
                    <a:pt x="1356" y="561"/>
                  </a:lnTo>
                  <a:lnTo>
                    <a:pt x="1358" y="559"/>
                  </a:lnTo>
                  <a:lnTo>
                    <a:pt x="1358" y="561"/>
                  </a:lnTo>
                  <a:lnTo>
                    <a:pt x="1363" y="564"/>
                  </a:lnTo>
                  <a:lnTo>
                    <a:pt x="1362" y="561"/>
                  </a:lnTo>
                  <a:lnTo>
                    <a:pt x="1367" y="560"/>
                  </a:lnTo>
                  <a:lnTo>
                    <a:pt x="1368" y="561"/>
                  </a:lnTo>
                  <a:lnTo>
                    <a:pt x="1371" y="560"/>
                  </a:lnTo>
                  <a:lnTo>
                    <a:pt x="1373" y="560"/>
                  </a:lnTo>
                  <a:lnTo>
                    <a:pt x="1376" y="558"/>
                  </a:lnTo>
                  <a:lnTo>
                    <a:pt x="1379" y="556"/>
                  </a:lnTo>
                  <a:lnTo>
                    <a:pt x="1382" y="556"/>
                  </a:lnTo>
                  <a:lnTo>
                    <a:pt x="1383" y="553"/>
                  </a:lnTo>
                  <a:lnTo>
                    <a:pt x="1382" y="550"/>
                  </a:lnTo>
                  <a:lnTo>
                    <a:pt x="1381" y="549"/>
                  </a:lnTo>
                  <a:lnTo>
                    <a:pt x="1381" y="549"/>
                  </a:lnTo>
                  <a:lnTo>
                    <a:pt x="1382" y="550"/>
                  </a:lnTo>
                  <a:lnTo>
                    <a:pt x="1384" y="551"/>
                  </a:lnTo>
                  <a:lnTo>
                    <a:pt x="1388" y="550"/>
                  </a:lnTo>
                  <a:lnTo>
                    <a:pt x="1390" y="549"/>
                  </a:lnTo>
                  <a:lnTo>
                    <a:pt x="1393" y="550"/>
                  </a:lnTo>
                  <a:lnTo>
                    <a:pt x="1394" y="549"/>
                  </a:lnTo>
                  <a:lnTo>
                    <a:pt x="1394" y="546"/>
                  </a:lnTo>
                  <a:lnTo>
                    <a:pt x="1397" y="544"/>
                  </a:lnTo>
                  <a:lnTo>
                    <a:pt x="1396" y="546"/>
                  </a:lnTo>
                  <a:lnTo>
                    <a:pt x="1398" y="547"/>
                  </a:lnTo>
                  <a:lnTo>
                    <a:pt x="1400" y="547"/>
                  </a:lnTo>
                  <a:lnTo>
                    <a:pt x="1408" y="543"/>
                  </a:lnTo>
                  <a:lnTo>
                    <a:pt x="1414" y="541"/>
                  </a:lnTo>
                  <a:lnTo>
                    <a:pt x="1416" y="538"/>
                  </a:lnTo>
                  <a:lnTo>
                    <a:pt x="1416" y="536"/>
                  </a:lnTo>
                  <a:lnTo>
                    <a:pt x="1414" y="533"/>
                  </a:lnTo>
                  <a:lnTo>
                    <a:pt x="1418" y="538"/>
                  </a:lnTo>
                  <a:lnTo>
                    <a:pt x="1420" y="537"/>
                  </a:lnTo>
                  <a:lnTo>
                    <a:pt x="1420" y="538"/>
                  </a:lnTo>
                  <a:lnTo>
                    <a:pt x="1413" y="544"/>
                  </a:lnTo>
                  <a:lnTo>
                    <a:pt x="1414" y="546"/>
                  </a:lnTo>
                  <a:lnTo>
                    <a:pt x="1417" y="545"/>
                  </a:lnTo>
                  <a:lnTo>
                    <a:pt x="1419" y="545"/>
                  </a:lnTo>
                  <a:lnTo>
                    <a:pt x="1422" y="545"/>
                  </a:lnTo>
                  <a:lnTo>
                    <a:pt x="1427" y="545"/>
                  </a:lnTo>
                  <a:lnTo>
                    <a:pt x="1433" y="545"/>
                  </a:lnTo>
                  <a:lnTo>
                    <a:pt x="1430" y="546"/>
                  </a:lnTo>
                  <a:lnTo>
                    <a:pt x="1427" y="546"/>
                  </a:lnTo>
                  <a:lnTo>
                    <a:pt x="1422" y="549"/>
                  </a:lnTo>
                  <a:lnTo>
                    <a:pt x="1423" y="552"/>
                  </a:lnTo>
                  <a:lnTo>
                    <a:pt x="1422" y="552"/>
                  </a:lnTo>
                  <a:lnTo>
                    <a:pt x="1422" y="551"/>
                  </a:lnTo>
                  <a:lnTo>
                    <a:pt x="1419" y="549"/>
                  </a:lnTo>
                  <a:lnTo>
                    <a:pt x="1419" y="546"/>
                  </a:lnTo>
                  <a:lnTo>
                    <a:pt x="1416" y="547"/>
                  </a:lnTo>
                  <a:lnTo>
                    <a:pt x="1414" y="549"/>
                  </a:lnTo>
                  <a:lnTo>
                    <a:pt x="1403" y="554"/>
                  </a:lnTo>
                  <a:lnTo>
                    <a:pt x="1400" y="558"/>
                  </a:lnTo>
                  <a:lnTo>
                    <a:pt x="1403" y="556"/>
                  </a:lnTo>
                  <a:lnTo>
                    <a:pt x="1400" y="558"/>
                  </a:lnTo>
                  <a:lnTo>
                    <a:pt x="1400" y="556"/>
                  </a:lnTo>
                  <a:lnTo>
                    <a:pt x="1397" y="559"/>
                  </a:lnTo>
                  <a:lnTo>
                    <a:pt x="1394" y="561"/>
                  </a:lnTo>
                  <a:lnTo>
                    <a:pt x="1398" y="560"/>
                  </a:lnTo>
                  <a:lnTo>
                    <a:pt x="1396" y="562"/>
                  </a:lnTo>
                  <a:lnTo>
                    <a:pt x="1394" y="566"/>
                  </a:lnTo>
                  <a:lnTo>
                    <a:pt x="1394" y="571"/>
                  </a:lnTo>
                  <a:lnTo>
                    <a:pt x="1397" y="573"/>
                  </a:lnTo>
                  <a:lnTo>
                    <a:pt x="1397" y="571"/>
                  </a:lnTo>
                  <a:lnTo>
                    <a:pt x="1402" y="576"/>
                  </a:lnTo>
                  <a:lnTo>
                    <a:pt x="1405" y="576"/>
                  </a:lnTo>
                  <a:lnTo>
                    <a:pt x="1406" y="573"/>
                  </a:lnTo>
                  <a:lnTo>
                    <a:pt x="1409" y="573"/>
                  </a:lnTo>
                  <a:lnTo>
                    <a:pt x="1410" y="573"/>
                  </a:lnTo>
                  <a:lnTo>
                    <a:pt x="1411" y="570"/>
                  </a:lnTo>
                  <a:lnTo>
                    <a:pt x="1415" y="569"/>
                  </a:lnTo>
                  <a:lnTo>
                    <a:pt x="1416" y="567"/>
                  </a:lnTo>
                  <a:lnTo>
                    <a:pt x="1418" y="564"/>
                  </a:lnTo>
                  <a:lnTo>
                    <a:pt x="1420" y="562"/>
                  </a:lnTo>
                  <a:lnTo>
                    <a:pt x="1420" y="562"/>
                  </a:lnTo>
                  <a:lnTo>
                    <a:pt x="1422" y="559"/>
                  </a:lnTo>
                  <a:lnTo>
                    <a:pt x="1424" y="560"/>
                  </a:lnTo>
                  <a:lnTo>
                    <a:pt x="1426" y="556"/>
                  </a:lnTo>
                  <a:lnTo>
                    <a:pt x="1425" y="560"/>
                  </a:lnTo>
                  <a:lnTo>
                    <a:pt x="1428" y="561"/>
                  </a:lnTo>
                  <a:lnTo>
                    <a:pt x="1431" y="559"/>
                  </a:lnTo>
                  <a:lnTo>
                    <a:pt x="1430" y="556"/>
                  </a:lnTo>
                  <a:lnTo>
                    <a:pt x="1432" y="558"/>
                  </a:lnTo>
                  <a:lnTo>
                    <a:pt x="1434" y="558"/>
                  </a:lnTo>
                  <a:lnTo>
                    <a:pt x="1435" y="556"/>
                  </a:lnTo>
                  <a:lnTo>
                    <a:pt x="1439" y="556"/>
                  </a:lnTo>
                  <a:lnTo>
                    <a:pt x="1447" y="553"/>
                  </a:lnTo>
                  <a:lnTo>
                    <a:pt x="1451" y="552"/>
                  </a:lnTo>
                  <a:lnTo>
                    <a:pt x="1457" y="549"/>
                  </a:lnTo>
                  <a:lnTo>
                    <a:pt x="1459" y="550"/>
                  </a:lnTo>
                  <a:lnTo>
                    <a:pt x="1465" y="545"/>
                  </a:lnTo>
                  <a:lnTo>
                    <a:pt x="1461" y="546"/>
                  </a:lnTo>
                  <a:lnTo>
                    <a:pt x="1459" y="545"/>
                  </a:lnTo>
                  <a:lnTo>
                    <a:pt x="1462" y="544"/>
                  </a:lnTo>
                  <a:lnTo>
                    <a:pt x="1460" y="542"/>
                  </a:lnTo>
                  <a:lnTo>
                    <a:pt x="1460" y="541"/>
                  </a:lnTo>
                  <a:lnTo>
                    <a:pt x="1459" y="539"/>
                  </a:lnTo>
                  <a:lnTo>
                    <a:pt x="1456" y="541"/>
                  </a:lnTo>
                  <a:lnTo>
                    <a:pt x="1453" y="539"/>
                  </a:lnTo>
                  <a:lnTo>
                    <a:pt x="1452" y="536"/>
                  </a:lnTo>
                  <a:lnTo>
                    <a:pt x="1450" y="538"/>
                  </a:lnTo>
                  <a:lnTo>
                    <a:pt x="1447" y="541"/>
                  </a:lnTo>
                  <a:lnTo>
                    <a:pt x="1444" y="541"/>
                  </a:lnTo>
                  <a:lnTo>
                    <a:pt x="1441" y="541"/>
                  </a:lnTo>
                  <a:lnTo>
                    <a:pt x="1443" y="539"/>
                  </a:lnTo>
                  <a:lnTo>
                    <a:pt x="1440" y="538"/>
                  </a:lnTo>
                  <a:lnTo>
                    <a:pt x="1434" y="537"/>
                  </a:lnTo>
                  <a:lnTo>
                    <a:pt x="1432" y="536"/>
                  </a:lnTo>
                  <a:lnTo>
                    <a:pt x="1430" y="537"/>
                  </a:lnTo>
                  <a:lnTo>
                    <a:pt x="1426" y="536"/>
                  </a:lnTo>
                  <a:lnTo>
                    <a:pt x="1424" y="535"/>
                  </a:lnTo>
                  <a:lnTo>
                    <a:pt x="1424" y="534"/>
                  </a:lnTo>
                  <a:lnTo>
                    <a:pt x="1427" y="532"/>
                  </a:lnTo>
                  <a:lnTo>
                    <a:pt x="1425" y="532"/>
                  </a:lnTo>
                  <a:lnTo>
                    <a:pt x="1419" y="530"/>
                  </a:lnTo>
                  <a:lnTo>
                    <a:pt x="1416" y="529"/>
                  </a:lnTo>
                  <a:lnTo>
                    <a:pt x="1415" y="524"/>
                  </a:lnTo>
                  <a:lnTo>
                    <a:pt x="1413" y="521"/>
                  </a:lnTo>
                  <a:lnTo>
                    <a:pt x="1413" y="519"/>
                  </a:lnTo>
                  <a:lnTo>
                    <a:pt x="1413" y="516"/>
                  </a:lnTo>
                  <a:lnTo>
                    <a:pt x="1410" y="516"/>
                  </a:lnTo>
                  <a:lnTo>
                    <a:pt x="1408" y="517"/>
                  </a:lnTo>
                  <a:lnTo>
                    <a:pt x="1406" y="516"/>
                  </a:lnTo>
                  <a:lnTo>
                    <a:pt x="1409" y="515"/>
                  </a:lnTo>
                  <a:lnTo>
                    <a:pt x="1411" y="511"/>
                  </a:lnTo>
                  <a:lnTo>
                    <a:pt x="1414" y="506"/>
                  </a:lnTo>
                  <a:lnTo>
                    <a:pt x="1413" y="503"/>
                  </a:lnTo>
                  <a:lnTo>
                    <a:pt x="1410" y="502"/>
                  </a:lnTo>
                  <a:lnTo>
                    <a:pt x="1408" y="503"/>
                  </a:lnTo>
                  <a:lnTo>
                    <a:pt x="1402" y="507"/>
                  </a:lnTo>
                  <a:lnTo>
                    <a:pt x="1401" y="504"/>
                  </a:lnTo>
                  <a:lnTo>
                    <a:pt x="1399" y="501"/>
                  </a:lnTo>
                  <a:lnTo>
                    <a:pt x="1397" y="501"/>
                  </a:lnTo>
                  <a:lnTo>
                    <a:pt x="1391" y="499"/>
                  </a:lnTo>
                  <a:lnTo>
                    <a:pt x="1388" y="500"/>
                  </a:lnTo>
                  <a:lnTo>
                    <a:pt x="1386" y="500"/>
                  </a:lnTo>
                  <a:lnTo>
                    <a:pt x="1385" y="500"/>
                  </a:lnTo>
                  <a:lnTo>
                    <a:pt x="1391" y="498"/>
                  </a:lnTo>
                  <a:lnTo>
                    <a:pt x="1393" y="498"/>
                  </a:lnTo>
                  <a:lnTo>
                    <a:pt x="1399" y="498"/>
                  </a:lnTo>
                  <a:lnTo>
                    <a:pt x="1401" y="499"/>
                  </a:lnTo>
                  <a:lnTo>
                    <a:pt x="1407" y="500"/>
                  </a:lnTo>
                  <a:lnTo>
                    <a:pt x="1413" y="496"/>
                  </a:lnTo>
                  <a:lnTo>
                    <a:pt x="1415" y="494"/>
                  </a:lnTo>
                  <a:lnTo>
                    <a:pt x="1418" y="493"/>
                  </a:lnTo>
                  <a:lnTo>
                    <a:pt x="1422" y="491"/>
                  </a:lnTo>
                  <a:lnTo>
                    <a:pt x="1422" y="489"/>
                  </a:lnTo>
                  <a:lnTo>
                    <a:pt x="1419" y="486"/>
                  </a:lnTo>
                  <a:lnTo>
                    <a:pt x="1418" y="486"/>
                  </a:lnTo>
                  <a:lnTo>
                    <a:pt x="1419" y="486"/>
                  </a:lnTo>
                  <a:lnTo>
                    <a:pt x="1417" y="485"/>
                  </a:lnTo>
                  <a:lnTo>
                    <a:pt x="1418" y="485"/>
                  </a:lnTo>
                  <a:lnTo>
                    <a:pt x="1422" y="484"/>
                  </a:lnTo>
                  <a:lnTo>
                    <a:pt x="1418" y="482"/>
                  </a:lnTo>
                  <a:lnTo>
                    <a:pt x="1413" y="479"/>
                  </a:lnTo>
                  <a:lnTo>
                    <a:pt x="1408" y="478"/>
                  </a:lnTo>
                  <a:lnTo>
                    <a:pt x="1405" y="477"/>
                  </a:lnTo>
                  <a:lnTo>
                    <a:pt x="1394" y="478"/>
                  </a:lnTo>
                  <a:lnTo>
                    <a:pt x="1386" y="481"/>
                  </a:lnTo>
                  <a:lnTo>
                    <a:pt x="1382" y="483"/>
                  </a:lnTo>
                  <a:lnTo>
                    <a:pt x="1373" y="486"/>
                  </a:lnTo>
                  <a:lnTo>
                    <a:pt x="1367" y="489"/>
                  </a:lnTo>
                  <a:lnTo>
                    <a:pt x="1363" y="492"/>
                  </a:lnTo>
                  <a:lnTo>
                    <a:pt x="1357" y="494"/>
                  </a:lnTo>
                  <a:lnTo>
                    <a:pt x="1349" y="501"/>
                  </a:lnTo>
                  <a:lnTo>
                    <a:pt x="1347" y="504"/>
                  </a:lnTo>
                  <a:lnTo>
                    <a:pt x="1345" y="507"/>
                  </a:lnTo>
                  <a:lnTo>
                    <a:pt x="1341" y="509"/>
                  </a:lnTo>
                  <a:lnTo>
                    <a:pt x="1338" y="515"/>
                  </a:lnTo>
                  <a:lnTo>
                    <a:pt x="1335" y="517"/>
                  </a:lnTo>
                  <a:lnTo>
                    <a:pt x="1329" y="519"/>
                  </a:lnTo>
                  <a:lnTo>
                    <a:pt x="1326" y="520"/>
                  </a:lnTo>
                  <a:lnTo>
                    <a:pt x="1324" y="521"/>
                  </a:lnTo>
                  <a:lnTo>
                    <a:pt x="1328" y="519"/>
                  </a:lnTo>
                  <a:lnTo>
                    <a:pt x="1330" y="517"/>
                  </a:lnTo>
                  <a:lnTo>
                    <a:pt x="1333" y="515"/>
                  </a:lnTo>
                  <a:lnTo>
                    <a:pt x="1334" y="512"/>
                  </a:lnTo>
                  <a:lnTo>
                    <a:pt x="1337" y="510"/>
                  </a:lnTo>
                  <a:lnTo>
                    <a:pt x="1339" y="507"/>
                  </a:lnTo>
                  <a:lnTo>
                    <a:pt x="1342" y="506"/>
                  </a:lnTo>
                  <a:lnTo>
                    <a:pt x="1343" y="503"/>
                  </a:lnTo>
                  <a:lnTo>
                    <a:pt x="1345" y="500"/>
                  </a:lnTo>
                  <a:lnTo>
                    <a:pt x="1345" y="498"/>
                  </a:lnTo>
                  <a:lnTo>
                    <a:pt x="1342" y="495"/>
                  </a:lnTo>
                  <a:lnTo>
                    <a:pt x="1341" y="495"/>
                  </a:lnTo>
                  <a:lnTo>
                    <a:pt x="1335" y="494"/>
                  </a:lnTo>
                  <a:lnTo>
                    <a:pt x="1333" y="494"/>
                  </a:lnTo>
                  <a:lnTo>
                    <a:pt x="1330" y="493"/>
                  </a:lnTo>
                  <a:lnTo>
                    <a:pt x="1328" y="492"/>
                  </a:lnTo>
                  <a:lnTo>
                    <a:pt x="1329" y="492"/>
                  </a:lnTo>
                  <a:lnTo>
                    <a:pt x="1337" y="493"/>
                  </a:lnTo>
                  <a:lnTo>
                    <a:pt x="1339" y="494"/>
                  </a:lnTo>
                  <a:lnTo>
                    <a:pt x="1342" y="495"/>
                  </a:lnTo>
                  <a:lnTo>
                    <a:pt x="1347" y="498"/>
                  </a:lnTo>
                  <a:lnTo>
                    <a:pt x="1349" y="495"/>
                  </a:lnTo>
                  <a:lnTo>
                    <a:pt x="1354" y="490"/>
                  </a:lnTo>
                  <a:lnTo>
                    <a:pt x="1355" y="487"/>
                  </a:lnTo>
                  <a:lnTo>
                    <a:pt x="1358" y="484"/>
                  </a:lnTo>
                  <a:lnTo>
                    <a:pt x="1364" y="479"/>
                  </a:lnTo>
                  <a:lnTo>
                    <a:pt x="1365" y="479"/>
                  </a:lnTo>
                  <a:lnTo>
                    <a:pt x="1368" y="477"/>
                  </a:lnTo>
                  <a:lnTo>
                    <a:pt x="1376" y="476"/>
                  </a:lnTo>
                  <a:lnTo>
                    <a:pt x="1379" y="475"/>
                  </a:lnTo>
                  <a:lnTo>
                    <a:pt x="1381" y="470"/>
                  </a:lnTo>
                  <a:lnTo>
                    <a:pt x="1383" y="467"/>
                  </a:lnTo>
                  <a:lnTo>
                    <a:pt x="1384" y="465"/>
                  </a:lnTo>
                  <a:lnTo>
                    <a:pt x="1386" y="464"/>
                  </a:lnTo>
                  <a:lnTo>
                    <a:pt x="1388" y="461"/>
                  </a:lnTo>
                  <a:lnTo>
                    <a:pt x="1390" y="461"/>
                  </a:lnTo>
                  <a:lnTo>
                    <a:pt x="1394" y="461"/>
                  </a:lnTo>
                  <a:lnTo>
                    <a:pt x="1398" y="459"/>
                  </a:lnTo>
                  <a:lnTo>
                    <a:pt x="1400" y="460"/>
                  </a:lnTo>
                  <a:lnTo>
                    <a:pt x="1406" y="459"/>
                  </a:lnTo>
                  <a:lnTo>
                    <a:pt x="1413" y="460"/>
                  </a:lnTo>
                  <a:lnTo>
                    <a:pt x="1418" y="459"/>
                  </a:lnTo>
                  <a:lnTo>
                    <a:pt x="1422" y="460"/>
                  </a:lnTo>
                  <a:lnTo>
                    <a:pt x="1426" y="459"/>
                  </a:lnTo>
                  <a:lnTo>
                    <a:pt x="1432" y="460"/>
                  </a:lnTo>
                  <a:lnTo>
                    <a:pt x="1433" y="460"/>
                  </a:lnTo>
                  <a:lnTo>
                    <a:pt x="1435" y="460"/>
                  </a:lnTo>
                  <a:lnTo>
                    <a:pt x="1437" y="459"/>
                  </a:lnTo>
                  <a:lnTo>
                    <a:pt x="1453" y="461"/>
                  </a:lnTo>
                  <a:lnTo>
                    <a:pt x="1454" y="462"/>
                  </a:lnTo>
                  <a:lnTo>
                    <a:pt x="1458" y="461"/>
                  </a:lnTo>
                  <a:lnTo>
                    <a:pt x="1458" y="461"/>
                  </a:lnTo>
                  <a:lnTo>
                    <a:pt x="1454" y="462"/>
                  </a:lnTo>
                  <a:lnTo>
                    <a:pt x="1460" y="461"/>
                  </a:lnTo>
                  <a:lnTo>
                    <a:pt x="1466" y="461"/>
                  </a:lnTo>
                  <a:lnTo>
                    <a:pt x="1471" y="461"/>
                  </a:lnTo>
                  <a:lnTo>
                    <a:pt x="1476" y="460"/>
                  </a:lnTo>
                  <a:lnTo>
                    <a:pt x="1479" y="460"/>
                  </a:lnTo>
                  <a:lnTo>
                    <a:pt x="1480" y="459"/>
                  </a:lnTo>
                  <a:lnTo>
                    <a:pt x="1482" y="457"/>
                  </a:lnTo>
                  <a:lnTo>
                    <a:pt x="1485" y="456"/>
                  </a:lnTo>
                  <a:lnTo>
                    <a:pt x="1487" y="452"/>
                  </a:lnTo>
                  <a:lnTo>
                    <a:pt x="1490" y="451"/>
                  </a:lnTo>
                  <a:lnTo>
                    <a:pt x="1492" y="451"/>
                  </a:lnTo>
                  <a:lnTo>
                    <a:pt x="1494" y="447"/>
                  </a:lnTo>
                  <a:lnTo>
                    <a:pt x="1496" y="444"/>
                  </a:lnTo>
                  <a:lnTo>
                    <a:pt x="1497" y="442"/>
                  </a:lnTo>
                  <a:lnTo>
                    <a:pt x="1503" y="441"/>
                  </a:lnTo>
                  <a:lnTo>
                    <a:pt x="1505" y="441"/>
                  </a:lnTo>
                  <a:lnTo>
                    <a:pt x="1511" y="439"/>
                  </a:lnTo>
                  <a:lnTo>
                    <a:pt x="1513" y="439"/>
                  </a:lnTo>
                  <a:lnTo>
                    <a:pt x="1516" y="438"/>
                  </a:lnTo>
                  <a:lnTo>
                    <a:pt x="1519" y="439"/>
                  </a:lnTo>
                  <a:lnTo>
                    <a:pt x="1521" y="438"/>
                  </a:lnTo>
                  <a:lnTo>
                    <a:pt x="1527" y="434"/>
                  </a:lnTo>
                  <a:lnTo>
                    <a:pt x="1533" y="431"/>
                  </a:lnTo>
                  <a:lnTo>
                    <a:pt x="1538" y="426"/>
                  </a:lnTo>
                  <a:lnTo>
                    <a:pt x="1537" y="423"/>
                  </a:lnTo>
                  <a:lnTo>
                    <a:pt x="1531" y="421"/>
                  </a:lnTo>
                  <a:close/>
                  <a:moveTo>
                    <a:pt x="688" y="144"/>
                  </a:moveTo>
                  <a:lnTo>
                    <a:pt x="685" y="143"/>
                  </a:lnTo>
                  <a:lnTo>
                    <a:pt x="682" y="147"/>
                  </a:lnTo>
                  <a:lnTo>
                    <a:pt x="682" y="149"/>
                  </a:lnTo>
                  <a:lnTo>
                    <a:pt x="685" y="149"/>
                  </a:lnTo>
                  <a:lnTo>
                    <a:pt x="688" y="148"/>
                  </a:lnTo>
                  <a:lnTo>
                    <a:pt x="685" y="150"/>
                  </a:lnTo>
                  <a:lnTo>
                    <a:pt x="688" y="151"/>
                  </a:lnTo>
                  <a:lnTo>
                    <a:pt x="685" y="151"/>
                  </a:lnTo>
                  <a:lnTo>
                    <a:pt x="683" y="152"/>
                  </a:lnTo>
                  <a:lnTo>
                    <a:pt x="681" y="152"/>
                  </a:lnTo>
                  <a:lnTo>
                    <a:pt x="677" y="152"/>
                  </a:lnTo>
                  <a:lnTo>
                    <a:pt x="675" y="152"/>
                  </a:lnTo>
                  <a:lnTo>
                    <a:pt x="673" y="150"/>
                  </a:lnTo>
                  <a:lnTo>
                    <a:pt x="669" y="149"/>
                  </a:lnTo>
                  <a:lnTo>
                    <a:pt x="667" y="150"/>
                  </a:lnTo>
                  <a:lnTo>
                    <a:pt x="664" y="150"/>
                  </a:lnTo>
                  <a:lnTo>
                    <a:pt x="662" y="149"/>
                  </a:lnTo>
                  <a:lnTo>
                    <a:pt x="660" y="152"/>
                  </a:lnTo>
                  <a:lnTo>
                    <a:pt x="657" y="153"/>
                  </a:lnTo>
                  <a:lnTo>
                    <a:pt x="657" y="154"/>
                  </a:lnTo>
                  <a:lnTo>
                    <a:pt x="660" y="157"/>
                  </a:lnTo>
                  <a:lnTo>
                    <a:pt x="663" y="157"/>
                  </a:lnTo>
                  <a:lnTo>
                    <a:pt x="665" y="160"/>
                  </a:lnTo>
                  <a:lnTo>
                    <a:pt x="662" y="160"/>
                  </a:lnTo>
                  <a:lnTo>
                    <a:pt x="659" y="160"/>
                  </a:lnTo>
                  <a:lnTo>
                    <a:pt x="657" y="161"/>
                  </a:lnTo>
                  <a:lnTo>
                    <a:pt x="655" y="164"/>
                  </a:lnTo>
                  <a:lnTo>
                    <a:pt x="651" y="165"/>
                  </a:lnTo>
                  <a:lnTo>
                    <a:pt x="649" y="167"/>
                  </a:lnTo>
                  <a:lnTo>
                    <a:pt x="647" y="168"/>
                  </a:lnTo>
                  <a:lnTo>
                    <a:pt x="643" y="169"/>
                  </a:lnTo>
                  <a:lnTo>
                    <a:pt x="641" y="171"/>
                  </a:lnTo>
                  <a:lnTo>
                    <a:pt x="639" y="171"/>
                  </a:lnTo>
                  <a:lnTo>
                    <a:pt x="637" y="169"/>
                  </a:lnTo>
                  <a:lnTo>
                    <a:pt x="640" y="168"/>
                  </a:lnTo>
                  <a:lnTo>
                    <a:pt x="642" y="168"/>
                  </a:lnTo>
                  <a:lnTo>
                    <a:pt x="643" y="165"/>
                  </a:lnTo>
                  <a:lnTo>
                    <a:pt x="647" y="164"/>
                  </a:lnTo>
                  <a:lnTo>
                    <a:pt x="649" y="161"/>
                  </a:lnTo>
                  <a:lnTo>
                    <a:pt x="651" y="159"/>
                  </a:lnTo>
                  <a:lnTo>
                    <a:pt x="652" y="157"/>
                  </a:lnTo>
                  <a:lnTo>
                    <a:pt x="650" y="153"/>
                  </a:lnTo>
                  <a:lnTo>
                    <a:pt x="647" y="153"/>
                  </a:lnTo>
                  <a:lnTo>
                    <a:pt x="645" y="154"/>
                  </a:lnTo>
                  <a:lnTo>
                    <a:pt x="641" y="156"/>
                  </a:lnTo>
                  <a:lnTo>
                    <a:pt x="639" y="158"/>
                  </a:lnTo>
                  <a:lnTo>
                    <a:pt x="637" y="159"/>
                  </a:lnTo>
                  <a:lnTo>
                    <a:pt x="635" y="161"/>
                  </a:lnTo>
                  <a:lnTo>
                    <a:pt x="635" y="164"/>
                  </a:lnTo>
                  <a:lnTo>
                    <a:pt x="633" y="167"/>
                  </a:lnTo>
                  <a:lnTo>
                    <a:pt x="630" y="168"/>
                  </a:lnTo>
                  <a:lnTo>
                    <a:pt x="628" y="168"/>
                  </a:lnTo>
                  <a:lnTo>
                    <a:pt x="624" y="167"/>
                  </a:lnTo>
                  <a:lnTo>
                    <a:pt x="620" y="166"/>
                  </a:lnTo>
                  <a:lnTo>
                    <a:pt x="616" y="166"/>
                  </a:lnTo>
                  <a:lnTo>
                    <a:pt x="614" y="166"/>
                  </a:lnTo>
                  <a:lnTo>
                    <a:pt x="611" y="165"/>
                  </a:lnTo>
                  <a:lnTo>
                    <a:pt x="609" y="164"/>
                  </a:lnTo>
                  <a:lnTo>
                    <a:pt x="613" y="162"/>
                  </a:lnTo>
                  <a:lnTo>
                    <a:pt x="615" y="162"/>
                  </a:lnTo>
                  <a:lnTo>
                    <a:pt x="618" y="161"/>
                  </a:lnTo>
                  <a:lnTo>
                    <a:pt x="620" y="159"/>
                  </a:lnTo>
                  <a:lnTo>
                    <a:pt x="620" y="156"/>
                  </a:lnTo>
                  <a:lnTo>
                    <a:pt x="622" y="154"/>
                  </a:lnTo>
                  <a:lnTo>
                    <a:pt x="624" y="153"/>
                  </a:lnTo>
                  <a:lnTo>
                    <a:pt x="628" y="151"/>
                  </a:lnTo>
                  <a:lnTo>
                    <a:pt x="626" y="148"/>
                  </a:lnTo>
                  <a:lnTo>
                    <a:pt x="624" y="148"/>
                  </a:lnTo>
                  <a:lnTo>
                    <a:pt x="621" y="145"/>
                  </a:lnTo>
                  <a:lnTo>
                    <a:pt x="624" y="144"/>
                  </a:lnTo>
                  <a:lnTo>
                    <a:pt x="626" y="144"/>
                  </a:lnTo>
                  <a:lnTo>
                    <a:pt x="629" y="145"/>
                  </a:lnTo>
                  <a:lnTo>
                    <a:pt x="632" y="147"/>
                  </a:lnTo>
                  <a:lnTo>
                    <a:pt x="638" y="147"/>
                  </a:lnTo>
                  <a:lnTo>
                    <a:pt x="640" y="144"/>
                  </a:lnTo>
                  <a:lnTo>
                    <a:pt x="638" y="142"/>
                  </a:lnTo>
                  <a:lnTo>
                    <a:pt x="634" y="141"/>
                  </a:lnTo>
                  <a:lnTo>
                    <a:pt x="632" y="140"/>
                  </a:lnTo>
                  <a:lnTo>
                    <a:pt x="629" y="139"/>
                  </a:lnTo>
                  <a:lnTo>
                    <a:pt x="617" y="139"/>
                  </a:lnTo>
                  <a:lnTo>
                    <a:pt x="616" y="142"/>
                  </a:lnTo>
                  <a:lnTo>
                    <a:pt x="614" y="142"/>
                  </a:lnTo>
                  <a:lnTo>
                    <a:pt x="611" y="141"/>
                  </a:lnTo>
                  <a:lnTo>
                    <a:pt x="608" y="142"/>
                  </a:lnTo>
                  <a:lnTo>
                    <a:pt x="605" y="142"/>
                  </a:lnTo>
                  <a:lnTo>
                    <a:pt x="603" y="142"/>
                  </a:lnTo>
                  <a:lnTo>
                    <a:pt x="599" y="141"/>
                  </a:lnTo>
                  <a:lnTo>
                    <a:pt x="597" y="141"/>
                  </a:lnTo>
                  <a:lnTo>
                    <a:pt x="595" y="141"/>
                  </a:lnTo>
                  <a:lnTo>
                    <a:pt x="595" y="144"/>
                  </a:lnTo>
                  <a:lnTo>
                    <a:pt x="592" y="144"/>
                  </a:lnTo>
                  <a:lnTo>
                    <a:pt x="591" y="147"/>
                  </a:lnTo>
                  <a:lnTo>
                    <a:pt x="589" y="144"/>
                  </a:lnTo>
                  <a:lnTo>
                    <a:pt x="587" y="142"/>
                  </a:lnTo>
                  <a:lnTo>
                    <a:pt x="588" y="139"/>
                  </a:lnTo>
                  <a:lnTo>
                    <a:pt x="590" y="139"/>
                  </a:lnTo>
                  <a:lnTo>
                    <a:pt x="594" y="139"/>
                  </a:lnTo>
                  <a:lnTo>
                    <a:pt x="596" y="140"/>
                  </a:lnTo>
                  <a:lnTo>
                    <a:pt x="598" y="136"/>
                  </a:lnTo>
                  <a:lnTo>
                    <a:pt x="601" y="137"/>
                  </a:lnTo>
                  <a:lnTo>
                    <a:pt x="604" y="137"/>
                  </a:lnTo>
                  <a:lnTo>
                    <a:pt x="609" y="135"/>
                  </a:lnTo>
                  <a:lnTo>
                    <a:pt x="612" y="134"/>
                  </a:lnTo>
                  <a:lnTo>
                    <a:pt x="615" y="134"/>
                  </a:lnTo>
                  <a:lnTo>
                    <a:pt x="617" y="132"/>
                  </a:lnTo>
                  <a:lnTo>
                    <a:pt x="623" y="132"/>
                  </a:lnTo>
                  <a:lnTo>
                    <a:pt x="625" y="132"/>
                  </a:lnTo>
                  <a:lnTo>
                    <a:pt x="631" y="131"/>
                  </a:lnTo>
                  <a:lnTo>
                    <a:pt x="634" y="128"/>
                  </a:lnTo>
                  <a:lnTo>
                    <a:pt x="637" y="128"/>
                  </a:lnTo>
                  <a:lnTo>
                    <a:pt x="639" y="127"/>
                  </a:lnTo>
                  <a:lnTo>
                    <a:pt x="642" y="125"/>
                  </a:lnTo>
                  <a:lnTo>
                    <a:pt x="645" y="125"/>
                  </a:lnTo>
                  <a:lnTo>
                    <a:pt x="648" y="124"/>
                  </a:lnTo>
                  <a:lnTo>
                    <a:pt x="650" y="123"/>
                  </a:lnTo>
                  <a:lnTo>
                    <a:pt x="654" y="123"/>
                  </a:lnTo>
                  <a:lnTo>
                    <a:pt x="657" y="122"/>
                  </a:lnTo>
                  <a:lnTo>
                    <a:pt x="660" y="120"/>
                  </a:lnTo>
                  <a:lnTo>
                    <a:pt x="663" y="123"/>
                  </a:lnTo>
                  <a:lnTo>
                    <a:pt x="666" y="124"/>
                  </a:lnTo>
                  <a:lnTo>
                    <a:pt x="668" y="124"/>
                  </a:lnTo>
                  <a:lnTo>
                    <a:pt x="672" y="124"/>
                  </a:lnTo>
                  <a:lnTo>
                    <a:pt x="668" y="126"/>
                  </a:lnTo>
                  <a:lnTo>
                    <a:pt x="666" y="127"/>
                  </a:lnTo>
                  <a:lnTo>
                    <a:pt x="660" y="130"/>
                  </a:lnTo>
                  <a:lnTo>
                    <a:pt x="658" y="130"/>
                  </a:lnTo>
                  <a:lnTo>
                    <a:pt x="657" y="130"/>
                  </a:lnTo>
                  <a:lnTo>
                    <a:pt x="655" y="132"/>
                  </a:lnTo>
                  <a:lnTo>
                    <a:pt x="651" y="134"/>
                  </a:lnTo>
                  <a:lnTo>
                    <a:pt x="655" y="136"/>
                  </a:lnTo>
                  <a:lnTo>
                    <a:pt x="657" y="136"/>
                  </a:lnTo>
                  <a:lnTo>
                    <a:pt x="657" y="136"/>
                  </a:lnTo>
                  <a:lnTo>
                    <a:pt x="660" y="137"/>
                  </a:lnTo>
                  <a:lnTo>
                    <a:pt x="663" y="137"/>
                  </a:lnTo>
                  <a:lnTo>
                    <a:pt x="666" y="137"/>
                  </a:lnTo>
                  <a:lnTo>
                    <a:pt x="668" y="137"/>
                  </a:lnTo>
                  <a:lnTo>
                    <a:pt x="674" y="137"/>
                  </a:lnTo>
                  <a:lnTo>
                    <a:pt x="676" y="137"/>
                  </a:lnTo>
                  <a:lnTo>
                    <a:pt x="680" y="136"/>
                  </a:lnTo>
                  <a:lnTo>
                    <a:pt x="682" y="135"/>
                  </a:lnTo>
                  <a:lnTo>
                    <a:pt x="683" y="132"/>
                  </a:lnTo>
                  <a:lnTo>
                    <a:pt x="686" y="131"/>
                  </a:lnTo>
                  <a:lnTo>
                    <a:pt x="689" y="130"/>
                  </a:lnTo>
                  <a:lnTo>
                    <a:pt x="689" y="132"/>
                  </a:lnTo>
                  <a:lnTo>
                    <a:pt x="686" y="135"/>
                  </a:lnTo>
                  <a:lnTo>
                    <a:pt x="689" y="135"/>
                  </a:lnTo>
                  <a:lnTo>
                    <a:pt x="692" y="134"/>
                  </a:lnTo>
                  <a:lnTo>
                    <a:pt x="690" y="137"/>
                  </a:lnTo>
                  <a:lnTo>
                    <a:pt x="689" y="140"/>
                  </a:lnTo>
                  <a:lnTo>
                    <a:pt x="685" y="141"/>
                  </a:lnTo>
                  <a:lnTo>
                    <a:pt x="688" y="144"/>
                  </a:lnTo>
                  <a:close/>
                  <a:moveTo>
                    <a:pt x="805" y="218"/>
                  </a:moveTo>
                  <a:lnTo>
                    <a:pt x="803" y="217"/>
                  </a:lnTo>
                  <a:lnTo>
                    <a:pt x="800" y="217"/>
                  </a:lnTo>
                  <a:lnTo>
                    <a:pt x="797" y="216"/>
                  </a:lnTo>
                  <a:lnTo>
                    <a:pt x="793" y="214"/>
                  </a:lnTo>
                  <a:lnTo>
                    <a:pt x="787" y="214"/>
                  </a:lnTo>
                  <a:lnTo>
                    <a:pt x="785" y="216"/>
                  </a:lnTo>
                  <a:lnTo>
                    <a:pt x="782" y="217"/>
                  </a:lnTo>
                  <a:lnTo>
                    <a:pt x="777" y="218"/>
                  </a:lnTo>
                  <a:lnTo>
                    <a:pt x="774" y="220"/>
                  </a:lnTo>
                  <a:lnTo>
                    <a:pt x="773" y="224"/>
                  </a:lnTo>
                  <a:lnTo>
                    <a:pt x="778" y="219"/>
                  </a:lnTo>
                  <a:lnTo>
                    <a:pt x="780" y="219"/>
                  </a:lnTo>
                  <a:lnTo>
                    <a:pt x="784" y="218"/>
                  </a:lnTo>
                  <a:lnTo>
                    <a:pt x="786" y="218"/>
                  </a:lnTo>
                  <a:lnTo>
                    <a:pt x="790" y="216"/>
                  </a:lnTo>
                  <a:lnTo>
                    <a:pt x="794" y="216"/>
                  </a:lnTo>
                  <a:lnTo>
                    <a:pt x="797" y="217"/>
                  </a:lnTo>
                  <a:lnTo>
                    <a:pt x="792" y="217"/>
                  </a:lnTo>
                  <a:lnTo>
                    <a:pt x="788" y="218"/>
                  </a:lnTo>
                  <a:lnTo>
                    <a:pt x="794" y="218"/>
                  </a:lnTo>
                  <a:lnTo>
                    <a:pt x="797" y="219"/>
                  </a:lnTo>
                  <a:lnTo>
                    <a:pt x="794" y="220"/>
                  </a:lnTo>
                  <a:lnTo>
                    <a:pt x="788" y="220"/>
                  </a:lnTo>
                  <a:lnTo>
                    <a:pt x="786" y="221"/>
                  </a:lnTo>
                  <a:lnTo>
                    <a:pt x="788" y="221"/>
                  </a:lnTo>
                  <a:lnTo>
                    <a:pt x="786" y="222"/>
                  </a:lnTo>
                  <a:lnTo>
                    <a:pt x="790" y="221"/>
                  </a:lnTo>
                  <a:lnTo>
                    <a:pt x="792" y="222"/>
                  </a:lnTo>
                  <a:lnTo>
                    <a:pt x="794" y="221"/>
                  </a:lnTo>
                  <a:lnTo>
                    <a:pt x="794" y="221"/>
                  </a:lnTo>
                  <a:lnTo>
                    <a:pt x="790" y="225"/>
                  </a:lnTo>
                  <a:lnTo>
                    <a:pt x="786" y="225"/>
                  </a:lnTo>
                  <a:lnTo>
                    <a:pt x="782" y="224"/>
                  </a:lnTo>
                  <a:lnTo>
                    <a:pt x="776" y="228"/>
                  </a:lnTo>
                  <a:lnTo>
                    <a:pt x="773" y="229"/>
                  </a:lnTo>
                  <a:lnTo>
                    <a:pt x="773" y="231"/>
                  </a:lnTo>
                  <a:lnTo>
                    <a:pt x="765" y="238"/>
                  </a:lnTo>
                  <a:lnTo>
                    <a:pt x="762" y="241"/>
                  </a:lnTo>
                  <a:lnTo>
                    <a:pt x="760" y="243"/>
                  </a:lnTo>
                  <a:lnTo>
                    <a:pt x="757" y="244"/>
                  </a:lnTo>
                  <a:lnTo>
                    <a:pt x="753" y="245"/>
                  </a:lnTo>
                  <a:lnTo>
                    <a:pt x="753" y="244"/>
                  </a:lnTo>
                  <a:lnTo>
                    <a:pt x="750" y="244"/>
                  </a:lnTo>
                  <a:lnTo>
                    <a:pt x="745" y="246"/>
                  </a:lnTo>
                  <a:lnTo>
                    <a:pt x="744" y="247"/>
                  </a:lnTo>
                  <a:lnTo>
                    <a:pt x="743" y="248"/>
                  </a:lnTo>
                  <a:lnTo>
                    <a:pt x="744" y="251"/>
                  </a:lnTo>
                  <a:lnTo>
                    <a:pt x="742" y="253"/>
                  </a:lnTo>
                  <a:lnTo>
                    <a:pt x="740" y="254"/>
                  </a:lnTo>
                  <a:lnTo>
                    <a:pt x="736" y="253"/>
                  </a:lnTo>
                  <a:lnTo>
                    <a:pt x="731" y="255"/>
                  </a:lnTo>
                  <a:lnTo>
                    <a:pt x="728" y="255"/>
                  </a:lnTo>
                  <a:lnTo>
                    <a:pt x="720" y="256"/>
                  </a:lnTo>
                  <a:lnTo>
                    <a:pt x="715" y="256"/>
                  </a:lnTo>
                  <a:lnTo>
                    <a:pt x="712" y="256"/>
                  </a:lnTo>
                  <a:lnTo>
                    <a:pt x="707" y="254"/>
                  </a:lnTo>
                  <a:lnTo>
                    <a:pt x="705" y="253"/>
                  </a:lnTo>
                  <a:lnTo>
                    <a:pt x="697" y="252"/>
                  </a:lnTo>
                  <a:lnTo>
                    <a:pt x="694" y="251"/>
                  </a:lnTo>
                  <a:lnTo>
                    <a:pt x="692" y="248"/>
                  </a:lnTo>
                  <a:lnTo>
                    <a:pt x="689" y="247"/>
                  </a:lnTo>
                  <a:lnTo>
                    <a:pt x="692" y="247"/>
                  </a:lnTo>
                  <a:lnTo>
                    <a:pt x="695" y="250"/>
                  </a:lnTo>
                  <a:lnTo>
                    <a:pt x="698" y="250"/>
                  </a:lnTo>
                  <a:lnTo>
                    <a:pt x="701" y="248"/>
                  </a:lnTo>
                  <a:lnTo>
                    <a:pt x="703" y="246"/>
                  </a:lnTo>
                  <a:lnTo>
                    <a:pt x="706" y="247"/>
                  </a:lnTo>
                  <a:lnTo>
                    <a:pt x="709" y="247"/>
                  </a:lnTo>
                  <a:lnTo>
                    <a:pt x="711" y="248"/>
                  </a:lnTo>
                  <a:lnTo>
                    <a:pt x="715" y="247"/>
                  </a:lnTo>
                  <a:lnTo>
                    <a:pt x="714" y="244"/>
                  </a:lnTo>
                  <a:lnTo>
                    <a:pt x="716" y="243"/>
                  </a:lnTo>
                  <a:lnTo>
                    <a:pt x="717" y="241"/>
                  </a:lnTo>
                  <a:lnTo>
                    <a:pt x="719" y="237"/>
                  </a:lnTo>
                  <a:lnTo>
                    <a:pt x="722" y="237"/>
                  </a:lnTo>
                  <a:lnTo>
                    <a:pt x="725" y="238"/>
                  </a:lnTo>
                  <a:lnTo>
                    <a:pt x="727" y="237"/>
                  </a:lnTo>
                  <a:lnTo>
                    <a:pt x="731" y="235"/>
                  </a:lnTo>
                  <a:lnTo>
                    <a:pt x="728" y="231"/>
                  </a:lnTo>
                  <a:lnTo>
                    <a:pt x="726" y="230"/>
                  </a:lnTo>
                  <a:lnTo>
                    <a:pt x="724" y="228"/>
                  </a:lnTo>
                  <a:lnTo>
                    <a:pt x="722" y="227"/>
                  </a:lnTo>
                  <a:lnTo>
                    <a:pt x="722" y="225"/>
                  </a:lnTo>
                  <a:lnTo>
                    <a:pt x="722" y="222"/>
                  </a:lnTo>
                  <a:lnTo>
                    <a:pt x="718" y="222"/>
                  </a:lnTo>
                  <a:lnTo>
                    <a:pt x="712" y="219"/>
                  </a:lnTo>
                  <a:lnTo>
                    <a:pt x="712" y="216"/>
                  </a:lnTo>
                  <a:lnTo>
                    <a:pt x="714" y="216"/>
                  </a:lnTo>
                  <a:lnTo>
                    <a:pt x="716" y="218"/>
                  </a:lnTo>
                  <a:lnTo>
                    <a:pt x="722" y="219"/>
                  </a:lnTo>
                  <a:lnTo>
                    <a:pt x="724" y="221"/>
                  </a:lnTo>
                  <a:lnTo>
                    <a:pt x="727" y="222"/>
                  </a:lnTo>
                  <a:lnTo>
                    <a:pt x="729" y="225"/>
                  </a:lnTo>
                  <a:lnTo>
                    <a:pt x="733" y="225"/>
                  </a:lnTo>
                  <a:lnTo>
                    <a:pt x="735" y="224"/>
                  </a:lnTo>
                  <a:lnTo>
                    <a:pt x="736" y="224"/>
                  </a:lnTo>
                  <a:lnTo>
                    <a:pt x="737" y="227"/>
                  </a:lnTo>
                  <a:lnTo>
                    <a:pt x="741" y="228"/>
                  </a:lnTo>
                  <a:lnTo>
                    <a:pt x="743" y="230"/>
                  </a:lnTo>
                  <a:lnTo>
                    <a:pt x="745" y="231"/>
                  </a:lnTo>
                  <a:lnTo>
                    <a:pt x="749" y="233"/>
                  </a:lnTo>
                  <a:lnTo>
                    <a:pt x="751" y="231"/>
                  </a:lnTo>
                  <a:lnTo>
                    <a:pt x="752" y="231"/>
                  </a:lnTo>
                  <a:lnTo>
                    <a:pt x="760" y="231"/>
                  </a:lnTo>
                  <a:lnTo>
                    <a:pt x="762" y="229"/>
                  </a:lnTo>
                  <a:lnTo>
                    <a:pt x="768" y="226"/>
                  </a:lnTo>
                  <a:lnTo>
                    <a:pt x="770" y="225"/>
                  </a:lnTo>
                  <a:lnTo>
                    <a:pt x="776" y="217"/>
                  </a:lnTo>
                  <a:lnTo>
                    <a:pt x="778" y="214"/>
                  </a:lnTo>
                  <a:lnTo>
                    <a:pt x="784" y="212"/>
                  </a:lnTo>
                  <a:lnTo>
                    <a:pt x="787" y="212"/>
                  </a:lnTo>
                  <a:lnTo>
                    <a:pt x="794" y="212"/>
                  </a:lnTo>
                  <a:lnTo>
                    <a:pt x="800" y="213"/>
                  </a:lnTo>
                  <a:lnTo>
                    <a:pt x="808" y="214"/>
                  </a:lnTo>
                  <a:lnTo>
                    <a:pt x="808" y="218"/>
                  </a:lnTo>
                  <a:lnTo>
                    <a:pt x="805" y="218"/>
                  </a:lnTo>
                  <a:close/>
                  <a:moveTo>
                    <a:pt x="981" y="448"/>
                  </a:moveTo>
                  <a:lnTo>
                    <a:pt x="981" y="451"/>
                  </a:lnTo>
                  <a:lnTo>
                    <a:pt x="982" y="453"/>
                  </a:lnTo>
                  <a:lnTo>
                    <a:pt x="981" y="453"/>
                  </a:lnTo>
                  <a:lnTo>
                    <a:pt x="979" y="451"/>
                  </a:lnTo>
                  <a:lnTo>
                    <a:pt x="978" y="455"/>
                  </a:lnTo>
                  <a:lnTo>
                    <a:pt x="978" y="457"/>
                  </a:lnTo>
                  <a:lnTo>
                    <a:pt x="975" y="458"/>
                  </a:lnTo>
                  <a:lnTo>
                    <a:pt x="973" y="456"/>
                  </a:lnTo>
                  <a:lnTo>
                    <a:pt x="973" y="453"/>
                  </a:lnTo>
                  <a:lnTo>
                    <a:pt x="973" y="451"/>
                  </a:lnTo>
                  <a:lnTo>
                    <a:pt x="973" y="448"/>
                  </a:lnTo>
                  <a:lnTo>
                    <a:pt x="973" y="445"/>
                  </a:lnTo>
                  <a:lnTo>
                    <a:pt x="975" y="442"/>
                  </a:lnTo>
                  <a:lnTo>
                    <a:pt x="976" y="440"/>
                  </a:lnTo>
                  <a:lnTo>
                    <a:pt x="973" y="441"/>
                  </a:lnTo>
                  <a:lnTo>
                    <a:pt x="975" y="439"/>
                  </a:lnTo>
                  <a:lnTo>
                    <a:pt x="976" y="435"/>
                  </a:lnTo>
                  <a:lnTo>
                    <a:pt x="973" y="434"/>
                  </a:lnTo>
                  <a:lnTo>
                    <a:pt x="971" y="436"/>
                  </a:lnTo>
                  <a:lnTo>
                    <a:pt x="968" y="439"/>
                  </a:lnTo>
                  <a:lnTo>
                    <a:pt x="968" y="436"/>
                  </a:lnTo>
                  <a:lnTo>
                    <a:pt x="968" y="433"/>
                  </a:lnTo>
                  <a:lnTo>
                    <a:pt x="968" y="431"/>
                  </a:lnTo>
                  <a:lnTo>
                    <a:pt x="966" y="427"/>
                  </a:lnTo>
                  <a:lnTo>
                    <a:pt x="964" y="429"/>
                  </a:lnTo>
                  <a:lnTo>
                    <a:pt x="965" y="426"/>
                  </a:lnTo>
                  <a:lnTo>
                    <a:pt x="962" y="427"/>
                  </a:lnTo>
                  <a:lnTo>
                    <a:pt x="961" y="431"/>
                  </a:lnTo>
                  <a:lnTo>
                    <a:pt x="958" y="430"/>
                  </a:lnTo>
                  <a:lnTo>
                    <a:pt x="958" y="429"/>
                  </a:lnTo>
                  <a:lnTo>
                    <a:pt x="957" y="425"/>
                  </a:lnTo>
                  <a:lnTo>
                    <a:pt x="955" y="423"/>
                  </a:lnTo>
                  <a:lnTo>
                    <a:pt x="953" y="421"/>
                  </a:lnTo>
                  <a:lnTo>
                    <a:pt x="950" y="418"/>
                  </a:lnTo>
                  <a:lnTo>
                    <a:pt x="948" y="416"/>
                  </a:lnTo>
                  <a:lnTo>
                    <a:pt x="947" y="413"/>
                  </a:lnTo>
                  <a:lnTo>
                    <a:pt x="949" y="410"/>
                  </a:lnTo>
                  <a:lnTo>
                    <a:pt x="951" y="409"/>
                  </a:lnTo>
                  <a:lnTo>
                    <a:pt x="950" y="409"/>
                  </a:lnTo>
                  <a:lnTo>
                    <a:pt x="947" y="409"/>
                  </a:lnTo>
                  <a:lnTo>
                    <a:pt x="945" y="409"/>
                  </a:lnTo>
                  <a:lnTo>
                    <a:pt x="941" y="407"/>
                  </a:lnTo>
                  <a:lnTo>
                    <a:pt x="942" y="405"/>
                  </a:lnTo>
                  <a:lnTo>
                    <a:pt x="944" y="401"/>
                  </a:lnTo>
                  <a:lnTo>
                    <a:pt x="945" y="399"/>
                  </a:lnTo>
                  <a:lnTo>
                    <a:pt x="945" y="397"/>
                  </a:lnTo>
                  <a:lnTo>
                    <a:pt x="946" y="393"/>
                  </a:lnTo>
                  <a:lnTo>
                    <a:pt x="947" y="393"/>
                  </a:lnTo>
                  <a:lnTo>
                    <a:pt x="950" y="395"/>
                  </a:lnTo>
                  <a:lnTo>
                    <a:pt x="953" y="393"/>
                  </a:lnTo>
                  <a:lnTo>
                    <a:pt x="955" y="395"/>
                  </a:lnTo>
                  <a:lnTo>
                    <a:pt x="958" y="396"/>
                  </a:lnTo>
                  <a:lnTo>
                    <a:pt x="959" y="396"/>
                  </a:lnTo>
                  <a:lnTo>
                    <a:pt x="957" y="395"/>
                  </a:lnTo>
                  <a:lnTo>
                    <a:pt x="955" y="392"/>
                  </a:lnTo>
                  <a:lnTo>
                    <a:pt x="956" y="389"/>
                  </a:lnTo>
                  <a:lnTo>
                    <a:pt x="957" y="387"/>
                  </a:lnTo>
                  <a:lnTo>
                    <a:pt x="958" y="383"/>
                  </a:lnTo>
                  <a:lnTo>
                    <a:pt x="959" y="384"/>
                  </a:lnTo>
                  <a:lnTo>
                    <a:pt x="959" y="387"/>
                  </a:lnTo>
                  <a:lnTo>
                    <a:pt x="956" y="389"/>
                  </a:lnTo>
                  <a:lnTo>
                    <a:pt x="957" y="392"/>
                  </a:lnTo>
                  <a:lnTo>
                    <a:pt x="959" y="391"/>
                  </a:lnTo>
                  <a:lnTo>
                    <a:pt x="963" y="390"/>
                  </a:lnTo>
                  <a:lnTo>
                    <a:pt x="962" y="391"/>
                  </a:lnTo>
                  <a:lnTo>
                    <a:pt x="959" y="392"/>
                  </a:lnTo>
                  <a:lnTo>
                    <a:pt x="959" y="393"/>
                  </a:lnTo>
                  <a:lnTo>
                    <a:pt x="961" y="396"/>
                  </a:lnTo>
                  <a:lnTo>
                    <a:pt x="961" y="397"/>
                  </a:lnTo>
                  <a:lnTo>
                    <a:pt x="962" y="399"/>
                  </a:lnTo>
                  <a:lnTo>
                    <a:pt x="963" y="401"/>
                  </a:lnTo>
                  <a:lnTo>
                    <a:pt x="964" y="405"/>
                  </a:lnTo>
                  <a:lnTo>
                    <a:pt x="966" y="407"/>
                  </a:lnTo>
                  <a:lnTo>
                    <a:pt x="968" y="410"/>
                  </a:lnTo>
                  <a:lnTo>
                    <a:pt x="966" y="410"/>
                  </a:lnTo>
                  <a:lnTo>
                    <a:pt x="967" y="414"/>
                  </a:lnTo>
                  <a:lnTo>
                    <a:pt x="970" y="416"/>
                  </a:lnTo>
                  <a:lnTo>
                    <a:pt x="971" y="419"/>
                  </a:lnTo>
                  <a:lnTo>
                    <a:pt x="972" y="422"/>
                  </a:lnTo>
                  <a:lnTo>
                    <a:pt x="972" y="424"/>
                  </a:lnTo>
                  <a:lnTo>
                    <a:pt x="973" y="427"/>
                  </a:lnTo>
                  <a:lnTo>
                    <a:pt x="974" y="430"/>
                  </a:lnTo>
                  <a:lnTo>
                    <a:pt x="976" y="432"/>
                  </a:lnTo>
                  <a:lnTo>
                    <a:pt x="976" y="434"/>
                  </a:lnTo>
                  <a:lnTo>
                    <a:pt x="979" y="438"/>
                  </a:lnTo>
                  <a:lnTo>
                    <a:pt x="980" y="440"/>
                  </a:lnTo>
                  <a:lnTo>
                    <a:pt x="982" y="442"/>
                  </a:lnTo>
                  <a:lnTo>
                    <a:pt x="981" y="445"/>
                  </a:lnTo>
                  <a:lnTo>
                    <a:pt x="981" y="448"/>
                  </a:lnTo>
                  <a:close/>
                  <a:moveTo>
                    <a:pt x="1152" y="575"/>
                  </a:moveTo>
                  <a:lnTo>
                    <a:pt x="1152" y="573"/>
                  </a:lnTo>
                  <a:lnTo>
                    <a:pt x="1151" y="571"/>
                  </a:lnTo>
                  <a:lnTo>
                    <a:pt x="1153" y="569"/>
                  </a:lnTo>
                  <a:lnTo>
                    <a:pt x="1157" y="567"/>
                  </a:lnTo>
                  <a:lnTo>
                    <a:pt x="1158" y="564"/>
                  </a:lnTo>
                  <a:lnTo>
                    <a:pt x="1160" y="561"/>
                  </a:lnTo>
                  <a:lnTo>
                    <a:pt x="1160" y="560"/>
                  </a:lnTo>
                  <a:lnTo>
                    <a:pt x="1160" y="556"/>
                  </a:lnTo>
                  <a:lnTo>
                    <a:pt x="1160" y="554"/>
                  </a:lnTo>
                  <a:lnTo>
                    <a:pt x="1158" y="552"/>
                  </a:lnTo>
                  <a:lnTo>
                    <a:pt x="1160" y="551"/>
                  </a:lnTo>
                  <a:lnTo>
                    <a:pt x="1159" y="549"/>
                  </a:lnTo>
                  <a:lnTo>
                    <a:pt x="1157" y="545"/>
                  </a:lnTo>
                  <a:lnTo>
                    <a:pt x="1154" y="544"/>
                  </a:lnTo>
                  <a:lnTo>
                    <a:pt x="1151" y="543"/>
                  </a:lnTo>
                  <a:lnTo>
                    <a:pt x="1149" y="542"/>
                  </a:lnTo>
                  <a:lnTo>
                    <a:pt x="1146" y="541"/>
                  </a:lnTo>
                  <a:lnTo>
                    <a:pt x="1145" y="541"/>
                  </a:lnTo>
                  <a:lnTo>
                    <a:pt x="1142" y="539"/>
                  </a:lnTo>
                  <a:lnTo>
                    <a:pt x="1140" y="538"/>
                  </a:lnTo>
                  <a:lnTo>
                    <a:pt x="1137" y="541"/>
                  </a:lnTo>
                  <a:lnTo>
                    <a:pt x="1135" y="542"/>
                  </a:lnTo>
                  <a:lnTo>
                    <a:pt x="1137" y="544"/>
                  </a:lnTo>
                  <a:lnTo>
                    <a:pt x="1137" y="545"/>
                  </a:lnTo>
                  <a:lnTo>
                    <a:pt x="1135" y="545"/>
                  </a:lnTo>
                  <a:lnTo>
                    <a:pt x="1133" y="546"/>
                  </a:lnTo>
                  <a:lnTo>
                    <a:pt x="1132" y="549"/>
                  </a:lnTo>
                  <a:lnTo>
                    <a:pt x="1132" y="552"/>
                  </a:lnTo>
                  <a:lnTo>
                    <a:pt x="1129" y="554"/>
                  </a:lnTo>
                  <a:lnTo>
                    <a:pt x="1129" y="552"/>
                  </a:lnTo>
                  <a:lnTo>
                    <a:pt x="1128" y="554"/>
                  </a:lnTo>
                  <a:lnTo>
                    <a:pt x="1128" y="552"/>
                  </a:lnTo>
                  <a:lnTo>
                    <a:pt x="1128" y="549"/>
                  </a:lnTo>
                  <a:lnTo>
                    <a:pt x="1126" y="552"/>
                  </a:lnTo>
                  <a:lnTo>
                    <a:pt x="1125" y="552"/>
                  </a:lnTo>
                  <a:lnTo>
                    <a:pt x="1121" y="554"/>
                  </a:lnTo>
                  <a:lnTo>
                    <a:pt x="1119" y="556"/>
                  </a:lnTo>
                  <a:lnTo>
                    <a:pt x="1120" y="559"/>
                  </a:lnTo>
                  <a:lnTo>
                    <a:pt x="1119" y="562"/>
                  </a:lnTo>
                  <a:lnTo>
                    <a:pt x="1118" y="564"/>
                  </a:lnTo>
                  <a:lnTo>
                    <a:pt x="1116" y="567"/>
                  </a:lnTo>
                  <a:lnTo>
                    <a:pt x="1117" y="570"/>
                  </a:lnTo>
                  <a:lnTo>
                    <a:pt x="1116" y="572"/>
                  </a:lnTo>
                  <a:lnTo>
                    <a:pt x="1116" y="576"/>
                  </a:lnTo>
                  <a:lnTo>
                    <a:pt x="1117" y="578"/>
                  </a:lnTo>
                  <a:lnTo>
                    <a:pt x="1119" y="580"/>
                  </a:lnTo>
                  <a:lnTo>
                    <a:pt x="1119" y="581"/>
                  </a:lnTo>
                  <a:lnTo>
                    <a:pt x="1119" y="584"/>
                  </a:lnTo>
                  <a:lnTo>
                    <a:pt x="1120" y="585"/>
                  </a:lnTo>
                  <a:lnTo>
                    <a:pt x="1120" y="588"/>
                  </a:lnTo>
                  <a:lnTo>
                    <a:pt x="1120" y="590"/>
                  </a:lnTo>
                  <a:lnTo>
                    <a:pt x="1119" y="593"/>
                  </a:lnTo>
                  <a:lnTo>
                    <a:pt x="1118" y="596"/>
                  </a:lnTo>
                  <a:lnTo>
                    <a:pt x="1117" y="598"/>
                  </a:lnTo>
                  <a:lnTo>
                    <a:pt x="1116" y="602"/>
                  </a:lnTo>
                  <a:lnTo>
                    <a:pt x="1113" y="604"/>
                  </a:lnTo>
                  <a:lnTo>
                    <a:pt x="1111" y="605"/>
                  </a:lnTo>
                  <a:lnTo>
                    <a:pt x="1109" y="606"/>
                  </a:lnTo>
                  <a:lnTo>
                    <a:pt x="1107" y="607"/>
                  </a:lnTo>
                  <a:lnTo>
                    <a:pt x="1103" y="607"/>
                  </a:lnTo>
                  <a:lnTo>
                    <a:pt x="1102" y="606"/>
                  </a:lnTo>
                  <a:lnTo>
                    <a:pt x="1102" y="606"/>
                  </a:lnTo>
                  <a:lnTo>
                    <a:pt x="1101" y="603"/>
                  </a:lnTo>
                  <a:lnTo>
                    <a:pt x="1100" y="602"/>
                  </a:lnTo>
                  <a:lnTo>
                    <a:pt x="1099" y="598"/>
                  </a:lnTo>
                  <a:lnTo>
                    <a:pt x="1098" y="596"/>
                  </a:lnTo>
                  <a:lnTo>
                    <a:pt x="1099" y="594"/>
                  </a:lnTo>
                  <a:lnTo>
                    <a:pt x="1099" y="592"/>
                  </a:lnTo>
                  <a:lnTo>
                    <a:pt x="1099" y="589"/>
                  </a:lnTo>
                  <a:lnTo>
                    <a:pt x="1098" y="586"/>
                  </a:lnTo>
                  <a:lnTo>
                    <a:pt x="1096" y="581"/>
                  </a:lnTo>
                  <a:lnTo>
                    <a:pt x="1098" y="578"/>
                  </a:lnTo>
                  <a:lnTo>
                    <a:pt x="1099" y="576"/>
                  </a:lnTo>
                  <a:lnTo>
                    <a:pt x="1100" y="572"/>
                  </a:lnTo>
                  <a:lnTo>
                    <a:pt x="1099" y="570"/>
                  </a:lnTo>
                  <a:lnTo>
                    <a:pt x="1100" y="567"/>
                  </a:lnTo>
                  <a:lnTo>
                    <a:pt x="1102" y="564"/>
                  </a:lnTo>
                  <a:lnTo>
                    <a:pt x="1102" y="562"/>
                  </a:lnTo>
                  <a:lnTo>
                    <a:pt x="1103" y="559"/>
                  </a:lnTo>
                  <a:lnTo>
                    <a:pt x="1104" y="556"/>
                  </a:lnTo>
                  <a:lnTo>
                    <a:pt x="1103" y="554"/>
                  </a:lnTo>
                  <a:lnTo>
                    <a:pt x="1100" y="555"/>
                  </a:lnTo>
                  <a:lnTo>
                    <a:pt x="1098" y="558"/>
                  </a:lnTo>
                  <a:lnTo>
                    <a:pt x="1095" y="558"/>
                  </a:lnTo>
                  <a:lnTo>
                    <a:pt x="1096" y="555"/>
                  </a:lnTo>
                  <a:lnTo>
                    <a:pt x="1098" y="552"/>
                  </a:lnTo>
                  <a:lnTo>
                    <a:pt x="1101" y="552"/>
                  </a:lnTo>
                  <a:lnTo>
                    <a:pt x="1101" y="550"/>
                  </a:lnTo>
                  <a:lnTo>
                    <a:pt x="1102" y="547"/>
                  </a:lnTo>
                  <a:lnTo>
                    <a:pt x="1104" y="545"/>
                  </a:lnTo>
                  <a:lnTo>
                    <a:pt x="1106" y="542"/>
                  </a:lnTo>
                  <a:lnTo>
                    <a:pt x="1108" y="539"/>
                  </a:lnTo>
                  <a:lnTo>
                    <a:pt x="1110" y="536"/>
                  </a:lnTo>
                  <a:lnTo>
                    <a:pt x="1110" y="539"/>
                  </a:lnTo>
                  <a:lnTo>
                    <a:pt x="1112" y="537"/>
                  </a:lnTo>
                  <a:lnTo>
                    <a:pt x="1116" y="536"/>
                  </a:lnTo>
                  <a:lnTo>
                    <a:pt x="1116" y="539"/>
                  </a:lnTo>
                  <a:lnTo>
                    <a:pt x="1118" y="537"/>
                  </a:lnTo>
                  <a:lnTo>
                    <a:pt x="1120" y="535"/>
                  </a:lnTo>
                  <a:lnTo>
                    <a:pt x="1123" y="535"/>
                  </a:lnTo>
                  <a:lnTo>
                    <a:pt x="1126" y="535"/>
                  </a:lnTo>
                  <a:lnTo>
                    <a:pt x="1128" y="534"/>
                  </a:lnTo>
                  <a:lnTo>
                    <a:pt x="1132" y="533"/>
                  </a:lnTo>
                  <a:lnTo>
                    <a:pt x="1134" y="533"/>
                  </a:lnTo>
                  <a:lnTo>
                    <a:pt x="1137" y="534"/>
                  </a:lnTo>
                  <a:lnTo>
                    <a:pt x="1138" y="536"/>
                  </a:lnTo>
                  <a:lnTo>
                    <a:pt x="1141" y="535"/>
                  </a:lnTo>
                  <a:lnTo>
                    <a:pt x="1144" y="535"/>
                  </a:lnTo>
                  <a:lnTo>
                    <a:pt x="1146" y="535"/>
                  </a:lnTo>
                  <a:lnTo>
                    <a:pt x="1149" y="535"/>
                  </a:lnTo>
                  <a:lnTo>
                    <a:pt x="1152" y="535"/>
                  </a:lnTo>
                  <a:lnTo>
                    <a:pt x="1150" y="532"/>
                  </a:lnTo>
                  <a:lnTo>
                    <a:pt x="1147" y="532"/>
                  </a:lnTo>
                  <a:lnTo>
                    <a:pt x="1147" y="528"/>
                  </a:lnTo>
                  <a:lnTo>
                    <a:pt x="1145" y="526"/>
                  </a:lnTo>
                  <a:lnTo>
                    <a:pt x="1145" y="526"/>
                  </a:lnTo>
                  <a:lnTo>
                    <a:pt x="1145" y="526"/>
                  </a:lnTo>
                  <a:lnTo>
                    <a:pt x="1140" y="527"/>
                  </a:lnTo>
                  <a:lnTo>
                    <a:pt x="1137" y="526"/>
                  </a:lnTo>
                  <a:lnTo>
                    <a:pt x="1136" y="525"/>
                  </a:lnTo>
                  <a:lnTo>
                    <a:pt x="1137" y="521"/>
                  </a:lnTo>
                  <a:lnTo>
                    <a:pt x="1137" y="521"/>
                  </a:lnTo>
                  <a:lnTo>
                    <a:pt x="1134" y="521"/>
                  </a:lnTo>
                  <a:lnTo>
                    <a:pt x="1130" y="522"/>
                  </a:lnTo>
                  <a:lnTo>
                    <a:pt x="1128" y="522"/>
                  </a:lnTo>
                  <a:lnTo>
                    <a:pt x="1126" y="522"/>
                  </a:lnTo>
                  <a:lnTo>
                    <a:pt x="1120" y="522"/>
                  </a:lnTo>
                  <a:lnTo>
                    <a:pt x="1118" y="525"/>
                  </a:lnTo>
                  <a:lnTo>
                    <a:pt x="1115" y="527"/>
                  </a:lnTo>
                  <a:lnTo>
                    <a:pt x="1112" y="526"/>
                  </a:lnTo>
                  <a:lnTo>
                    <a:pt x="1109" y="525"/>
                  </a:lnTo>
                  <a:lnTo>
                    <a:pt x="1107" y="526"/>
                  </a:lnTo>
                  <a:lnTo>
                    <a:pt x="1104" y="526"/>
                  </a:lnTo>
                  <a:lnTo>
                    <a:pt x="1102" y="522"/>
                  </a:lnTo>
                  <a:lnTo>
                    <a:pt x="1100" y="520"/>
                  </a:lnTo>
                  <a:lnTo>
                    <a:pt x="1098" y="519"/>
                  </a:lnTo>
                  <a:lnTo>
                    <a:pt x="1094" y="519"/>
                  </a:lnTo>
                  <a:lnTo>
                    <a:pt x="1092" y="519"/>
                  </a:lnTo>
                  <a:lnTo>
                    <a:pt x="1090" y="519"/>
                  </a:lnTo>
                  <a:lnTo>
                    <a:pt x="1089" y="516"/>
                  </a:lnTo>
                  <a:lnTo>
                    <a:pt x="1087" y="513"/>
                  </a:lnTo>
                  <a:lnTo>
                    <a:pt x="1084" y="515"/>
                  </a:lnTo>
                  <a:lnTo>
                    <a:pt x="1082" y="517"/>
                  </a:lnTo>
                  <a:lnTo>
                    <a:pt x="1079" y="518"/>
                  </a:lnTo>
                  <a:lnTo>
                    <a:pt x="1076" y="520"/>
                  </a:lnTo>
                  <a:lnTo>
                    <a:pt x="1074" y="520"/>
                  </a:lnTo>
                  <a:lnTo>
                    <a:pt x="1070" y="520"/>
                  </a:lnTo>
                  <a:lnTo>
                    <a:pt x="1068" y="522"/>
                  </a:lnTo>
                  <a:lnTo>
                    <a:pt x="1068" y="522"/>
                  </a:lnTo>
                  <a:lnTo>
                    <a:pt x="1065" y="524"/>
                  </a:lnTo>
                  <a:lnTo>
                    <a:pt x="1063" y="525"/>
                  </a:lnTo>
                  <a:lnTo>
                    <a:pt x="1060" y="524"/>
                  </a:lnTo>
                  <a:lnTo>
                    <a:pt x="1058" y="522"/>
                  </a:lnTo>
                  <a:lnTo>
                    <a:pt x="1056" y="524"/>
                  </a:lnTo>
                  <a:lnTo>
                    <a:pt x="1057" y="521"/>
                  </a:lnTo>
                  <a:lnTo>
                    <a:pt x="1056" y="518"/>
                  </a:lnTo>
                  <a:lnTo>
                    <a:pt x="1052" y="519"/>
                  </a:lnTo>
                  <a:lnTo>
                    <a:pt x="1050" y="520"/>
                  </a:lnTo>
                  <a:lnTo>
                    <a:pt x="1048" y="521"/>
                  </a:lnTo>
                  <a:lnTo>
                    <a:pt x="1042" y="522"/>
                  </a:lnTo>
                  <a:lnTo>
                    <a:pt x="1039" y="521"/>
                  </a:lnTo>
                  <a:lnTo>
                    <a:pt x="1041" y="519"/>
                  </a:lnTo>
                  <a:lnTo>
                    <a:pt x="1044" y="518"/>
                  </a:lnTo>
                  <a:lnTo>
                    <a:pt x="1047" y="516"/>
                  </a:lnTo>
                  <a:lnTo>
                    <a:pt x="1050" y="513"/>
                  </a:lnTo>
                  <a:lnTo>
                    <a:pt x="1052" y="511"/>
                  </a:lnTo>
                  <a:lnTo>
                    <a:pt x="1055" y="509"/>
                  </a:lnTo>
                  <a:lnTo>
                    <a:pt x="1057" y="507"/>
                  </a:lnTo>
                  <a:lnTo>
                    <a:pt x="1060" y="506"/>
                  </a:lnTo>
                  <a:lnTo>
                    <a:pt x="1063" y="504"/>
                  </a:lnTo>
                  <a:lnTo>
                    <a:pt x="1068" y="503"/>
                  </a:lnTo>
                  <a:lnTo>
                    <a:pt x="1068" y="502"/>
                  </a:lnTo>
                  <a:lnTo>
                    <a:pt x="1072" y="501"/>
                  </a:lnTo>
                  <a:lnTo>
                    <a:pt x="1074" y="500"/>
                  </a:lnTo>
                  <a:lnTo>
                    <a:pt x="1076" y="498"/>
                  </a:lnTo>
                  <a:lnTo>
                    <a:pt x="1078" y="495"/>
                  </a:lnTo>
                  <a:lnTo>
                    <a:pt x="1078" y="493"/>
                  </a:lnTo>
                  <a:lnTo>
                    <a:pt x="1082" y="491"/>
                  </a:lnTo>
                  <a:lnTo>
                    <a:pt x="1084" y="492"/>
                  </a:lnTo>
                  <a:lnTo>
                    <a:pt x="1084" y="494"/>
                  </a:lnTo>
                  <a:lnTo>
                    <a:pt x="1086" y="492"/>
                  </a:lnTo>
                  <a:lnTo>
                    <a:pt x="1089" y="489"/>
                  </a:lnTo>
                  <a:lnTo>
                    <a:pt x="1089" y="486"/>
                  </a:lnTo>
                  <a:lnTo>
                    <a:pt x="1091" y="486"/>
                  </a:lnTo>
                  <a:lnTo>
                    <a:pt x="1090" y="489"/>
                  </a:lnTo>
                  <a:lnTo>
                    <a:pt x="1089" y="491"/>
                  </a:lnTo>
                  <a:lnTo>
                    <a:pt x="1091" y="489"/>
                  </a:lnTo>
                  <a:lnTo>
                    <a:pt x="1094" y="487"/>
                  </a:lnTo>
                  <a:lnTo>
                    <a:pt x="1093" y="485"/>
                  </a:lnTo>
                  <a:lnTo>
                    <a:pt x="1092" y="483"/>
                  </a:lnTo>
                  <a:lnTo>
                    <a:pt x="1093" y="483"/>
                  </a:lnTo>
                  <a:lnTo>
                    <a:pt x="1096" y="483"/>
                  </a:lnTo>
                  <a:lnTo>
                    <a:pt x="1099" y="484"/>
                  </a:lnTo>
                  <a:lnTo>
                    <a:pt x="1102" y="485"/>
                  </a:lnTo>
                  <a:lnTo>
                    <a:pt x="1104" y="486"/>
                  </a:lnTo>
                  <a:lnTo>
                    <a:pt x="1107" y="486"/>
                  </a:lnTo>
                  <a:lnTo>
                    <a:pt x="1110" y="485"/>
                  </a:lnTo>
                  <a:lnTo>
                    <a:pt x="1112" y="486"/>
                  </a:lnTo>
                  <a:lnTo>
                    <a:pt x="1116" y="487"/>
                  </a:lnTo>
                  <a:lnTo>
                    <a:pt x="1118" y="487"/>
                  </a:lnTo>
                  <a:lnTo>
                    <a:pt x="1119" y="491"/>
                  </a:lnTo>
                  <a:lnTo>
                    <a:pt x="1120" y="493"/>
                  </a:lnTo>
                  <a:lnTo>
                    <a:pt x="1121" y="495"/>
                  </a:lnTo>
                  <a:lnTo>
                    <a:pt x="1124" y="499"/>
                  </a:lnTo>
                  <a:lnTo>
                    <a:pt x="1126" y="501"/>
                  </a:lnTo>
                  <a:lnTo>
                    <a:pt x="1132" y="501"/>
                  </a:lnTo>
                  <a:lnTo>
                    <a:pt x="1134" y="501"/>
                  </a:lnTo>
                  <a:lnTo>
                    <a:pt x="1137" y="501"/>
                  </a:lnTo>
                  <a:lnTo>
                    <a:pt x="1137" y="503"/>
                  </a:lnTo>
                  <a:lnTo>
                    <a:pt x="1137" y="506"/>
                  </a:lnTo>
                  <a:lnTo>
                    <a:pt x="1137" y="507"/>
                  </a:lnTo>
                  <a:lnTo>
                    <a:pt x="1140" y="509"/>
                  </a:lnTo>
                  <a:lnTo>
                    <a:pt x="1142" y="511"/>
                  </a:lnTo>
                  <a:lnTo>
                    <a:pt x="1141" y="515"/>
                  </a:lnTo>
                  <a:lnTo>
                    <a:pt x="1140" y="517"/>
                  </a:lnTo>
                  <a:lnTo>
                    <a:pt x="1142" y="518"/>
                  </a:lnTo>
                  <a:lnTo>
                    <a:pt x="1145" y="519"/>
                  </a:lnTo>
                  <a:lnTo>
                    <a:pt x="1143" y="521"/>
                  </a:lnTo>
                  <a:lnTo>
                    <a:pt x="1143" y="525"/>
                  </a:lnTo>
                  <a:lnTo>
                    <a:pt x="1145" y="526"/>
                  </a:lnTo>
                  <a:lnTo>
                    <a:pt x="1145" y="526"/>
                  </a:lnTo>
                  <a:lnTo>
                    <a:pt x="1149" y="525"/>
                  </a:lnTo>
                  <a:lnTo>
                    <a:pt x="1149" y="528"/>
                  </a:lnTo>
                  <a:lnTo>
                    <a:pt x="1154" y="529"/>
                  </a:lnTo>
                  <a:lnTo>
                    <a:pt x="1155" y="529"/>
                  </a:lnTo>
                  <a:lnTo>
                    <a:pt x="1159" y="530"/>
                  </a:lnTo>
                  <a:lnTo>
                    <a:pt x="1161" y="532"/>
                  </a:lnTo>
                  <a:lnTo>
                    <a:pt x="1164" y="532"/>
                  </a:lnTo>
                  <a:lnTo>
                    <a:pt x="1167" y="532"/>
                  </a:lnTo>
                  <a:lnTo>
                    <a:pt x="1169" y="532"/>
                  </a:lnTo>
                  <a:lnTo>
                    <a:pt x="1172" y="532"/>
                  </a:lnTo>
                  <a:lnTo>
                    <a:pt x="1175" y="532"/>
                  </a:lnTo>
                  <a:lnTo>
                    <a:pt x="1180" y="533"/>
                  </a:lnTo>
                  <a:lnTo>
                    <a:pt x="1183" y="533"/>
                  </a:lnTo>
                  <a:lnTo>
                    <a:pt x="1184" y="535"/>
                  </a:lnTo>
                  <a:lnTo>
                    <a:pt x="1186" y="535"/>
                  </a:lnTo>
                  <a:lnTo>
                    <a:pt x="1189" y="535"/>
                  </a:lnTo>
                  <a:lnTo>
                    <a:pt x="1192" y="535"/>
                  </a:lnTo>
                  <a:lnTo>
                    <a:pt x="1195" y="536"/>
                  </a:lnTo>
                  <a:lnTo>
                    <a:pt x="1196" y="538"/>
                  </a:lnTo>
                  <a:lnTo>
                    <a:pt x="1198" y="541"/>
                  </a:lnTo>
                  <a:lnTo>
                    <a:pt x="1200" y="544"/>
                  </a:lnTo>
                  <a:lnTo>
                    <a:pt x="1203" y="545"/>
                  </a:lnTo>
                  <a:lnTo>
                    <a:pt x="1203" y="545"/>
                  </a:lnTo>
                  <a:lnTo>
                    <a:pt x="1205" y="549"/>
                  </a:lnTo>
                  <a:lnTo>
                    <a:pt x="1205" y="549"/>
                  </a:lnTo>
                  <a:lnTo>
                    <a:pt x="1205" y="551"/>
                  </a:lnTo>
                  <a:lnTo>
                    <a:pt x="1206" y="552"/>
                  </a:lnTo>
                  <a:lnTo>
                    <a:pt x="1209" y="554"/>
                  </a:lnTo>
                  <a:lnTo>
                    <a:pt x="1210" y="554"/>
                  </a:lnTo>
                  <a:lnTo>
                    <a:pt x="1209" y="554"/>
                  </a:lnTo>
                  <a:lnTo>
                    <a:pt x="1209" y="554"/>
                  </a:lnTo>
                  <a:lnTo>
                    <a:pt x="1206" y="554"/>
                  </a:lnTo>
                  <a:lnTo>
                    <a:pt x="1205" y="554"/>
                  </a:lnTo>
                  <a:lnTo>
                    <a:pt x="1205" y="559"/>
                  </a:lnTo>
                  <a:lnTo>
                    <a:pt x="1203" y="560"/>
                  </a:lnTo>
                  <a:lnTo>
                    <a:pt x="1200" y="559"/>
                  </a:lnTo>
                  <a:lnTo>
                    <a:pt x="1197" y="558"/>
                  </a:lnTo>
                  <a:lnTo>
                    <a:pt x="1195" y="556"/>
                  </a:lnTo>
                  <a:lnTo>
                    <a:pt x="1192" y="554"/>
                  </a:lnTo>
                  <a:lnTo>
                    <a:pt x="1192" y="552"/>
                  </a:lnTo>
                  <a:lnTo>
                    <a:pt x="1189" y="552"/>
                  </a:lnTo>
                  <a:lnTo>
                    <a:pt x="1189" y="552"/>
                  </a:lnTo>
                  <a:lnTo>
                    <a:pt x="1188" y="552"/>
                  </a:lnTo>
                  <a:lnTo>
                    <a:pt x="1187" y="549"/>
                  </a:lnTo>
                  <a:lnTo>
                    <a:pt x="1184" y="547"/>
                  </a:lnTo>
                  <a:lnTo>
                    <a:pt x="1181" y="547"/>
                  </a:lnTo>
                  <a:lnTo>
                    <a:pt x="1185" y="550"/>
                  </a:lnTo>
                  <a:lnTo>
                    <a:pt x="1186" y="552"/>
                  </a:lnTo>
                  <a:lnTo>
                    <a:pt x="1186" y="553"/>
                  </a:lnTo>
                  <a:lnTo>
                    <a:pt x="1187" y="555"/>
                  </a:lnTo>
                  <a:lnTo>
                    <a:pt x="1187" y="559"/>
                  </a:lnTo>
                  <a:lnTo>
                    <a:pt x="1185" y="561"/>
                  </a:lnTo>
                  <a:lnTo>
                    <a:pt x="1184" y="563"/>
                  </a:lnTo>
                  <a:lnTo>
                    <a:pt x="1181" y="567"/>
                  </a:lnTo>
                  <a:lnTo>
                    <a:pt x="1181" y="569"/>
                  </a:lnTo>
                  <a:lnTo>
                    <a:pt x="1181" y="577"/>
                  </a:lnTo>
                  <a:lnTo>
                    <a:pt x="1180" y="580"/>
                  </a:lnTo>
                  <a:lnTo>
                    <a:pt x="1177" y="581"/>
                  </a:lnTo>
                  <a:lnTo>
                    <a:pt x="1175" y="584"/>
                  </a:lnTo>
                  <a:lnTo>
                    <a:pt x="1172" y="585"/>
                  </a:lnTo>
                  <a:lnTo>
                    <a:pt x="1171" y="584"/>
                  </a:lnTo>
                  <a:lnTo>
                    <a:pt x="1171" y="581"/>
                  </a:lnTo>
                  <a:lnTo>
                    <a:pt x="1170" y="579"/>
                  </a:lnTo>
                  <a:lnTo>
                    <a:pt x="1169" y="573"/>
                  </a:lnTo>
                  <a:lnTo>
                    <a:pt x="1169" y="571"/>
                  </a:lnTo>
                  <a:lnTo>
                    <a:pt x="1167" y="568"/>
                  </a:lnTo>
                  <a:lnTo>
                    <a:pt x="1164" y="568"/>
                  </a:lnTo>
                  <a:lnTo>
                    <a:pt x="1161" y="569"/>
                  </a:lnTo>
                  <a:lnTo>
                    <a:pt x="1159" y="570"/>
                  </a:lnTo>
                  <a:lnTo>
                    <a:pt x="1158" y="572"/>
                  </a:lnTo>
                  <a:lnTo>
                    <a:pt x="1155" y="575"/>
                  </a:lnTo>
                  <a:lnTo>
                    <a:pt x="1152" y="575"/>
                  </a:lnTo>
                  <a:close/>
                  <a:moveTo>
                    <a:pt x="1218" y="589"/>
                  </a:moveTo>
                  <a:lnTo>
                    <a:pt x="1215" y="593"/>
                  </a:lnTo>
                  <a:lnTo>
                    <a:pt x="1213" y="594"/>
                  </a:lnTo>
                  <a:lnTo>
                    <a:pt x="1210" y="596"/>
                  </a:lnTo>
                  <a:lnTo>
                    <a:pt x="1209" y="597"/>
                  </a:lnTo>
                  <a:lnTo>
                    <a:pt x="1205" y="598"/>
                  </a:lnTo>
                  <a:lnTo>
                    <a:pt x="1205" y="598"/>
                  </a:lnTo>
                  <a:lnTo>
                    <a:pt x="1204" y="600"/>
                  </a:lnTo>
                  <a:lnTo>
                    <a:pt x="1201" y="601"/>
                  </a:lnTo>
                  <a:lnTo>
                    <a:pt x="1198" y="602"/>
                  </a:lnTo>
                  <a:lnTo>
                    <a:pt x="1198" y="602"/>
                  </a:lnTo>
                  <a:lnTo>
                    <a:pt x="1193" y="604"/>
                  </a:lnTo>
                  <a:lnTo>
                    <a:pt x="1191" y="605"/>
                  </a:lnTo>
                  <a:lnTo>
                    <a:pt x="1187" y="606"/>
                  </a:lnTo>
                  <a:lnTo>
                    <a:pt x="1185" y="607"/>
                  </a:lnTo>
                  <a:lnTo>
                    <a:pt x="1181" y="610"/>
                  </a:lnTo>
                  <a:lnTo>
                    <a:pt x="1177" y="610"/>
                  </a:lnTo>
                  <a:lnTo>
                    <a:pt x="1174" y="611"/>
                  </a:lnTo>
                  <a:lnTo>
                    <a:pt x="1171" y="611"/>
                  </a:lnTo>
                  <a:lnTo>
                    <a:pt x="1168" y="610"/>
                  </a:lnTo>
                  <a:lnTo>
                    <a:pt x="1166" y="611"/>
                  </a:lnTo>
                  <a:lnTo>
                    <a:pt x="1168" y="610"/>
                  </a:lnTo>
                  <a:lnTo>
                    <a:pt x="1166" y="610"/>
                  </a:lnTo>
                  <a:lnTo>
                    <a:pt x="1160" y="606"/>
                  </a:lnTo>
                  <a:lnTo>
                    <a:pt x="1158" y="606"/>
                  </a:lnTo>
                  <a:lnTo>
                    <a:pt x="1158" y="606"/>
                  </a:lnTo>
                  <a:lnTo>
                    <a:pt x="1160" y="603"/>
                  </a:lnTo>
                  <a:lnTo>
                    <a:pt x="1161" y="601"/>
                  </a:lnTo>
                  <a:lnTo>
                    <a:pt x="1162" y="597"/>
                  </a:lnTo>
                  <a:lnTo>
                    <a:pt x="1163" y="596"/>
                  </a:lnTo>
                  <a:lnTo>
                    <a:pt x="1166" y="594"/>
                  </a:lnTo>
                  <a:lnTo>
                    <a:pt x="1167" y="592"/>
                  </a:lnTo>
                  <a:lnTo>
                    <a:pt x="1169" y="592"/>
                  </a:lnTo>
                  <a:lnTo>
                    <a:pt x="1169" y="593"/>
                  </a:lnTo>
                  <a:lnTo>
                    <a:pt x="1170" y="593"/>
                  </a:lnTo>
                  <a:lnTo>
                    <a:pt x="1172" y="596"/>
                  </a:lnTo>
                  <a:lnTo>
                    <a:pt x="1169" y="596"/>
                  </a:lnTo>
                  <a:lnTo>
                    <a:pt x="1167" y="596"/>
                  </a:lnTo>
                  <a:lnTo>
                    <a:pt x="1163" y="596"/>
                  </a:lnTo>
                  <a:lnTo>
                    <a:pt x="1163" y="596"/>
                  </a:lnTo>
                  <a:lnTo>
                    <a:pt x="1162" y="600"/>
                  </a:lnTo>
                  <a:lnTo>
                    <a:pt x="1166" y="602"/>
                  </a:lnTo>
                  <a:lnTo>
                    <a:pt x="1168" y="601"/>
                  </a:lnTo>
                  <a:lnTo>
                    <a:pt x="1170" y="602"/>
                  </a:lnTo>
                  <a:lnTo>
                    <a:pt x="1172" y="600"/>
                  </a:lnTo>
                  <a:lnTo>
                    <a:pt x="1175" y="598"/>
                  </a:lnTo>
                  <a:lnTo>
                    <a:pt x="1178" y="597"/>
                  </a:lnTo>
                  <a:lnTo>
                    <a:pt x="1180" y="595"/>
                  </a:lnTo>
                  <a:lnTo>
                    <a:pt x="1183" y="593"/>
                  </a:lnTo>
                  <a:lnTo>
                    <a:pt x="1186" y="592"/>
                  </a:lnTo>
                  <a:lnTo>
                    <a:pt x="1188" y="590"/>
                  </a:lnTo>
                  <a:lnTo>
                    <a:pt x="1191" y="590"/>
                  </a:lnTo>
                  <a:lnTo>
                    <a:pt x="1194" y="590"/>
                  </a:lnTo>
                  <a:lnTo>
                    <a:pt x="1196" y="592"/>
                  </a:lnTo>
                  <a:lnTo>
                    <a:pt x="1200" y="592"/>
                  </a:lnTo>
                  <a:lnTo>
                    <a:pt x="1202" y="593"/>
                  </a:lnTo>
                  <a:lnTo>
                    <a:pt x="1200" y="592"/>
                  </a:lnTo>
                  <a:lnTo>
                    <a:pt x="1202" y="589"/>
                  </a:lnTo>
                  <a:lnTo>
                    <a:pt x="1204" y="588"/>
                  </a:lnTo>
                  <a:lnTo>
                    <a:pt x="1205" y="588"/>
                  </a:lnTo>
                  <a:lnTo>
                    <a:pt x="1207" y="588"/>
                  </a:lnTo>
                  <a:lnTo>
                    <a:pt x="1211" y="587"/>
                  </a:lnTo>
                  <a:lnTo>
                    <a:pt x="1211" y="587"/>
                  </a:lnTo>
                  <a:lnTo>
                    <a:pt x="1213" y="587"/>
                  </a:lnTo>
                  <a:lnTo>
                    <a:pt x="1215" y="587"/>
                  </a:lnTo>
                  <a:lnTo>
                    <a:pt x="1218" y="587"/>
                  </a:lnTo>
                  <a:lnTo>
                    <a:pt x="1220" y="586"/>
                  </a:lnTo>
                  <a:lnTo>
                    <a:pt x="1218" y="584"/>
                  </a:lnTo>
                  <a:lnTo>
                    <a:pt x="1218" y="584"/>
                  </a:lnTo>
                  <a:lnTo>
                    <a:pt x="1220" y="585"/>
                  </a:lnTo>
                  <a:lnTo>
                    <a:pt x="1220" y="587"/>
                  </a:lnTo>
                  <a:lnTo>
                    <a:pt x="1218" y="589"/>
                  </a:lnTo>
                  <a:close/>
                  <a:moveTo>
                    <a:pt x="1261" y="563"/>
                  </a:moveTo>
                  <a:lnTo>
                    <a:pt x="1255" y="567"/>
                  </a:lnTo>
                  <a:lnTo>
                    <a:pt x="1256" y="569"/>
                  </a:lnTo>
                  <a:lnTo>
                    <a:pt x="1258" y="568"/>
                  </a:lnTo>
                  <a:lnTo>
                    <a:pt x="1260" y="568"/>
                  </a:lnTo>
                  <a:lnTo>
                    <a:pt x="1256" y="570"/>
                  </a:lnTo>
                  <a:lnTo>
                    <a:pt x="1257" y="573"/>
                  </a:lnTo>
                  <a:lnTo>
                    <a:pt x="1256" y="576"/>
                  </a:lnTo>
                  <a:lnTo>
                    <a:pt x="1254" y="576"/>
                  </a:lnTo>
                  <a:lnTo>
                    <a:pt x="1253" y="577"/>
                  </a:lnTo>
                  <a:lnTo>
                    <a:pt x="1251" y="579"/>
                  </a:lnTo>
                  <a:lnTo>
                    <a:pt x="1247" y="580"/>
                  </a:lnTo>
                  <a:lnTo>
                    <a:pt x="1245" y="580"/>
                  </a:lnTo>
                  <a:lnTo>
                    <a:pt x="1243" y="580"/>
                  </a:lnTo>
                  <a:lnTo>
                    <a:pt x="1239" y="580"/>
                  </a:lnTo>
                  <a:lnTo>
                    <a:pt x="1237" y="580"/>
                  </a:lnTo>
                  <a:lnTo>
                    <a:pt x="1231" y="579"/>
                  </a:lnTo>
                  <a:lnTo>
                    <a:pt x="1226" y="579"/>
                  </a:lnTo>
                  <a:lnTo>
                    <a:pt x="1223" y="579"/>
                  </a:lnTo>
                  <a:lnTo>
                    <a:pt x="1220" y="580"/>
                  </a:lnTo>
                  <a:lnTo>
                    <a:pt x="1218" y="580"/>
                  </a:lnTo>
                  <a:lnTo>
                    <a:pt x="1215" y="581"/>
                  </a:lnTo>
                  <a:lnTo>
                    <a:pt x="1212" y="581"/>
                  </a:lnTo>
                  <a:lnTo>
                    <a:pt x="1210" y="581"/>
                  </a:lnTo>
                  <a:lnTo>
                    <a:pt x="1210" y="578"/>
                  </a:lnTo>
                  <a:lnTo>
                    <a:pt x="1211" y="576"/>
                  </a:lnTo>
                  <a:lnTo>
                    <a:pt x="1219" y="571"/>
                  </a:lnTo>
                  <a:lnTo>
                    <a:pt x="1221" y="570"/>
                  </a:lnTo>
                  <a:lnTo>
                    <a:pt x="1224" y="570"/>
                  </a:lnTo>
                  <a:lnTo>
                    <a:pt x="1227" y="570"/>
                  </a:lnTo>
                  <a:lnTo>
                    <a:pt x="1229" y="569"/>
                  </a:lnTo>
                  <a:lnTo>
                    <a:pt x="1232" y="569"/>
                  </a:lnTo>
                  <a:lnTo>
                    <a:pt x="1235" y="568"/>
                  </a:lnTo>
                  <a:lnTo>
                    <a:pt x="1238" y="568"/>
                  </a:lnTo>
                  <a:lnTo>
                    <a:pt x="1240" y="569"/>
                  </a:lnTo>
                  <a:lnTo>
                    <a:pt x="1243" y="570"/>
                  </a:lnTo>
                  <a:lnTo>
                    <a:pt x="1246" y="570"/>
                  </a:lnTo>
                  <a:lnTo>
                    <a:pt x="1247" y="568"/>
                  </a:lnTo>
                  <a:lnTo>
                    <a:pt x="1245" y="568"/>
                  </a:lnTo>
                  <a:lnTo>
                    <a:pt x="1243" y="567"/>
                  </a:lnTo>
                  <a:lnTo>
                    <a:pt x="1238" y="567"/>
                  </a:lnTo>
                  <a:lnTo>
                    <a:pt x="1241" y="566"/>
                  </a:lnTo>
                  <a:lnTo>
                    <a:pt x="1246" y="566"/>
                  </a:lnTo>
                  <a:lnTo>
                    <a:pt x="1249" y="566"/>
                  </a:lnTo>
                  <a:lnTo>
                    <a:pt x="1252" y="564"/>
                  </a:lnTo>
                  <a:lnTo>
                    <a:pt x="1255" y="563"/>
                  </a:lnTo>
                  <a:lnTo>
                    <a:pt x="1257" y="563"/>
                  </a:lnTo>
                  <a:lnTo>
                    <a:pt x="1260" y="562"/>
                  </a:lnTo>
                  <a:lnTo>
                    <a:pt x="1263" y="560"/>
                  </a:lnTo>
                  <a:lnTo>
                    <a:pt x="1263" y="560"/>
                  </a:lnTo>
                  <a:lnTo>
                    <a:pt x="1261" y="5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20" name="Freeform 220">
              <a:extLst>
                <a:ext uri="{FF2B5EF4-FFF2-40B4-BE49-F238E27FC236}">
                  <a16:creationId xmlns:a16="http://schemas.microsoft.com/office/drawing/2014/main" id="{9642CEA9-EB30-4925-84F8-17AACF9CF1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46500" y="2101850"/>
              <a:ext cx="4141787" cy="160338"/>
            </a:xfrm>
            <a:custGeom>
              <a:avLst/>
              <a:gdLst>
                <a:gd name="T0" fmla="*/ 103 w 2609"/>
                <a:gd name="T1" fmla="*/ 28 h 101"/>
                <a:gd name="T2" fmla="*/ 111 w 2609"/>
                <a:gd name="T3" fmla="*/ 41 h 101"/>
                <a:gd name="T4" fmla="*/ 110 w 2609"/>
                <a:gd name="T5" fmla="*/ 32 h 101"/>
                <a:gd name="T6" fmla="*/ 125 w 2609"/>
                <a:gd name="T7" fmla="*/ 36 h 101"/>
                <a:gd name="T8" fmla="*/ 128 w 2609"/>
                <a:gd name="T9" fmla="*/ 42 h 101"/>
                <a:gd name="T10" fmla="*/ 134 w 2609"/>
                <a:gd name="T11" fmla="*/ 49 h 101"/>
                <a:gd name="T12" fmla="*/ 133 w 2609"/>
                <a:gd name="T13" fmla="*/ 57 h 101"/>
                <a:gd name="T14" fmla="*/ 147 w 2609"/>
                <a:gd name="T15" fmla="*/ 61 h 101"/>
                <a:gd name="T16" fmla="*/ 160 w 2609"/>
                <a:gd name="T17" fmla="*/ 64 h 101"/>
                <a:gd name="T18" fmla="*/ 143 w 2609"/>
                <a:gd name="T19" fmla="*/ 72 h 101"/>
                <a:gd name="T20" fmla="*/ 132 w 2609"/>
                <a:gd name="T21" fmla="*/ 79 h 101"/>
                <a:gd name="T22" fmla="*/ 120 w 2609"/>
                <a:gd name="T23" fmla="*/ 78 h 101"/>
                <a:gd name="T24" fmla="*/ 117 w 2609"/>
                <a:gd name="T25" fmla="*/ 83 h 101"/>
                <a:gd name="T26" fmla="*/ 113 w 2609"/>
                <a:gd name="T27" fmla="*/ 87 h 101"/>
                <a:gd name="T28" fmla="*/ 105 w 2609"/>
                <a:gd name="T29" fmla="*/ 100 h 101"/>
                <a:gd name="T30" fmla="*/ 93 w 2609"/>
                <a:gd name="T31" fmla="*/ 93 h 101"/>
                <a:gd name="T32" fmla="*/ 88 w 2609"/>
                <a:gd name="T33" fmla="*/ 95 h 101"/>
                <a:gd name="T34" fmla="*/ 85 w 2609"/>
                <a:gd name="T35" fmla="*/ 101 h 101"/>
                <a:gd name="T36" fmla="*/ 66 w 2609"/>
                <a:gd name="T37" fmla="*/ 98 h 101"/>
                <a:gd name="T38" fmla="*/ 53 w 2609"/>
                <a:gd name="T39" fmla="*/ 91 h 101"/>
                <a:gd name="T40" fmla="*/ 70 w 2609"/>
                <a:gd name="T41" fmla="*/ 88 h 101"/>
                <a:gd name="T42" fmla="*/ 53 w 2609"/>
                <a:gd name="T43" fmla="*/ 86 h 101"/>
                <a:gd name="T44" fmla="*/ 45 w 2609"/>
                <a:gd name="T45" fmla="*/ 83 h 101"/>
                <a:gd name="T46" fmla="*/ 39 w 2609"/>
                <a:gd name="T47" fmla="*/ 80 h 101"/>
                <a:gd name="T48" fmla="*/ 46 w 2609"/>
                <a:gd name="T49" fmla="*/ 70 h 101"/>
                <a:gd name="T50" fmla="*/ 63 w 2609"/>
                <a:gd name="T51" fmla="*/ 70 h 101"/>
                <a:gd name="T52" fmla="*/ 79 w 2609"/>
                <a:gd name="T53" fmla="*/ 69 h 101"/>
                <a:gd name="T54" fmla="*/ 71 w 2609"/>
                <a:gd name="T55" fmla="*/ 68 h 101"/>
                <a:gd name="T56" fmla="*/ 59 w 2609"/>
                <a:gd name="T57" fmla="*/ 66 h 101"/>
                <a:gd name="T58" fmla="*/ 76 w 2609"/>
                <a:gd name="T59" fmla="*/ 63 h 101"/>
                <a:gd name="T60" fmla="*/ 58 w 2609"/>
                <a:gd name="T61" fmla="*/ 62 h 101"/>
                <a:gd name="T62" fmla="*/ 49 w 2609"/>
                <a:gd name="T63" fmla="*/ 64 h 101"/>
                <a:gd name="T64" fmla="*/ 36 w 2609"/>
                <a:gd name="T65" fmla="*/ 66 h 101"/>
                <a:gd name="T66" fmla="*/ 23 w 2609"/>
                <a:gd name="T67" fmla="*/ 67 h 101"/>
                <a:gd name="T68" fmla="*/ 17 w 2609"/>
                <a:gd name="T69" fmla="*/ 58 h 101"/>
                <a:gd name="T70" fmla="*/ 30 w 2609"/>
                <a:gd name="T71" fmla="*/ 52 h 101"/>
                <a:gd name="T72" fmla="*/ 13 w 2609"/>
                <a:gd name="T73" fmla="*/ 55 h 101"/>
                <a:gd name="T74" fmla="*/ 4 w 2609"/>
                <a:gd name="T75" fmla="*/ 46 h 101"/>
                <a:gd name="T76" fmla="*/ 6 w 2609"/>
                <a:gd name="T77" fmla="*/ 41 h 101"/>
                <a:gd name="T78" fmla="*/ 23 w 2609"/>
                <a:gd name="T79" fmla="*/ 43 h 101"/>
                <a:gd name="T80" fmla="*/ 29 w 2609"/>
                <a:gd name="T81" fmla="*/ 40 h 101"/>
                <a:gd name="T82" fmla="*/ 23 w 2609"/>
                <a:gd name="T83" fmla="*/ 40 h 101"/>
                <a:gd name="T84" fmla="*/ 17 w 2609"/>
                <a:gd name="T85" fmla="*/ 37 h 101"/>
                <a:gd name="T86" fmla="*/ 0 w 2609"/>
                <a:gd name="T87" fmla="*/ 34 h 101"/>
                <a:gd name="T88" fmla="*/ 17 w 2609"/>
                <a:gd name="T89" fmla="*/ 33 h 101"/>
                <a:gd name="T90" fmla="*/ 19 w 2609"/>
                <a:gd name="T91" fmla="*/ 26 h 101"/>
                <a:gd name="T92" fmla="*/ 38 w 2609"/>
                <a:gd name="T93" fmla="*/ 26 h 101"/>
                <a:gd name="T94" fmla="*/ 37 w 2609"/>
                <a:gd name="T95" fmla="*/ 21 h 101"/>
                <a:gd name="T96" fmla="*/ 21 w 2609"/>
                <a:gd name="T97" fmla="*/ 19 h 101"/>
                <a:gd name="T98" fmla="*/ 31 w 2609"/>
                <a:gd name="T99" fmla="*/ 14 h 101"/>
                <a:gd name="T100" fmla="*/ 41 w 2609"/>
                <a:gd name="T101" fmla="*/ 9 h 101"/>
                <a:gd name="T102" fmla="*/ 43 w 2609"/>
                <a:gd name="T103" fmla="*/ 6 h 101"/>
                <a:gd name="T104" fmla="*/ 36 w 2609"/>
                <a:gd name="T105" fmla="*/ 1 h 101"/>
                <a:gd name="T106" fmla="*/ 56 w 2609"/>
                <a:gd name="T107" fmla="*/ 3 h 101"/>
                <a:gd name="T108" fmla="*/ 71 w 2609"/>
                <a:gd name="T109" fmla="*/ 14 h 101"/>
                <a:gd name="T110" fmla="*/ 83 w 2609"/>
                <a:gd name="T111" fmla="*/ 26 h 101"/>
                <a:gd name="T112" fmla="*/ 2573 w 2609"/>
                <a:gd name="T113" fmla="*/ 43 h 101"/>
                <a:gd name="T114" fmla="*/ 2584 w 2609"/>
                <a:gd name="T115" fmla="*/ 43 h 101"/>
                <a:gd name="T116" fmla="*/ 2601 w 2609"/>
                <a:gd name="T117" fmla="*/ 44 h 101"/>
                <a:gd name="T118" fmla="*/ 2601 w 2609"/>
                <a:gd name="T119" fmla="*/ 52 h 101"/>
                <a:gd name="T120" fmla="*/ 2583 w 2609"/>
                <a:gd name="T121" fmla="*/ 53 h 101"/>
                <a:gd name="T122" fmla="*/ 2577 w 2609"/>
                <a:gd name="T123" fmla="*/ 5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09" h="101">
                  <a:moveTo>
                    <a:pt x="92" y="27"/>
                  </a:moveTo>
                  <a:lnTo>
                    <a:pt x="92" y="27"/>
                  </a:lnTo>
                  <a:lnTo>
                    <a:pt x="96" y="27"/>
                  </a:lnTo>
                  <a:lnTo>
                    <a:pt x="98" y="27"/>
                  </a:lnTo>
                  <a:lnTo>
                    <a:pt x="101" y="27"/>
                  </a:lnTo>
                  <a:lnTo>
                    <a:pt x="103" y="28"/>
                  </a:lnTo>
                  <a:lnTo>
                    <a:pt x="102" y="32"/>
                  </a:lnTo>
                  <a:lnTo>
                    <a:pt x="103" y="34"/>
                  </a:lnTo>
                  <a:lnTo>
                    <a:pt x="103" y="37"/>
                  </a:lnTo>
                  <a:lnTo>
                    <a:pt x="106" y="38"/>
                  </a:lnTo>
                  <a:lnTo>
                    <a:pt x="109" y="40"/>
                  </a:lnTo>
                  <a:lnTo>
                    <a:pt x="111" y="41"/>
                  </a:lnTo>
                  <a:lnTo>
                    <a:pt x="115" y="40"/>
                  </a:lnTo>
                  <a:lnTo>
                    <a:pt x="117" y="41"/>
                  </a:lnTo>
                  <a:lnTo>
                    <a:pt x="116" y="38"/>
                  </a:lnTo>
                  <a:lnTo>
                    <a:pt x="113" y="37"/>
                  </a:lnTo>
                  <a:lnTo>
                    <a:pt x="110" y="35"/>
                  </a:lnTo>
                  <a:lnTo>
                    <a:pt x="110" y="32"/>
                  </a:lnTo>
                  <a:lnTo>
                    <a:pt x="114" y="31"/>
                  </a:lnTo>
                  <a:lnTo>
                    <a:pt x="116" y="31"/>
                  </a:lnTo>
                  <a:lnTo>
                    <a:pt x="119" y="31"/>
                  </a:lnTo>
                  <a:lnTo>
                    <a:pt x="122" y="32"/>
                  </a:lnTo>
                  <a:lnTo>
                    <a:pt x="125" y="33"/>
                  </a:lnTo>
                  <a:lnTo>
                    <a:pt x="125" y="36"/>
                  </a:lnTo>
                  <a:lnTo>
                    <a:pt x="125" y="38"/>
                  </a:lnTo>
                  <a:lnTo>
                    <a:pt x="123" y="40"/>
                  </a:lnTo>
                  <a:lnTo>
                    <a:pt x="119" y="41"/>
                  </a:lnTo>
                  <a:lnTo>
                    <a:pt x="123" y="42"/>
                  </a:lnTo>
                  <a:lnTo>
                    <a:pt x="125" y="42"/>
                  </a:lnTo>
                  <a:lnTo>
                    <a:pt x="128" y="42"/>
                  </a:lnTo>
                  <a:lnTo>
                    <a:pt x="131" y="44"/>
                  </a:lnTo>
                  <a:lnTo>
                    <a:pt x="133" y="46"/>
                  </a:lnTo>
                  <a:lnTo>
                    <a:pt x="131" y="46"/>
                  </a:lnTo>
                  <a:lnTo>
                    <a:pt x="127" y="50"/>
                  </a:lnTo>
                  <a:lnTo>
                    <a:pt x="131" y="49"/>
                  </a:lnTo>
                  <a:lnTo>
                    <a:pt x="134" y="49"/>
                  </a:lnTo>
                  <a:lnTo>
                    <a:pt x="132" y="51"/>
                  </a:lnTo>
                  <a:lnTo>
                    <a:pt x="132" y="53"/>
                  </a:lnTo>
                  <a:lnTo>
                    <a:pt x="130" y="57"/>
                  </a:lnTo>
                  <a:lnTo>
                    <a:pt x="127" y="59"/>
                  </a:lnTo>
                  <a:lnTo>
                    <a:pt x="131" y="59"/>
                  </a:lnTo>
                  <a:lnTo>
                    <a:pt x="133" y="57"/>
                  </a:lnTo>
                  <a:lnTo>
                    <a:pt x="136" y="57"/>
                  </a:lnTo>
                  <a:lnTo>
                    <a:pt x="139" y="55"/>
                  </a:lnTo>
                  <a:lnTo>
                    <a:pt x="142" y="55"/>
                  </a:lnTo>
                  <a:lnTo>
                    <a:pt x="144" y="57"/>
                  </a:lnTo>
                  <a:lnTo>
                    <a:pt x="145" y="59"/>
                  </a:lnTo>
                  <a:lnTo>
                    <a:pt x="147" y="61"/>
                  </a:lnTo>
                  <a:lnTo>
                    <a:pt x="149" y="59"/>
                  </a:lnTo>
                  <a:lnTo>
                    <a:pt x="150" y="57"/>
                  </a:lnTo>
                  <a:lnTo>
                    <a:pt x="153" y="58"/>
                  </a:lnTo>
                  <a:lnTo>
                    <a:pt x="154" y="60"/>
                  </a:lnTo>
                  <a:lnTo>
                    <a:pt x="158" y="63"/>
                  </a:lnTo>
                  <a:lnTo>
                    <a:pt x="160" y="64"/>
                  </a:lnTo>
                  <a:lnTo>
                    <a:pt x="161" y="67"/>
                  </a:lnTo>
                  <a:lnTo>
                    <a:pt x="158" y="68"/>
                  </a:lnTo>
                  <a:lnTo>
                    <a:pt x="156" y="69"/>
                  </a:lnTo>
                  <a:lnTo>
                    <a:pt x="152" y="70"/>
                  </a:lnTo>
                  <a:lnTo>
                    <a:pt x="150" y="71"/>
                  </a:lnTo>
                  <a:lnTo>
                    <a:pt x="143" y="72"/>
                  </a:lnTo>
                  <a:lnTo>
                    <a:pt x="141" y="74"/>
                  </a:lnTo>
                  <a:lnTo>
                    <a:pt x="139" y="76"/>
                  </a:lnTo>
                  <a:lnTo>
                    <a:pt x="136" y="76"/>
                  </a:lnTo>
                  <a:lnTo>
                    <a:pt x="133" y="74"/>
                  </a:lnTo>
                  <a:lnTo>
                    <a:pt x="134" y="77"/>
                  </a:lnTo>
                  <a:lnTo>
                    <a:pt x="132" y="79"/>
                  </a:lnTo>
                  <a:lnTo>
                    <a:pt x="128" y="81"/>
                  </a:lnTo>
                  <a:lnTo>
                    <a:pt x="126" y="84"/>
                  </a:lnTo>
                  <a:lnTo>
                    <a:pt x="124" y="86"/>
                  </a:lnTo>
                  <a:lnTo>
                    <a:pt x="122" y="84"/>
                  </a:lnTo>
                  <a:lnTo>
                    <a:pt x="119" y="81"/>
                  </a:lnTo>
                  <a:lnTo>
                    <a:pt x="120" y="78"/>
                  </a:lnTo>
                  <a:lnTo>
                    <a:pt x="120" y="76"/>
                  </a:lnTo>
                  <a:lnTo>
                    <a:pt x="123" y="74"/>
                  </a:lnTo>
                  <a:lnTo>
                    <a:pt x="119" y="75"/>
                  </a:lnTo>
                  <a:lnTo>
                    <a:pt x="117" y="77"/>
                  </a:lnTo>
                  <a:lnTo>
                    <a:pt x="116" y="80"/>
                  </a:lnTo>
                  <a:lnTo>
                    <a:pt x="117" y="83"/>
                  </a:lnTo>
                  <a:lnTo>
                    <a:pt x="117" y="85"/>
                  </a:lnTo>
                  <a:lnTo>
                    <a:pt x="120" y="86"/>
                  </a:lnTo>
                  <a:lnTo>
                    <a:pt x="120" y="89"/>
                  </a:lnTo>
                  <a:lnTo>
                    <a:pt x="118" y="91"/>
                  </a:lnTo>
                  <a:lnTo>
                    <a:pt x="115" y="91"/>
                  </a:lnTo>
                  <a:lnTo>
                    <a:pt x="113" y="87"/>
                  </a:lnTo>
                  <a:lnTo>
                    <a:pt x="109" y="89"/>
                  </a:lnTo>
                  <a:lnTo>
                    <a:pt x="113" y="92"/>
                  </a:lnTo>
                  <a:lnTo>
                    <a:pt x="111" y="95"/>
                  </a:lnTo>
                  <a:lnTo>
                    <a:pt x="110" y="97"/>
                  </a:lnTo>
                  <a:lnTo>
                    <a:pt x="108" y="101"/>
                  </a:lnTo>
                  <a:lnTo>
                    <a:pt x="105" y="100"/>
                  </a:lnTo>
                  <a:lnTo>
                    <a:pt x="100" y="94"/>
                  </a:lnTo>
                  <a:lnTo>
                    <a:pt x="97" y="92"/>
                  </a:lnTo>
                  <a:lnTo>
                    <a:pt x="92" y="87"/>
                  </a:lnTo>
                  <a:lnTo>
                    <a:pt x="91" y="88"/>
                  </a:lnTo>
                  <a:lnTo>
                    <a:pt x="92" y="91"/>
                  </a:lnTo>
                  <a:lnTo>
                    <a:pt x="93" y="93"/>
                  </a:lnTo>
                  <a:lnTo>
                    <a:pt x="97" y="95"/>
                  </a:lnTo>
                  <a:lnTo>
                    <a:pt x="98" y="97"/>
                  </a:lnTo>
                  <a:lnTo>
                    <a:pt x="98" y="101"/>
                  </a:lnTo>
                  <a:lnTo>
                    <a:pt x="92" y="96"/>
                  </a:lnTo>
                  <a:lnTo>
                    <a:pt x="90" y="95"/>
                  </a:lnTo>
                  <a:lnTo>
                    <a:pt x="88" y="95"/>
                  </a:lnTo>
                  <a:lnTo>
                    <a:pt x="84" y="95"/>
                  </a:lnTo>
                  <a:lnTo>
                    <a:pt x="82" y="95"/>
                  </a:lnTo>
                  <a:lnTo>
                    <a:pt x="84" y="96"/>
                  </a:lnTo>
                  <a:lnTo>
                    <a:pt x="88" y="97"/>
                  </a:lnTo>
                  <a:lnTo>
                    <a:pt x="89" y="100"/>
                  </a:lnTo>
                  <a:lnTo>
                    <a:pt x="85" y="101"/>
                  </a:lnTo>
                  <a:lnTo>
                    <a:pt x="80" y="101"/>
                  </a:lnTo>
                  <a:lnTo>
                    <a:pt x="77" y="100"/>
                  </a:lnTo>
                  <a:lnTo>
                    <a:pt x="74" y="100"/>
                  </a:lnTo>
                  <a:lnTo>
                    <a:pt x="72" y="100"/>
                  </a:lnTo>
                  <a:lnTo>
                    <a:pt x="68" y="98"/>
                  </a:lnTo>
                  <a:lnTo>
                    <a:pt x="66" y="98"/>
                  </a:lnTo>
                  <a:lnTo>
                    <a:pt x="63" y="98"/>
                  </a:lnTo>
                  <a:lnTo>
                    <a:pt x="62" y="95"/>
                  </a:lnTo>
                  <a:lnTo>
                    <a:pt x="59" y="96"/>
                  </a:lnTo>
                  <a:lnTo>
                    <a:pt x="56" y="94"/>
                  </a:lnTo>
                  <a:lnTo>
                    <a:pt x="54" y="93"/>
                  </a:lnTo>
                  <a:lnTo>
                    <a:pt x="53" y="91"/>
                  </a:lnTo>
                  <a:lnTo>
                    <a:pt x="55" y="91"/>
                  </a:lnTo>
                  <a:lnTo>
                    <a:pt x="58" y="89"/>
                  </a:lnTo>
                  <a:lnTo>
                    <a:pt x="62" y="89"/>
                  </a:lnTo>
                  <a:lnTo>
                    <a:pt x="64" y="89"/>
                  </a:lnTo>
                  <a:lnTo>
                    <a:pt x="67" y="88"/>
                  </a:lnTo>
                  <a:lnTo>
                    <a:pt x="70" y="88"/>
                  </a:lnTo>
                  <a:lnTo>
                    <a:pt x="67" y="88"/>
                  </a:lnTo>
                  <a:lnTo>
                    <a:pt x="64" y="87"/>
                  </a:lnTo>
                  <a:lnTo>
                    <a:pt x="62" y="87"/>
                  </a:lnTo>
                  <a:lnTo>
                    <a:pt x="58" y="87"/>
                  </a:lnTo>
                  <a:lnTo>
                    <a:pt x="56" y="87"/>
                  </a:lnTo>
                  <a:lnTo>
                    <a:pt x="53" y="86"/>
                  </a:lnTo>
                  <a:lnTo>
                    <a:pt x="50" y="87"/>
                  </a:lnTo>
                  <a:lnTo>
                    <a:pt x="47" y="87"/>
                  </a:lnTo>
                  <a:lnTo>
                    <a:pt x="46" y="85"/>
                  </a:lnTo>
                  <a:lnTo>
                    <a:pt x="43" y="85"/>
                  </a:lnTo>
                  <a:lnTo>
                    <a:pt x="41" y="81"/>
                  </a:lnTo>
                  <a:lnTo>
                    <a:pt x="45" y="83"/>
                  </a:lnTo>
                  <a:lnTo>
                    <a:pt x="48" y="83"/>
                  </a:lnTo>
                  <a:lnTo>
                    <a:pt x="50" y="83"/>
                  </a:lnTo>
                  <a:lnTo>
                    <a:pt x="48" y="81"/>
                  </a:lnTo>
                  <a:lnTo>
                    <a:pt x="45" y="80"/>
                  </a:lnTo>
                  <a:lnTo>
                    <a:pt x="42" y="80"/>
                  </a:lnTo>
                  <a:lnTo>
                    <a:pt x="39" y="80"/>
                  </a:lnTo>
                  <a:lnTo>
                    <a:pt x="37" y="78"/>
                  </a:lnTo>
                  <a:lnTo>
                    <a:pt x="34" y="75"/>
                  </a:lnTo>
                  <a:lnTo>
                    <a:pt x="37" y="75"/>
                  </a:lnTo>
                  <a:lnTo>
                    <a:pt x="40" y="74"/>
                  </a:lnTo>
                  <a:lnTo>
                    <a:pt x="43" y="74"/>
                  </a:lnTo>
                  <a:lnTo>
                    <a:pt x="46" y="70"/>
                  </a:lnTo>
                  <a:lnTo>
                    <a:pt x="48" y="70"/>
                  </a:lnTo>
                  <a:lnTo>
                    <a:pt x="51" y="70"/>
                  </a:lnTo>
                  <a:lnTo>
                    <a:pt x="54" y="70"/>
                  </a:lnTo>
                  <a:lnTo>
                    <a:pt x="57" y="70"/>
                  </a:lnTo>
                  <a:lnTo>
                    <a:pt x="59" y="70"/>
                  </a:lnTo>
                  <a:lnTo>
                    <a:pt x="63" y="70"/>
                  </a:lnTo>
                  <a:lnTo>
                    <a:pt x="65" y="70"/>
                  </a:lnTo>
                  <a:lnTo>
                    <a:pt x="68" y="70"/>
                  </a:lnTo>
                  <a:lnTo>
                    <a:pt x="71" y="69"/>
                  </a:lnTo>
                  <a:lnTo>
                    <a:pt x="73" y="69"/>
                  </a:lnTo>
                  <a:lnTo>
                    <a:pt x="76" y="69"/>
                  </a:lnTo>
                  <a:lnTo>
                    <a:pt x="79" y="69"/>
                  </a:lnTo>
                  <a:lnTo>
                    <a:pt x="82" y="69"/>
                  </a:lnTo>
                  <a:lnTo>
                    <a:pt x="84" y="68"/>
                  </a:lnTo>
                  <a:lnTo>
                    <a:pt x="82" y="68"/>
                  </a:lnTo>
                  <a:lnTo>
                    <a:pt x="76" y="68"/>
                  </a:lnTo>
                  <a:lnTo>
                    <a:pt x="73" y="68"/>
                  </a:lnTo>
                  <a:lnTo>
                    <a:pt x="71" y="68"/>
                  </a:lnTo>
                  <a:lnTo>
                    <a:pt x="67" y="69"/>
                  </a:lnTo>
                  <a:lnTo>
                    <a:pt x="65" y="69"/>
                  </a:lnTo>
                  <a:lnTo>
                    <a:pt x="62" y="69"/>
                  </a:lnTo>
                  <a:lnTo>
                    <a:pt x="59" y="68"/>
                  </a:lnTo>
                  <a:lnTo>
                    <a:pt x="56" y="66"/>
                  </a:lnTo>
                  <a:lnTo>
                    <a:pt x="59" y="66"/>
                  </a:lnTo>
                  <a:lnTo>
                    <a:pt x="62" y="66"/>
                  </a:lnTo>
                  <a:lnTo>
                    <a:pt x="65" y="66"/>
                  </a:lnTo>
                  <a:lnTo>
                    <a:pt x="67" y="66"/>
                  </a:lnTo>
                  <a:lnTo>
                    <a:pt x="70" y="66"/>
                  </a:lnTo>
                  <a:lnTo>
                    <a:pt x="73" y="64"/>
                  </a:lnTo>
                  <a:lnTo>
                    <a:pt x="76" y="63"/>
                  </a:lnTo>
                  <a:lnTo>
                    <a:pt x="73" y="63"/>
                  </a:lnTo>
                  <a:lnTo>
                    <a:pt x="71" y="63"/>
                  </a:lnTo>
                  <a:lnTo>
                    <a:pt x="67" y="64"/>
                  </a:lnTo>
                  <a:lnTo>
                    <a:pt x="64" y="64"/>
                  </a:lnTo>
                  <a:lnTo>
                    <a:pt x="62" y="64"/>
                  </a:lnTo>
                  <a:lnTo>
                    <a:pt x="58" y="62"/>
                  </a:lnTo>
                  <a:lnTo>
                    <a:pt x="60" y="61"/>
                  </a:lnTo>
                  <a:lnTo>
                    <a:pt x="58" y="61"/>
                  </a:lnTo>
                  <a:lnTo>
                    <a:pt x="55" y="62"/>
                  </a:lnTo>
                  <a:lnTo>
                    <a:pt x="53" y="62"/>
                  </a:lnTo>
                  <a:lnTo>
                    <a:pt x="49" y="61"/>
                  </a:lnTo>
                  <a:lnTo>
                    <a:pt x="49" y="64"/>
                  </a:lnTo>
                  <a:lnTo>
                    <a:pt x="46" y="64"/>
                  </a:lnTo>
                  <a:lnTo>
                    <a:pt x="46" y="61"/>
                  </a:lnTo>
                  <a:lnTo>
                    <a:pt x="45" y="64"/>
                  </a:lnTo>
                  <a:lnTo>
                    <a:pt x="41" y="66"/>
                  </a:lnTo>
                  <a:lnTo>
                    <a:pt x="38" y="67"/>
                  </a:lnTo>
                  <a:lnTo>
                    <a:pt x="36" y="66"/>
                  </a:lnTo>
                  <a:lnTo>
                    <a:pt x="38" y="63"/>
                  </a:lnTo>
                  <a:lnTo>
                    <a:pt x="34" y="63"/>
                  </a:lnTo>
                  <a:lnTo>
                    <a:pt x="32" y="64"/>
                  </a:lnTo>
                  <a:lnTo>
                    <a:pt x="29" y="66"/>
                  </a:lnTo>
                  <a:lnTo>
                    <a:pt x="26" y="66"/>
                  </a:lnTo>
                  <a:lnTo>
                    <a:pt x="23" y="67"/>
                  </a:lnTo>
                  <a:lnTo>
                    <a:pt x="21" y="66"/>
                  </a:lnTo>
                  <a:lnTo>
                    <a:pt x="20" y="62"/>
                  </a:lnTo>
                  <a:lnTo>
                    <a:pt x="17" y="63"/>
                  </a:lnTo>
                  <a:lnTo>
                    <a:pt x="14" y="61"/>
                  </a:lnTo>
                  <a:lnTo>
                    <a:pt x="15" y="58"/>
                  </a:lnTo>
                  <a:lnTo>
                    <a:pt x="17" y="58"/>
                  </a:lnTo>
                  <a:lnTo>
                    <a:pt x="21" y="58"/>
                  </a:lnTo>
                  <a:lnTo>
                    <a:pt x="23" y="57"/>
                  </a:lnTo>
                  <a:lnTo>
                    <a:pt x="26" y="57"/>
                  </a:lnTo>
                  <a:lnTo>
                    <a:pt x="32" y="54"/>
                  </a:lnTo>
                  <a:lnTo>
                    <a:pt x="32" y="52"/>
                  </a:lnTo>
                  <a:lnTo>
                    <a:pt x="30" y="52"/>
                  </a:lnTo>
                  <a:lnTo>
                    <a:pt x="26" y="54"/>
                  </a:lnTo>
                  <a:lnTo>
                    <a:pt x="24" y="54"/>
                  </a:lnTo>
                  <a:lnTo>
                    <a:pt x="21" y="55"/>
                  </a:lnTo>
                  <a:lnTo>
                    <a:pt x="19" y="55"/>
                  </a:lnTo>
                  <a:lnTo>
                    <a:pt x="15" y="55"/>
                  </a:lnTo>
                  <a:lnTo>
                    <a:pt x="13" y="55"/>
                  </a:lnTo>
                  <a:lnTo>
                    <a:pt x="9" y="53"/>
                  </a:lnTo>
                  <a:lnTo>
                    <a:pt x="7" y="52"/>
                  </a:lnTo>
                  <a:lnTo>
                    <a:pt x="5" y="50"/>
                  </a:lnTo>
                  <a:lnTo>
                    <a:pt x="4" y="47"/>
                  </a:lnTo>
                  <a:lnTo>
                    <a:pt x="7" y="46"/>
                  </a:lnTo>
                  <a:lnTo>
                    <a:pt x="4" y="46"/>
                  </a:lnTo>
                  <a:lnTo>
                    <a:pt x="2" y="44"/>
                  </a:lnTo>
                  <a:lnTo>
                    <a:pt x="3" y="43"/>
                  </a:lnTo>
                  <a:lnTo>
                    <a:pt x="0" y="43"/>
                  </a:lnTo>
                  <a:lnTo>
                    <a:pt x="0" y="40"/>
                  </a:lnTo>
                  <a:lnTo>
                    <a:pt x="4" y="40"/>
                  </a:lnTo>
                  <a:lnTo>
                    <a:pt x="6" y="41"/>
                  </a:lnTo>
                  <a:lnTo>
                    <a:pt x="9" y="42"/>
                  </a:lnTo>
                  <a:lnTo>
                    <a:pt x="12" y="43"/>
                  </a:lnTo>
                  <a:lnTo>
                    <a:pt x="15" y="43"/>
                  </a:lnTo>
                  <a:lnTo>
                    <a:pt x="17" y="43"/>
                  </a:lnTo>
                  <a:lnTo>
                    <a:pt x="21" y="43"/>
                  </a:lnTo>
                  <a:lnTo>
                    <a:pt x="23" y="43"/>
                  </a:lnTo>
                  <a:lnTo>
                    <a:pt x="26" y="43"/>
                  </a:lnTo>
                  <a:lnTo>
                    <a:pt x="30" y="44"/>
                  </a:lnTo>
                  <a:lnTo>
                    <a:pt x="31" y="44"/>
                  </a:lnTo>
                  <a:lnTo>
                    <a:pt x="31" y="44"/>
                  </a:lnTo>
                  <a:lnTo>
                    <a:pt x="29" y="43"/>
                  </a:lnTo>
                  <a:lnTo>
                    <a:pt x="29" y="40"/>
                  </a:lnTo>
                  <a:lnTo>
                    <a:pt x="32" y="38"/>
                  </a:lnTo>
                  <a:lnTo>
                    <a:pt x="34" y="38"/>
                  </a:lnTo>
                  <a:lnTo>
                    <a:pt x="31" y="38"/>
                  </a:lnTo>
                  <a:lnTo>
                    <a:pt x="29" y="37"/>
                  </a:lnTo>
                  <a:lnTo>
                    <a:pt x="26" y="40"/>
                  </a:lnTo>
                  <a:lnTo>
                    <a:pt x="23" y="40"/>
                  </a:lnTo>
                  <a:lnTo>
                    <a:pt x="21" y="41"/>
                  </a:lnTo>
                  <a:lnTo>
                    <a:pt x="17" y="41"/>
                  </a:lnTo>
                  <a:lnTo>
                    <a:pt x="15" y="38"/>
                  </a:lnTo>
                  <a:lnTo>
                    <a:pt x="17" y="38"/>
                  </a:lnTo>
                  <a:lnTo>
                    <a:pt x="21" y="36"/>
                  </a:lnTo>
                  <a:lnTo>
                    <a:pt x="17" y="37"/>
                  </a:lnTo>
                  <a:lnTo>
                    <a:pt x="15" y="36"/>
                  </a:lnTo>
                  <a:lnTo>
                    <a:pt x="12" y="38"/>
                  </a:lnTo>
                  <a:lnTo>
                    <a:pt x="9" y="37"/>
                  </a:lnTo>
                  <a:lnTo>
                    <a:pt x="6" y="36"/>
                  </a:lnTo>
                  <a:lnTo>
                    <a:pt x="4" y="34"/>
                  </a:lnTo>
                  <a:lnTo>
                    <a:pt x="0" y="34"/>
                  </a:lnTo>
                  <a:lnTo>
                    <a:pt x="4" y="34"/>
                  </a:lnTo>
                  <a:lnTo>
                    <a:pt x="6" y="33"/>
                  </a:lnTo>
                  <a:lnTo>
                    <a:pt x="9" y="32"/>
                  </a:lnTo>
                  <a:lnTo>
                    <a:pt x="12" y="33"/>
                  </a:lnTo>
                  <a:lnTo>
                    <a:pt x="14" y="33"/>
                  </a:lnTo>
                  <a:lnTo>
                    <a:pt x="17" y="33"/>
                  </a:lnTo>
                  <a:lnTo>
                    <a:pt x="15" y="32"/>
                  </a:lnTo>
                  <a:lnTo>
                    <a:pt x="12" y="31"/>
                  </a:lnTo>
                  <a:lnTo>
                    <a:pt x="9" y="28"/>
                  </a:lnTo>
                  <a:lnTo>
                    <a:pt x="12" y="26"/>
                  </a:lnTo>
                  <a:lnTo>
                    <a:pt x="15" y="26"/>
                  </a:lnTo>
                  <a:lnTo>
                    <a:pt x="19" y="26"/>
                  </a:lnTo>
                  <a:lnTo>
                    <a:pt x="21" y="26"/>
                  </a:lnTo>
                  <a:lnTo>
                    <a:pt x="24" y="25"/>
                  </a:lnTo>
                  <a:lnTo>
                    <a:pt x="26" y="26"/>
                  </a:lnTo>
                  <a:lnTo>
                    <a:pt x="30" y="27"/>
                  </a:lnTo>
                  <a:lnTo>
                    <a:pt x="36" y="27"/>
                  </a:lnTo>
                  <a:lnTo>
                    <a:pt x="38" y="26"/>
                  </a:lnTo>
                  <a:lnTo>
                    <a:pt x="36" y="26"/>
                  </a:lnTo>
                  <a:lnTo>
                    <a:pt x="32" y="25"/>
                  </a:lnTo>
                  <a:lnTo>
                    <a:pt x="30" y="25"/>
                  </a:lnTo>
                  <a:lnTo>
                    <a:pt x="31" y="23"/>
                  </a:lnTo>
                  <a:lnTo>
                    <a:pt x="33" y="23"/>
                  </a:lnTo>
                  <a:lnTo>
                    <a:pt x="37" y="21"/>
                  </a:lnTo>
                  <a:lnTo>
                    <a:pt x="33" y="21"/>
                  </a:lnTo>
                  <a:lnTo>
                    <a:pt x="31" y="21"/>
                  </a:lnTo>
                  <a:lnTo>
                    <a:pt x="30" y="21"/>
                  </a:lnTo>
                  <a:lnTo>
                    <a:pt x="26" y="21"/>
                  </a:lnTo>
                  <a:lnTo>
                    <a:pt x="24" y="18"/>
                  </a:lnTo>
                  <a:lnTo>
                    <a:pt x="21" y="19"/>
                  </a:lnTo>
                  <a:lnTo>
                    <a:pt x="19" y="17"/>
                  </a:lnTo>
                  <a:lnTo>
                    <a:pt x="20" y="15"/>
                  </a:lnTo>
                  <a:lnTo>
                    <a:pt x="22" y="11"/>
                  </a:lnTo>
                  <a:lnTo>
                    <a:pt x="25" y="11"/>
                  </a:lnTo>
                  <a:lnTo>
                    <a:pt x="28" y="11"/>
                  </a:lnTo>
                  <a:lnTo>
                    <a:pt x="31" y="14"/>
                  </a:lnTo>
                  <a:lnTo>
                    <a:pt x="33" y="12"/>
                  </a:lnTo>
                  <a:lnTo>
                    <a:pt x="39" y="11"/>
                  </a:lnTo>
                  <a:lnTo>
                    <a:pt x="36" y="11"/>
                  </a:lnTo>
                  <a:lnTo>
                    <a:pt x="32" y="9"/>
                  </a:lnTo>
                  <a:lnTo>
                    <a:pt x="36" y="9"/>
                  </a:lnTo>
                  <a:lnTo>
                    <a:pt x="41" y="9"/>
                  </a:lnTo>
                  <a:lnTo>
                    <a:pt x="43" y="10"/>
                  </a:lnTo>
                  <a:lnTo>
                    <a:pt x="46" y="10"/>
                  </a:lnTo>
                  <a:lnTo>
                    <a:pt x="49" y="9"/>
                  </a:lnTo>
                  <a:lnTo>
                    <a:pt x="49" y="7"/>
                  </a:lnTo>
                  <a:lnTo>
                    <a:pt x="47" y="6"/>
                  </a:lnTo>
                  <a:lnTo>
                    <a:pt x="43" y="6"/>
                  </a:lnTo>
                  <a:lnTo>
                    <a:pt x="40" y="6"/>
                  </a:lnTo>
                  <a:lnTo>
                    <a:pt x="38" y="6"/>
                  </a:lnTo>
                  <a:lnTo>
                    <a:pt x="36" y="6"/>
                  </a:lnTo>
                  <a:lnTo>
                    <a:pt x="32" y="4"/>
                  </a:lnTo>
                  <a:lnTo>
                    <a:pt x="33" y="1"/>
                  </a:lnTo>
                  <a:lnTo>
                    <a:pt x="36" y="1"/>
                  </a:lnTo>
                  <a:lnTo>
                    <a:pt x="39" y="1"/>
                  </a:lnTo>
                  <a:lnTo>
                    <a:pt x="41" y="1"/>
                  </a:lnTo>
                  <a:lnTo>
                    <a:pt x="45" y="0"/>
                  </a:lnTo>
                  <a:lnTo>
                    <a:pt x="50" y="1"/>
                  </a:lnTo>
                  <a:lnTo>
                    <a:pt x="54" y="2"/>
                  </a:lnTo>
                  <a:lnTo>
                    <a:pt x="56" y="3"/>
                  </a:lnTo>
                  <a:lnTo>
                    <a:pt x="58" y="3"/>
                  </a:lnTo>
                  <a:lnTo>
                    <a:pt x="62" y="4"/>
                  </a:lnTo>
                  <a:lnTo>
                    <a:pt x="64" y="6"/>
                  </a:lnTo>
                  <a:lnTo>
                    <a:pt x="67" y="8"/>
                  </a:lnTo>
                  <a:lnTo>
                    <a:pt x="68" y="11"/>
                  </a:lnTo>
                  <a:lnTo>
                    <a:pt x="71" y="14"/>
                  </a:lnTo>
                  <a:lnTo>
                    <a:pt x="74" y="16"/>
                  </a:lnTo>
                  <a:lnTo>
                    <a:pt x="76" y="18"/>
                  </a:lnTo>
                  <a:lnTo>
                    <a:pt x="79" y="21"/>
                  </a:lnTo>
                  <a:lnTo>
                    <a:pt x="81" y="21"/>
                  </a:lnTo>
                  <a:lnTo>
                    <a:pt x="84" y="24"/>
                  </a:lnTo>
                  <a:lnTo>
                    <a:pt x="83" y="26"/>
                  </a:lnTo>
                  <a:lnTo>
                    <a:pt x="87" y="27"/>
                  </a:lnTo>
                  <a:lnTo>
                    <a:pt x="90" y="27"/>
                  </a:lnTo>
                  <a:lnTo>
                    <a:pt x="92" y="27"/>
                  </a:lnTo>
                  <a:lnTo>
                    <a:pt x="92" y="27"/>
                  </a:lnTo>
                  <a:close/>
                  <a:moveTo>
                    <a:pt x="2573" y="44"/>
                  </a:moveTo>
                  <a:lnTo>
                    <a:pt x="2573" y="43"/>
                  </a:lnTo>
                  <a:lnTo>
                    <a:pt x="2571" y="42"/>
                  </a:lnTo>
                  <a:lnTo>
                    <a:pt x="2573" y="43"/>
                  </a:lnTo>
                  <a:lnTo>
                    <a:pt x="2576" y="43"/>
                  </a:lnTo>
                  <a:lnTo>
                    <a:pt x="2579" y="43"/>
                  </a:lnTo>
                  <a:lnTo>
                    <a:pt x="2582" y="43"/>
                  </a:lnTo>
                  <a:lnTo>
                    <a:pt x="2584" y="43"/>
                  </a:lnTo>
                  <a:lnTo>
                    <a:pt x="2588" y="43"/>
                  </a:lnTo>
                  <a:lnTo>
                    <a:pt x="2591" y="43"/>
                  </a:lnTo>
                  <a:lnTo>
                    <a:pt x="2593" y="44"/>
                  </a:lnTo>
                  <a:lnTo>
                    <a:pt x="2597" y="43"/>
                  </a:lnTo>
                  <a:lnTo>
                    <a:pt x="2599" y="44"/>
                  </a:lnTo>
                  <a:lnTo>
                    <a:pt x="2601" y="44"/>
                  </a:lnTo>
                  <a:lnTo>
                    <a:pt x="2603" y="45"/>
                  </a:lnTo>
                  <a:lnTo>
                    <a:pt x="2607" y="46"/>
                  </a:lnTo>
                  <a:lnTo>
                    <a:pt x="2609" y="47"/>
                  </a:lnTo>
                  <a:lnTo>
                    <a:pt x="2607" y="50"/>
                  </a:lnTo>
                  <a:lnTo>
                    <a:pt x="2603" y="51"/>
                  </a:lnTo>
                  <a:lnTo>
                    <a:pt x="2601" y="52"/>
                  </a:lnTo>
                  <a:lnTo>
                    <a:pt x="2598" y="53"/>
                  </a:lnTo>
                  <a:lnTo>
                    <a:pt x="2596" y="54"/>
                  </a:lnTo>
                  <a:lnTo>
                    <a:pt x="2592" y="54"/>
                  </a:lnTo>
                  <a:lnTo>
                    <a:pt x="2590" y="55"/>
                  </a:lnTo>
                  <a:lnTo>
                    <a:pt x="2586" y="54"/>
                  </a:lnTo>
                  <a:lnTo>
                    <a:pt x="2583" y="53"/>
                  </a:lnTo>
                  <a:lnTo>
                    <a:pt x="2586" y="52"/>
                  </a:lnTo>
                  <a:lnTo>
                    <a:pt x="2589" y="52"/>
                  </a:lnTo>
                  <a:lnTo>
                    <a:pt x="2586" y="51"/>
                  </a:lnTo>
                  <a:lnTo>
                    <a:pt x="2583" y="51"/>
                  </a:lnTo>
                  <a:lnTo>
                    <a:pt x="2581" y="50"/>
                  </a:lnTo>
                  <a:lnTo>
                    <a:pt x="2577" y="50"/>
                  </a:lnTo>
                  <a:lnTo>
                    <a:pt x="2575" y="50"/>
                  </a:lnTo>
                  <a:lnTo>
                    <a:pt x="2572" y="47"/>
                  </a:lnTo>
                  <a:lnTo>
                    <a:pt x="2575" y="47"/>
                  </a:lnTo>
                  <a:lnTo>
                    <a:pt x="2573" y="44"/>
                  </a:lnTo>
                  <a:lnTo>
                    <a:pt x="2573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21" name="Freeform 221">
              <a:extLst>
                <a:ext uri="{FF2B5EF4-FFF2-40B4-BE49-F238E27FC236}">
                  <a16:creationId xmlns:a16="http://schemas.microsoft.com/office/drawing/2014/main" id="{1BEEBBBB-95A0-42CF-AFD2-3943A36B2FD9}"/>
                </a:ext>
              </a:extLst>
            </p:cNvPr>
            <p:cNvSpPr>
              <a:spLocks/>
            </p:cNvSpPr>
            <p:nvPr/>
          </p:nvSpPr>
          <p:spPr bwMode="auto">
            <a:xfrm>
              <a:off x="8994775" y="5389563"/>
              <a:ext cx="79375" cy="77788"/>
            </a:xfrm>
            <a:custGeom>
              <a:avLst/>
              <a:gdLst>
                <a:gd name="T0" fmla="*/ 26 w 50"/>
                <a:gd name="T1" fmla="*/ 8 h 49"/>
                <a:gd name="T2" fmla="*/ 31 w 50"/>
                <a:gd name="T3" fmla="*/ 8 h 49"/>
                <a:gd name="T4" fmla="*/ 33 w 50"/>
                <a:gd name="T5" fmla="*/ 6 h 49"/>
                <a:gd name="T6" fmla="*/ 38 w 50"/>
                <a:gd name="T7" fmla="*/ 5 h 49"/>
                <a:gd name="T8" fmla="*/ 44 w 50"/>
                <a:gd name="T9" fmla="*/ 4 h 49"/>
                <a:gd name="T10" fmla="*/ 50 w 50"/>
                <a:gd name="T11" fmla="*/ 4 h 49"/>
                <a:gd name="T12" fmla="*/ 50 w 50"/>
                <a:gd name="T13" fmla="*/ 9 h 49"/>
                <a:gd name="T14" fmla="*/ 50 w 50"/>
                <a:gd name="T15" fmla="*/ 15 h 49"/>
                <a:gd name="T16" fmla="*/ 50 w 50"/>
                <a:gd name="T17" fmla="*/ 21 h 49"/>
                <a:gd name="T18" fmla="*/ 50 w 50"/>
                <a:gd name="T19" fmla="*/ 25 h 49"/>
                <a:gd name="T20" fmla="*/ 46 w 50"/>
                <a:gd name="T21" fmla="*/ 25 h 49"/>
                <a:gd name="T22" fmla="*/ 44 w 50"/>
                <a:gd name="T23" fmla="*/ 31 h 49"/>
                <a:gd name="T24" fmla="*/ 45 w 50"/>
                <a:gd name="T25" fmla="*/ 36 h 49"/>
                <a:gd name="T26" fmla="*/ 45 w 50"/>
                <a:gd name="T27" fmla="*/ 42 h 49"/>
                <a:gd name="T28" fmla="*/ 41 w 50"/>
                <a:gd name="T29" fmla="*/ 38 h 49"/>
                <a:gd name="T30" fmla="*/ 41 w 50"/>
                <a:gd name="T31" fmla="*/ 36 h 49"/>
                <a:gd name="T32" fmla="*/ 36 w 50"/>
                <a:gd name="T33" fmla="*/ 34 h 49"/>
                <a:gd name="T34" fmla="*/ 36 w 50"/>
                <a:gd name="T35" fmla="*/ 38 h 49"/>
                <a:gd name="T36" fmla="*/ 34 w 50"/>
                <a:gd name="T37" fmla="*/ 43 h 49"/>
                <a:gd name="T38" fmla="*/ 31 w 50"/>
                <a:gd name="T39" fmla="*/ 44 h 49"/>
                <a:gd name="T40" fmla="*/ 29 w 50"/>
                <a:gd name="T41" fmla="*/ 49 h 49"/>
                <a:gd name="T42" fmla="*/ 24 w 50"/>
                <a:gd name="T43" fmla="*/ 48 h 49"/>
                <a:gd name="T44" fmla="*/ 19 w 50"/>
                <a:gd name="T45" fmla="*/ 47 h 49"/>
                <a:gd name="T46" fmla="*/ 21 w 50"/>
                <a:gd name="T47" fmla="*/ 43 h 49"/>
                <a:gd name="T48" fmla="*/ 16 w 50"/>
                <a:gd name="T49" fmla="*/ 43 h 49"/>
                <a:gd name="T50" fmla="*/ 11 w 50"/>
                <a:gd name="T51" fmla="*/ 38 h 49"/>
                <a:gd name="T52" fmla="*/ 9 w 50"/>
                <a:gd name="T53" fmla="*/ 32 h 49"/>
                <a:gd name="T54" fmla="*/ 9 w 50"/>
                <a:gd name="T55" fmla="*/ 27 h 49"/>
                <a:gd name="T56" fmla="*/ 10 w 50"/>
                <a:gd name="T57" fmla="*/ 27 h 49"/>
                <a:gd name="T58" fmla="*/ 8 w 50"/>
                <a:gd name="T59" fmla="*/ 23 h 49"/>
                <a:gd name="T60" fmla="*/ 3 w 50"/>
                <a:gd name="T61" fmla="*/ 17 h 49"/>
                <a:gd name="T62" fmla="*/ 1 w 50"/>
                <a:gd name="T63" fmla="*/ 11 h 49"/>
                <a:gd name="T64" fmla="*/ 0 w 50"/>
                <a:gd name="T65" fmla="*/ 6 h 49"/>
                <a:gd name="T66" fmla="*/ 0 w 50"/>
                <a:gd name="T67" fmla="*/ 0 h 49"/>
                <a:gd name="T68" fmla="*/ 5 w 50"/>
                <a:gd name="T69" fmla="*/ 2 h 49"/>
                <a:gd name="T70" fmla="*/ 11 w 50"/>
                <a:gd name="T71" fmla="*/ 4 h 49"/>
                <a:gd name="T72" fmla="*/ 16 w 50"/>
                <a:gd name="T73" fmla="*/ 6 h 49"/>
                <a:gd name="T74" fmla="*/ 21 w 50"/>
                <a:gd name="T75" fmla="*/ 8 h 49"/>
                <a:gd name="T76" fmla="*/ 25 w 50"/>
                <a:gd name="T77" fmla="*/ 8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0" h="49">
                  <a:moveTo>
                    <a:pt x="25" y="8"/>
                  </a:moveTo>
                  <a:lnTo>
                    <a:pt x="26" y="8"/>
                  </a:lnTo>
                  <a:lnTo>
                    <a:pt x="28" y="7"/>
                  </a:lnTo>
                  <a:lnTo>
                    <a:pt x="31" y="8"/>
                  </a:lnTo>
                  <a:lnTo>
                    <a:pt x="30" y="6"/>
                  </a:lnTo>
                  <a:lnTo>
                    <a:pt x="33" y="6"/>
                  </a:lnTo>
                  <a:lnTo>
                    <a:pt x="36" y="5"/>
                  </a:lnTo>
                  <a:lnTo>
                    <a:pt x="38" y="5"/>
                  </a:lnTo>
                  <a:lnTo>
                    <a:pt x="42" y="4"/>
                  </a:lnTo>
                  <a:lnTo>
                    <a:pt x="44" y="4"/>
                  </a:lnTo>
                  <a:lnTo>
                    <a:pt x="46" y="1"/>
                  </a:lnTo>
                  <a:lnTo>
                    <a:pt x="50" y="4"/>
                  </a:lnTo>
                  <a:lnTo>
                    <a:pt x="50" y="7"/>
                  </a:lnTo>
                  <a:lnTo>
                    <a:pt x="50" y="9"/>
                  </a:lnTo>
                  <a:lnTo>
                    <a:pt x="50" y="13"/>
                  </a:lnTo>
                  <a:lnTo>
                    <a:pt x="50" y="15"/>
                  </a:lnTo>
                  <a:lnTo>
                    <a:pt x="50" y="17"/>
                  </a:lnTo>
                  <a:lnTo>
                    <a:pt x="50" y="21"/>
                  </a:lnTo>
                  <a:lnTo>
                    <a:pt x="50" y="23"/>
                  </a:lnTo>
                  <a:lnTo>
                    <a:pt x="50" y="25"/>
                  </a:lnTo>
                  <a:lnTo>
                    <a:pt x="47" y="23"/>
                  </a:lnTo>
                  <a:lnTo>
                    <a:pt x="46" y="25"/>
                  </a:lnTo>
                  <a:lnTo>
                    <a:pt x="45" y="28"/>
                  </a:lnTo>
                  <a:lnTo>
                    <a:pt x="44" y="31"/>
                  </a:lnTo>
                  <a:lnTo>
                    <a:pt x="45" y="34"/>
                  </a:lnTo>
                  <a:lnTo>
                    <a:pt x="45" y="36"/>
                  </a:lnTo>
                  <a:lnTo>
                    <a:pt x="45" y="39"/>
                  </a:lnTo>
                  <a:lnTo>
                    <a:pt x="45" y="42"/>
                  </a:lnTo>
                  <a:lnTo>
                    <a:pt x="42" y="40"/>
                  </a:lnTo>
                  <a:lnTo>
                    <a:pt x="41" y="38"/>
                  </a:lnTo>
                  <a:lnTo>
                    <a:pt x="44" y="39"/>
                  </a:lnTo>
                  <a:lnTo>
                    <a:pt x="41" y="36"/>
                  </a:lnTo>
                  <a:lnTo>
                    <a:pt x="38" y="36"/>
                  </a:lnTo>
                  <a:lnTo>
                    <a:pt x="36" y="34"/>
                  </a:lnTo>
                  <a:lnTo>
                    <a:pt x="35" y="35"/>
                  </a:lnTo>
                  <a:lnTo>
                    <a:pt x="36" y="38"/>
                  </a:lnTo>
                  <a:lnTo>
                    <a:pt x="35" y="40"/>
                  </a:lnTo>
                  <a:lnTo>
                    <a:pt x="34" y="43"/>
                  </a:lnTo>
                  <a:lnTo>
                    <a:pt x="31" y="41"/>
                  </a:lnTo>
                  <a:lnTo>
                    <a:pt x="31" y="44"/>
                  </a:lnTo>
                  <a:lnTo>
                    <a:pt x="30" y="47"/>
                  </a:lnTo>
                  <a:lnTo>
                    <a:pt x="29" y="49"/>
                  </a:lnTo>
                  <a:lnTo>
                    <a:pt x="27" y="48"/>
                  </a:lnTo>
                  <a:lnTo>
                    <a:pt x="24" y="48"/>
                  </a:lnTo>
                  <a:lnTo>
                    <a:pt x="21" y="47"/>
                  </a:lnTo>
                  <a:lnTo>
                    <a:pt x="19" y="47"/>
                  </a:lnTo>
                  <a:lnTo>
                    <a:pt x="18" y="44"/>
                  </a:lnTo>
                  <a:lnTo>
                    <a:pt x="21" y="43"/>
                  </a:lnTo>
                  <a:lnTo>
                    <a:pt x="18" y="44"/>
                  </a:lnTo>
                  <a:lnTo>
                    <a:pt x="16" y="43"/>
                  </a:lnTo>
                  <a:lnTo>
                    <a:pt x="13" y="40"/>
                  </a:lnTo>
                  <a:lnTo>
                    <a:pt x="11" y="38"/>
                  </a:lnTo>
                  <a:lnTo>
                    <a:pt x="10" y="35"/>
                  </a:lnTo>
                  <a:lnTo>
                    <a:pt x="9" y="32"/>
                  </a:lnTo>
                  <a:lnTo>
                    <a:pt x="8" y="30"/>
                  </a:lnTo>
                  <a:lnTo>
                    <a:pt x="9" y="27"/>
                  </a:lnTo>
                  <a:lnTo>
                    <a:pt x="11" y="30"/>
                  </a:lnTo>
                  <a:lnTo>
                    <a:pt x="10" y="27"/>
                  </a:lnTo>
                  <a:lnTo>
                    <a:pt x="8" y="25"/>
                  </a:lnTo>
                  <a:lnTo>
                    <a:pt x="8" y="23"/>
                  </a:lnTo>
                  <a:lnTo>
                    <a:pt x="5" y="19"/>
                  </a:lnTo>
                  <a:lnTo>
                    <a:pt x="3" y="17"/>
                  </a:lnTo>
                  <a:lnTo>
                    <a:pt x="2" y="14"/>
                  </a:lnTo>
                  <a:lnTo>
                    <a:pt x="1" y="11"/>
                  </a:lnTo>
                  <a:lnTo>
                    <a:pt x="0" y="9"/>
                  </a:lnTo>
                  <a:lnTo>
                    <a:pt x="0" y="6"/>
                  </a:lnTo>
                  <a:lnTo>
                    <a:pt x="0" y="4"/>
                  </a:lnTo>
                  <a:lnTo>
                    <a:pt x="0" y="0"/>
                  </a:lnTo>
                  <a:lnTo>
                    <a:pt x="2" y="1"/>
                  </a:lnTo>
                  <a:lnTo>
                    <a:pt x="5" y="2"/>
                  </a:lnTo>
                  <a:lnTo>
                    <a:pt x="8" y="2"/>
                  </a:lnTo>
                  <a:lnTo>
                    <a:pt x="11" y="4"/>
                  </a:lnTo>
                  <a:lnTo>
                    <a:pt x="13" y="5"/>
                  </a:lnTo>
                  <a:lnTo>
                    <a:pt x="16" y="6"/>
                  </a:lnTo>
                  <a:lnTo>
                    <a:pt x="19" y="7"/>
                  </a:lnTo>
                  <a:lnTo>
                    <a:pt x="21" y="8"/>
                  </a:lnTo>
                  <a:lnTo>
                    <a:pt x="24" y="8"/>
                  </a:lnTo>
                  <a:lnTo>
                    <a:pt x="25" y="8"/>
                  </a:lnTo>
                  <a:lnTo>
                    <a:pt x="25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22" name="Freeform 222">
              <a:extLst>
                <a:ext uri="{FF2B5EF4-FFF2-40B4-BE49-F238E27FC236}">
                  <a16:creationId xmlns:a16="http://schemas.microsoft.com/office/drawing/2014/main" id="{5DB93F65-E033-4CD4-8218-CAE338C5CA03}"/>
                </a:ext>
              </a:extLst>
            </p:cNvPr>
            <p:cNvSpPr>
              <a:spLocks/>
            </p:cNvSpPr>
            <p:nvPr/>
          </p:nvSpPr>
          <p:spPr bwMode="auto">
            <a:xfrm>
              <a:off x="8697913" y="4462463"/>
              <a:ext cx="431800" cy="223838"/>
            </a:xfrm>
            <a:custGeom>
              <a:avLst/>
              <a:gdLst>
                <a:gd name="T0" fmla="*/ 254 w 272"/>
                <a:gd name="T1" fmla="*/ 137 h 141"/>
                <a:gd name="T2" fmla="*/ 234 w 272"/>
                <a:gd name="T3" fmla="*/ 133 h 141"/>
                <a:gd name="T4" fmla="*/ 223 w 272"/>
                <a:gd name="T5" fmla="*/ 126 h 141"/>
                <a:gd name="T6" fmla="*/ 215 w 272"/>
                <a:gd name="T7" fmla="*/ 119 h 141"/>
                <a:gd name="T8" fmla="*/ 207 w 272"/>
                <a:gd name="T9" fmla="*/ 107 h 141"/>
                <a:gd name="T10" fmla="*/ 191 w 272"/>
                <a:gd name="T11" fmla="*/ 102 h 141"/>
                <a:gd name="T12" fmla="*/ 184 w 272"/>
                <a:gd name="T13" fmla="*/ 97 h 141"/>
                <a:gd name="T14" fmla="*/ 180 w 272"/>
                <a:gd name="T15" fmla="*/ 102 h 141"/>
                <a:gd name="T16" fmla="*/ 175 w 272"/>
                <a:gd name="T17" fmla="*/ 102 h 141"/>
                <a:gd name="T18" fmla="*/ 170 w 272"/>
                <a:gd name="T19" fmla="*/ 103 h 141"/>
                <a:gd name="T20" fmla="*/ 163 w 272"/>
                <a:gd name="T21" fmla="*/ 109 h 141"/>
                <a:gd name="T22" fmla="*/ 155 w 272"/>
                <a:gd name="T23" fmla="*/ 107 h 141"/>
                <a:gd name="T24" fmla="*/ 170 w 272"/>
                <a:gd name="T25" fmla="*/ 116 h 141"/>
                <a:gd name="T26" fmla="*/ 156 w 272"/>
                <a:gd name="T27" fmla="*/ 121 h 141"/>
                <a:gd name="T28" fmla="*/ 139 w 272"/>
                <a:gd name="T29" fmla="*/ 121 h 141"/>
                <a:gd name="T30" fmla="*/ 126 w 272"/>
                <a:gd name="T31" fmla="*/ 110 h 141"/>
                <a:gd name="T32" fmla="*/ 120 w 272"/>
                <a:gd name="T33" fmla="*/ 106 h 141"/>
                <a:gd name="T34" fmla="*/ 107 w 272"/>
                <a:gd name="T35" fmla="*/ 104 h 141"/>
                <a:gd name="T36" fmla="*/ 111 w 272"/>
                <a:gd name="T37" fmla="*/ 94 h 141"/>
                <a:gd name="T38" fmla="*/ 110 w 272"/>
                <a:gd name="T39" fmla="*/ 89 h 141"/>
                <a:gd name="T40" fmla="*/ 101 w 272"/>
                <a:gd name="T41" fmla="*/ 80 h 141"/>
                <a:gd name="T42" fmla="*/ 97 w 272"/>
                <a:gd name="T43" fmla="*/ 73 h 141"/>
                <a:gd name="T44" fmla="*/ 88 w 272"/>
                <a:gd name="T45" fmla="*/ 64 h 141"/>
                <a:gd name="T46" fmla="*/ 78 w 272"/>
                <a:gd name="T47" fmla="*/ 62 h 141"/>
                <a:gd name="T48" fmla="*/ 64 w 272"/>
                <a:gd name="T49" fmla="*/ 56 h 141"/>
                <a:gd name="T50" fmla="*/ 52 w 272"/>
                <a:gd name="T51" fmla="*/ 53 h 141"/>
                <a:gd name="T52" fmla="*/ 45 w 272"/>
                <a:gd name="T53" fmla="*/ 50 h 141"/>
                <a:gd name="T54" fmla="*/ 36 w 272"/>
                <a:gd name="T55" fmla="*/ 39 h 141"/>
                <a:gd name="T56" fmla="*/ 33 w 272"/>
                <a:gd name="T57" fmla="*/ 47 h 141"/>
                <a:gd name="T58" fmla="*/ 25 w 272"/>
                <a:gd name="T59" fmla="*/ 42 h 141"/>
                <a:gd name="T60" fmla="*/ 17 w 272"/>
                <a:gd name="T61" fmla="*/ 32 h 141"/>
                <a:gd name="T62" fmla="*/ 33 w 272"/>
                <a:gd name="T63" fmla="*/ 29 h 141"/>
                <a:gd name="T64" fmla="*/ 35 w 272"/>
                <a:gd name="T65" fmla="*/ 25 h 141"/>
                <a:gd name="T66" fmla="*/ 19 w 272"/>
                <a:gd name="T67" fmla="*/ 25 h 141"/>
                <a:gd name="T68" fmla="*/ 11 w 272"/>
                <a:gd name="T69" fmla="*/ 17 h 141"/>
                <a:gd name="T70" fmla="*/ 3 w 272"/>
                <a:gd name="T71" fmla="*/ 10 h 141"/>
                <a:gd name="T72" fmla="*/ 15 w 272"/>
                <a:gd name="T73" fmla="*/ 2 h 141"/>
                <a:gd name="T74" fmla="*/ 29 w 272"/>
                <a:gd name="T75" fmla="*/ 2 h 141"/>
                <a:gd name="T76" fmla="*/ 42 w 272"/>
                <a:gd name="T77" fmla="*/ 8 h 141"/>
                <a:gd name="T78" fmla="*/ 43 w 272"/>
                <a:gd name="T79" fmla="*/ 25 h 141"/>
                <a:gd name="T80" fmla="*/ 51 w 272"/>
                <a:gd name="T81" fmla="*/ 35 h 141"/>
                <a:gd name="T82" fmla="*/ 64 w 272"/>
                <a:gd name="T83" fmla="*/ 38 h 141"/>
                <a:gd name="T84" fmla="*/ 76 w 272"/>
                <a:gd name="T85" fmla="*/ 25 h 141"/>
                <a:gd name="T86" fmla="*/ 87 w 272"/>
                <a:gd name="T87" fmla="*/ 18 h 141"/>
                <a:gd name="T88" fmla="*/ 102 w 272"/>
                <a:gd name="T89" fmla="*/ 19 h 141"/>
                <a:gd name="T90" fmla="*/ 121 w 272"/>
                <a:gd name="T91" fmla="*/ 27 h 141"/>
                <a:gd name="T92" fmla="*/ 136 w 272"/>
                <a:gd name="T93" fmla="*/ 30 h 141"/>
                <a:gd name="T94" fmla="*/ 154 w 272"/>
                <a:gd name="T95" fmla="*/ 37 h 141"/>
                <a:gd name="T96" fmla="*/ 171 w 272"/>
                <a:gd name="T97" fmla="*/ 42 h 141"/>
                <a:gd name="T98" fmla="*/ 186 w 272"/>
                <a:gd name="T99" fmla="*/ 50 h 141"/>
                <a:gd name="T100" fmla="*/ 195 w 272"/>
                <a:gd name="T101" fmla="*/ 54 h 141"/>
                <a:gd name="T102" fmla="*/ 203 w 272"/>
                <a:gd name="T103" fmla="*/ 70 h 141"/>
                <a:gd name="T104" fmla="*/ 217 w 272"/>
                <a:gd name="T105" fmla="*/ 75 h 141"/>
                <a:gd name="T106" fmla="*/ 230 w 272"/>
                <a:gd name="T107" fmla="*/ 85 h 141"/>
                <a:gd name="T108" fmla="*/ 218 w 272"/>
                <a:gd name="T109" fmla="*/ 89 h 141"/>
                <a:gd name="T110" fmla="*/ 230 w 272"/>
                <a:gd name="T111" fmla="*/ 104 h 141"/>
                <a:gd name="T112" fmla="*/ 239 w 272"/>
                <a:gd name="T113" fmla="*/ 114 h 141"/>
                <a:gd name="T114" fmla="*/ 249 w 272"/>
                <a:gd name="T115" fmla="*/ 122 h 141"/>
                <a:gd name="T116" fmla="*/ 259 w 272"/>
                <a:gd name="T117" fmla="*/ 128 h 141"/>
                <a:gd name="T118" fmla="*/ 264 w 272"/>
                <a:gd name="T119" fmla="*/ 135 h 141"/>
                <a:gd name="T120" fmla="*/ 268 w 272"/>
                <a:gd name="T121" fmla="*/ 14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72" h="141">
                  <a:moveTo>
                    <a:pt x="259" y="139"/>
                  </a:moveTo>
                  <a:lnTo>
                    <a:pt x="260" y="138"/>
                  </a:lnTo>
                  <a:lnTo>
                    <a:pt x="259" y="138"/>
                  </a:lnTo>
                  <a:lnTo>
                    <a:pt x="258" y="138"/>
                  </a:lnTo>
                  <a:lnTo>
                    <a:pt x="256" y="137"/>
                  </a:lnTo>
                  <a:lnTo>
                    <a:pt x="254" y="137"/>
                  </a:lnTo>
                  <a:lnTo>
                    <a:pt x="248" y="136"/>
                  </a:lnTo>
                  <a:lnTo>
                    <a:pt x="246" y="136"/>
                  </a:lnTo>
                  <a:lnTo>
                    <a:pt x="242" y="133"/>
                  </a:lnTo>
                  <a:lnTo>
                    <a:pt x="240" y="135"/>
                  </a:lnTo>
                  <a:lnTo>
                    <a:pt x="237" y="135"/>
                  </a:lnTo>
                  <a:lnTo>
                    <a:pt x="234" y="133"/>
                  </a:lnTo>
                  <a:lnTo>
                    <a:pt x="232" y="135"/>
                  </a:lnTo>
                  <a:lnTo>
                    <a:pt x="230" y="132"/>
                  </a:lnTo>
                  <a:lnTo>
                    <a:pt x="228" y="132"/>
                  </a:lnTo>
                  <a:lnTo>
                    <a:pt x="226" y="131"/>
                  </a:lnTo>
                  <a:lnTo>
                    <a:pt x="225" y="128"/>
                  </a:lnTo>
                  <a:lnTo>
                    <a:pt x="223" y="126"/>
                  </a:lnTo>
                  <a:lnTo>
                    <a:pt x="220" y="124"/>
                  </a:lnTo>
                  <a:lnTo>
                    <a:pt x="220" y="124"/>
                  </a:lnTo>
                  <a:lnTo>
                    <a:pt x="217" y="122"/>
                  </a:lnTo>
                  <a:lnTo>
                    <a:pt x="218" y="119"/>
                  </a:lnTo>
                  <a:lnTo>
                    <a:pt x="218" y="119"/>
                  </a:lnTo>
                  <a:lnTo>
                    <a:pt x="215" y="119"/>
                  </a:lnTo>
                  <a:lnTo>
                    <a:pt x="213" y="118"/>
                  </a:lnTo>
                  <a:lnTo>
                    <a:pt x="213" y="115"/>
                  </a:lnTo>
                  <a:lnTo>
                    <a:pt x="211" y="113"/>
                  </a:lnTo>
                  <a:lnTo>
                    <a:pt x="211" y="112"/>
                  </a:lnTo>
                  <a:lnTo>
                    <a:pt x="208" y="110"/>
                  </a:lnTo>
                  <a:lnTo>
                    <a:pt x="207" y="107"/>
                  </a:lnTo>
                  <a:lnTo>
                    <a:pt x="205" y="105"/>
                  </a:lnTo>
                  <a:lnTo>
                    <a:pt x="201" y="103"/>
                  </a:lnTo>
                  <a:lnTo>
                    <a:pt x="199" y="104"/>
                  </a:lnTo>
                  <a:lnTo>
                    <a:pt x="196" y="103"/>
                  </a:lnTo>
                  <a:lnTo>
                    <a:pt x="194" y="102"/>
                  </a:lnTo>
                  <a:lnTo>
                    <a:pt x="191" y="102"/>
                  </a:lnTo>
                  <a:lnTo>
                    <a:pt x="189" y="102"/>
                  </a:lnTo>
                  <a:lnTo>
                    <a:pt x="189" y="98"/>
                  </a:lnTo>
                  <a:lnTo>
                    <a:pt x="188" y="99"/>
                  </a:lnTo>
                  <a:lnTo>
                    <a:pt x="187" y="98"/>
                  </a:lnTo>
                  <a:lnTo>
                    <a:pt x="187" y="98"/>
                  </a:lnTo>
                  <a:lnTo>
                    <a:pt x="184" y="97"/>
                  </a:lnTo>
                  <a:lnTo>
                    <a:pt x="183" y="97"/>
                  </a:lnTo>
                  <a:lnTo>
                    <a:pt x="183" y="99"/>
                  </a:lnTo>
                  <a:lnTo>
                    <a:pt x="182" y="99"/>
                  </a:lnTo>
                  <a:lnTo>
                    <a:pt x="181" y="99"/>
                  </a:lnTo>
                  <a:lnTo>
                    <a:pt x="181" y="101"/>
                  </a:lnTo>
                  <a:lnTo>
                    <a:pt x="180" y="102"/>
                  </a:lnTo>
                  <a:lnTo>
                    <a:pt x="179" y="101"/>
                  </a:lnTo>
                  <a:lnTo>
                    <a:pt x="175" y="99"/>
                  </a:lnTo>
                  <a:lnTo>
                    <a:pt x="173" y="97"/>
                  </a:lnTo>
                  <a:lnTo>
                    <a:pt x="173" y="97"/>
                  </a:lnTo>
                  <a:lnTo>
                    <a:pt x="174" y="98"/>
                  </a:lnTo>
                  <a:lnTo>
                    <a:pt x="175" y="102"/>
                  </a:lnTo>
                  <a:lnTo>
                    <a:pt x="177" y="104"/>
                  </a:lnTo>
                  <a:lnTo>
                    <a:pt x="174" y="105"/>
                  </a:lnTo>
                  <a:lnTo>
                    <a:pt x="172" y="104"/>
                  </a:lnTo>
                  <a:lnTo>
                    <a:pt x="169" y="103"/>
                  </a:lnTo>
                  <a:lnTo>
                    <a:pt x="169" y="103"/>
                  </a:lnTo>
                  <a:lnTo>
                    <a:pt x="170" y="103"/>
                  </a:lnTo>
                  <a:lnTo>
                    <a:pt x="170" y="104"/>
                  </a:lnTo>
                  <a:lnTo>
                    <a:pt x="172" y="106"/>
                  </a:lnTo>
                  <a:lnTo>
                    <a:pt x="171" y="107"/>
                  </a:lnTo>
                  <a:lnTo>
                    <a:pt x="169" y="109"/>
                  </a:lnTo>
                  <a:lnTo>
                    <a:pt x="165" y="109"/>
                  </a:lnTo>
                  <a:lnTo>
                    <a:pt x="163" y="109"/>
                  </a:lnTo>
                  <a:lnTo>
                    <a:pt x="161" y="109"/>
                  </a:lnTo>
                  <a:lnTo>
                    <a:pt x="157" y="109"/>
                  </a:lnTo>
                  <a:lnTo>
                    <a:pt x="155" y="106"/>
                  </a:lnTo>
                  <a:lnTo>
                    <a:pt x="152" y="107"/>
                  </a:lnTo>
                  <a:lnTo>
                    <a:pt x="153" y="107"/>
                  </a:lnTo>
                  <a:lnTo>
                    <a:pt x="155" y="107"/>
                  </a:lnTo>
                  <a:lnTo>
                    <a:pt x="157" y="110"/>
                  </a:lnTo>
                  <a:lnTo>
                    <a:pt x="161" y="109"/>
                  </a:lnTo>
                  <a:lnTo>
                    <a:pt x="163" y="111"/>
                  </a:lnTo>
                  <a:lnTo>
                    <a:pt x="165" y="111"/>
                  </a:lnTo>
                  <a:lnTo>
                    <a:pt x="169" y="114"/>
                  </a:lnTo>
                  <a:lnTo>
                    <a:pt x="170" y="116"/>
                  </a:lnTo>
                  <a:lnTo>
                    <a:pt x="167" y="119"/>
                  </a:lnTo>
                  <a:lnTo>
                    <a:pt x="164" y="120"/>
                  </a:lnTo>
                  <a:lnTo>
                    <a:pt x="162" y="121"/>
                  </a:lnTo>
                  <a:lnTo>
                    <a:pt x="158" y="123"/>
                  </a:lnTo>
                  <a:lnTo>
                    <a:pt x="158" y="123"/>
                  </a:lnTo>
                  <a:lnTo>
                    <a:pt x="156" y="121"/>
                  </a:lnTo>
                  <a:lnTo>
                    <a:pt x="153" y="120"/>
                  </a:lnTo>
                  <a:lnTo>
                    <a:pt x="150" y="121"/>
                  </a:lnTo>
                  <a:lnTo>
                    <a:pt x="147" y="121"/>
                  </a:lnTo>
                  <a:lnTo>
                    <a:pt x="145" y="121"/>
                  </a:lnTo>
                  <a:lnTo>
                    <a:pt x="143" y="120"/>
                  </a:lnTo>
                  <a:lnTo>
                    <a:pt x="139" y="121"/>
                  </a:lnTo>
                  <a:lnTo>
                    <a:pt x="137" y="120"/>
                  </a:lnTo>
                  <a:lnTo>
                    <a:pt x="133" y="119"/>
                  </a:lnTo>
                  <a:lnTo>
                    <a:pt x="131" y="115"/>
                  </a:lnTo>
                  <a:lnTo>
                    <a:pt x="129" y="113"/>
                  </a:lnTo>
                  <a:lnTo>
                    <a:pt x="128" y="111"/>
                  </a:lnTo>
                  <a:lnTo>
                    <a:pt x="126" y="110"/>
                  </a:lnTo>
                  <a:lnTo>
                    <a:pt x="123" y="107"/>
                  </a:lnTo>
                  <a:lnTo>
                    <a:pt x="123" y="107"/>
                  </a:lnTo>
                  <a:lnTo>
                    <a:pt x="123" y="106"/>
                  </a:lnTo>
                  <a:lnTo>
                    <a:pt x="124" y="103"/>
                  </a:lnTo>
                  <a:lnTo>
                    <a:pt x="123" y="105"/>
                  </a:lnTo>
                  <a:lnTo>
                    <a:pt x="120" y="106"/>
                  </a:lnTo>
                  <a:lnTo>
                    <a:pt x="118" y="106"/>
                  </a:lnTo>
                  <a:lnTo>
                    <a:pt x="115" y="107"/>
                  </a:lnTo>
                  <a:lnTo>
                    <a:pt x="112" y="104"/>
                  </a:lnTo>
                  <a:lnTo>
                    <a:pt x="110" y="106"/>
                  </a:lnTo>
                  <a:lnTo>
                    <a:pt x="107" y="107"/>
                  </a:lnTo>
                  <a:lnTo>
                    <a:pt x="107" y="104"/>
                  </a:lnTo>
                  <a:lnTo>
                    <a:pt x="110" y="102"/>
                  </a:lnTo>
                  <a:lnTo>
                    <a:pt x="111" y="98"/>
                  </a:lnTo>
                  <a:lnTo>
                    <a:pt x="107" y="96"/>
                  </a:lnTo>
                  <a:lnTo>
                    <a:pt x="105" y="94"/>
                  </a:lnTo>
                  <a:lnTo>
                    <a:pt x="109" y="94"/>
                  </a:lnTo>
                  <a:lnTo>
                    <a:pt x="111" y="94"/>
                  </a:lnTo>
                  <a:lnTo>
                    <a:pt x="112" y="93"/>
                  </a:lnTo>
                  <a:lnTo>
                    <a:pt x="110" y="94"/>
                  </a:lnTo>
                  <a:lnTo>
                    <a:pt x="107" y="93"/>
                  </a:lnTo>
                  <a:lnTo>
                    <a:pt x="104" y="90"/>
                  </a:lnTo>
                  <a:lnTo>
                    <a:pt x="107" y="89"/>
                  </a:lnTo>
                  <a:lnTo>
                    <a:pt x="110" y="89"/>
                  </a:lnTo>
                  <a:lnTo>
                    <a:pt x="112" y="90"/>
                  </a:lnTo>
                  <a:lnTo>
                    <a:pt x="109" y="89"/>
                  </a:lnTo>
                  <a:lnTo>
                    <a:pt x="106" y="88"/>
                  </a:lnTo>
                  <a:lnTo>
                    <a:pt x="105" y="85"/>
                  </a:lnTo>
                  <a:lnTo>
                    <a:pt x="102" y="82"/>
                  </a:lnTo>
                  <a:lnTo>
                    <a:pt x="101" y="80"/>
                  </a:lnTo>
                  <a:lnTo>
                    <a:pt x="100" y="77"/>
                  </a:lnTo>
                  <a:lnTo>
                    <a:pt x="100" y="77"/>
                  </a:lnTo>
                  <a:lnTo>
                    <a:pt x="101" y="75"/>
                  </a:lnTo>
                  <a:lnTo>
                    <a:pt x="98" y="75"/>
                  </a:lnTo>
                  <a:lnTo>
                    <a:pt x="101" y="72"/>
                  </a:lnTo>
                  <a:lnTo>
                    <a:pt x="97" y="73"/>
                  </a:lnTo>
                  <a:lnTo>
                    <a:pt x="97" y="73"/>
                  </a:lnTo>
                  <a:lnTo>
                    <a:pt x="96" y="72"/>
                  </a:lnTo>
                  <a:lnTo>
                    <a:pt x="96" y="69"/>
                  </a:lnTo>
                  <a:lnTo>
                    <a:pt x="94" y="68"/>
                  </a:lnTo>
                  <a:lnTo>
                    <a:pt x="90" y="67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5" y="63"/>
                  </a:lnTo>
                  <a:lnTo>
                    <a:pt x="83" y="62"/>
                  </a:lnTo>
                  <a:lnTo>
                    <a:pt x="80" y="62"/>
                  </a:lnTo>
                  <a:lnTo>
                    <a:pt x="79" y="62"/>
                  </a:lnTo>
                  <a:lnTo>
                    <a:pt x="78" y="62"/>
                  </a:lnTo>
                  <a:lnTo>
                    <a:pt x="78" y="62"/>
                  </a:lnTo>
                  <a:lnTo>
                    <a:pt x="76" y="60"/>
                  </a:lnTo>
                  <a:lnTo>
                    <a:pt x="72" y="59"/>
                  </a:lnTo>
                  <a:lnTo>
                    <a:pt x="70" y="58"/>
                  </a:lnTo>
                  <a:lnTo>
                    <a:pt x="68" y="56"/>
                  </a:lnTo>
                  <a:lnTo>
                    <a:pt x="64" y="56"/>
                  </a:lnTo>
                  <a:lnTo>
                    <a:pt x="63" y="56"/>
                  </a:lnTo>
                  <a:lnTo>
                    <a:pt x="60" y="55"/>
                  </a:lnTo>
                  <a:lnTo>
                    <a:pt x="58" y="55"/>
                  </a:lnTo>
                  <a:lnTo>
                    <a:pt x="54" y="54"/>
                  </a:lnTo>
                  <a:lnTo>
                    <a:pt x="52" y="53"/>
                  </a:lnTo>
                  <a:lnTo>
                    <a:pt x="52" y="53"/>
                  </a:lnTo>
                  <a:lnTo>
                    <a:pt x="51" y="52"/>
                  </a:lnTo>
                  <a:lnTo>
                    <a:pt x="50" y="50"/>
                  </a:lnTo>
                  <a:lnTo>
                    <a:pt x="53" y="48"/>
                  </a:lnTo>
                  <a:lnTo>
                    <a:pt x="50" y="48"/>
                  </a:lnTo>
                  <a:lnTo>
                    <a:pt x="47" y="50"/>
                  </a:lnTo>
                  <a:lnTo>
                    <a:pt x="45" y="50"/>
                  </a:lnTo>
                  <a:lnTo>
                    <a:pt x="43" y="46"/>
                  </a:lnTo>
                  <a:lnTo>
                    <a:pt x="41" y="47"/>
                  </a:lnTo>
                  <a:lnTo>
                    <a:pt x="39" y="46"/>
                  </a:lnTo>
                  <a:lnTo>
                    <a:pt x="37" y="45"/>
                  </a:lnTo>
                  <a:lnTo>
                    <a:pt x="36" y="42"/>
                  </a:lnTo>
                  <a:lnTo>
                    <a:pt x="36" y="39"/>
                  </a:lnTo>
                  <a:lnTo>
                    <a:pt x="38" y="37"/>
                  </a:lnTo>
                  <a:lnTo>
                    <a:pt x="36" y="37"/>
                  </a:lnTo>
                  <a:lnTo>
                    <a:pt x="36" y="41"/>
                  </a:lnTo>
                  <a:lnTo>
                    <a:pt x="35" y="43"/>
                  </a:lnTo>
                  <a:lnTo>
                    <a:pt x="33" y="45"/>
                  </a:lnTo>
                  <a:lnTo>
                    <a:pt x="33" y="47"/>
                  </a:lnTo>
                  <a:lnTo>
                    <a:pt x="30" y="51"/>
                  </a:lnTo>
                  <a:lnTo>
                    <a:pt x="28" y="50"/>
                  </a:lnTo>
                  <a:lnTo>
                    <a:pt x="25" y="50"/>
                  </a:lnTo>
                  <a:lnTo>
                    <a:pt x="24" y="47"/>
                  </a:lnTo>
                  <a:lnTo>
                    <a:pt x="26" y="44"/>
                  </a:lnTo>
                  <a:lnTo>
                    <a:pt x="25" y="42"/>
                  </a:lnTo>
                  <a:lnTo>
                    <a:pt x="22" y="39"/>
                  </a:lnTo>
                  <a:lnTo>
                    <a:pt x="20" y="37"/>
                  </a:lnTo>
                  <a:lnTo>
                    <a:pt x="18" y="35"/>
                  </a:lnTo>
                  <a:lnTo>
                    <a:pt x="15" y="35"/>
                  </a:lnTo>
                  <a:lnTo>
                    <a:pt x="15" y="33"/>
                  </a:lnTo>
                  <a:lnTo>
                    <a:pt x="17" y="32"/>
                  </a:lnTo>
                  <a:lnTo>
                    <a:pt x="20" y="33"/>
                  </a:lnTo>
                  <a:lnTo>
                    <a:pt x="22" y="33"/>
                  </a:lnTo>
                  <a:lnTo>
                    <a:pt x="25" y="33"/>
                  </a:lnTo>
                  <a:lnTo>
                    <a:pt x="27" y="29"/>
                  </a:lnTo>
                  <a:lnTo>
                    <a:pt x="29" y="28"/>
                  </a:lnTo>
                  <a:lnTo>
                    <a:pt x="33" y="29"/>
                  </a:lnTo>
                  <a:lnTo>
                    <a:pt x="37" y="30"/>
                  </a:lnTo>
                  <a:lnTo>
                    <a:pt x="37" y="28"/>
                  </a:lnTo>
                  <a:lnTo>
                    <a:pt x="41" y="28"/>
                  </a:lnTo>
                  <a:lnTo>
                    <a:pt x="41" y="25"/>
                  </a:lnTo>
                  <a:lnTo>
                    <a:pt x="37" y="25"/>
                  </a:lnTo>
                  <a:lnTo>
                    <a:pt x="35" y="25"/>
                  </a:lnTo>
                  <a:lnTo>
                    <a:pt x="29" y="25"/>
                  </a:lnTo>
                  <a:lnTo>
                    <a:pt x="27" y="26"/>
                  </a:lnTo>
                  <a:lnTo>
                    <a:pt x="26" y="26"/>
                  </a:lnTo>
                  <a:lnTo>
                    <a:pt x="24" y="26"/>
                  </a:lnTo>
                  <a:lnTo>
                    <a:pt x="22" y="26"/>
                  </a:lnTo>
                  <a:lnTo>
                    <a:pt x="19" y="25"/>
                  </a:lnTo>
                  <a:lnTo>
                    <a:pt x="17" y="25"/>
                  </a:lnTo>
                  <a:lnTo>
                    <a:pt x="15" y="24"/>
                  </a:lnTo>
                  <a:lnTo>
                    <a:pt x="12" y="20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1" y="17"/>
                  </a:lnTo>
                  <a:lnTo>
                    <a:pt x="8" y="15"/>
                  </a:lnTo>
                  <a:lnTo>
                    <a:pt x="5" y="15"/>
                  </a:lnTo>
                  <a:lnTo>
                    <a:pt x="2" y="16"/>
                  </a:lnTo>
                  <a:lnTo>
                    <a:pt x="0" y="15"/>
                  </a:lnTo>
                  <a:lnTo>
                    <a:pt x="0" y="12"/>
                  </a:lnTo>
                  <a:lnTo>
                    <a:pt x="3" y="10"/>
                  </a:lnTo>
                  <a:lnTo>
                    <a:pt x="3" y="9"/>
                  </a:lnTo>
                  <a:lnTo>
                    <a:pt x="3" y="5"/>
                  </a:lnTo>
                  <a:lnTo>
                    <a:pt x="7" y="4"/>
                  </a:lnTo>
                  <a:lnTo>
                    <a:pt x="9" y="4"/>
                  </a:lnTo>
                  <a:lnTo>
                    <a:pt x="11" y="4"/>
                  </a:lnTo>
                  <a:lnTo>
                    <a:pt x="15" y="2"/>
                  </a:lnTo>
                  <a:lnTo>
                    <a:pt x="17" y="0"/>
                  </a:lnTo>
                  <a:lnTo>
                    <a:pt x="19" y="0"/>
                  </a:lnTo>
                  <a:lnTo>
                    <a:pt x="21" y="0"/>
                  </a:lnTo>
                  <a:lnTo>
                    <a:pt x="24" y="0"/>
                  </a:lnTo>
                  <a:lnTo>
                    <a:pt x="27" y="1"/>
                  </a:lnTo>
                  <a:lnTo>
                    <a:pt x="29" y="2"/>
                  </a:lnTo>
                  <a:lnTo>
                    <a:pt x="33" y="4"/>
                  </a:lnTo>
                  <a:lnTo>
                    <a:pt x="35" y="5"/>
                  </a:lnTo>
                  <a:lnTo>
                    <a:pt x="37" y="4"/>
                  </a:lnTo>
                  <a:lnTo>
                    <a:pt x="38" y="5"/>
                  </a:lnTo>
                  <a:lnTo>
                    <a:pt x="42" y="5"/>
                  </a:lnTo>
                  <a:lnTo>
                    <a:pt x="42" y="8"/>
                  </a:lnTo>
                  <a:lnTo>
                    <a:pt x="43" y="11"/>
                  </a:lnTo>
                  <a:lnTo>
                    <a:pt x="44" y="13"/>
                  </a:lnTo>
                  <a:lnTo>
                    <a:pt x="43" y="16"/>
                  </a:lnTo>
                  <a:lnTo>
                    <a:pt x="42" y="19"/>
                  </a:lnTo>
                  <a:lnTo>
                    <a:pt x="43" y="21"/>
                  </a:lnTo>
                  <a:lnTo>
                    <a:pt x="43" y="25"/>
                  </a:lnTo>
                  <a:lnTo>
                    <a:pt x="43" y="27"/>
                  </a:lnTo>
                  <a:lnTo>
                    <a:pt x="45" y="29"/>
                  </a:lnTo>
                  <a:lnTo>
                    <a:pt x="46" y="33"/>
                  </a:lnTo>
                  <a:lnTo>
                    <a:pt x="47" y="29"/>
                  </a:lnTo>
                  <a:lnTo>
                    <a:pt x="50" y="33"/>
                  </a:lnTo>
                  <a:lnTo>
                    <a:pt x="51" y="35"/>
                  </a:lnTo>
                  <a:lnTo>
                    <a:pt x="52" y="37"/>
                  </a:lnTo>
                  <a:lnTo>
                    <a:pt x="54" y="41"/>
                  </a:lnTo>
                  <a:lnTo>
                    <a:pt x="56" y="41"/>
                  </a:lnTo>
                  <a:lnTo>
                    <a:pt x="59" y="41"/>
                  </a:lnTo>
                  <a:lnTo>
                    <a:pt x="62" y="41"/>
                  </a:lnTo>
                  <a:lnTo>
                    <a:pt x="64" y="38"/>
                  </a:lnTo>
                  <a:lnTo>
                    <a:pt x="67" y="36"/>
                  </a:lnTo>
                  <a:lnTo>
                    <a:pt x="68" y="34"/>
                  </a:lnTo>
                  <a:lnTo>
                    <a:pt x="69" y="32"/>
                  </a:lnTo>
                  <a:lnTo>
                    <a:pt x="71" y="29"/>
                  </a:lnTo>
                  <a:lnTo>
                    <a:pt x="72" y="27"/>
                  </a:lnTo>
                  <a:lnTo>
                    <a:pt x="76" y="25"/>
                  </a:lnTo>
                  <a:lnTo>
                    <a:pt x="78" y="26"/>
                  </a:lnTo>
                  <a:lnTo>
                    <a:pt x="80" y="25"/>
                  </a:lnTo>
                  <a:lnTo>
                    <a:pt x="84" y="24"/>
                  </a:lnTo>
                  <a:lnTo>
                    <a:pt x="85" y="21"/>
                  </a:lnTo>
                  <a:lnTo>
                    <a:pt x="85" y="19"/>
                  </a:lnTo>
                  <a:lnTo>
                    <a:pt x="87" y="18"/>
                  </a:lnTo>
                  <a:lnTo>
                    <a:pt x="90" y="16"/>
                  </a:lnTo>
                  <a:lnTo>
                    <a:pt x="93" y="15"/>
                  </a:lnTo>
                  <a:lnTo>
                    <a:pt x="94" y="15"/>
                  </a:lnTo>
                  <a:lnTo>
                    <a:pt x="97" y="17"/>
                  </a:lnTo>
                  <a:lnTo>
                    <a:pt x="100" y="18"/>
                  </a:lnTo>
                  <a:lnTo>
                    <a:pt x="102" y="19"/>
                  </a:lnTo>
                  <a:lnTo>
                    <a:pt x="105" y="19"/>
                  </a:lnTo>
                  <a:lnTo>
                    <a:pt x="107" y="21"/>
                  </a:lnTo>
                  <a:lnTo>
                    <a:pt x="111" y="22"/>
                  </a:lnTo>
                  <a:lnTo>
                    <a:pt x="113" y="24"/>
                  </a:lnTo>
                  <a:lnTo>
                    <a:pt x="115" y="25"/>
                  </a:lnTo>
                  <a:lnTo>
                    <a:pt x="121" y="27"/>
                  </a:lnTo>
                  <a:lnTo>
                    <a:pt x="123" y="27"/>
                  </a:lnTo>
                  <a:lnTo>
                    <a:pt x="126" y="27"/>
                  </a:lnTo>
                  <a:lnTo>
                    <a:pt x="128" y="28"/>
                  </a:lnTo>
                  <a:lnTo>
                    <a:pt x="131" y="28"/>
                  </a:lnTo>
                  <a:lnTo>
                    <a:pt x="132" y="30"/>
                  </a:lnTo>
                  <a:lnTo>
                    <a:pt x="136" y="30"/>
                  </a:lnTo>
                  <a:lnTo>
                    <a:pt x="137" y="30"/>
                  </a:lnTo>
                  <a:lnTo>
                    <a:pt x="138" y="30"/>
                  </a:lnTo>
                  <a:lnTo>
                    <a:pt x="141" y="32"/>
                  </a:lnTo>
                  <a:lnTo>
                    <a:pt x="144" y="33"/>
                  </a:lnTo>
                  <a:lnTo>
                    <a:pt x="152" y="37"/>
                  </a:lnTo>
                  <a:lnTo>
                    <a:pt x="154" y="37"/>
                  </a:lnTo>
                  <a:lnTo>
                    <a:pt x="157" y="38"/>
                  </a:lnTo>
                  <a:lnTo>
                    <a:pt x="163" y="41"/>
                  </a:lnTo>
                  <a:lnTo>
                    <a:pt x="165" y="41"/>
                  </a:lnTo>
                  <a:lnTo>
                    <a:pt x="167" y="41"/>
                  </a:lnTo>
                  <a:lnTo>
                    <a:pt x="169" y="41"/>
                  </a:lnTo>
                  <a:lnTo>
                    <a:pt x="171" y="42"/>
                  </a:lnTo>
                  <a:lnTo>
                    <a:pt x="173" y="43"/>
                  </a:lnTo>
                  <a:lnTo>
                    <a:pt x="177" y="45"/>
                  </a:lnTo>
                  <a:lnTo>
                    <a:pt x="179" y="46"/>
                  </a:lnTo>
                  <a:lnTo>
                    <a:pt x="182" y="46"/>
                  </a:lnTo>
                  <a:lnTo>
                    <a:pt x="184" y="47"/>
                  </a:lnTo>
                  <a:lnTo>
                    <a:pt x="186" y="50"/>
                  </a:lnTo>
                  <a:lnTo>
                    <a:pt x="187" y="50"/>
                  </a:lnTo>
                  <a:lnTo>
                    <a:pt x="187" y="50"/>
                  </a:lnTo>
                  <a:lnTo>
                    <a:pt x="189" y="51"/>
                  </a:lnTo>
                  <a:lnTo>
                    <a:pt x="191" y="54"/>
                  </a:lnTo>
                  <a:lnTo>
                    <a:pt x="192" y="54"/>
                  </a:lnTo>
                  <a:lnTo>
                    <a:pt x="195" y="54"/>
                  </a:lnTo>
                  <a:lnTo>
                    <a:pt x="198" y="56"/>
                  </a:lnTo>
                  <a:lnTo>
                    <a:pt x="199" y="59"/>
                  </a:lnTo>
                  <a:lnTo>
                    <a:pt x="203" y="62"/>
                  </a:lnTo>
                  <a:lnTo>
                    <a:pt x="203" y="64"/>
                  </a:lnTo>
                  <a:lnTo>
                    <a:pt x="201" y="67"/>
                  </a:lnTo>
                  <a:lnTo>
                    <a:pt x="203" y="70"/>
                  </a:lnTo>
                  <a:lnTo>
                    <a:pt x="205" y="70"/>
                  </a:lnTo>
                  <a:lnTo>
                    <a:pt x="208" y="71"/>
                  </a:lnTo>
                  <a:lnTo>
                    <a:pt x="211" y="71"/>
                  </a:lnTo>
                  <a:lnTo>
                    <a:pt x="213" y="72"/>
                  </a:lnTo>
                  <a:lnTo>
                    <a:pt x="216" y="75"/>
                  </a:lnTo>
                  <a:lnTo>
                    <a:pt x="217" y="75"/>
                  </a:lnTo>
                  <a:lnTo>
                    <a:pt x="220" y="77"/>
                  </a:lnTo>
                  <a:lnTo>
                    <a:pt x="223" y="76"/>
                  </a:lnTo>
                  <a:lnTo>
                    <a:pt x="225" y="77"/>
                  </a:lnTo>
                  <a:lnTo>
                    <a:pt x="228" y="79"/>
                  </a:lnTo>
                  <a:lnTo>
                    <a:pt x="230" y="81"/>
                  </a:lnTo>
                  <a:lnTo>
                    <a:pt x="230" y="85"/>
                  </a:lnTo>
                  <a:lnTo>
                    <a:pt x="229" y="87"/>
                  </a:lnTo>
                  <a:lnTo>
                    <a:pt x="226" y="87"/>
                  </a:lnTo>
                  <a:lnTo>
                    <a:pt x="224" y="87"/>
                  </a:lnTo>
                  <a:lnTo>
                    <a:pt x="221" y="87"/>
                  </a:lnTo>
                  <a:lnTo>
                    <a:pt x="218" y="87"/>
                  </a:lnTo>
                  <a:lnTo>
                    <a:pt x="218" y="89"/>
                  </a:lnTo>
                  <a:lnTo>
                    <a:pt x="220" y="92"/>
                  </a:lnTo>
                  <a:lnTo>
                    <a:pt x="221" y="94"/>
                  </a:lnTo>
                  <a:lnTo>
                    <a:pt x="222" y="97"/>
                  </a:lnTo>
                  <a:lnTo>
                    <a:pt x="224" y="98"/>
                  </a:lnTo>
                  <a:lnTo>
                    <a:pt x="226" y="101"/>
                  </a:lnTo>
                  <a:lnTo>
                    <a:pt x="230" y="104"/>
                  </a:lnTo>
                  <a:lnTo>
                    <a:pt x="232" y="104"/>
                  </a:lnTo>
                  <a:lnTo>
                    <a:pt x="233" y="105"/>
                  </a:lnTo>
                  <a:lnTo>
                    <a:pt x="234" y="106"/>
                  </a:lnTo>
                  <a:lnTo>
                    <a:pt x="234" y="107"/>
                  </a:lnTo>
                  <a:lnTo>
                    <a:pt x="235" y="112"/>
                  </a:lnTo>
                  <a:lnTo>
                    <a:pt x="239" y="114"/>
                  </a:lnTo>
                  <a:lnTo>
                    <a:pt x="240" y="116"/>
                  </a:lnTo>
                  <a:lnTo>
                    <a:pt x="242" y="120"/>
                  </a:lnTo>
                  <a:lnTo>
                    <a:pt x="245" y="119"/>
                  </a:lnTo>
                  <a:lnTo>
                    <a:pt x="248" y="119"/>
                  </a:lnTo>
                  <a:lnTo>
                    <a:pt x="250" y="120"/>
                  </a:lnTo>
                  <a:lnTo>
                    <a:pt x="249" y="122"/>
                  </a:lnTo>
                  <a:lnTo>
                    <a:pt x="250" y="126"/>
                  </a:lnTo>
                  <a:lnTo>
                    <a:pt x="252" y="127"/>
                  </a:lnTo>
                  <a:lnTo>
                    <a:pt x="255" y="127"/>
                  </a:lnTo>
                  <a:lnTo>
                    <a:pt x="257" y="127"/>
                  </a:lnTo>
                  <a:lnTo>
                    <a:pt x="259" y="127"/>
                  </a:lnTo>
                  <a:lnTo>
                    <a:pt x="259" y="128"/>
                  </a:lnTo>
                  <a:lnTo>
                    <a:pt x="259" y="129"/>
                  </a:lnTo>
                  <a:lnTo>
                    <a:pt x="256" y="129"/>
                  </a:lnTo>
                  <a:lnTo>
                    <a:pt x="258" y="132"/>
                  </a:lnTo>
                  <a:lnTo>
                    <a:pt x="259" y="133"/>
                  </a:lnTo>
                  <a:lnTo>
                    <a:pt x="260" y="133"/>
                  </a:lnTo>
                  <a:lnTo>
                    <a:pt x="264" y="135"/>
                  </a:lnTo>
                  <a:lnTo>
                    <a:pt x="266" y="135"/>
                  </a:lnTo>
                  <a:lnTo>
                    <a:pt x="268" y="136"/>
                  </a:lnTo>
                  <a:lnTo>
                    <a:pt x="272" y="136"/>
                  </a:lnTo>
                  <a:lnTo>
                    <a:pt x="268" y="137"/>
                  </a:lnTo>
                  <a:lnTo>
                    <a:pt x="266" y="138"/>
                  </a:lnTo>
                  <a:lnTo>
                    <a:pt x="268" y="140"/>
                  </a:lnTo>
                  <a:lnTo>
                    <a:pt x="265" y="141"/>
                  </a:lnTo>
                  <a:lnTo>
                    <a:pt x="263" y="141"/>
                  </a:lnTo>
                  <a:lnTo>
                    <a:pt x="259" y="140"/>
                  </a:lnTo>
                  <a:lnTo>
                    <a:pt x="259" y="139"/>
                  </a:lnTo>
                  <a:lnTo>
                    <a:pt x="259" y="1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23" name="Freeform 223">
              <a:extLst>
                <a:ext uri="{FF2B5EF4-FFF2-40B4-BE49-F238E27FC236}">
                  <a16:creationId xmlns:a16="http://schemas.microsoft.com/office/drawing/2014/main" id="{D20B03B4-FFC7-4B25-9897-7A8F1A946B30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6900" y="4302125"/>
              <a:ext cx="225425" cy="241300"/>
            </a:xfrm>
            <a:custGeom>
              <a:avLst/>
              <a:gdLst>
                <a:gd name="T0" fmla="*/ 19 w 142"/>
                <a:gd name="T1" fmla="*/ 135 h 152"/>
                <a:gd name="T2" fmla="*/ 15 w 142"/>
                <a:gd name="T3" fmla="*/ 121 h 152"/>
                <a:gd name="T4" fmla="*/ 14 w 142"/>
                <a:gd name="T5" fmla="*/ 111 h 152"/>
                <a:gd name="T6" fmla="*/ 8 w 142"/>
                <a:gd name="T7" fmla="*/ 105 h 152"/>
                <a:gd name="T8" fmla="*/ 3 w 142"/>
                <a:gd name="T9" fmla="*/ 93 h 152"/>
                <a:gd name="T10" fmla="*/ 0 w 142"/>
                <a:gd name="T11" fmla="*/ 82 h 152"/>
                <a:gd name="T12" fmla="*/ 3 w 142"/>
                <a:gd name="T13" fmla="*/ 76 h 152"/>
                <a:gd name="T14" fmla="*/ 11 w 142"/>
                <a:gd name="T15" fmla="*/ 68 h 152"/>
                <a:gd name="T16" fmla="*/ 22 w 142"/>
                <a:gd name="T17" fmla="*/ 72 h 152"/>
                <a:gd name="T18" fmla="*/ 30 w 142"/>
                <a:gd name="T19" fmla="*/ 77 h 152"/>
                <a:gd name="T20" fmla="*/ 29 w 142"/>
                <a:gd name="T21" fmla="*/ 74 h 152"/>
                <a:gd name="T22" fmla="*/ 34 w 142"/>
                <a:gd name="T23" fmla="*/ 66 h 152"/>
                <a:gd name="T24" fmla="*/ 34 w 142"/>
                <a:gd name="T25" fmla="*/ 61 h 152"/>
                <a:gd name="T26" fmla="*/ 46 w 142"/>
                <a:gd name="T27" fmla="*/ 56 h 152"/>
                <a:gd name="T28" fmla="*/ 57 w 142"/>
                <a:gd name="T29" fmla="*/ 52 h 152"/>
                <a:gd name="T30" fmla="*/ 67 w 142"/>
                <a:gd name="T31" fmla="*/ 40 h 152"/>
                <a:gd name="T32" fmla="*/ 75 w 142"/>
                <a:gd name="T33" fmla="*/ 33 h 152"/>
                <a:gd name="T34" fmla="*/ 84 w 142"/>
                <a:gd name="T35" fmla="*/ 27 h 152"/>
                <a:gd name="T36" fmla="*/ 85 w 142"/>
                <a:gd name="T37" fmla="*/ 28 h 152"/>
                <a:gd name="T38" fmla="*/ 90 w 142"/>
                <a:gd name="T39" fmla="*/ 24 h 152"/>
                <a:gd name="T40" fmla="*/ 96 w 142"/>
                <a:gd name="T41" fmla="*/ 19 h 152"/>
                <a:gd name="T42" fmla="*/ 102 w 142"/>
                <a:gd name="T43" fmla="*/ 8 h 152"/>
                <a:gd name="T44" fmla="*/ 108 w 142"/>
                <a:gd name="T45" fmla="*/ 6 h 152"/>
                <a:gd name="T46" fmla="*/ 118 w 142"/>
                <a:gd name="T47" fmla="*/ 5 h 152"/>
                <a:gd name="T48" fmla="*/ 123 w 142"/>
                <a:gd name="T49" fmla="*/ 15 h 152"/>
                <a:gd name="T50" fmla="*/ 130 w 142"/>
                <a:gd name="T51" fmla="*/ 16 h 152"/>
                <a:gd name="T52" fmla="*/ 140 w 142"/>
                <a:gd name="T53" fmla="*/ 22 h 152"/>
                <a:gd name="T54" fmla="*/ 132 w 142"/>
                <a:gd name="T55" fmla="*/ 28 h 152"/>
                <a:gd name="T56" fmla="*/ 132 w 142"/>
                <a:gd name="T57" fmla="*/ 36 h 152"/>
                <a:gd name="T58" fmla="*/ 119 w 142"/>
                <a:gd name="T59" fmla="*/ 36 h 152"/>
                <a:gd name="T60" fmla="*/ 119 w 142"/>
                <a:gd name="T61" fmla="*/ 46 h 152"/>
                <a:gd name="T62" fmla="*/ 117 w 142"/>
                <a:gd name="T63" fmla="*/ 53 h 152"/>
                <a:gd name="T64" fmla="*/ 119 w 142"/>
                <a:gd name="T65" fmla="*/ 57 h 152"/>
                <a:gd name="T66" fmla="*/ 123 w 142"/>
                <a:gd name="T67" fmla="*/ 68 h 152"/>
                <a:gd name="T68" fmla="*/ 139 w 142"/>
                <a:gd name="T69" fmla="*/ 82 h 152"/>
                <a:gd name="T70" fmla="*/ 130 w 142"/>
                <a:gd name="T71" fmla="*/ 85 h 152"/>
                <a:gd name="T72" fmla="*/ 120 w 142"/>
                <a:gd name="T73" fmla="*/ 87 h 152"/>
                <a:gd name="T74" fmla="*/ 117 w 142"/>
                <a:gd name="T75" fmla="*/ 100 h 152"/>
                <a:gd name="T76" fmla="*/ 116 w 142"/>
                <a:gd name="T77" fmla="*/ 108 h 152"/>
                <a:gd name="T78" fmla="*/ 108 w 142"/>
                <a:gd name="T79" fmla="*/ 112 h 152"/>
                <a:gd name="T80" fmla="*/ 103 w 142"/>
                <a:gd name="T81" fmla="*/ 120 h 152"/>
                <a:gd name="T82" fmla="*/ 105 w 142"/>
                <a:gd name="T83" fmla="*/ 130 h 152"/>
                <a:gd name="T84" fmla="*/ 100 w 142"/>
                <a:gd name="T85" fmla="*/ 139 h 152"/>
                <a:gd name="T86" fmla="*/ 86 w 142"/>
                <a:gd name="T87" fmla="*/ 149 h 152"/>
                <a:gd name="T88" fmla="*/ 79 w 142"/>
                <a:gd name="T89" fmla="*/ 147 h 152"/>
                <a:gd name="T90" fmla="*/ 74 w 142"/>
                <a:gd name="T91" fmla="*/ 143 h 152"/>
                <a:gd name="T92" fmla="*/ 67 w 142"/>
                <a:gd name="T93" fmla="*/ 143 h 152"/>
                <a:gd name="T94" fmla="*/ 57 w 142"/>
                <a:gd name="T95" fmla="*/ 137 h 152"/>
                <a:gd name="T96" fmla="*/ 46 w 142"/>
                <a:gd name="T97" fmla="*/ 142 h 152"/>
                <a:gd name="T98" fmla="*/ 40 w 142"/>
                <a:gd name="T99" fmla="*/ 136 h 152"/>
                <a:gd name="T100" fmla="*/ 30 w 142"/>
                <a:gd name="T101" fmla="*/ 138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42" h="152">
                  <a:moveTo>
                    <a:pt x="28" y="135"/>
                  </a:moveTo>
                  <a:lnTo>
                    <a:pt x="26" y="136"/>
                  </a:lnTo>
                  <a:lnTo>
                    <a:pt x="23" y="135"/>
                  </a:lnTo>
                  <a:lnTo>
                    <a:pt x="21" y="136"/>
                  </a:lnTo>
                  <a:lnTo>
                    <a:pt x="19" y="135"/>
                  </a:lnTo>
                  <a:lnTo>
                    <a:pt x="19" y="133"/>
                  </a:lnTo>
                  <a:lnTo>
                    <a:pt x="17" y="129"/>
                  </a:lnTo>
                  <a:lnTo>
                    <a:pt x="17" y="127"/>
                  </a:lnTo>
                  <a:lnTo>
                    <a:pt x="16" y="125"/>
                  </a:lnTo>
                  <a:lnTo>
                    <a:pt x="15" y="121"/>
                  </a:lnTo>
                  <a:lnTo>
                    <a:pt x="15" y="119"/>
                  </a:lnTo>
                  <a:lnTo>
                    <a:pt x="15" y="119"/>
                  </a:lnTo>
                  <a:lnTo>
                    <a:pt x="16" y="116"/>
                  </a:lnTo>
                  <a:lnTo>
                    <a:pt x="15" y="113"/>
                  </a:lnTo>
                  <a:lnTo>
                    <a:pt x="14" y="111"/>
                  </a:lnTo>
                  <a:lnTo>
                    <a:pt x="11" y="109"/>
                  </a:lnTo>
                  <a:lnTo>
                    <a:pt x="8" y="108"/>
                  </a:lnTo>
                  <a:lnTo>
                    <a:pt x="6" y="108"/>
                  </a:lnTo>
                  <a:lnTo>
                    <a:pt x="5" y="105"/>
                  </a:lnTo>
                  <a:lnTo>
                    <a:pt x="8" y="105"/>
                  </a:lnTo>
                  <a:lnTo>
                    <a:pt x="3" y="102"/>
                  </a:lnTo>
                  <a:lnTo>
                    <a:pt x="5" y="99"/>
                  </a:lnTo>
                  <a:lnTo>
                    <a:pt x="4" y="99"/>
                  </a:lnTo>
                  <a:lnTo>
                    <a:pt x="4" y="95"/>
                  </a:lnTo>
                  <a:lnTo>
                    <a:pt x="3" y="93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86"/>
                  </a:lnTo>
                  <a:lnTo>
                    <a:pt x="0" y="84"/>
                  </a:lnTo>
                  <a:lnTo>
                    <a:pt x="0" y="82"/>
                  </a:lnTo>
                  <a:lnTo>
                    <a:pt x="4" y="78"/>
                  </a:lnTo>
                  <a:lnTo>
                    <a:pt x="5" y="77"/>
                  </a:lnTo>
                  <a:lnTo>
                    <a:pt x="5" y="77"/>
                  </a:lnTo>
                  <a:lnTo>
                    <a:pt x="2" y="79"/>
                  </a:lnTo>
                  <a:lnTo>
                    <a:pt x="3" y="76"/>
                  </a:lnTo>
                  <a:lnTo>
                    <a:pt x="4" y="74"/>
                  </a:lnTo>
                  <a:lnTo>
                    <a:pt x="6" y="71"/>
                  </a:lnTo>
                  <a:lnTo>
                    <a:pt x="9" y="68"/>
                  </a:lnTo>
                  <a:lnTo>
                    <a:pt x="11" y="67"/>
                  </a:lnTo>
                  <a:lnTo>
                    <a:pt x="11" y="68"/>
                  </a:lnTo>
                  <a:lnTo>
                    <a:pt x="13" y="71"/>
                  </a:lnTo>
                  <a:lnTo>
                    <a:pt x="15" y="72"/>
                  </a:lnTo>
                  <a:lnTo>
                    <a:pt x="17" y="72"/>
                  </a:lnTo>
                  <a:lnTo>
                    <a:pt x="20" y="72"/>
                  </a:lnTo>
                  <a:lnTo>
                    <a:pt x="22" y="72"/>
                  </a:lnTo>
                  <a:lnTo>
                    <a:pt x="22" y="74"/>
                  </a:lnTo>
                  <a:lnTo>
                    <a:pt x="24" y="74"/>
                  </a:lnTo>
                  <a:lnTo>
                    <a:pt x="24" y="76"/>
                  </a:lnTo>
                  <a:lnTo>
                    <a:pt x="26" y="75"/>
                  </a:lnTo>
                  <a:lnTo>
                    <a:pt x="30" y="77"/>
                  </a:lnTo>
                  <a:lnTo>
                    <a:pt x="32" y="77"/>
                  </a:lnTo>
                  <a:lnTo>
                    <a:pt x="33" y="77"/>
                  </a:lnTo>
                  <a:lnTo>
                    <a:pt x="34" y="77"/>
                  </a:lnTo>
                  <a:lnTo>
                    <a:pt x="31" y="77"/>
                  </a:lnTo>
                  <a:lnTo>
                    <a:pt x="29" y="74"/>
                  </a:lnTo>
                  <a:lnTo>
                    <a:pt x="31" y="74"/>
                  </a:lnTo>
                  <a:lnTo>
                    <a:pt x="30" y="70"/>
                  </a:lnTo>
                  <a:lnTo>
                    <a:pt x="31" y="68"/>
                  </a:lnTo>
                  <a:lnTo>
                    <a:pt x="32" y="67"/>
                  </a:lnTo>
                  <a:lnTo>
                    <a:pt x="34" y="66"/>
                  </a:lnTo>
                  <a:lnTo>
                    <a:pt x="31" y="67"/>
                  </a:lnTo>
                  <a:lnTo>
                    <a:pt x="31" y="63"/>
                  </a:lnTo>
                  <a:lnTo>
                    <a:pt x="34" y="63"/>
                  </a:lnTo>
                  <a:lnTo>
                    <a:pt x="36" y="63"/>
                  </a:lnTo>
                  <a:lnTo>
                    <a:pt x="34" y="61"/>
                  </a:lnTo>
                  <a:lnTo>
                    <a:pt x="36" y="58"/>
                  </a:lnTo>
                  <a:lnTo>
                    <a:pt x="38" y="57"/>
                  </a:lnTo>
                  <a:lnTo>
                    <a:pt x="40" y="57"/>
                  </a:lnTo>
                  <a:lnTo>
                    <a:pt x="43" y="56"/>
                  </a:lnTo>
                  <a:lnTo>
                    <a:pt x="46" y="56"/>
                  </a:lnTo>
                  <a:lnTo>
                    <a:pt x="48" y="54"/>
                  </a:lnTo>
                  <a:lnTo>
                    <a:pt x="50" y="54"/>
                  </a:lnTo>
                  <a:lnTo>
                    <a:pt x="54" y="53"/>
                  </a:lnTo>
                  <a:lnTo>
                    <a:pt x="56" y="52"/>
                  </a:lnTo>
                  <a:lnTo>
                    <a:pt x="57" y="52"/>
                  </a:lnTo>
                  <a:lnTo>
                    <a:pt x="58" y="50"/>
                  </a:lnTo>
                  <a:lnTo>
                    <a:pt x="60" y="46"/>
                  </a:lnTo>
                  <a:lnTo>
                    <a:pt x="63" y="44"/>
                  </a:lnTo>
                  <a:lnTo>
                    <a:pt x="65" y="42"/>
                  </a:lnTo>
                  <a:lnTo>
                    <a:pt x="67" y="40"/>
                  </a:lnTo>
                  <a:lnTo>
                    <a:pt x="69" y="36"/>
                  </a:lnTo>
                  <a:lnTo>
                    <a:pt x="69" y="34"/>
                  </a:lnTo>
                  <a:lnTo>
                    <a:pt x="69" y="33"/>
                  </a:lnTo>
                  <a:lnTo>
                    <a:pt x="72" y="33"/>
                  </a:lnTo>
                  <a:lnTo>
                    <a:pt x="75" y="33"/>
                  </a:lnTo>
                  <a:lnTo>
                    <a:pt x="77" y="31"/>
                  </a:lnTo>
                  <a:lnTo>
                    <a:pt x="79" y="31"/>
                  </a:lnTo>
                  <a:lnTo>
                    <a:pt x="81" y="28"/>
                  </a:lnTo>
                  <a:lnTo>
                    <a:pt x="82" y="27"/>
                  </a:lnTo>
                  <a:lnTo>
                    <a:pt x="84" y="27"/>
                  </a:lnTo>
                  <a:lnTo>
                    <a:pt x="83" y="28"/>
                  </a:lnTo>
                  <a:lnTo>
                    <a:pt x="84" y="29"/>
                  </a:lnTo>
                  <a:lnTo>
                    <a:pt x="84" y="29"/>
                  </a:lnTo>
                  <a:lnTo>
                    <a:pt x="84" y="29"/>
                  </a:lnTo>
                  <a:lnTo>
                    <a:pt x="85" y="28"/>
                  </a:lnTo>
                  <a:lnTo>
                    <a:pt x="86" y="27"/>
                  </a:lnTo>
                  <a:lnTo>
                    <a:pt x="89" y="27"/>
                  </a:lnTo>
                  <a:lnTo>
                    <a:pt x="90" y="27"/>
                  </a:lnTo>
                  <a:lnTo>
                    <a:pt x="91" y="24"/>
                  </a:lnTo>
                  <a:lnTo>
                    <a:pt x="90" y="24"/>
                  </a:lnTo>
                  <a:lnTo>
                    <a:pt x="89" y="23"/>
                  </a:lnTo>
                  <a:lnTo>
                    <a:pt x="89" y="22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6" y="19"/>
                  </a:lnTo>
                  <a:lnTo>
                    <a:pt x="97" y="17"/>
                  </a:lnTo>
                  <a:lnTo>
                    <a:pt x="97" y="16"/>
                  </a:lnTo>
                  <a:lnTo>
                    <a:pt x="99" y="14"/>
                  </a:lnTo>
                  <a:lnTo>
                    <a:pt x="100" y="11"/>
                  </a:lnTo>
                  <a:lnTo>
                    <a:pt x="102" y="8"/>
                  </a:lnTo>
                  <a:lnTo>
                    <a:pt x="105" y="6"/>
                  </a:lnTo>
                  <a:lnTo>
                    <a:pt x="106" y="2"/>
                  </a:lnTo>
                  <a:lnTo>
                    <a:pt x="109" y="0"/>
                  </a:lnTo>
                  <a:lnTo>
                    <a:pt x="109" y="2"/>
                  </a:lnTo>
                  <a:lnTo>
                    <a:pt x="108" y="6"/>
                  </a:lnTo>
                  <a:lnTo>
                    <a:pt x="110" y="3"/>
                  </a:lnTo>
                  <a:lnTo>
                    <a:pt x="111" y="0"/>
                  </a:lnTo>
                  <a:lnTo>
                    <a:pt x="114" y="2"/>
                  </a:lnTo>
                  <a:lnTo>
                    <a:pt x="116" y="5"/>
                  </a:lnTo>
                  <a:lnTo>
                    <a:pt x="118" y="5"/>
                  </a:lnTo>
                  <a:lnTo>
                    <a:pt x="120" y="8"/>
                  </a:lnTo>
                  <a:lnTo>
                    <a:pt x="120" y="9"/>
                  </a:lnTo>
                  <a:lnTo>
                    <a:pt x="120" y="12"/>
                  </a:lnTo>
                  <a:lnTo>
                    <a:pt x="119" y="15"/>
                  </a:lnTo>
                  <a:lnTo>
                    <a:pt x="123" y="15"/>
                  </a:lnTo>
                  <a:lnTo>
                    <a:pt x="125" y="12"/>
                  </a:lnTo>
                  <a:lnTo>
                    <a:pt x="126" y="16"/>
                  </a:lnTo>
                  <a:lnTo>
                    <a:pt x="124" y="18"/>
                  </a:lnTo>
                  <a:lnTo>
                    <a:pt x="126" y="18"/>
                  </a:lnTo>
                  <a:lnTo>
                    <a:pt x="130" y="16"/>
                  </a:lnTo>
                  <a:lnTo>
                    <a:pt x="130" y="16"/>
                  </a:lnTo>
                  <a:lnTo>
                    <a:pt x="133" y="18"/>
                  </a:lnTo>
                  <a:lnTo>
                    <a:pt x="135" y="19"/>
                  </a:lnTo>
                  <a:lnTo>
                    <a:pt x="137" y="22"/>
                  </a:lnTo>
                  <a:lnTo>
                    <a:pt x="140" y="22"/>
                  </a:lnTo>
                  <a:lnTo>
                    <a:pt x="142" y="23"/>
                  </a:lnTo>
                  <a:lnTo>
                    <a:pt x="140" y="26"/>
                  </a:lnTo>
                  <a:lnTo>
                    <a:pt x="137" y="27"/>
                  </a:lnTo>
                  <a:lnTo>
                    <a:pt x="135" y="27"/>
                  </a:lnTo>
                  <a:lnTo>
                    <a:pt x="132" y="28"/>
                  </a:lnTo>
                  <a:lnTo>
                    <a:pt x="130" y="27"/>
                  </a:lnTo>
                  <a:lnTo>
                    <a:pt x="126" y="28"/>
                  </a:lnTo>
                  <a:lnTo>
                    <a:pt x="128" y="32"/>
                  </a:lnTo>
                  <a:lnTo>
                    <a:pt x="131" y="33"/>
                  </a:lnTo>
                  <a:lnTo>
                    <a:pt x="132" y="36"/>
                  </a:lnTo>
                  <a:lnTo>
                    <a:pt x="130" y="36"/>
                  </a:lnTo>
                  <a:lnTo>
                    <a:pt x="127" y="36"/>
                  </a:lnTo>
                  <a:lnTo>
                    <a:pt x="125" y="37"/>
                  </a:lnTo>
                  <a:lnTo>
                    <a:pt x="122" y="36"/>
                  </a:lnTo>
                  <a:lnTo>
                    <a:pt x="119" y="36"/>
                  </a:lnTo>
                  <a:lnTo>
                    <a:pt x="119" y="39"/>
                  </a:lnTo>
                  <a:lnTo>
                    <a:pt x="117" y="40"/>
                  </a:lnTo>
                  <a:lnTo>
                    <a:pt x="119" y="42"/>
                  </a:lnTo>
                  <a:lnTo>
                    <a:pt x="122" y="45"/>
                  </a:lnTo>
                  <a:lnTo>
                    <a:pt x="119" y="46"/>
                  </a:lnTo>
                  <a:lnTo>
                    <a:pt x="117" y="46"/>
                  </a:lnTo>
                  <a:lnTo>
                    <a:pt x="114" y="48"/>
                  </a:lnTo>
                  <a:lnTo>
                    <a:pt x="116" y="50"/>
                  </a:lnTo>
                  <a:lnTo>
                    <a:pt x="117" y="53"/>
                  </a:lnTo>
                  <a:lnTo>
                    <a:pt x="117" y="53"/>
                  </a:lnTo>
                  <a:lnTo>
                    <a:pt x="119" y="53"/>
                  </a:lnTo>
                  <a:lnTo>
                    <a:pt x="119" y="54"/>
                  </a:lnTo>
                  <a:lnTo>
                    <a:pt x="118" y="54"/>
                  </a:lnTo>
                  <a:lnTo>
                    <a:pt x="118" y="56"/>
                  </a:lnTo>
                  <a:lnTo>
                    <a:pt x="119" y="57"/>
                  </a:lnTo>
                  <a:lnTo>
                    <a:pt x="122" y="58"/>
                  </a:lnTo>
                  <a:lnTo>
                    <a:pt x="123" y="60"/>
                  </a:lnTo>
                  <a:lnTo>
                    <a:pt x="125" y="63"/>
                  </a:lnTo>
                  <a:lnTo>
                    <a:pt x="124" y="66"/>
                  </a:lnTo>
                  <a:lnTo>
                    <a:pt x="123" y="68"/>
                  </a:lnTo>
                  <a:lnTo>
                    <a:pt x="125" y="71"/>
                  </a:lnTo>
                  <a:lnTo>
                    <a:pt x="131" y="76"/>
                  </a:lnTo>
                  <a:lnTo>
                    <a:pt x="133" y="77"/>
                  </a:lnTo>
                  <a:lnTo>
                    <a:pt x="135" y="80"/>
                  </a:lnTo>
                  <a:lnTo>
                    <a:pt x="139" y="82"/>
                  </a:lnTo>
                  <a:lnTo>
                    <a:pt x="139" y="82"/>
                  </a:lnTo>
                  <a:lnTo>
                    <a:pt x="137" y="83"/>
                  </a:lnTo>
                  <a:lnTo>
                    <a:pt x="135" y="85"/>
                  </a:lnTo>
                  <a:lnTo>
                    <a:pt x="132" y="85"/>
                  </a:lnTo>
                  <a:lnTo>
                    <a:pt x="130" y="85"/>
                  </a:lnTo>
                  <a:lnTo>
                    <a:pt x="127" y="84"/>
                  </a:lnTo>
                  <a:lnTo>
                    <a:pt x="124" y="82"/>
                  </a:lnTo>
                  <a:lnTo>
                    <a:pt x="124" y="85"/>
                  </a:lnTo>
                  <a:lnTo>
                    <a:pt x="122" y="85"/>
                  </a:lnTo>
                  <a:lnTo>
                    <a:pt x="120" y="87"/>
                  </a:lnTo>
                  <a:lnTo>
                    <a:pt x="118" y="91"/>
                  </a:lnTo>
                  <a:lnTo>
                    <a:pt x="118" y="93"/>
                  </a:lnTo>
                  <a:lnTo>
                    <a:pt x="118" y="95"/>
                  </a:lnTo>
                  <a:lnTo>
                    <a:pt x="117" y="97"/>
                  </a:lnTo>
                  <a:lnTo>
                    <a:pt x="117" y="100"/>
                  </a:lnTo>
                  <a:lnTo>
                    <a:pt x="117" y="103"/>
                  </a:lnTo>
                  <a:lnTo>
                    <a:pt x="119" y="102"/>
                  </a:lnTo>
                  <a:lnTo>
                    <a:pt x="118" y="104"/>
                  </a:lnTo>
                  <a:lnTo>
                    <a:pt x="117" y="106"/>
                  </a:lnTo>
                  <a:lnTo>
                    <a:pt x="116" y="108"/>
                  </a:lnTo>
                  <a:lnTo>
                    <a:pt x="115" y="106"/>
                  </a:lnTo>
                  <a:lnTo>
                    <a:pt x="115" y="108"/>
                  </a:lnTo>
                  <a:lnTo>
                    <a:pt x="113" y="110"/>
                  </a:lnTo>
                  <a:lnTo>
                    <a:pt x="110" y="112"/>
                  </a:lnTo>
                  <a:lnTo>
                    <a:pt x="108" y="112"/>
                  </a:lnTo>
                  <a:lnTo>
                    <a:pt x="107" y="114"/>
                  </a:lnTo>
                  <a:lnTo>
                    <a:pt x="105" y="116"/>
                  </a:lnTo>
                  <a:lnTo>
                    <a:pt x="103" y="119"/>
                  </a:lnTo>
                  <a:lnTo>
                    <a:pt x="100" y="120"/>
                  </a:lnTo>
                  <a:lnTo>
                    <a:pt x="103" y="120"/>
                  </a:lnTo>
                  <a:lnTo>
                    <a:pt x="103" y="123"/>
                  </a:lnTo>
                  <a:lnTo>
                    <a:pt x="102" y="126"/>
                  </a:lnTo>
                  <a:lnTo>
                    <a:pt x="105" y="127"/>
                  </a:lnTo>
                  <a:lnTo>
                    <a:pt x="105" y="127"/>
                  </a:lnTo>
                  <a:lnTo>
                    <a:pt x="105" y="130"/>
                  </a:lnTo>
                  <a:lnTo>
                    <a:pt x="102" y="130"/>
                  </a:lnTo>
                  <a:lnTo>
                    <a:pt x="102" y="133"/>
                  </a:lnTo>
                  <a:lnTo>
                    <a:pt x="102" y="136"/>
                  </a:lnTo>
                  <a:lnTo>
                    <a:pt x="99" y="137"/>
                  </a:lnTo>
                  <a:lnTo>
                    <a:pt x="100" y="139"/>
                  </a:lnTo>
                  <a:lnTo>
                    <a:pt x="98" y="142"/>
                  </a:lnTo>
                  <a:lnTo>
                    <a:pt x="97" y="145"/>
                  </a:lnTo>
                  <a:lnTo>
                    <a:pt x="92" y="147"/>
                  </a:lnTo>
                  <a:lnTo>
                    <a:pt x="89" y="148"/>
                  </a:lnTo>
                  <a:lnTo>
                    <a:pt x="86" y="149"/>
                  </a:lnTo>
                  <a:lnTo>
                    <a:pt x="83" y="151"/>
                  </a:lnTo>
                  <a:lnTo>
                    <a:pt x="81" y="152"/>
                  </a:lnTo>
                  <a:lnTo>
                    <a:pt x="79" y="152"/>
                  </a:lnTo>
                  <a:lnTo>
                    <a:pt x="79" y="149"/>
                  </a:lnTo>
                  <a:lnTo>
                    <a:pt x="79" y="147"/>
                  </a:lnTo>
                  <a:lnTo>
                    <a:pt x="77" y="144"/>
                  </a:lnTo>
                  <a:lnTo>
                    <a:pt x="77" y="142"/>
                  </a:lnTo>
                  <a:lnTo>
                    <a:pt x="76" y="142"/>
                  </a:lnTo>
                  <a:lnTo>
                    <a:pt x="74" y="143"/>
                  </a:lnTo>
                  <a:lnTo>
                    <a:pt x="74" y="143"/>
                  </a:lnTo>
                  <a:lnTo>
                    <a:pt x="75" y="139"/>
                  </a:lnTo>
                  <a:lnTo>
                    <a:pt x="74" y="140"/>
                  </a:lnTo>
                  <a:lnTo>
                    <a:pt x="72" y="139"/>
                  </a:lnTo>
                  <a:lnTo>
                    <a:pt x="71" y="142"/>
                  </a:lnTo>
                  <a:lnTo>
                    <a:pt x="67" y="143"/>
                  </a:lnTo>
                  <a:lnTo>
                    <a:pt x="65" y="142"/>
                  </a:lnTo>
                  <a:lnTo>
                    <a:pt x="65" y="139"/>
                  </a:lnTo>
                  <a:lnTo>
                    <a:pt x="62" y="140"/>
                  </a:lnTo>
                  <a:lnTo>
                    <a:pt x="59" y="139"/>
                  </a:lnTo>
                  <a:lnTo>
                    <a:pt x="57" y="137"/>
                  </a:lnTo>
                  <a:lnTo>
                    <a:pt x="56" y="139"/>
                  </a:lnTo>
                  <a:lnTo>
                    <a:pt x="52" y="142"/>
                  </a:lnTo>
                  <a:lnTo>
                    <a:pt x="50" y="143"/>
                  </a:lnTo>
                  <a:lnTo>
                    <a:pt x="48" y="142"/>
                  </a:lnTo>
                  <a:lnTo>
                    <a:pt x="46" y="142"/>
                  </a:lnTo>
                  <a:lnTo>
                    <a:pt x="42" y="143"/>
                  </a:lnTo>
                  <a:lnTo>
                    <a:pt x="40" y="144"/>
                  </a:lnTo>
                  <a:lnTo>
                    <a:pt x="40" y="142"/>
                  </a:lnTo>
                  <a:lnTo>
                    <a:pt x="40" y="139"/>
                  </a:lnTo>
                  <a:lnTo>
                    <a:pt x="40" y="136"/>
                  </a:lnTo>
                  <a:lnTo>
                    <a:pt x="39" y="134"/>
                  </a:lnTo>
                  <a:lnTo>
                    <a:pt x="38" y="136"/>
                  </a:lnTo>
                  <a:lnTo>
                    <a:pt x="36" y="136"/>
                  </a:lnTo>
                  <a:lnTo>
                    <a:pt x="32" y="136"/>
                  </a:lnTo>
                  <a:lnTo>
                    <a:pt x="30" y="138"/>
                  </a:lnTo>
                  <a:lnTo>
                    <a:pt x="26" y="138"/>
                  </a:lnTo>
                  <a:lnTo>
                    <a:pt x="28" y="135"/>
                  </a:lnTo>
                  <a:lnTo>
                    <a:pt x="28" y="1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24" name="Freeform 224">
              <a:extLst>
                <a:ext uri="{FF2B5EF4-FFF2-40B4-BE49-F238E27FC236}">
                  <a16:creationId xmlns:a16="http://schemas.microsoft.com/office/drawing/2014/main" id="{8DDCECC2-EE63-4AC0-8B07-B5F35D1EAC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18450" y="4330700"/>
              <a:ext cx="393700" cy="307975"/>
            </a:xfrm>
            <a:custGeom>
              <a:avLst/>
              <a:gdLst>
                <a:gd name="T0" fmla="*/ 120 w 248"/>
                <a:gd name="T1" fmla="*/ 92 h 194"/>
                <a:gd name="T2" fmla="*/ 127 w 248"/>
                <a:gd name="T3" fmla="*/ 96 h 194"/>
                <a:gd name="T4" fmla="*/ 129 w 248"/>
                <a:gd name="T5" fmla="*/ 104 h 194"/>
                <a:gd name="T6" fmla="*/ 131 w 248"/>
                <a:gd name="T7" fmla="*/ 110 h 194"/>
                <a:gd name="T8" fmla="*/ 133 w 248"/>
                <a:gd name="T9" fmla="*/ 110 h 194"/>
                <a:gd name="T10" fmla="*/ 143 w 248"/>
                <a:gd name="T11" fmla="*/ 112 h 194"/>
                <a:gd name="T12" fmla="*/ 149 w 248"/>
                <a:gd name="T13" fmla="*/ 121 h 194"/>
                <a:gd name="T14" fmla="*/ 146 w 248"/>
                <a:gd name="T15" fmla="*/ 131 h 194"/>
                <a:gd name="T16" fmla="*/ 146 w 248"/>
                <a:gd name="T17" fmla="*/ 142 h 194"/>
                <a:gd name="T18" fmla="*/ 145 w 248"/>
                <a:gd name="T19" fmla="*/ 153 h 194"/>
                <a:gd name="T20" fmla="*/ 140 w 248"/>
                <a:gd name="T21" fmla="*/ 154 h 194"/>
                <a:gd name="T22" fmla="*/ 131 w 248"/>
                <a:gd name="T23" fmla="*/ 154 h 194"/>
                <a:gd name="T24" fmla="*/ 128 w 248"/>
                <a:gd name="T25" fmla="*/ 159 h 194"/>
                <a:gd name="T26" fmla="*/ 123 w 248"/>
                <a:gd name="T27" fmla="*/ 152 h 194"/>
                <a:gd name="T28" fmla="*/ 115 w 248"/>
                <a:gd name="T29" fmla="*/ 145 h 194"/>
                <a:gd name="T30" fmla="*/ 105 w 248"/>
                <a:gd name="T31" fmla="*/ 137 h 194"/>
                <a:gd name="T32" fmla="*/ 97 w 248"/>
                <a:gd name="T33" fmla="*/ 128 h 194"/>
                <a:gd name="T34" fmla="*/ 86 w 248"/>
                <a:gd name="T35" fmla="*/ 120 h 194"/>
                <a:gd name="T36" fmla="*/ 80 w 248"/>
                <a:gd name="T37" fmla="*/ 111 h 194"/>
                <a:gd name="T38" fmla="*/ 75 w 248"/>
                <a:gd name="T39" fmla="*/ 100 h 194"/>
                <a:gd name="T40" fmla="*/ 71 w 248"/>
                <a:gd name="T41" fmla="*/ 90 h 194"/>
                <a:gd name="T42" fmla="*/ 63 w 248"/>
                <a:gd name="T43" fmla="*/ 81 h 194"/>
                <a:gd name="T44" fmla="*/ 55 w 248"/>
                <a:gd name="T45" fmla="*/ 74 h 194"/>
                <a:gd name="T46" fmla="*/ 51 w 248"/>
                <a:gd name="T47" fmla="*/ 64 h 194"/>
                <a:gd name="T48" fmla="*/ 45 w 248"/>
                <a:gd name="T49" fmla="*/ 50 h 194"/>
                <a:gd name="T50" fmla="*/ 37 w 248"/>
                <a:gd name="T51" fmla="*/ 47 h 194"/>
                <a:gd name="T52" fmla="*/ 31 w 248"/>
                <a:gd name="T53" fmla="*/ 38 h 194"/>
                <a:gd name="T54" fmla="*/ 23 w 248"/>
                <a:gd name="T55" fmla="*/ 27 h 194"/>
                <a:gd name="T56" fmla="*/ 13 w 248"/>
                <a:gd name="T57" fmla="*/ 21 h 194"/>
                <a:gd name="T58" fmla="*/ 3 w 248"/>
                <a:gd name="T59" fmla="*/ 10 h 194"/>
                <a:gd name="T60" fmla="*/ 6 w 248"/>
                <a:gd name="T61" fmla="*/ 0 h 194"/>
                <a:gd name="T62" fmla="*/ 17 w 248"/>
                <a:gd name="T63" fmla="*/ 6 h 194"/>
                <a:gd name="T64" fmla="*/ 28 w 248"/>
                <a:gd name="T65" fmla="*/ 7 h 194"/>
                <a:gd name="T66" fmla="*/ 37 w 248"/>
                <a:gd name="T67" fmla="*/ 10 h 194"/>
                <a:gd name="T68" fmla="*/ 42 w 248"/>
                <a:gd name="T69" fmla="*/ 19 h 194"/>
                <a:gd name="T70" fmla="*/ 52 w 248"/>
                <a:gd name="T71" fmla="*/ 27 h 194"/>
                <a:gd name="T72" fmla="*/ 63 w 248"/>
                <a:gd name="T73" fmla="*/ 35 h 194"/>
                <a:gd name="T74" fmla="*/ 66 w 248"/>
                <a:gd name="T75" fmla="*/ 41 h 194"/>
                <a:gd name="T76" fmla="*/ 72 w 248"/>
                <a:gd name="T77" fmla="*/ 45 h 194"/>
                <a:gd name="T78" fmla="*/ 79 w 248"/>
                <a:gd name="T79" fmla="*/ 52 h 194"/>
                <a:gd name="T80" fmla="*/ 82 w 248"/>
                <a:gd name="T81" fmla="*/ 49 h 194"/>
                <a:gd name="T82" fmla="*/ 91 w 248"/>
                <a:gd name="T83" fmla="*/ 56 h 194"/>
                <a:gd name="T84" fmla="*/ 97 w 248"/>
                <a:gd name="T85" fmla="*/ 64 h 194"/>
                <a:gd name="T86" fmla="*/ 107 w 248"/>
                <a:gd name="T87" fmla="*/ 68 h 194"/>
                <a:gd name="T88" fmla="*/ 100 w 248"/>
                <a:gd name="T89" fmla="*/ 75 h 194"/>
                <a:gd name="T90" fmla="*/ 107 w 248"/>
                <a:gd name="T91" fmla="*/ 73 h 194"/>
                <a:gd name="T92" fmla="*/ 118 w 248"/>
                <a:gd name="T93" fmla="*/ 76 h 194"/>
                <a:gd name="T94" fmla="*/ 111 w 248"/>
                <a:gd name="T95" fmla="*/ 83 h 194"/>
                <a:gd name="T96" fmla="*/ 112 w 248"/>
                <a:gd name="T97" fmla="*/ 85 h 194"/>
                <a:gd name="T98" fmla="*/ 248 w 248"/>
                <a:gd name="T99" fmla="*/ 19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48" h="194">
                  <a:moveTo>
                    <a:pt x="112" y="88"/>
                  </a:moveTo>
                  <a:lnTo>
                    <a:pt x="116" y="90"/>
                  </a:lnTo>
                  <a:lnTo>
                    <a:pt x="118" y="92"/>
                  </a:lnTo>
                  <a:lnTo>
                    <a:pt x="120" y="92"/>
                  </a:lnTo>
                  <a:lnTo>
                    <a:pt x="124" y="92"/>
                  </a:lnTo>
                  <a:lnTo>
                    <a:pt x="124" y="92"/>
                  </a:lnTo>
                  <a:lnTo>
                    <a:pt x="126" y="93"/>
                  </a:lnTo>
                  <a:lnTo>
                    <a:pt x="127" y="96"/>
                  </a:lnTo>
                  <a:lnTo>
                    <a:pt x="127" y="99"/>
                  </a:lnTo>
                  <a:lnTo>
                    <a:pt x="128" y="101"/>
                  </a:lnTo>
                  <a:lnTo>
                    <a:pt x="128" y="102"/>
                  </a:lnTo>
                  <a:lnTo>
                    <a:pt x="129" y="104"/>
                  </a:lnTo>
                  <a:lnTo>
                    <a:pt x="133" y="105"/>
                  </a:lnTo>
                  <a:lnTo>
                    <a:pt x="132" y="108"/>
                  </a:lnTo>
                  <a:lnTo>
                    <a:pt x="129" y="110"/>
                  </a:lnTo>
                  <a:lnTo>
                    <a:pt x="131" y="110"/>
                  </a:lnTo>
                  <a:lnTo>
                    <a:pt x="131" y="113"/>
                  </a:lnTo>
                  <a:lnTo>
                    <a:pt x="128" y="116"/>
                  </a:lnTo>
                  <a:lnTo>
                    <a:pt x="131" y="112"/>
                  </a:lnTo>
                  <a:lnTo>
                    <a:pt x="133" y="110"/>
                  </a:lnTo>
                  <a:lnTo>
                    <a:pt x="135" y="110"/>
                  </a:lnTo>
                  <a:lnTo>
                    <a:pt x="137" y="110"/>
                  </a:lnTo>
                  <a:lnTo>
                    <a:pt x="140" y="110"/>
                  </a:lnTo>
                  <a:lnTo>
                    <a:pt x="143" y="112"/>
                  </a:lnTo>
                  <a:lnTo>
                    <a:pt x="145" y="115"/>
                  </a:lnTo>
                  <a:lnTo>
                    <a:pt x="145" y="118"/>
                  </a:lnTo>
                  <a:lnTo>
                    <a:pt x="149" y="119"/>
                  </a:lnTo>
                  <a:lnTo>
                    <a:pt x="149" y="121"/>
                  </a:lnTo>
                  <a:lnTo>
                    <a:pt x="148" y="124"/>
                  </a:lnTo>
                  <a:lnTo>
                    <a:pt x="146" y="127"/>
                  </a:lnTo>
                  <a:lnTo>
                    <a:pt x="146" y="129"/>
                  </a:lnTo>
                  <a:lnTo>
                    <a:pt x="146" y="131"/>
                  </a:lnTo>
                  <a:lnTo>
                    <a:pt x="145" y="135"/>
                  </a:lnTo>
                  <a:lnTo>
                    <a:pt x="145" y="137"/>
                  </a:lnTo>
                  <a:lnTo>
                    <a:pt x="146" y="139"/>
                  </a:lnTo>
                  <a:lnTo>
                    <a:pt x="146" y="142"/>
                  </a:lnTo>
                  <a:lnTo>
                    <a:pt x="146" y="145"/>
                  </a:lnTo>
                  <a:lnTo>
                    <a:pt x="146" y="147"/>
                  </a:lnTo>
                  <a:lnTo>
                    <a:pt x="146" y="150"/>
                  </a:lnTo>
                  <a:lnTo>
                    <a:pt x="145" y="153"/>
                  </a:lnTo>
                  <a:lnTo>
                    <a:pt x="145" y="155"/>
                  </a:lnTo>
                  <a:lnTo>
                    <a:pt x="144" y="159"/>
                  </a:lnTo>
                  <a:lnTo>
                    <a:pt x="142" y="155"/>
                  </a:lnTo>
                  <a:lnTo>
                    <a:pt x="140" y="154"/>
                  </a:lnTo>
                  <a:lnTo>
                    <a:pt x="137" y="154"/>
                  </a:lnTo>
                  <a:lnTo>
                    <a:pt x="136" y="156"/>
                  </a:lnTo>
                  <a:lnTo>
                    <a:pt x="133" y="155"/>
                  </a:lnTo>
                  <a:lnTo>
                    <a:pt x="131" y="154"/>
                  </a:lnTo>
                  <a:lnTo>
                    <a:pt x="128" y="154"/>
                  </a:lnTo>
                  <a:lnTo>
                    <a:pt x="129" y="156"/>
                  </a:lnTo>
                  <a:lnTo>
                    <a:pt x="128" y="159"/>
                  </a:lnTo>
                  <a:lnTo>
                    <a:pt x="128" y="159"/>
                  </a:lnTo>
                  <a:lnTo>
                    <a:pt x="127" y="158"/>
                  </a:lnTo>
                  <a:lnTo>
                    <a:pt x="125" y="155"/>
                  </a:lnTo>
                  <a:lnTo>
                    <a:pt x="125" y="154"/>
                  </a:lnTo>
                  <a:lnTo>
                    <a:pt x="123" y="152"/>
                  </a:lnTo>
                  <a:lnTo>
                    <a:pt x="120" y="150"/>
                  </a:lnTo>
                  <a:lnTo>
                    <a:pt x="118" y="146"/>
                  </a:lnTo>
                  <a:lnTo>
                    <a:pt x="116" y="145"/>
                  </a:lnTo>
                  <a:lnTo>
                    <a:pt x="115" y="145"/>
                  </a:lnTo>
                  <a:lnTo>
                    <a:pt x="112" y="143"/>
                  </a:lnTo>
                  <a:lnTo>
                    <a:pt x="109" y="142"/>
                  </a:lnTo>
                  <a:lnTo>
                    <a:pt x="107" y="139"/>
                  </a:lnTo>
                  <a:lnTo>
                    <a:pt x="105" y="137"/>
                  </a:lnTo>
                  <a:lnTo>
                    <a:pt x="101" y="135"/>
                  </a:lnTo>
                  <a:lnTo>
                    <a:pt x="99" y="133"/>
                  </a:lnTo>
                  <a:lnTo>
                    <a:pt x="98" y="130"/>
                  </a:lnTo>
                  <a:lnTo>
                    <a:pt x="97" y="128"/>
                  </a:lnTo>
                  <a:lnTo>
                    <a:pt x="94" y="126"/>
                  </a:lnTo>
                  <a:lnTo>
                    <a:pt x="91" y="124"/>
                  </a:lnTo>
                  <a:lnTo>
                    <a:pt x="89" y="122"/>
                  </a:lnTo>
                  <a:lnTo>
                    <a:pt x="86" y="120"/>
                  </a:lnTo>
                  <a:lnTo>
                    <a:pt x="85" y="117"/>
                  </a:lnTo>
                  <a:lnTo>
                    <a:pt x="83" y="115"/>
                  </a:lnTo>
                  <a:lnTo>
                    <a:pt x="80" y="111"/>
                  </a:lnTo>
                  <a:lnTo>
                    <a:pt x="80" y="111"/>
                  </a:lnTo>
                  <a:lnTo>
                    <a:pt x="79" y="108"/>
                  </a:lnTo>
                  <a:lnTo>
                    <a:pt x="79" y="105"/>
                  </a:lnTo>
                  <a:lnTo>
                    <a:pt x="77" y="102"/>
                  </a:lnTo>
                  <a:lnTo>
                    <a:pt x="75" y="100"/>
                  </a:lnTo>
                  <a:lnTo>
                    <a:pt x="74" y="98"/>
                  </a:lnTo>
                  <a:lnTo>
                    <a:pt x="72" y="94"/>
                  </a:lnTo>
                  <a:lnTo>
                    <a:pt x="72" y="92"/>
                  </a:lnTo>
                  <a:lnTo>
                    <a:pt x="71" y="90"/>
                  </a:lnTo>
                  <a:lnTo>
                    <a:pt x="68" y="86"/>
                  </a:lnTo>
                  <a:lnTo>
                    <a:pt x="66" y="84"/>
                  </a:lnTo>
                  <a:lnTo>
                    <a:pt x="65" y="83"/>
                  </a:lnTo>
                  <a:lnTo>
                    <a:pt x="63" y="81"/>
                  </a:lnTo>
                  <a:lnTo>
                    <a:pt x="63" y="77"/>
                  </a:lnTo>
                  <a:lnTo>
                    <a:pt x="59" y="76"/>
                  </a:lnTo>
                  <a:lnTo>
                    <a:pt x="57" y="75"/>
                  </a:lnTo>
                  <a:lnTo>
                    <a:pt x="55" y="74"/>
                  </a:lnTo>
                  <a:lnTo>
                    <a:pt x="54" y="71"/>
                  </a:lnTo>
                  <a:lnTo>
                    <a:pt x="54" y="69"/>
                  </a:lnTo>
                  <a:lnTo>
                    <a:pt x="52" y="66"/>
                  </a:lnTo>
                  <a:lnTo>
                    <a:pt x="51" y="64"/>
                  </a:lnTo>
                  <a:lnTo>
                    <a:pt x="50" y="61"/>
                  </a:lnTo>
                  <a:lnTo>
                    <a:pt x="49" y="58"/>
                  </a:lnTo>
                  <a:lnTo>
                    <a:pt x="50" y="56"/>
                  </a:lnTo>
                  <a:lnTo>
                    <a:pt x="45" y="50"/>
                  </a:lnTo>
                  <a:lnTo>
                    <a:pt x="42" y="49"/>
                  </a:lnTo>
                  <a:lnTo>
                    <a:pt x="39" y="48"/>
                  </a:lnTo>
                  <a:lnTo>
                    <a:pt x="39" y="47"/>
                  </a:lnTo>
                  <a:lnTo>
                    <a:pt x="37" y="47"/>
                  </a:lnTo>
                  <a:lnTo>
                    <a:pt x="34" y="44"/>
                  </a:lnTo>
                  <a:lnTo>
                    <a:pt x="34" y="41"/>
                  </a:lnTo>
                  <a:lnTo>
                    <a:pt x="33" y="39"/>
                  </a:lnTo>
                  <a:lnTo>
                    <a:pt x="31" y="38"/>
                  </a:lnTo>
                  <a:lnTo>
                    <a:pt x="29" y="35"/>
                  </a:lnTo>
                  <a:lnTo>
                    <a:pt x="26" y="32"/>
                  </a:lnTo>
                  <a:lnTo>
                    <a:pt x="25" y="30"/>
                  </a:lnTo>
                  <a:lnTo>
                    <a:pt x="23" y="27"/>
                  </a:lnTo>
                  <a:lnTo>
                    <a:pt x="20" y="26"/>
                  </a:lnTo>
                  <a:lnTo>
                    <a:pt x="17" y="25"/>
                  </a:lnTo>
                  <a:lnTo>
                    <a:pt x="15" y="23"/>
                  </a:lnTo>
                  <a:lnTo>
                    <a:pt x="13" y="21"/>
                  </a:lnTo>
                  <a:lnTo>
                    <a:pt x="9" y="18"/>
                  </a:lnTo>
                  <a:lnTo>
                    <a:pt x="7" y="15"/>
                  </a:lnTo>
                  <a:lnTo>
                    <a:pt x="5" y="13"/>
                  </a:lnTo>
                  <a:lnTo>
                    <a:pt x="3" y="10"/>
                  </a:lnTo>
                  <a:lnTo>
                    <a:pt x="0" y="5"/>
                  </a:lnTo>
                  <a:lnTo>
                    <a:pt x="0" y="2"/>
                  </a:lnTo>
                  <a:lnTo>
                    <a:pt x="4" y="0"/>
                  </a:lnTo>
                  <a:lnTo>
                    <a:pt x="6" y="0"/>
                  </a:lnTo>
                  <a:lnTo>
                    <a:pt x="8" y="1"/>
                  </a:lnTo>
                  <a:lnTo>
                    <a:pt x="12" y="5"/>
                  </a:lnTo>
                  <a:lnTo>
                    <a:pt x="14" y="6"/>
                  </a:lnTo>
                  <a:lnTo>
                    <a:pt x="17" y="6"/>
                  </a:lnTo>
                  <a:lnTo>
                    <a:pt x="20" y="6"/>
                  </a:lnTo>
                  <a:lnTo>
                    <a:pt x="22" y="6"/>
                  </a:lnTo>
                  <a:lnTo>
                    <a:pt x="25" y="6"/>
                  </a:lnTo>
                  <a:lnTo>
                    <a:pt x="28" y="7"/>
                  </a:lnTo>
                  <a:lnTo>
                    <a:pt x="31" y="6"/>
                  </a:lnTo>
                  <a:lnTo>
                    <a:pt x="32" y="6"/>
                  </a:lnTo>
                  <a:lnTo>
                    <a:pt x="34" y="8"/>
                  </a:lnTo>
                  <a:lnTo>
                    <a:pt x="37" y="10"/>
                  </a:lnTo>
                  <a:lnTo>
                    <a:pt x="38" y="13"/>
                  </a:lnTo>
                  <a:lnTo>
                    <a:pt x="41" y="16"/>
                  </a:lnTo>
                  <a:lnTo>
                    <a:pt x="42" y="18"/>
                  </a:lnTo>
                  <a:lnTo>
                    <a:pt x="42" y="19"/>
                  </a:lnTo>
                  <a:lnTo>
                    <a:pt x="45" y="22"/>
                  </a:lnTo>
                  <a:lnTo>
                    <a:pt x="47" y="24"/>
                  </a:lnTo>
                  <a:lnTo>
                    <a:pt x="49" y="26"/>
                  </a:lnTo>
                  <a:lnTo>
                    <a:pt x="52" y="27"/>
                  </a:lnTo>
                  <a:lnTo>
                    <a:pt x="55" y="28"/>
                  </a:lnTo>
                  <a:lnTo>
                    <a:pt x="58" y="31"/>
                  </a:lnTo>
                  <a:lnTo>
                    <a:pt x="60" y="33"/>
                  </a:lnTo>
                  <a:lnTo>
                    <a:pt x="63" y="35"/>
                  </a:lnTo>
                  <a:lnTo>
                    <a:pt x="64" y="36"/>
                  </a:lnTo>
                  <a:lnTo>
                    <a:pt x="66" y="39"/>
                  </a:lnTo>
                  <a:lnTo>
                    <a:pt x="66" y="42"/>
                  </a:lnTo>
                  <a:lnTo>
                    <a:pt x="66" y="41"/>
                  </a:lnTo>
                  <a:lnTo>
                    <a:pt x="67" y="43"/>
                  </a:lnTo>
                  <a:lnTo>
                    <a:pt x="68" y="43"/>
                  </a:lnTo>
                  <a:lnTo>
                    <a:pt x="71" y="43"/>
                  </a:lnTo>
                  <a:lnTo>
                    <a:pt x="72" y="45"/>
                  </a:lnTo>
                  <a:lnTo>
                    <a:pt x="74" y="48"/>
                  </a:lnTo>
                  <a:lnTo>
                    <a:pt x="76" y="50"/>
                  </a:lnTo>
                  <a:lnTo>
                    <a:pt x="79" y="52"/>
                  </a:lnTo>
                  <a:lnTo>
                    <a:pt x="79" y="52"/>
                  </a:lnTo>
                  <a:lnTo>
                    <a:pt x="79" y="50"/>
                  </a:lnTo>
                  <a:lnTo>
                    <a:pt x="77" y="48"/>
                  </a:lnTo>
                  <a:lnTo>
                    <a:pt x="80" y="47"/>
                  </a:lnTo>
                  <a:lnTo>
                    <a:pt x="82" y="49"/>
                  </a:lnTo>
                  <a:lnTo>
                    <a:pt x="84" y="51"/>
                  </a:lnTo>
                  <a:lnTo>
                    <a:pt x="85" y="54"/>
                  </a:lnTo>
                  <a:lnTo>
                    <a:pt x="88" y="54"/>
                  </a:lnTo>
                  <a:lnTo>
                    <a:pt x="91" y="56"/>
                  </a:lnTo>
                  <a:lnTo>
                    <a:pt x="93" y="58"/>
                  </a:lnTo>
                  <a:lnTo>
                    <a:pt x="96" y="60"/>
                  </a:lnTo>
                  <a:lnTo>
                    <a:pt x="96" y="61"/>
                  </a:lnTo>
                  <a:lnTo>
                    <a:pt x="97" y="64"/>
                  </a:lnTo>
                  <a:lnTo>
                    <a:pt x="99" y="66"/>
                  </a:lnTo>
                  <a:lnTo>
                    <a:pt x="101" y="68"/>
                  </a:lnTo>
                  <a:lnTo>
                    <a:pt x="103" y="68"/>
                  </a:lnTo>
                  <a:lnTo>
                    <a:pt x="107" y="68"/>
                  </a:lnTo>
                  <a:lnTo>
                    <a:pt x="108" y="71"/>
                  </a:lnTo>
                  <a:lnTo>
                    <a:pt x="106" y="73"/>
                  </a:lnTo>
                  <a:lnTo>
                    <a:pt x="103" y="74"/>
                  </a:lnTo>
                  <a:lnTo>
                    <a:pt x="100" y="75"/>
                  </a:lnTo>
                  <a:lnTo>
                    <a:pt x="99" y="74"/>
                  </a:lnTo>
                  <a:lnTo>
                    <a:pt x="102" y="75"/>
                  </a:lnTo>
                  <a:lnTo>
                    <a:pt x="105" y="74"/>
                  </a:lnTo>
                  <a:lnTo>
                    <a:pt x="107" y="73"/>
                  </a:lnTo>
                  <a:lnTo>
                    <a:pt x="110" y="71"/>
                  </a:lnTo>
                  <a:lnTo>
                    <a:pt x="112" y="70"/>
                  </a:lnTo>
                  <a:lnTo>
                    <a:pt x="115" y="74"/>
                  </a:lnTo>
                  <a:lnTo>
                    <a:pt x="118" y="76"/>
                  </a:lnTo>
                  <a:lnTo>
                    <a:pt x="118" y="77"/>
                  </a:lnTo>
                  <a:lnTo>
                    <a:pt x="117" y="78"/>
                  </a:lnTo>
                  <a:lnTo>
                    <a:pt x="114" y="81"/>
                  </a:lnTo>
                  <a:lnTo>
                    <a:pt x="111" y="83"/>
                  </a:lnTo>
                  <a:lnTo>
                    <a:pt x="112" y="83"/>
                  </a:lnTo>
                  <a:lnTo>
                    <a:pt x="115" y="84"/>
                  </a:lnTo>
                  <a:lnTo>
                    <a:pt x="112" y="84"/>
                  </a:lnTo>
                  <a:lnTo>
                    <a:pt x="112" y="85"/>
                  </a:lnTo>
                  <a:lnTo>
                    <a:pt x="112" y="88"/>
                  </a:lnTo>
                  <a:lnTo>
                    <a:pt x="112" y="88"/>
                  </a:lnTo>
                  <a:close/>
                  <a:moveTo>
                    <a:pt x="248" y="194"/>
                  </a:moveTo>
                  <a:lnTo>
                    <a:pt x="248" y="194"/>
                  </a:lnTo>
                  <a:lnTo>
                    <a:pt x="248" y="194"/>
                  </a:lnTo>
                  <a:lnTo>
                    <a:pt x="248" y="1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25" name="Freeform 225">
              <a:extLst>
                <a:ext uri="{FF2B5EF4-FFF2-40B4-BE49-F238E27FC236}">
                  <a16:creationId xmlns:a16="http://schemas.microsoft.com/office/drawing/2014/main" id="{71557924-DBDC-4786-AEF5-8000AD3945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4950" y="2201863"/>
              <a:ext cx="2239962" cy="3606800"/>
            </a:xfrm>
            <a:custGeom>
              <a:avLst/>
              <a:gdLst>
                <a:gd name="T0" fmla="*/ 178 w 1411"/>
                <a:gd name="T1" fmla="*/ 2262 h 2272"/>
                <a:gd name="T2" fmla="*/ 312 w 1411"/>
                <a:gd name="T3" fmla="*/ 2194 h 2272"/>
                <a:gd name="T4" fmla="*/ 230 w 1411"/>
                <a:gd name="T5" fmla="*/ 2250 h 2272"/>
                <a:gd name="T6" fmla="*/ 185 w 1411"/>
                <a:gd name="T7" fmla="*/ 2212 h 2272"/>
                <a:gd name="T8" fmla="*/ 177 w 1411"/>
                <a:gd name="T9" fmla="*/ 2239 h 2272"/>
                <a:gd name="T10" fmla="*/ 161 w 1411"/>
                <a:gd name="T11" fmla="*/ 2248 h 2272"/>
                <a:gd name="T12" fmla="*/ 188 w 1411"/>
                <a:gd name="T13" fmla="*/ 2257 h 2272"/>
                <a:gd name="T14" fmla="*/ 244 w 1411"/>
                <a:gd name="T15" fmla="*/ 2253 h 2272"/>
                <a:gd name="T16" fmla="*/ 587 w 1411"/>
                <a:gd name="T17" fmla="*/ 1458 h 2272"/>
                <a:gd name="T18" fmla="*/ 525 w 1411"/>
                <a:gd name="T19" fmla="*/ 1461 h 2272"/>
                <a:gd name="T20" fmla="*/ 478 w 1411"/>
                <a:gd name="T21" fmla="*/ 1428 h 2272"/>
                <a:gd name="T22" fmla="*/ 441 w 1411"/>
                <a:gd name="T23" fmla="*/ 1439 h 2272"/>
                <a:gd name="T24" fmla="*/ 452 w 1411"/>
                <a:gd name="T25" fmla="*/ 1401 h 2272"/>
                <a:gd name="T26" fmla="*/ 424 w 1411"/>
                <a:gd name="T27" fmla="*/ 1354 h 2272"/>
                <a:gd name="T28" fmla="*/ 356 w 1411"/>
                <a:gd name="T29" fmla="*/ 1337 h 2272"/>
                <a:gd name="T30" fmla="*/ 322 w 1411"/>
                <a:gd name="T31" fmla="*/ 1307 h 2272"/>
                <a:gd name="T32" fmla="*/ 285 w 1411"/>
                <a:gd name="T33" fmla="*/ 1287 h 2272"/>
                <a:gd name="T34" fmla="*/ 261 w 1411"/>
                <a:gd name="T35" fmla="*/ 1272 h 2272"/>
                <a:gd name="T36" fmla="*/ 175 w 1411"/>
                <a:gd name="T37" fmla="*/ 1252 h 2272"/>
                <a:gd name="T38" fmla="*/ 151 w 1411"/>
                <a:gd name="T39" fmla="*/ 1281 h 2272"/>
                <a:gd name="T40" fmla="*/ 119 w 1411"/>
                <a:gd name="T41" fmla="*/ 1269 h 2272"/>
                <a:gd name="T42" fmla="*/ 84 w 1411"/>
                <a:gd name="T43" fmla="*/ 1307 h 2272"/>
                <a:gd name="T44" fmla="*/ 17 w 1411"/>
                <a:gd name="T45" fmla="*/ 1296 h 2272"/>
                <a:gd name="T46" fmla="*/ 12 w 1411"/>
                <a:gd name="T47" fmla="*/ 1306 h 2272"/>
                <a:gd name="T48" fmla="*/ 60 w 1411"/>
                <a:gd name="T49" fmla="*/ 1299 h 2272"/>
                <a:gd name="T50" fmla="*/ 76 w 1411"/>
                <a:gd name="T51" fmla="*/ 1364 h 2272"/>
                <a:gd name="T52" fmla="*/ 43 w 1411"/>
                <a:gd name="T53" fmla="*/ 1407 h 2272"/>
                <a:gd name="T54" fmla="*/ 41 w 1411"/>
                <a:gd name="T55" fmla="*/ 1452 h 2272"/>
                <a:gd name="T56" fmla="*/ 29 w 1411"/>
                <a:gd name="T57" fmla="*/ 1496 h 2272"/>
                <a:gd name="T58" fmla="*/ 85 w 1411"/>
                <a:gd name="T59" fmla="*/ 1590 h 2272"/>
                <a:gd name="T60" fmla="*/ 159 w 1411"/>
                <a:gd name="T61" fmla="*/ 1660 h 2272"/>
                <a:gd name="T62" fmla="*/ 169 w 1411"/>
                <a:gd name="T63" fmla="*/ 1776 h 2272"/>
                <a:gd name="T64" fmla="*/ 155 w 1411"/>
                <a:gd name="T65" fmla="*/ 1888 h 2272"/>
                <a:gd name="T66" fmla="*/ 131 w 1411"/>
                <a:gd name="T67" fmla="*/ 1966 h 2272"/>
                <a:gd name="T68" fmla="*/ 142 w 1411"/>
                <a:gd name="T69" fmla="*/ 2025 h 2272"/>
                <a:gd name="T70" fmla="*/ 141 w 1411"/>
                <a:gd name="T71" fmla="*/ 2075 h 2272"/>
                <a:gd name="T72" fmla="*/ 125 w 1411"/>
                <a:gd name="T73" fmla="*/ 2102 h 2272"/>
                <a:gd name="T74" fmla="*/ 109 w 1411"/>
                <a:gd name="T75" fmla="*/ 2108 h 2272"/>
                <a:gd name="T76" fmla="*/ 131 w 1411"/>
                <a:gd name="T77" fmla="*/ 2134 h 2272"/>
                <a:gd name="T78" fmla="*/ 125 w 1411"/>
                <a:gd name="T79" fmla="*/ 2154 h 2272"/>
                <a:gd name="T80" fmla="*/ 121 w 1411"/>
                <a:gd name="T81" fmla="*/ 2178 h 2272"/>
                <a:gd name="T82" fmla="*/ 133 w 1411"/>
                <a:gd name="T83" fmla="*/ 2203 h 2272"/>
                <a:gd name="T84" fmla="*/ 128 w 1411"/>
                <a:gd name="T85" fmla="*/ 2205 h 2272"/>
                <a:gd name="T86" fmla="*/ 144 w 1411"/>
                <a:gd name="T87" fmla="*/ 2219 h 2272"/>
                <a:gd name="T88" fmla="*/ 153 w 1411"/>
                <a:gd name="T89" fmla="*/ 2230 h 2272"/>
                <a:gd name="T90" fmla="*/ 198 w 1411"/>
                <a:gd name="T91" fmla="*/ 2209 h 2272"/>
                <a:gd name="T92" fmla="*/ 192 w 1411"/>
                <a:gd name="T93" fmla="*/ 2167 h 2272"/>
                <a:gd name="T94" fmla="*/ 230 w 1411"/>
                <a:gd name="T95" fmla="*/ 2128 h 2272"/>
                <a:gd name="T96" fmla="*/ 243 w 1411"/>
                <a:gd name="T97" fmla="*/ 2067 h 2272"/>
                <a:gd name="T98" fmla="*/ 249 w 1411"/>
                <a:gd name="T99" fmla="*/ 2033 h 2272"/>
                <a:gd name="T100" fmla="*/ 288 w 1411"/>
                <a:gd name="T101" fmla="*/ 1981 h 2272"/>
                <a:gd name="T102" fmla="*/ 345 w 1411"/>
                <a:gd name="T103" fmla="*/ 1916 h 2272"/>
                <a:gd name="T104" fmla="*/ 347 w 1411"/>
                <a:gd name="T105" fmla="*/ 1910 h 2272"/>
                <a:gd name="T106" fmla="*/ 427 w 1411"/>
                <a:gd name="T107" fmla="*/ 1861 h 2272"/>
                <a:gd name="T108" fmla="*/ 442 w 1411"/>
                <a:gd name="T109" fmla="*/ 1858 h 2272"/>
                <a:gd name="T110" fmla="*/ 478 w 1411"/>
                <a:gd name="T111" fmla="*/ 1768 h 2272"/>
                <a:gd name="T112" fmla="*/ 545 w 1411"/>
                <a:gd name="T113" fmla="*/ 1739 h 2272"/>
                <a:gd name="T114" fmla="*/ 593 w 1411"/>
                <a:gd name="T115" fmla="*/ 1685 h 2272"/>
                <a:gd name="T116" fmla="*/ 623 w 1411"/>
                <a:gd name="T117" fmla="*/ 1577 h 2272"/>
                <a:gd name="T118" fmla="*/ 195 w 1411"/>
                <a:gd name="T119" fmla="*/ 1646 h 2272"/>
                <a:gd name="T120" fmla="*/ 196 w 1411"/>
                <a:gd name="T121" fmla="*/ 1642 h 2272"/>
                <a:gd name="T122" fmla="*/ 329 w 1411"/>
                <a:gd name="T123" fmla="*/ 2200 h 2272"/>
                <a:gd name="T124" fmla="*/ 472 w 1411"/>
                <a:gd name="T125" fmla="*/ 1422 h 2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411" h="2272">
                  <a:moveTo>
                    <a:pt x="1407" y="1"/>
                  </a:moveTo>
                  <a:lnTo>
                    <a:pt x="1411" y="1"/>
                  </a:lnTo>
                  <a:lnTo>
                    <a:pt x="1411" y="0"/>
                  </a:lnTo>
                  <a:lnTo>
                    <a:pt x="1407" y="1"/>
                  </a:lnTo>
                  <a:close/>
                  <a:moveTo>
                    <a:pt x="202" y="2266"/>
                  </a:moveTo>
                  <a:lnTo>
                    <a:pt x="200" y="2265"/>
                  </a:lnTo>
                  <a:lnTo>
                    <a:pt x="196" y="2264"/>
                  </a:lnTo>
                  <a:lnTo>
                    <a:pt x="200" y="2264"/>
                  </a:lnTo>
                  <a:lnTo>
                    <a:pt x="202" y="2264"/>
                  </a:lnTo>
                  <a:lnTo>
                    <a:pt x="200" y="2262"/>
                  </a:lnTo>
                  <a:lnTo>
                    <a:pt x="196" y="2262"/>
                  </a:lnTo>
                  <a:lnTo>
                    <a:pt x="194" y="2262"/>
                  </a:lnTo>
                  <a:lnTo>
                    <a:pt x="191" y="2260"/>
                  </a:lnTo>
                  <a:lnTo>
                    <a:pt x="194" y="2261"/>
                  </a:lnTo>
                  <a:lnTo>
                    <a:pt x="196" y="2262"/>
                  </a:lnTo>
                  <a:lnTo>
                    <a:pt x="200" y="2261"/>
                  </a:lnTo>
                  <a:lnTo>
                    <a:pt x="200" y="2258"/>
                  </a:lnTo>
                  <a:lnTo>
                    <a:pt x="198" y="2257"/>
                  </a:lnTo>
                  <a:lnTo>
                    <a:pt x="194" y="2258"/>
                  </a:lnTo>
                  <a:lnTo>
                    <a:pt x="192" y="2258"/>
                  </a:lnTo>
                  <a:lnTo>
                    <a:pt x="188" y="2260"/>
                  </a:lnTo>
                  <a:lnTo>
                    <a:pt x="186" y="2260"/>
                  </a:lnTo>
                  <a:lnTo>
                    <a:pt x="184" y="2260"/>
                  </a:lnTo>
                  <a:lnTo>
                    <a:pt x="181" y="2260"/>
                  </a:lnTo>
                  <a:lnTo>
                    <a:pt x="178" y="2262"/>
                  </a:lnTo>
                  <a:lnTo>
                    <a:pt x="178" y="2262"/>
                  </a:lnTo>
                  <a:lnTo>
                    <a:pt x="178" y="2262"/>
                  </a:lnTo>
                  <a:lnTo>
                    <a:pt x="182" y="2263"/>
                  </a:lnTo>
                  <a:lnTo>
                    <a:pt x="184" y="2263"/>
                  </a:lnTo>
                  <a:lnTo>
                    <a:pt x="182" y="2265"/>
                  </a:lnTo>
                  <a:lnTo>
                    <a:pt x="184" y="2266"/>
                  </a:lnTo>
                  <a:lnTo>
                    <a:pt x="187" y="2267"/>
                  </a:lnTo>
                  <a:lnTo>
                    <a:pt x="190" y="2269"/>
                  </a:lnTo>
                  <a:lnTo>
                    <a:pt x="188" y="2266"/>
                  </a:lnTo>
                  <a:lnTo>
                    <a:pt x="186" y="2264"/>
                  </a:lnTo>
                  <a:lnTo>
                    <a:pt x="187" y="2262"/>
                  </a:lnTo>
                  <a:lnTo>
                    <a:pt x="191" y="2263"/>
                  </a:lnTo>
                  <a:lnTo>
                    <a:pt x="193" y="2264"/>
                  </a:lnTo>
                  <a:lnTo>
                    <a:pt x="194" y="2267"/>
                  </a:lnTo>
                  <a:lnTo>
                    <a:pt x="198" y="2266"/>
                  </a:lnTo>
                  <a:lnTo>
                    <a:pt x="200" y="2269"/>
                  </a:lnTo>
                  <a:lnTo>
                    <a:pt x="202" y="2271"/>
                  </a:lnTo>
                  <a:lnTo>
                    <a:pt x="205" y="2272"/>
                  </a:lnTo>
                  <a:lnTo>
                    <a:pt x="204" y="2270"/>
                  </a:lnTo>
                  <a:lnTo>
                    <a:pt x="202" y="2266"/>
                  </a:lnTo>
                  <a:close/>
                  <a:moveTo>
                    <a:pt x="323" y="2195"/>
                  </a:moveTo>
                  <a:lnTo>
                    <a:pt x="326" y="2193"/>
                  </a:lnTo>
                  <a:lnTo>
                    <a:pt x="323" y="2193"/>
                  </a:lnTo>
                  <a:lnTo>
                    <a:pt x="321" y="2193"/>
                  </a:lnTo>
                  <a:lnTo>
                    <a:pt x="318" y="2193"/>
                  </a:lnTo>
                  <a:lnTo>
                    <a:pt x="315" y="2192"/>
                  </a:lnTo>
                  <a:lnTo>
                    <a:pt x="315" y="2193"/>
                  </a:lnTo>
                  <a:lnTo>
                    <a:pt x="314" y="2193"/>
                  </a:lnTo>
                  <a:lnTo>
                    <a:pt x="312" y="2194"/>
                  </a:lnTo>
                  <a:lnTo>
                    <a:pt x="309" y="2192"/>
                  </a:lnTo>
                  <a:lnTo>
                    <a:pt x="306" y="2192"/>
                  </a:lnTo>
                  <a:lnTo>
                    <a:pt x="309" y="2194"/>
                  </a:lnTo>
                  <a:lnTo>
                    <a:pt x="311" y="2196"/>
                  </a:lnTo>
                  <a:lnTo>
                    <a:pt x="314" y="2197"/>
                  </a:lnTo>
                  <a:lnTo>
                    <a:pt x="312" y="2196"/>
                  </a:lnTo>
                  <a:lnTo>
                    <a:pt x="309" y="2197"/>
                  </a:lnTo>
                  <a:lnTo>
                    <a:pt x="306" y="2197"/>
                  </a:lnTo>
                  <a:lnTo>
                    <a:pt x="309" y="2198"/>
                  </a:lnTo>
                  <a:lnTo>
                    <a:pt x="312" y="2198"/>
                  </a:lnTo>
                  <a:lnTo>
                    <a:pt x="309" y="2200"/>
                  </a:lnTo>
                  <a:lnTo>
                    <a:pt x="307" y="2203"/>
                  </a:lnTo>
                  <a:lnTo>
                    <a:pt x="304" y="2203"/>
                  </a:lnTo>
                  <a:lnTo>
                    <a:pt x="302" y="2204"/>
                  </a:lnTo>
                  <a:lnTo>
                    <a:pt x="304" y="2205"/>
                  </a:lnTo>
                  <a:lnTo>
                    <a:pt x="307" y="2205"/>
                  </a:lnTo>
                  <a:lnTo>
                    <a:pt x="310" y="2205"/>
                  </a:lnTo>
                  <a:lnTo>
                    <a:pt x="312" y="2203"/>
                  </a:lnTo>
                  <a:lnTo>
                    <a:pt x="315" y="2202"/>
                  </a:lnTo>
                  <a:lnTo>
                    <a:pt x="316" y="2202"/>
                  </a:lnTo>
                  <a:lnTo>
                    <a:pt x="319" y="2200"/>
                  </a:lnTo>
                  <a:lnTo>
                    <a:pt x="321" y="2196"/>
                  </a:lnTo>
                  <a:lnTo>
                    <a:pt x="323" y="2195"/>
                  </a:lnTo>
                  <a:close/>
                  <a:moveTo>
                    <a:pt x="239" y="2253"/>
                  </a:moveTo>
                  <a:lnTo>
                    <a:pt x="236" y="2253"/>
                  </a:lnTo>
                  <a:lnTo>
                    <a:pt x="234" y="2252"/>
                  </a:lnTo>
                  <a:lnTo>
                    <a:pt x="230" y="2250"/>
                  </a:lnTo>
                  <a:lnTo>
                    <a:pt x="228" y="2249"/>
                  </a:lnTo>
                  <a:lnTo>
                    <a:pt x="226" y="2248"/>
                  </a:lnTo>
                  <a:lnTo>
                    <a:pt x="222" y="2245"/>
                  </a:lnTo>
                  <a:lnTo>
                    <a:pt x="220" y="2244"/>
                  </a:lnTo>
                  <a:lnTo>
                    <a:pt x="218" y="2243"/>
                  </a:lnTo>
                  <a:lnTo>
                    <a:pt x="215" y="2240"/>
                  </a:lnTo>
                  <a:lnTo>
                    <a:pt x="212" y="2239"/>
                  </a:lnTo>
                  <a:lnTo>
                    <a:pt x="209" y="2236"/>
                  </a:lnTo>
                  <a:lnTo>
                    <a:pt x="209" y="2235"/>
                  </a:lnTo>
                  <a:lnTo>
                    <a:pt x="205" y="2232"/>
                  </a:lnTo>
                  <a:lnTo>
                    <a:pt x="204" y="2230"/>
                  </a:lnTo>
                  <a:lnTo>
                    <a:pt x="203" y="2227"/>
                  </a:lnTo>
                  <a:lnTo>
                    <a:pt x="201" y="2227"/>
                  </a:lnTo>
                  <a:lnTo>
                    <a:pt x="198" y="2226"/>
                  </a:lnTo>
                  <a:lnTo>
                    <a:pt x="200" y="2223"/>
                  </a:lnTo>
                  <a:lnTo>
                    <a:pt x="202" y="2222"/>
                  </a:lnTo>
                  <a:lnTo>
                    <a:pt x="201" y="2219"/>
                  </a:lnTo>
                  <a:lnTo>
                    <a:pt x="199" y="2216"/>
                  </a:lnTo>
                  <a:lnTo>
                    <a:pt x="198" y="2215"/>
                  </a:lnTo>
                  <a:lnTo>
                    <a:pt x="198" y="2214"/>
                  </a:lnTo>
                  <a:lnTo>
                    <a:pt x="196" y="2214"/>
                  </a:lnTo>
                  <a:lnTo>
                    <a:pt x="196" y="2214"/>
                  </a:lnTo>
                  <a:lnTo>
                    <a:pt x="196" y="2214"/>
                  </a:lnTo>
                  <a:lnTo>
                    <a:pt x="193" y="2214"/>
                  </a:lnTo>
                  <a:lnTo>
                    <a:pt x="191" y="2215"/>
                  </a:lnTo>
                  <a:lnTo>
                    <a:pt x="188" y="2214"/>
                  </a:lnTo>
                  <a:lnTo>
                    <a:pt x="185" y="2212"/>
                  </a:lnTo>
                  <a:lnTo>
                    <a:pt x="185" y="2212"/>
                  </a:lnTo>
                  <a:lnTo>
                    <a:pt x="184" y="2214"/>
                  </a:lnTo>
                  <a:lnTo>
                    <a:pt x="182" y="2216"/>
                  </a:lnTo>
                  <a:lnTo>
                    <a:pt x="182" y="2216"/>
                  </a:lnTo>
                  <a:lnTo>
                    <a:pt x="181" y="2218"/>
                  </a:lnTo>
                  <a:lnTo>
                    <a:pt x="178" y="2218"/>
                  </a:lnTo>
                  <a:lnTo>
                    <a:pt x="176" y="2216"/>
                  </a:lnTo>
                  <a:lnTo>
                    <a:pt x="173" y="2216"/>
                  </a:lnTo>
                  <a:lnTo>
                    <a:pt x="174" y="2219"/>
                  </a:lnTo>
                  <a:lnTo>
                    <a:pt x="177" y="2219"/>
                  </a:lnTo>
                  <a:lnTo>
                    <a:pt x="175" y="2222"/>
                  </a:lnTo>
                  <a:lnTo>
                    <a:pt x="171" y="2222"/>
                  </a:lnTo>
                  <a:lnTo>
                    <a:pt x="171" y="2224"/>
                  </a:lnTo>
                  <a:lnTo>
                    <a:pt x="171" y="2227"/>
                  </a:lnTo>
                  <a:lnTo>
                    <a:pt x="173" y="2228"/>
                  </a:lnTo>
                  <a:lnTo>
                    <a:pt x="175" y="2230"/>
                  </a:lnTo>
                  <a:lnTo>
                    <a:pt x="178" y="2229"/>
                  </a:lnTo>
                  <a:lnTo>
                    <a:pt x="178" y="2228"/>
                  </a:lnTo>
                  <a:lnTo>
                    <a:pt x="182" y="2228"/>
                  </a:lnTo>
                  <a:lnTo>
                    <a:pt x="184" y="2227"/>
                  </a:lnTo>
                  <a:lnTo>
                    <a:pt x="187" y="2228"/>
                  </a:lnTo>
                  <a:lnTo>
                    <a:pt x="186" y="2231"/>
                  </a:lnTo>
                  <a:lnTo>
                    <a:pt x="183" y="2232"/>
                  </a:lnTo>
                  <a:lnTo>
                    <a:pt x="181" y="2233"/>
                  </a:lnTo>
                  <a:lnTo>
                    <a:pt x="178" y="2235"/>
                  </a:lnTo>
                  <a:lnTo>
                    <a:pt x="176" y="2237"/>
                  </a:lnTo>
                  <a:lnTo>
                    <a:pt x="177" y="2239"/>
                  </a:lnTo>
                  <a:lnTo>
                    <a:pt x="178" y="2243"/>
                  </a:lnTo>
                  <a:lnTo>
                    <a:pt x="181" y="2244"/>
                  </a:lnTo>
                  <a:lnTo>
                    <a:pt x="184" y="2244"/>
                  </a:lnTo>
                  <a:lnTo>
                    <a:pt x="186" y="2246"/>
                  </a:lnTo>
                  <a:lnTo>
                    <a:pt x="190" y="2247"/>
                  </a:lnTo>
                  <a:lnTo>
                    <a:pt x="192" y="2248"/>
                  </a:lnTo>
                  <a:lnTo>
                    <a:pt x="190" y="2250"/>
                  </a:lnTo>
                  <a:lnTo>
                    <a:pt x="186" y="2250"/>
                  </a:lnTo>
                  <a:lnTo>
                    <a:pt x="188" y="2248"/>
                  </a:lnTo>
                  <a:lnTo>
                    <a:pt x="185" y="2247"/>
                  </a:lnTo>
                  <a:lnTo>
                    <a:pt x="183" y="2246"/>
                  </a:lnTo>
                  <a:lnTo>
                    <a:pt x="181" y="2245"/>
                  </a:lnTo>
                  <a:lnTo>
                    <a:pt x="179" y="2248"/>
                  </a:lnTo>
                  <a:lnTo>
                    <a:pt x="178" y="2245"/>
                  </a:lnTo>
                  <a:lnTo>
                    <a:pt x="177" y="2247"/>
                  </a:lnTo>
                  <a:lnTo>
                    <a:pt x="174" y="2247"/>
                  </a:lnTo>
                  <a:lnTo>
                    <a:pt x="169" y="2244"/>
                  </a:lnTo>
                  <a:lnTo>
                    <a:pt x="166" y="2245"/>
                  </a:lnTo>
                  <a:lnTo>
                    <a:pt x="169" y="2245"/>
                  </a:lnTo>
                  <a:lnTo>
                    <a:pt x="171" y="2247"/>
                  </a:lnTo>
                  <a:lnTo>
                    <a:pt x="174" y="2249"/>
                  </a:lnTo>
                  <a:lnTo>
                    <a:pt x="171" y="2248"/>
                  </a:lnTo>
                  <a:lnTo>
                    <a:pt x="168" y="2249"/>
                  </a:lnTo>
                  <a:lnTo>
                    <a:pt x="169" y="2246"/>
                  </a:lnTo>
                  <a:lnTo>
                    <a:pt x="167" y="2246"/>
                  </a:lnTo>
                  <a:lnTo>
                    <a:pt x="165" y="2248"/>
                  </a:lnTo>
                  <a:lnTo>
                    <a:pt x="161" y="2248"/>
                  </a:lnTo>
                  <a:lnTo>
                    <a:pt x="159" y="2248"/>
                  </a:lnTo>
                  <a:lnTo>
                    <a:pt x="157" y="2249"/>
                  </a:lnTo>
                  <a:lnTo>
                    <a:pt x="153" y="2248"/>
                  </a:lnTo>
                  <a:lnTo>
                    <a:pt x="157" y="2250"/>
                  </a:lnTo>
                  <a:lnTo>
                    <a:pt x="153" y="2250"/>
                  </a:lnTo>
                  <a:lnTo>
                    <a:pt x="151" y="2249"/>
                  </a:lnTo>
                  <a:lnTo>
                    <a:pt x="152" y="2253"/>
                  </a:lnTo>
                  <a:lnTo>
                    <a:pt x="156" y="2253"/>
                  </a:lnTo>
                  <a:lnTo>
                    <a:pt x="158" y="2252"/>
                  </a:lnTo>
                  <a:lnTo>
                    <a:pt x="161" y="2250"/>
                  </a:lnTo>
                  <a:lnTo>
                    <a:pt x="162" y="2253"/>
                  </a:lnTo>
                  <a:lnTo>
                    <a:pt x="165" y="2252"/>
                  </a:lnTo>
                  <a:lnTo>
                    <a:pt x="164" y="2255"/>
                  </a:lnTo>
                  <a:lnTo>
                    <a:pt x="167" y="2254"/>
                  </a:lnTo>
                  <a:lnTo>
                    <a:pt x="169" y="2254"/>
                  </a:lnTo>
                  <a:lnTo>
                    <a:pt x="167" y="2256"/>
                  </a:lnTo>
                  <a:lnTo>
                    <a:pt x="169" y="2255"/>
                  </a:lnTo>
                  <a:lnTo>
                    <a:pt x="173" y="2255"/>
                  </a:lnTo>
                  <a:lnTo>
                    <a:pt x="175" y="2253"/>
                  </a:lnTo>
                  <a:lnTo>
                    <a:pt x="175" y="2256"/>
                  </a:lnTo>
                  <a:lnTo>
                    <a:pt x="178" y="2256"/>
                  </a:lnTo>
                  <a:lnTo>
                    <a:pt x="178" y="2254"/>
                  </a:lnTo>
                  <a:lnTo>
                    <a:pt x="178" y="2253"/>
                  </a:lnTo>
                  <a:lnTo>
                    <a:pt x="181" y="2255"/>
                  </a:lnTo>
                  <a:lnTo>
                    <a:pt x="183" y="2256"/>
                  </a:lnTo>
                  <a:lnTo>
                    <a:pt x="186" y="2256"/>
                  </a:lnTo>
                  <a:lnTo>
                    <a:pt x="188" y="2257"/>
                  </a:lnTo>
                  <a:lnTo>
                    <a:pt x="192" y="2257"/>
                  </a:lnTo>
                  <a:lnTo>
                    <a:pt x="194" y="2255"/>
                  </a:lnTo>
                  <a:lnTo>
                    <a:pt x="196" y="2257"/>
                  </a:lnTo>
                  <a:lnTo>
                    <a:pt x="198" y="2256"/>
                  </a:lnTo>
                  <a:lnTo>
                    <a:pt x="196" y="2255"/>
                  </a:lnTo>
                  <a:lnTo>
                    <a:pt x="196" y="2255"/>
                  </a:lnTo>
                  <a:lnTo>
                    <a:pt x="199" y="2256"/>
                  </a:lnTo>
                  <a:lnTo>
                    <a:pt x="199" y="2256"/>
                  </a:lnTo>
                  <a:lnTo>
                    <a:pt x="201" y="2255"/>
                  </a:lnTo>
                  <a:lnTo>
                    <a:pt x="202" y="2255"/>
                  </a:lnTo>
                  <a:lnTo>
                    <a:pt x="203" y="2256"/>
                  </a:lnTo>
                  <a:lnTo>
                    <a:pt x="207" y="2256"/>
                  </a:lnTo>
                  <a:lnTo>
                    <a:pt x="209" y="2257"/>
                  </a:lnTo>
                  <a:lnTo>
                    <a:pt x="212" y="2256"/>
                  </a:lnTo>
                  <a:lnTo>
                    <a:pt x="215" y="2257"/>
                  </a:lnTo>
                  <a:lnTo>
                    <a:pt x="217" y="2257"/>
                  </a:lnTo>
                  <a:lnTo>
                    <a:pt x="220" y="2257"/>
                  </a:lnTo>
                  <a:lnTo>
                    <a:pt x="222" y="2258"/>
                  </a:lnTo>
                  <a:lnTo>
                    <a:pt x="226" y="2260"/>
                  </a:lnTo>
                  <a:lnTo>
                    <a:pt x="228" y="2258"/>
                  </a:lnTo>
                  <a:lnTo>
                    <a:pt x="230" y="2258"/>
                  </a:lnTo>
                  <a:lnTo>
                    <a:pt x="234" y="2257"/>
                  </a:lnTo>
                  <a:lnTo>
                    <a:pt x="236" y="2257"/>
                  </a:lnTo>
                  <a:lnTo>
                    <a:pt x="239" y="2257"/>
                  </a:lnTo>
                  <a:lnTo>
                    <a:pt x="242" y="2257"/>
                  </a:lnTo>
                  <a:lnTo>
                    <a:pt x="243" y="2255"/>
                  </a:lnTo>
                  <a:lnTo>
                    <a:pt x="244" y="2253"/>
                  </a:lnTo>
                  <a:lnTo>
                    <a:pt x="242" y="2252"/>
                  </a:lnTo>
                  <a:lnTo>
                    <a:pt x="239" y="2253"/>
                  </a:lnTo>
                  <a:close/>
                  <a:moveTo>
                    <a:pt x="659" y="1517"/>
                  </a:moveTo>
                  <a:lnTo>
                    <a:pt x="660" y="1513"/>
                  </a:lnTo>
                  <a:lnTo>
                    <a:pt x="657" y="1510"/>
                  </a:lnTo>
                  <a:lnTo>
                    <a:pt x="657" y="1508"/>
                  </a:lnTo>
                  <a:lnTo>
                    <a:pt x="656" y="1502"/>
                  </a:lnTo>
                  <a:lnTo>
                    <a:pt x="654" y="1495"/>
                  </a:lnTo>
                  <a:lnTo>
                    <a:pt x="653" y="1492"/>
                  </a:lnTo>
                  <a:lnTo>
                    <a:pt x="651" y="1489"/>
                  </a:lnTo>
                  <a:lnTo>
                    <a:pt x="648" y="1488"/>
                  </a:lnTo>
                  <a:lnTo>
                    <a:pt x="645" y="1488"/>
                  </a:lnTo>
                  <a:lnTo>
                    <a:pt x="635" y="1488"/>
                  </a:lnTo>
                  <a:lnTo>
                    <a:pt x="631" y="1487"/>
                  </a:lnTo>
                  <a:lnTo>
                    <a:pt x="628" y="1486"/>
                  </a:lnTo>
                  <a:lnTo>
                    <a:pt x="623" y="1483"/>
                  </a:lnTo>
                  <a:lnTo>
                    <a:pt x="623" y="1483"/>
                  </a:lnTo>
                  <a:lnTo>
                    <a:pt x="621" y="1482"/>
                  </a:lnTo>
                  <a:lnTo>
                    <a:pt x="620" y="1479"/>
                  </a:lnTo>
                  <a:lnTo>
                    <a:pt x="617" y="1477"/>
                  </a:lnTo>
                  <a:lnTo>
                    <a:pt x="614" y="1475"/>
                  </a:lnTo>
                  <a:lnTo>
                    <a:pt x="612" y="1472"/>
                  </a:lnTo>
                  <a:lnTo>
                    <a:pt x="610" y="1469"/>
                  </a:lnTo>
                  <a:lnTo>
                    <a:pt x="608" y="1469"/>
                  </a:lnTo>
                  <a:lnTo>
                    <a:pt x="600" y="1463"/>
                  </a:lnTo>
                  <a:lnTo>
                    <a:pt x="588" y="1458"/>
                  </a:lnTo>
                  <a:lnTo>
                    <a:pt x="587" y="1458"/>
                  </a:lnTo>
                  <a:lnTo>
                    <a:pt x="582" y="1457"/>
                  </a:lnTo>
                  <a:lnTo>
                    <a:pt x="575" y="1458"/>
                  </a:lnTo>
                  <a:lnTo>
                    <a:pt x="572" y="1458"/>
                  </a:lnTo>
                  <a:lnTo>
                    <a:pt x="571" y="1460"/>
                  </a:lnTo>
                  <a:lnTo>
                    <a:pt x="567" y="1458"/>
                  </a:lnTo>
                  <a:lnTo>
                    <a:pt x="563" y="1457"/>
                  </a:lnTo>
                  <a:lnTo>
                    <a:pt x="562" y="1458"/>
                  </a:lnTo>
                  <a:lnTo>
                    <a:pt x="559" y="1457"/>
                  </a:lnTo>
                  <a:lnTo>
                    <a:pt x="558" y="1457"/>
                  </a:lnTo>
                  <a:lnTo>
                    <a:pt x="555" y="1457"/>
                  </a:lnTo>
                  <a:lnTo>
                    <a:pt x="550" y="1453"/>
                  </a:lnTo>
                  <a:lnTo>
                    <a:pt x="544" y="1451"/>
                  </a:lnTo>
                  <a:lnTo>
                    <a:pt x="542" y="1451"/>
                  </a:lnTo>
                  <a:lnTo>
                    <a:pt x="542" y="1452"/>
                  </a:lnTo>
                  <a:lnTo>
                    <a:pt x="536" y="1453"/>
                  </a:lnTo>
                  <a:lnTo>
                    <a:pt x="534" y="1456"/>
                  </a:lnTo>
                  <a:lnTo>
                    <a:pt x="533" y="1457"/>
                  </a:lnTo>
                  <a:lnTo>
                    <a:pt x="532" y="1458"/>
                  </a:lnTo>
                  <a:lnTo>
                    <a:pt x="531" y="1456"/>
                  </a:lnTo>
                  <a:lnTo>
                    <a:pt x="534" y="1452"/>
                  </a:lnTo>
                  <a:lnTo>
                    <a:pt x="531" y="1452"/>
                  </a:lnTo>
                  <a:lnTo>
                    <a:pt x="529" y="1453"/>
                  </a:lnTo>
                  <a:lnTo>
                    <a:pt x="528" y="1459"/>
                  </a:lnTo>
                  <a:lnTo>
                    <a:pt x="526" y="1461"/>
                  </a:lnTo>
                  <a:lnTo>
                    <a:pt x="524" y="1465"/>
                  </a:lnTo>
                  <a:lnTo>
                    <a:pt x="523" y="1463"/>
                  </a:lnTo>
                  <a:lnTo>
                    <a:pt x="525" y="1461"/>
                  </a:lnTo>
                  <a:lnTo>
                    <a:pt x="525" y="1459"/>
                  </a:lnTo>
                  <a:lnTo>
                    <a:pt x="526" y="1453"/>
                  </a:lnTo>
                  <a:lnTo>
                    <a:pt x="529" y="1451"/>
                  </a:lnTo>
                  <a:lnTo>
                    <a:pt x="528" y="1448"/>
                  </a:lnTo>
                  <a:lnTo>
                    <a:pt x="526" y="1450"/>
                  </a:lnTo>
                  <a:lnTo>
                    <a:pt x="523" y="1450"/>
                  </a:lnTo>
                  <a:lnTo>
                    <a:pt x="526" y="1449"/>
                  </a:lnTo>
                  <a:lnTo>
                    <a:pt x="527" y="1446"/>
                  </a:lnTo>
                  <a:lnTo>
                    <a:pt x="523" y="1441"/>
                  </a:lnTo>
                  <a:lnTo>
                    <a:pt x="520" y="1441"/>
                  </a:lnTo>
                  <a:lnTo>
                    <a:pt x="520" y="1439"/>
                  </a:lnTo>
                  <a:lnTo>
                    <a:pt x="518" y="1440"/>
                  </a:lnTo>
                  <a:lnTo>
                    <a:pt x="517" y="1442"/>
                  </a:lnTo>
                  <a:lnTo>
                    <a:pt x="516" y="1440"/>
                  </a:lnTo>
                  <a:lnTo>
                    <a:pt x="516" y="1437"/>
                  </a:lnTo>
                  <a:lnTo>
                    <a:pt x="515" y="1440"/>
                  </a:lnTo>
                  <a:lnTo>
                    <a:pt x="515" y="1437"/>
                  </a:lnTo>
                  <a:lnTo>
                    <a:pt x="506" y="1435"/>
                  </a:lnTo>
                  <a:lnTo>
                    <a:pt x="505" y="1433"/>
                  </a:lnTo>
                  <a:lnTo>
                    <a:pt x="499" y="1433"/>
                  </a:lnTo>
                  <a:lnTo>
                    <a:pt x="493" y="1429"/>
                  </a:lnTo>
                  <a:lnTo>
                    <a:pt x="491" y="1429"/>
                  </a:lnTo>
                  <a:lnTo>
                    <a:pt x="489" y="1427"/>
                  </a:lnTo>
                  <a:lnTo>
                    <a:pt x="488" y="1429"/>
                  </a:lnTo>
                  <a:lnTo>
                    <a:pt x="485" y="1427"/>
                  </a:lnTo>
                  <a:lnTo>
                    <a:pt x="483" y="1428"/>
                  </a:lnTo>
                  <a:lnTo>
                    <a:pt x="478" y="1428"/>
                  </a:lnTo>
                  <a:lnTo>
                    <a:pt x="476" y="1431"/>
                  </a:lnTo>
                  <a:lnTo>
                    <a:pt x="475" y="1435"/>
                  </a:lnTo>
                  <a:lnTo>
                    <a:pt x="473" y="1439"/>
                  </a:lnTo>
                  <a:lnTo>
                    <a:pt x="477" y="1439"/>
                  </a:lnTo>
                  <a:lnTo>
                    <a:pt x="474" y="1440"/>
                  </a:lnTo>
                  <a:lnTo>
                    <a:pt x="474" y="1442"/>
                  </a:lnTo>
                  <a:lnTo>
                    <a:pt x="471" y="1439"/>
                  </a:lnTo>
                  <a:lnTo>
                    <a:pt x="468" y="1441"/>
                  </a:lnTo>
                  <a:lnTo>
                    <a:pt x="466" y="1443"/>
                  </a:lnTo>
                  <a:lnTo>
                    <a:pt x="464" y="1444"/>
                  </a:lnTo>
                  <a:lnTo>
                    <a:pt x="461" y="1448"/>
                  </a:lnTo>
                  <a:lnTo>
                    <a:pt x="459" y="1452"/>
                  </a:lnTo>
                  <a:lnTo>
                    <a:pt x="459" y="1453"/>
                  </a:lnTo>
                  <a:lnTo>
                    <a:pt x="459" y="1451"/>
                  </a:lnTo>
                  <a:lnTo>
                    <a:pt x="461" y="1443"/>
                  </a:lnTo>
                  <a:lnTo>
                    <a:pt x="459" y="1443"/>
                  </a:lnTo>
                  <a:lnTo>
                    <a:pt x="457" y="1444"/>
                  </a:lnTo>
                  <a:lnTo>
                    <a:pt x="455" y="1448"/>
                  </a:lnTo>
                  <a:lnTo>
                    <a:pt x="454" y="1444"/>
                  </a:lnTo>
                  <a:lnTo>
                    <a:pt x="452" y="1443"/>
                  </a:lnTo>
                  <a:lnTo>
                    <a:pt x="449" y="1445"/>
                  </a:lnTo>
                  <a:lnTo>
                    <a:pt x="447" y="1445"/>
                  </a:lnTo>
                  <a:lnTo>
                    <a:pt x="443" y="1443"/>
                  </a:lnTo>
                  <a:lnTo>
                    <a:pt x="442" y="1443"/>
                  </a:lnTo>
                  <a:lnTo>
                    <a:pt x="442" y="1441"/>
                  </a:lnTo>
                  <a:lnTo>
                    <a:pt x="442" y="1440"/>
                  </a:lnTo>
                  <a:lnTo>
                    <a:pt x="441" y="1439"/>
                  </a:lnTo>
                  <a:lnTo>
                    <a:pt x="441" y="1439"/>
                  </a:lnTo>
                  <a:lnTo>
                    <a:pt x="441" y="1437"/>
                  </a:lnTo>
                  <a:lnTo>
                    <a:pt x="441" y="1432"/>
                  </a:lnTo>
                  <a:lnTo>
                    <a:pt x="438" y="1433"/>
                  </a:lnTo>
                  <a:lnTo>
                    <a:pt x="430" y="1437"/>
                  </a:lnTo>
                  <a:lnTo>
                    <a:pt x="429" y="1437"/>
                  </a:lnTo>
                  <a:lnTo>
                    <a:pt x="426" y="1440"/>
                  </a:lnTo>
                  <a:lnTo>
                    <a:pt x="421" y="1442"/>
                  </a:lnTo>
                  <a:lnTo>
                    <a:pt x="421" y="1442"/>
                  </a:lnTo>
                  <a:lnTo>
                    <a:pt x="418" y="1441"/>
                  </a:lnTo>
                  <a:lnTo>
                    <a:pt x="415" y="1441"/>
                  </a:lnTo>
                  <a:lnTo>
                    <a:pt x="415" y="1440"/>
                  </a:lnTo>
                  <a:lnTo>
                    <a:pt x="422" y="1437"/>
                  </a:lnTo>
                  <a:lnTo>
                    <a:pt x="424" y="1439"/>
                  </a:lnTo>
                  <a:lnTo>
                    <a:pt x="426" y="1434"/>
                  </a:lnTo>
                  <a:lnTo>
                    <a:pt x="429" y="1433"/>
                  </a:lnTo>
                  <a:lnTo>
                    <a:pt x="429" y="1431"/>
                  </a:lnTo>
                  <a:lnTo>
                    <a:pt x="434" y="1422"/>
                  </a:lnTo>
                  <a:lnTo>
                    <a:pt x="435" y="1420"/>
                  </a:lnTo>
                  <a:lnTo>
                    <a:pt x="437" y="1419"/>
                  </a:lnTo>
                  <a:lnTo>
                    <a:pt x="440" y="1416"/>
                  </a:lnTo>
                  <a:lnTo>
                    <a:pt x="443" y="1415"/>
                  </a:lnTo>
                  <a:lnTo>
                    <a:pt x="449" y="1406"/>
                  </a:lnTo>
                  <a:lnTo>
                    <a:pt x="452" y="1403"/>
                  </a:lnTo>
                  <a:lnTo>
                    <a:pt x="452" y="1402"/>
                  </a:lnTo>
                  <a:lnTo>
                    <a:pt x="450" y="1402"/>
                  </a:lnTo>
                  <a:lnTo>
                    <a:pt x="452" y="1401"/>
                  </a:lnTo>
                  <a:lnTo>
                    <a:pt x="454" y="1399"/>
                  </a:lnTo>
                  <a:lnTo>
                    <a:pt x="454" y="1395"/>
                  </a:lnTo>
                  <a:lnTo>
                    <a:pt x="452" y="1394"/>
                  </a:lnTo>
                  <a:lnTo>
                    <a:pt x="449" y="1393"/>
                  </a:lnTo>
                  <a:lnTo>
                    <a:pt x="447" y="1393"/>
                  </a:lnTo>
                  <a:lnTo>
                    <a:pt x="444" y="1391"/>
                  </a:lnTo>
                  <a:lnTo>
                    <a:pt x="442" y="1390"/>
                  </a:lnTo>
                  <a:lnTo>
                    <a:pt x="442" y="1386"/>
                  </a:lnTo>
                  <a:lnTo>
                    <a:pt x="440" y="1384"/>
                  </a:lnTo>
                  <a:lnTo>
                    <a:pt x="440" y="1382"/>
                  </a:lnTo>
                  <a:lnTo>
                    <a:pt x="438" y="1376"/>
                  </a:lnTo>
                  <a:lnTo>
                    <a:pt x="438" y="1374"/>
                  </a:lnTo>
                  <a:lnTo>
                    <a:pt x="437" y="1365"/>
                  </a:lnTo>
                  <a:lnTo>
                    <a:pt x="435" y="1368"/>
                  </a:lnTo>
                  <a:lnTo>
                    <a:pt x="435" y="1363"/>
                  </a:lnTo>
                  <a:lnTo>
                    <a:pt x="433" y="1360"/>
                  </a:lnTo>
                  <a:lnTo>
                    <a:pt x="431" y="1359"/>
                  </a:lnTo>
                  <a:lnTo>
                    <a:pt x="431" y="1362"/>
                  </a:lnTo>
                  <a:lnTo>
                    <a:pt x="432" y="1365"/>
                  </a:lnTo>
                  <a:lnTo>
                    <a:pt x="431" y="1362"/>
                  </a:lnTo>
                  <a:lnTo>
                    <a:pt x="429" y="1364"/>
                  </a:lnTo>
                  <a:lnTo>
                    <a:pt x="430" y="1360"/>
                  </a:lnTo>
                  <a:lnTo>
                    <a:pt x="426" y="1356"/>
                  </a:lnTo>
                  <a:lnTo>
                    <a:pt x="425" y="1358"/>
                  </a:lnTo>
                  <a:lnTo>
                    <a:pt x="424" y="1359"/>
                  </a:lnTo>
                  <a:lnTo>
                    <a:pt x="425" y="1356"/>
                  </a:lnTo>
                  <a:lnTo>
                    <a:pt x="424" y="1354"/>
                  </a:lnTo>
                  <a:lnTo>
                    <a:pt x="421" y="1352"/>
                  </a:lnTo>
                  <a:lnTo>
                    <a:pt x="420" y="1354"/>
                  </a:lnTo>
                  <a:lnTo>
                    <a:pt x="421" y="1351"/>
                  </a:lnTo>
                  <a:lnTo>
                    <a:pt x="420" y="1351"/>
                  </a:lnTo>
                  <a:lnTo>
                    <a:pt x="417" y="1349"/>
                  </a:lnTo>
                  <a:lnTo>
                    <a:pt x="412" y="1343"/>
                  </a:lnTo>
                  <a:lnTo>
                    <a:pt x="411" y="1343"/>
                  </a:lnTo>
                  <a:lnTo>
                    <a:pt x="404" y="1342"/>
                  </a:lnTo>
                  <a:lnTo>
                    <a:pt x="401" y="1340"/>
                  </a:lnTo>
                  <a:lnTo>
                    <a:pt x="399" y="1340"/>
                  </a:lnTo>
                  <a:lnTo>
                    <a:pt x="396" y="1345"/>
                  </a:lnTo>
                  <a:lnTo>
                    <a:pt x="395" y="1346"/>
                  </a:lnTo>
                  <a:lnTo>
                    <a:pt x="397" y="1342"/>
                  </a:lnTo>
                  <a:lnTo>
                    <a:pt x="397" y="1340"/>
                  </a:lnTo>
                  <a:lnTo>
                    <a:pt x="395" y="1338"/>
                  </a:lnTo>
                  <a:lnTo>
                    <a:pt x="383" y="1337"/>
                  </a:lnTo>
                  <a:lnTo>
                    <a:pt x="383" y="1339"/>
                  </a:lnTo>
                  <a:lnTo>
                    <a:pt x="382" y="1339"/>
                  </a:lnTo>
                  <a:lnTo>
                    <a:pt x="379" y="1337"/>
                  </a:lnTo>
                  <a:lnTo>
                    <a:pt x="373" y="1337"/>
                  </a:lnTo>
                  <a:lnTo>
                    <a:pt x="371" y="1338"/>
                  </a:lnTo>
                  <a:lnTo>
                    <a:pt x="371" y="1339"/>
                  </a:lnTo>
                  <a:lnTo>
                    <a:pt x="371" y="1341"/>
                  </a:lnTo>
                  <a:lnTo>
                    <a:pt x="369" y="1339"/>
                  </a:lnTo>
                  <a:lnTo>
                    <a:pt x="363" y="1338"/>
                  </a:lnTo>
                  <a:lnTo>
                    <a:pt x="356" y="1337"/>
                  </a:lnTo>
                  <a:lnTo>
                    <a:pt x="356" y="1337"/>
                  </a:lnTo>
                  <a:lnTo>
                    <a:pt x="355" y="1337"/>
                  </a:lnTo>
                  <a:lnTo>
                    <a:pt x="354" y="1341"/>
                  </a:lnTo>
                  <a:lnTo>
                    <a:pt x="353" y="1343"/>
                  </a:lnTo>
                  <a:lnTo>
                    <a:pt x="354" y="1341"/>
                  </a:lnTo>
                  <a:lnTo>
                    <a:pt x="354" y="1335"/>
                  </a:lnTo>
                  <a:lnTo>
                    <a:pt x="352" y="1333"/>
                  </a:lnTo>
                  <a:lnTo>
                    <a:pt x="349" y="1333"/>
                  </a:lnTo>
                  <a:lnTo>
                    <a:pt x="346" y="1329"/>
                  </a:lnTo>
                  <a:lnTo>
                    <a:pt x="343" y="1325"/>
                  </a:lnTo>
                  <a:lnTo>
                    <a:pt x="340" y="1325"/>
                  </a:lnTo>
                  <a:lnTo>
                    <a:pt x="339" y="1324"/>
                  </a:lnTo>
                  <a:lnTo>
                    <a:pt x="337" y="1324"/>
                  </a:lnTo>
                  <a:lnTo>
                    <a:pt x="335" y="1328"/>
                  </a:lnTo>
                  <a:lnTo>
                    <a:pt x="335" y="1331"/>
                  </a:lnTo>
                  <a:lnTo>
                    <a:pt x="333" y="1331"/>
                  </a:lnTo>
                  <a:lnTo>
                    <a:pt x="335" y="1329"/>
                  </a:lnTo>
                  <a:lnTo>
                    <a:pt x="335" y="1325"/>
                  </a:lnTo>
                  <a:lnTo>
                    <a:pt x="336" y="1323"/>
                  </a:lnTo>
                  <a:lnTo>
                    <a:pt x="336" y="1321"/>
                  </a:lnTo>
                  <a:lnTo>
                    <a:pt x="336" y="1318"/>
                  </a:lnTo>
                  <a:lnTo>
                    <a:pt x="335" y="1316"/>
                  </a:lnTo>
                  <a:lnTo>
                    <a:pt x="331" y="1313"/>
                  </a:lnTo>
                  <a:lnTo>
                    <a:pt x="328" y="1309"/>
                  </a:lnTo>
                  <a:lnTo>
                    <a:pt x="326" y="1307"/>
                  </a:lnTo>
                  <a:lnTo>
                    <a:pt x="322" y="1306"/>
                  </a:lnTo>
                  <a:lnTo>
                    <a:pt x="320" y="1305"/>
                  </a:lnTo>
                  <a:lnTo>
                    <a:pt x="322" y="1307"/>
                  </a:lnTo>
                  <a:lnTo>
                    <a:pt x="318" y="1304"/>
                  </a:lnTo>
                  <a:lnTo>
                    <a:pt x="315" y="1302"/>
                  </a:lnTo>
                  <a:lnTo>
                    <a:pt x="312" y="1300"/>
                  </a:lnTo>
                  <a:lnTo>
                    <a:pt x="309" y="1300"/>
                  </a:lnTo>
                  <a:lnTo>
                    <a:pt x="309" y="1302"/>
                  </a:lnTo>
                  <a:lnTo>
                    <a:pt x="305" y="1300"/>
                  </a:lnTo>
                  <a:lnTo>
                    <a:pt x="303" y="1300"/>
                  </a:lnTo>
                  <a:lnTo>
                    <a:pt x="297" y="1304"/>
                  </a:lnTo>
                  <a:lnTo>
                    <a:pt x="293" y="1300"/>
                  </a:lnTo>
                  <a:lnTo>
                    <a:pt x="293" y="1300"/>
                  </a:lnTo>
                  <a:lnTo>
                    <a:pt x="298" y="1300"/>
                  </a:lnTo>
                  <a:lnTo>
                    <a:pt x="301" y="1294"/>
                  </a:lnTo>
                  <a:lnTo>
                    <a:pt x="304" y="1290"/>
                  </a:lnTo>
                  <a:lnTo>
                    <a:pt x="301" y="1287"/>
                  </a:lnTo>
                  <a:lnTo>
                    <a:pt x="298" y="1287"/>
                  </a:lnTo>
                  <a:lnTo>
                    <a:pt x="294" y="1285"/>
                  </a:lnTo>
                  <a:lnTo>
                    <a:pt x="290" y="1285"/>
                  </a:lnTo>
                  <a:lnTo>
                    <a:pt x="290" y="1285"/>
                  </a:lnTo>
                  <a:lnTo>
                    <a:pt x="289" y="1287"/>
                  </a:lnTo>
                  <a:lnTo>
                    <a:pt x="290" y="1285"/>
                  </a:lnTo>
                  <a:lnTo>
                    <a:pt x="288" y="1282"/>
                  </a:lnTo>
                  <a:lnTo>
                    <a:pt x="286" y="1281"/>
                  </a:lnTo>
                  <a:lnTo>
                    <a:pt x="285" y="1281"/>
                  </a:lnTo>
                  <a:lnTo>
                    <a:pt x="285" y="1282"/>
                  </a:lnTo>
                  <a:lnTo>
                    <a:pt x="287" y="1283"/>
                  </a:lnTo>
                  <a:lnTo>
                    <a:pt x="286" y="1283"/>
                  </a:lnTo>
                  <a:lnTo>
                    <a:pt x="285" y="1287"/>
                  </a:lnTo>
                  <a:lnTo>
                    <a:pt x="285" y="1287"/>
                  </a:lnTo>
                  <a:lnTo>
                    <a:pt x="285" y="1286"/>
                  </a:lnTo>
                  <a:lnTo>
                    <a:pt x="285" y="1282"/>
                  </a:lnTo>
                  <a:lnTo>
                    <a:pt x="284" y="1286"/>
                  </a:lnTo>
                  <a:lnTo>
                    <a:pt x="283" y="1286"/>
                  </a:lnTo>
                  <a:lnTo>
                    <a:pt x="281" y="1282"/>
                  </a:lnTo>
                  <a:lnTo>
                    <a:pt x="281" y="1281"/>
                  </a:lnTo>
                  <a:lnTo>
                    <a:pt x="279" y="1279"/>
                  </a:lnTo>
                  <a:lnTo>
                    <a:pt x="277" y="1281"/>
                  </a:lnTo>
                  <a:lnTo>
                    <a:pt x="275" y="1281"/>
                  </a:lnTo>
                  <a:lnTo>
                    <a:pt x="273" y="1280"/>
                  </a:lnTo>
                  <a:lnTo>
                    <a:pt x="276" y="1280"/>
                  </a:lnTo>
                  <a:lnTo>
                    <a:pt x="279" y="1279"/>
                  </a:lnTo>
                  <a:lnTo>
                    <a:pt x="277" y="1275"/>
                  </a:lnTo>
                  <a:lnTo>
                    <a:pt x="275" y="1278"/>
                  </a:lnTo>
                  <a:lnTo>
                    <a:pt x="275" y="1274"/>
                  </a:lnTo>
                  <a:lnTo>
                    <a:pt x="277" y="1273"/>
                  </a:lnTo>
                  <a:lnTo>
                    <a:pt x="283" y="1274"/>
                  </a:lnTo>
                  <a:lnTo>
                    <a:pt x="285" y="1272"/>
                  </a:lnTo>
                  <a:lnTo>
                    <a:pt x="288" y="1271"/>
                  </a:lnTo>
                  <a:lnTo>
                    <a:pt x="286" y="1272"/>
                  </a:lnTo>
                  <a:lnTo>
                    <a:pt x="277" y="1271"/>
                  </a:lnTo>
                  <a:lnTo>
                    <a:pt x="275" y="1272"/>
                  </a:lnTo>
                  <a:lnTo>
                    <a:pt x="272" y="1271"/>
                  </a:lnTo>
                  <a:lnTo>
                    <a:pt x="267" y="1273"/>
                  </a:lnTo>
                  <a:lnTo>
                    <a:pt x="263" y="1272"/>
                  </a:lnTo>
                  <a:lnTo>
                    <a:pt x="261" y="1272"/>
                  </a:lnTo>
                  <a:lnTo>
                    <a:pt x="259" y="1273"/>
                  </a:lnTo>
                  <a:lnTo>
                    <a:pt x="261" y="1273"/>
                  </a:lnTo>
                  <a:lnTo>
                    <a:pt x="263" y="1274"/>
                  </a:lnTo>
                  <a:lnTo>
                    <a:pt x="259" y="1274"/>
                  </a:lnTo>
                  <a:lnTo>
                    <a:pt x="255" y="1275"/>
                  </a:lnTo>
                  <a:lnTo>
                    <a:pt x="251" y="1279"/>
                  </a:lnTo>
                  <a:lnTo>
                    <a:pt x="250" y="1280"/>
                  </a:lnTo>
                  <a:lnTo>
                    <a:pt x="244" y="1280"/>
                  </a:lnTo>
                  <a:lnTo>
                    <a:pt x="238" y="1279"/>
                  </a:lnTo>
                  <a:lnTo>
                    <a:pt x="236" y="1278"/>
                  </a:lnTo>
                  <a:lnTo>
                    <a:pt x="232" y="1274"/>
                  </a:lnTo>
                  <a:lnTo>
                    <a:pt x="232" y="1273"/>
                  </a:lnTo>
                  <a:lnTo>
                    <a:pt x="228" y="1273"/>
                  </a:lnTo>
                  <a:lnTo>
                    <a:pt x="222" y="1273"/>
                  </a:lnTo>
                  <a:lnTo>
                    <a:pt x="210" y="1274"/>
                  </a:lnTo>
                  <a:lnTo>
                    <a:pt x="204" y="1274"/>
                  </a:lnTo>
                  <a:lnTo>
                    <a:pt x="202" y="1273"/>
                  </a:lnTo>
                  <a:lnTo>
                    <a:pt x="201" y="1272"/>
                  </a:lnTo>
                  <a:lnTo>
                    <a:pt x="202" y="1269"/>
                  </a:lnTo>
                  <a:lnTo>
                    <a:pt x="200" y="1264"/>
                  </a:lnTo>
                  <a:lnTo>
                    <a:pt x="194" y="1261"/>
                  </a:lnTo>
                  <a:lnTo>
                    <a:pt x="184" y="1261"/>
                  </a:lnTo>
                  <a:lnTo>
                    <a:pt x="182" y="1258"/>
                  </a:lnTo>
                  <a:lnTo>
                    <a:pt x="181" y="1256"/>
                  </a:lnTo>
                  <a:lnTo>
                    <a:pt x="181" y="1254"/>
                  </a:lnTo>
                  <a:lnTo>
                    <a:pt x="178" y="1251"/>
                  </a:lnTo>
                  <a:lnTo>
                    <a:pt x="175" y="1252"/>
                  </a:lnTo>
                  <a:lnTo>
                    <a:pt x="175" y="1254"/>
                  </a:lnTo>
                  <a:lnTo>
                    <a:pt x="175" y="1256"/>
                  </a:lnTo>
                  <a:lnTo>
                    <a:pt x="175" y="1257"/>
                  </a:lnTo>
                  <a:lnTo>
                    <a:pt x="175" y="1260"/>
                  </a:lnTo>
                  <a:lnTo>
                    <a:pt x="178" y="1258"/>
                  </a:lnTo>
                  <a:lnTo>
                    <a:pt x="181" y="1258"/>
                  </a:lnTo>
                  <a:lnTo>
                    <a:pt x="179" y="1261"/>
                  </a:lnTo>
                  <a:lnTo>
                    <a:pt x="176" y="1260"/>
                  </a:lnTo>
                  <a:lnTo>
                    <a:pt x="176" y="1262"/>
                  </a:lnTo>
                  <a:lnTo>
                    <a:pt x="171" y="1264"/>
                  </a:lnTo>
                  <a:lnTo>
                    <a:pt x="166" y="1264"/>
                  </a:lnTo>
                  <a:lnTo>
                    <a:pt x="159" y="1269"/>
                  </a:lnTo>
                  <a:lnTo>
                    <a:pt x="157" y="1270"/>
                  </a:lnTo>
                  <a:lnTo>
                    <a:pt x="157" y="1271"/>
                  </a:lnTo>
                  <a:lnTo>
                    <a:pt x="157" y="1273"/>
                  </a:lnTo>
                  <a:lnTo>
                    <a:pt x="160" y="1279"/>
                  </a:lnTo>
                  <a:lnTo>
                    <a:pt x="164" y="1283"/>
                  </a:lnTo>
                  <a:lnTo>
                    <a:pt x="164" y="1283"/>
                  </a:lnTo>
                  <a:lnTo>
                    <a:pt x="164" y="1290"/>
                  </a:lnTo>
                  <a:lnTo>
                    <a:pt x="160" y="1294"/>
                  </a:lnTo>
                  <a:lnTo>
                    <a:pt x="157" y="1295"/>
                  </a:lnTo>
                  <a:lnTo>
                    <a:pt x="153" y="1292"/>
                  </a:lnTo>
                  <a:lnTo>
                    <a:pt x="155" y="1290"/>
                  </a:lnTo>
                  <a:lnTo>
                    <a:pt x="151" y="1289"/>
                  </a:lnTo>
                  <a:lnTo>
                    <a:pt x="150" y="1286"/>
                  </a:lnTo>
                  <a:lnTo>
                    <a:pt x="149" y="1285"/>
                  </a:lnTo>
                  <a:lnTo>
                    <a:pt x="151" y="1281"/>
                  </a:lnTo>
                  <a:lnTo>
                    <a:pt x="156" y="1275"/>
                  </a:lnTo>
                  <a:lnTo>
                    <a:pt x="156" y="1273"/>
                  </a:lnTo>
                  <a:lnTo>
                    <a:pt x="156" y="1271"/>
                  </a:lnTo>
                  <a:lnTo>
                    <a:pt x="153" y="1268"/>
                  </a:lnTo>
                  <a:lnTo>
                    <a:pt x="156" y="1266"/>
                  </a:lnTo>
                  <a:lnTo>
                    <a:pt x="152" y="1264"/>
                  </a:lnTo>
                  <a:lnTo>
                    <a:pt x="151" y="1262"/>
                  </a:lnTo>
                  <a:lnTo>
                    <a:pt x="152" y="1260"/>
                  </a:lnTo>
                  <a:lnTo>
                    <a:pt x="155" y="1258"/>
                  </a:lnTo>
                  <a:lnTo>
                    <a:pt x="157" y="1257"/>
                  </a:lnTo>
                  <a:lnTo>
                    <a:pt x="160" y="1256"/>
                  </a:lnTo>
                  <a:lnTo>
                    <a:pt x="160" y="1255"/>
                  </a:lnTo>
                  <a:lnTo>
                    <a:pt x="162" y="1252"/>
                  </a:lnTo>
                  <a:lnTo>
                    <a:pt x="161" y="1249"/>
                  </a:lnTo>
                  <a:lnTo>
                    <a:pt x="157" y="1247"/>
                  </a:lnTo>
                  <a:lnTo>
                    <a:pt x="151" y="1251"/>
                  </a:lnTo>
                  <a:lnTo>
                    <a:pt x="149" y="1253"/>
                  </a:lnTo>
                  <a:lnTo>
                    <a:pt x="148" y="1255"/>
                  </a:lnTo>
                  <a:lnTo>
                    <a:pt x="141" y="1257"/>
                  </a:lnTo>
                  <a:lnTo>
                    <a:pt x="140" y="1258"/>
                  </a:lnTo>
                  <a:lnTo>
                    <a:pt x="139" y="1260"/>
                  </a:lnTo>
                  <a:lnTo>
                    <a:pt x="135" y="1262"/>
                  </a:lnTo>
                  <a:lnTo>
                    <a:pt x="132" y="1264"/>
                  </a:lnTo>
                  <a:lnTo>
                    <a:pt x="125" y="1264"/>
                  </a:lnTo>
                  <a:lnTo>
                    <a:pt x="123" y="1263"/>
                  </a:lnTo>
                  <a:lnTo>
                    <a:pt x="121" y="1264"/>
                  </a:lnTo>
                  <a:lnTo>
                    <a:pt x="119" y="1269"/>
                  </a:lnTo>
                  <a:lnTo>
                    <a:pt x="117" y="1271"/>
                  </a:lnTo>
                  <a:lnTo>
                    <a:pt x="116" y="1271"/>
                  </a:lnTo>
                  <a:lnTo>
                    <a:pt x="116" y="1269"/>
                  </a:lnTo>
                  <a:lnTo>
                    <a:pt x="119" y="1268"/>
                  </a:lnTo>
                  <a:lnTo>
                    <a:pt x="117" y="1268"/>
                  </a:lnTo>
                  <a:lnTo>
                    <a:pt x="111" y="1265"/>
                  </a:lnTo>
                  <a:lnTo>
                    <a:pt x="111" y="1266"/>
                  </a:lnTo>
                  <a:lnTo>
                    <a:pt x="109" y="1269"/>
                  </a:lnTo>
                  <a:lnTo>
                    <a:pt x="106" y="1270"/>
                  </a:lnTo>
                  <a:lnTo>
                    <a:pt x="106" y="1272"/>
                  </a:lnTo>
                  <a:lnTo>
                    <a:pt x="105" y="1272"/>
                  </a:lnTo>
                  <a:lnTo>
                    <a:pt x="102" y="1273"/>
                  </a:lnTo>
                  <a:lnTo>
                    <a:pt x="102" y="1277"/>
                  </a:lnTo>
                  <a:lnTo>
                    <a:pt x="101" y="1278"/>
                  </a:lnTo>
                  <a:lnTo>
                    <a:pt x="101" y="1280"/>
                  </a:lnTo>
                  <a:lnTo>
                    <a:pt x="101" y="1283"/>
                  </a:lnTo>
                  <a:lnTo>
                    <a:pt x="101" y="1287"/>
                  </a:lnTo>
                  <a:lnTo>
                    <a:pt x="100" y="1289"/>
                  </a:lnTo>
                  <a:lnTo>
                    <a:pt x="97" y="1289"/>
                  </a:lnTo>
                  <a:lnTo>
                    <a:pt x="94" y="1291"/>
                  </a:lnTo>
                  <a:lnTo>
                    <a:pt x="92" y="1294"/>
                  </a:lnTo>
                  <a:lnTo>
                    <a:pt x="89" y="1297"/>
                  </a:lnTo>
                  <a:lnTo>
                    <a:pt x="87" y="1299"/>
                  </a:lnTo>
                  <a:lnTo>
                    <a:pt x="84" y="1303"/>
                  </a:lnTo>
                  <a:lnTo>
                    <a:pt x="85" y="1308"/>
                  </a:lnTo>
                  <a:lnTo>
                    <a:pt x="83" y="1309"/>
                  </a:lnTo>
                  <a:lnTo>
                    <a:pt x="84" y="1307"/>
                  </a:lnTo>
                  <a:lnTo>
                    <a:pt x="79" y="1302"/>
                  </a:lnTo>
                  <a:lnTo>
                    <a:pt x="77" y="1299"/>
                  </a:lnTo>
                  <a:lnTo>
                    <a:pt x="75" y="1299"/>
                  </a:lnTo>
                  <a:lnTo>
                    <a:pt x="73" y="1297"/>
                  </a:lnTo>
                  <a:lnTo>
                    <a:pt x="71" y="1295"/>
                  </a:lnTo>
                  <a:lnTo>
                    <a:pt x="68" y="1292"/>
                  </a:lnTo>
                  <a:lnTo>
                    <a:pt x="66" y="1291"/>
                  </a:lnTo>
                  <a:lnTo>
                    <a:pt x="60" y="1289"/>
                  </a:lnTo>
                  <a:lnTo>
                    <a:pt x="56" y="1289"/>
                  </a:lnTo>
                  <a:lnTo>
                    <a:pt x="54" y="1289"/>
                  </a:lnTo>
                  <a:lnTo>
                    <a:pt x="55" y="1288"/>
                  </a:lnTo>
                  <a:lnTo>
                    <a:pt x="54" y="1288"/>
                  </a:lnTo>
                  <a:lnTo>
                    <a:pt x="50" y="1288"/>
                  </a:lnTo>
                  <a:lnTo>
                    <a:pt x="48" y="1287"/>
                  </a:lnTo>
                  <a:lnTo>
                    <a:pt x="46" y="1287"/>
                  </a:lnTo>
                  <a:lnTo>
                    <a:pt x="43" y="1290"/>
                  </a:lnTo>
                  <a:lnTo>
                    <a:pt x="42" y="1290"/>
                  </a:lnTo>
                  <a:lnTo>
                    <a:pt x="42" y="1290"/>
                  </a:lnTo>
                  <a:lnTo>
                    <a:pt x="42" y="1291"/>
                  </a:lnTo>
                  <a:lnTo>
                    <a:pt x="41" y="1291"/>
                  </a:lnTo>
                  <a:lnTo>
                    <a:pt x="39" y="1292"/>
                  </a:lnTo>
                  <a:lnTo>
                    <a:pt x="33" y="1295"/>
                  </a:lnTo>
                  <a:lnTo>
                    <a:pt x="29" y="1297"/>
                  </a:lnTo>
                  <a:lnTo>
                    <a:pt x="24" y="1298"/>
                  </a:lnTo>
                  <a:lnTo>
                    <a:pt x="20" y="1297"/>
                  </a:lnTo>
                  <a:lnTo>
                    <a:pt x="15" y="1294"/>
                  </a:lnTo>
                  <a:lnTo>
                    <a:pt x="17" y="1296"/>
                  </a:lnTo>
                  <a:lnTo>
                    <a:pt x="13" y="1296"/>
                  </a:lnTo>
                  <a:lnTo>
                    <a:pt x="11" y="1295"/>
                  </a:lnTo>
                  <a:lnTo>
                    <a:pt x="11" y="1292"/>
                  </a:lnTo>
                  <a:lnTo>
                    <a:pt x="8" y="1291"/>
                  </a:lnTo>
                  <a:lnTo>
                    <a:pt x="8" y="1289"/>
                  </a:lnTo>
                  <a:lnTo>
                    <a:pt x="6" y="1287"/>
                  </a:lnTo>
                  <a:lnTo>
                    <a:pt x="5" y="1288"/>
                  </a:lnTo>
                  <a:lnTo>
                    <a:pt x="3" y="1287"/>
                  </a:lnTo>
                  <a:lnTo>
                    <a:pt x="2" y="1287"/>
                  </a:lnTo>
                  <a:lnTo>
                    <a:pt x="3" y="1288"/>
                  </a:lnTo>
                  <a:lnTo>
                    <a:pt x="0" y="1291"/>
                  </a:lnTo>
                  <a:lnTo>
                    <a:pt x="0" y="1295"/>
                  </a:lnTo>
                  <a:lnTo>
                    <a:pt x="4" y="1296"/>
                  </a:lnTo>
                  <a:lnTo>
                    <a:pt x="4" y="1296"/>
                  </a:lnTo>
                  <a:lnTo>
                    <a:pt x="3" y="1297"/>
                  </a:lnTo>
                  <a:lnTo>
                    <a:pt x="2" y="1298"/>
                  </a:lnTo>
                  <a:lnTo>
                    <a:pt x="3" y="1302"/>
                  </a:lnTo>
                  <a:lnTo>
                    <a:pt x="3" y="1303"/>
                  </a:lnTo>
                  <a:lnTo>
                    <a:pt x="2" y="1303"/>
                  </a:lnTo>
                  <a:lnTo>
                    <a:pt x="0" y="1304"/>
                  </a:lnTo>
                  <a:lnTo>
                    <a:pt x="0" y="1305"/>
                  </a:lnTo>
                  <a:lnTo>
                    <a:pt x="0" y="1305"/>
                  </a:lnTo>
                  <a:lnTo>
                    <a:pt x="2" y="1308"/>
                  </a:lnTo>
                  <a:lnTo>
                    <a:pt x="3" y="1305"/>
                  </a:lnTo>
                  <a:lnTo>
                    <a:pt x="8" y="1304"/>
                  </a:lnTo>
                  <a:lnTo>
                    <a:pt x="10" y="1304"/>
                  </a:lnTo>
                  <a:lnTo>
                    <a:pt x="12" y="1306"/>
                  </a:lnTo>
                  <a:lnTo>
                    <a:pt x="14" y="1306"/>
                  </a:lnTo>
                  <a:lnTo>
                    <a:pt x="15" y="1307"/>
                  </a:lnTo>
                  <a:lnTo>
                    <a:pt x="19" y="1309"/>
                  </a:lnTo>
                  <a:lnTo>
                    <a:pt x="19" y="1311"/>
                  </a:lnTo>
                  <a:lnTo>
                    <a:pt x="22" y="1313"/>
                  </a:lnTo>
                  <a:lnTo>
                    <a:pt x="24" y="1314"/>
                  </a:lnTo>
                  <a:lnTo>
                    <a:pt x="24" y="1311"/>
                  </a:lnTo>
                  <a:lnTo>
                    <a:pt x="27" y="1311"/>
                  </a:lnTo>
                  <a:lnTo>
                    <a:pt x="28" y="1314"/>
                  </a:lnTo>
                  <a:lnTo>
                    <a:pt x="30" y="1320"/>
                  </a:lnTo>
                  <a:lnTo>
                    <a:pt x="33" y="1320"/>
                  </a:lnTo>
                  <a:lnTo>
                    <a:pt x="36" y="1318"/>
                  </a:lnTo>
                  <a:lnTo>
                    <a:pt x="36" y="1317"/>
                  </a:lnTo>
                  <a:lnTo>
                    <a:pt x="41" y="1316"/>
                  </a:lnTo>
                  <a:lnTo>
                    <a:pt x="40" y="1314"/>
                  </a:lnTo>
                  <a:lnTo>
                    <a:pt x="34" y="1307"/>
                  </a:lnTo>
                  <a:lnTo>
                    <a:pt x="36" y="1305"/>
                  </a:lnTo>
                  <a:lnTo>
                    <a:pt x="38" y="1305"/>
                  </a:lnTo>
                  <a:lnTo>
                    <a:pt x="43" y="1302"/>
                  </a:lnTo>
                  <a:lnTo>
                    <a:pt x="46" y="1297"/>
                  </a:lnTo>
                  <a:lnTo>
                    <a:pt x="47" y="1296"/>
                  </a:lnTo>
                  <a:lnTo>
                    <a:pt x="48" y="1296"/>
                  </a:lnTo>
                  <a:lnTo>
                    <a:pt x="49" y="1295"/>
                  </a:lnTo>
                  <a:lnTo>
                    <a:pt x="51" y="1295"/>
                  </a:lnTo>
                  <a:lnTo>
                    <a:pt x="55" y="1294"/>
                  </a:lnTo>
                  <a:lnTo>
                    <a:pt x="55" y="1296"/>
                  </a:lnTo>
                  <a:lnTo>
                    <a:pt x="60" y="1299"/>
                  </a:lnTo>
                  <a:lnTo>
                    <a:pt x="63" y="1304"/>
                  </a:lnTo>
                  <a:lnTo>
                    <a:pt x="63" y="1302"/>
                  </a:lnTo>
                  <a:lnTo>
                    <a:pt x="64" y="1303"/>
                  </a:lnTo>
                  <a:lnTo>
                    <a:pt x="66" y="1302"/>
                  </a:lnTo>
                  <a:lnTo>
                    <a:pt x="70" y="1305"/>
                  </a:lnTo>
                  <a:lnTo>
                    <a:pt x="67" y="1304"/>
                  </a:lnTo>
                  <a:lnTo>
                    <a:pt x="65" y="1305"/>
                  </a:lnTo>
                  <a:lnTo>
                    <a:pt x="65" y="1308"/>
                  </a:lnTo>
                  <a:lnTo>
                    <a:pt x="64" y="1308"/>
                  </a:lnTo>
                  <a:lnTo>
                    <a:pt x="63" y="1307"/>
                  </a:lnTo>
                  <a:lnTo>
                    <a:pt x="63" y="1311"/>
                  </a:lnTo>
                  <a:lnTo>
                    <a:pt x="66" y="1315"/>
                  </a:lnTo>
                  <a:lnTo>
                    <a:pt x="73" y="1322"/>
                  </a:lnTo>
                  <a:lnTo>
                    <a:pt x="74" y="1325"/>
                  </a:lnTo>
                  <a:lnTo>
                    <a:pt x="76" y="1328"/>
                  </a:lnTo>
                  <a:lnTo>
                    <a:pt x="77" y="1330"/>
                  </a:lnTo>
                  <a:lnTo>
                    <a:pt x="75" y="1333"/>
                  </a:lnTo>
                  <a:lnTo>
                    <a:pt x="79" y="1339"/>
                  </a:lnTo>
                  <a:lnTo>
                    <a:pt x="79" y="1341"/>
                  </a:lnTo>
                  <a:lnTo>
                    <a:pt x="75" y="1342"/>
                  </a:lnTo>
                  <a:lnTo>
                    <a:pt x="76" y="1345"/>
                  </a:lnTo>
                  <a:lnTo>
                    <a:pt x="77" y="1347"/>
                  </a:lnTo>
                  <a:lnTo>
                    <a:pt x="77" y="1355"/>
                  </a:lnTo>
                  <a:lnTo>
                    <a:pt x="77" y="1357"/>
                  </a:lnTo>
                  <a:lnTo>
                    <a:pt x="79" y="1360"/>
                  </a:lnTo>
                  <a:lnTo>
                    <a:pt x="76" y="1362"/>
                  </a:lnTo>
                  <a:lnTo>
                    <a:pt x="76" y="1364"/>
                  </a:lnTo>
                  <a:lnTo>
                    <a:pt x="80" y="1364"/>
                  </a:lnTo>
                  <a:lnTo>
                    <a:pt x="79" y="1366"/>
                  </a:lnTo>
                  <a:lnTo>
                    <a:pt x="81" y="1366"/>
                  </a:lnTo>
                  <a:lnTo>
                    <a:pt x="80" y="1366"/>
                  </a:lnTo>
                  <a:lnTo>
                    <a:pt x="79" y="1369"/>
                  </a:lnTo>
                  <a:lnTo>
                    <a:pt x="77" y="1371"/>
                  </a:lnTo>
                  <a:lnTo>
                    <a:pt x="76" y="1374"/>
                  </a:lnTo>
                  <a:lnTo>
                    <a:pt x="76" y="1374"/>
                  </a:lnTo>
                  <a:lnTo>
                    <a:pt x="74" y="1377"/>
                  </a:lnTo>
                  <a:lnTo>
                    <a:pt x="72" y="1381"/>
                  </a:lnTo>
                  <a:lnTo>
                    <a:pt x="72" y="1383"/>
                  </a:lnTo>
                  <a:lnTo>
                    <a:pt x="70" y="1383"/>
                  </a:lnTo>
                  <a:lnTo>
                    <a:pt x="68" y="1384"/>
                  </a:lnTo>
                  <a:lnTo>
                    <a:pt x="66" y="1384"/>
                  </a:lnTo>
                  <a:lnTo>
                    <a:pt x="60" y="1385"/>
                  </a:lnTo>
                  <a:lnTo>
                    <a:pt x="59" y="1389"/>
                  </a:lnTo>
                  <a:lnTo>
                    <a:pt x="60" y="1392"/>
                  </a:lnTo>
                  <a:lnTo>
                    <a:pt x="58" y="1394"/>
                  </a:lnTo>
                  <a:lnTo>
                    <a:pt x="56" y="1394"/>
                  </a:lnTo>
                  <a:lnTo>
                    <a:pt x="56" y="1397"/>
                  </a:lnTo>
                  <a:lnTo>
                    <a:pt x="57" y="1399"/>
                  </a:lnTo>
                  <a:lnTo>
                    <a:pt x="56" y="1401"/>
                  </a:lnTo>
                  <a:lnTo>
                    <a:pt x="55" y="1403"/>
                  </a:lnTo>
                  <a:lnTo>
                    <a:pt x="49" y="1405"/>
                  </a:lnTo>
                  <a:lnTo>
                    <a:pt x="47" y="1405"/>
                  </a:lnTo>
                  <a:lnTo>
                    <a:pt x="46" y="1407"/>
                  </a:lnTo>
                  <a:lnTo>
                    <a:pt x="43" y="1407"/>
                  </a:lnTo>
                  <a:lnTo>
                    <a:pt x="41" y="1408"/>
                  </a:lnTo>
                  <a:lnTo>
                    <a:pt x="40" y="1410"/>
                  </a:lnTo>
                  <a:lnTo>
                    <a:pt x="41" y="1414"/>
                  </a:lnTo>
                  <a:lnTo>
                    <a:pt x="40" y="1417"/>
                  </a:lnTo>
                  <a:lnTo>
                    <a:pt x="39" y="1418"/>
                  </a:lnTo>
                  <a:lnTo>
                    <a:pt x="34" y="1424"/>
                  </a:lnTo>
                  <a:lnTo>
                    <a:pt x="36" y="1426"/>
                  </a:lnTo>
                  <a:lnTo>
                    <a:pt x="38" y="1427"/>
                  </a:lnTo>
                  <a:lnTo>
                    <a:pt x="34" y="1427"/>
                  </a:lnTo>
                  <a:lnTo>
                    <a:pt x="33" y="1431"/>
                  </a:lnTo>
                  <a:lnTo>
                    <a:pt x="31" y="1432"/>
                  </a:lnTo>
                  <a:lnTo>
                    <a:pt x="29" y="1434"/>
                  </a:lnTo>
                  <a:lnTo>
                    <a:pt x="31" y="1436"/>
                  </a:lnTo>
                  <a:lnTo>
                    <a:pt x="30" y="1440"/>
                  </a:lnTo>
                  <a:lnTo>
                    <a:pt x="30" y="1442"/>
                  </a:lnTo>
                  <a:lnTo>
                    <a:pt x="31" y="1444"/>
                  </a:lnTo>
                  <a:lnTo>
                    <a:pt x="31" y="1448"/>
                  </a:lnTo>
                  <a:lnTo>
                    <a:pt x="29" y="1449"/>
                  </a:lnTo>
                  <a:lnTo>
                    <a:pt x="28" y="1449"/>
                  </a:lnTo>
                  <a:lnTo>
                    <a:pt x="30" y="1451"/>
                  </a:lnTo>
                  <a:lnTo>
                    <a:pt x="33" y="1452"/>
                  </a:lnTo>
                  <a:lnTo>
                    <a:pt x="36" y="1454"/>
                  </a:lnTo>
                  <a:lnTo>
                    <a:pt x="38" y="1454"/>
                  </a:lnTo>
                  <a:lnTo>
                    <a:pt x="41" y="1451"/>
                  </a:lnTo>
                  <a:lnTo>
                    <a:pt x="41" y="1452"/>
                  </a:lnTo>
                  <a:lnTo>
                    <a:pt x="42" y="1452"/>
                  </a:lnTo>
                  <a:lnTo>
                    <a:pt x="41" y="1452"/>
                  </a:lnTo>
                  <a:lnTo>
                    <a:pt x="41" y="1454"/>
                  </a:lnTo>
                  <a:lnTo>
                    <a:pt x="42" y="1454"/>
                  </a:lnTo>
                  <a:lnTo>
                    <a:pt x="43" y="1451"/>
                  </a:lnTo>
                  <a:lnTo>
                    <a:pt x="42" y="1449"/>
                  </a:lnTo>
                  <a:lnTo>
                    <a:pt x="42" y="1448"/>
                  </a:lnTo>
                  <a:lnTo>
                    <a:pt x="45" y="1446"/>
                  </a:lnTo>
                  <a:lnTo>
                    <a:pt x="43" y="1449"/>
                  </a:lnTo>
                  <a:lnTo>
                    <a:pt x="43" y="1451"/>
                  </a:lnTo>
                  <a:lnTo>
                    <a:pt x="45" y="1454"/>
                  </a:lnTo>
                  <a:lnTo>
                    <a:pt x="43" y="1457"/>
                  </a:lnTo>
                  <a:lnTo>
                    <a:pt x="42" y="1461"/>
                  </a:lnTo>
                  <a:lnTo>
                    <a:pt x="41" y="1462"/>
                  </a:lnTo>
                  <a:lnTo>
                    <a:pt x="39" y="1465"/>
                  </a:lnTo>
                  <a:lnTo>
                    <a:pt x="38" y="1465"/>
                  </a:lnTo>
                  <a:lnTo>
                    <a:pt x="37" y="1465"/>
                  </a:lnTo>
                  <a:lnTo>
                    <a:pt x="33" y="1467"/>
                  </a:lnTo>
                  <a:lnTo>
                    <a:pt x="31" y="1469"/>
                  </a:lnTo>
                  <a:lnTo>
                    <a:pt x="29" y="1472"/>
                  </a:lnTo>
                  <a:lnTo>
                    <a:pt x="23" y="1477"/>
                  </a:lnTo>
                  <a:lnTo>
                    <a:pt x="23" y="1479"/>
                  </a:lnTo>
                  <a:lnTo>
                    <a:pt x="23" y="1480"/>
                  </a:lnTo>
                  <a:lnTo>
                    <a:pt x="23" y="1484"/>
                  </a:lnTo>
                  <a:lnTo>
                    <a:pt x="25" y="1486"/>
                  </a:lnTo>
                  <a:lnTo>
                    <a:pt x="25" y="1488"/>
                  </a:lnTo>
                  <a:lnTo>
                    <a:pt x="25" y="1491"/>
                  </a:lnTo>
                  <a:lnTo>
                    <a:pt x="29" y="1494"/>
                  </a:lnTo>
                  <a:lnTo>
                    <a:pt x="29" y="1496"/>
                  </a:lnTo>
                  <a:lnTo>
                    <a:pt x="28" y="1499"/>
                  </a:lnTo>
                  <a:lnTo>
                    <a:pt x="25" y="1499"/>
                  </a:lnTo>
                  <a:lnTo>
                    <a:pt x="25" y="1502"/>
                  </a:lnTo>
                  <a:lnTo>
                    <a:pt x="28" y="1503"/>
                  </a:lnTo>
                  <a:lnTo>
                    <a:pt x="33" y="1505"/>
                  </a:lnTo>
                  <a:lnTo>
                    <a:pt x="41" y="1511"/>
                  </a:lnTo>
                  <a:lnTo>
                    <a:pt x="41" y="1512"/>
                  </a:lnTo>
                  <a:lnTo>
                    <a:pt x="45" y="1517"/>
                  </a:lnTo>
                  <a:lnTo>
                    <a:pt x="45" y="1517"/>
                  </a:lnTo>
                  <a:lnTo>
                    <a:pt x="47" y="1519"/>
                  </a:lnTo>
                  <a:lnTo>
                    <a:pt x="47" y="1520"/>
                  </a:lnTo>
                  <a:lnTo>
                    <a:pt x="49" y="1526"/>
                  </a:lnTo>
                  <a:lnTo>
                    <a:pt x="50" y="1528"/>
                  </a:lnTo>
                  <a:lnTo>
                    <a:pt x="54" y="1530"/>
                  </a:lnTo>
                  <a:lnTo>
                    <a:pt x="57" y="1535"/>
                  </a:lnTo>
                  <a:lnTo>
                    <a:pt x="62" y="1546"/>
                  </a:lnTo>
                  <a:lnTo>
                    <a:pt x="63" y="1548"/>
                  </a:lnTo>
                  <a:lnTo>
                    <a:pt x="66" y="1559"/>
                  </a:lnTo>
                  <a:lnTo>
                    <a:pt x="72" y="1568"/>
                  </a:lnTo>
                  <a:lnTo>
                    <a:pt x="73" y="1571"/>
                  </a:lnTo>
                  <a:lnTo>
                    <a:pt x="73" y="1573"/>
                  </a:lnTo>
                  <a:lnTo>
                    <a:pt x="76" y="1576"/>
                  </a:lnTo>
                  <a:lnTo>
                    <a:pt x="79" y="1578"/>
                  </a:lnTo>
                  <a:lnTo>
                    <a:pt x="80" y="1581"/>
                  </a:lnTo>
                  <a:lnTo>
                    <a:pt x="80" y="1583"/>
                  </a:lnTo>
                  <a:lnTo>
                    <a:pt x="80" y="1585"/>
                  </a:lnTo>
                  <a:lnTo>
                    <a:pt x="85" y="1590"/>
                  </a:lnTo>
                  <a:lnTo>
                    <a:pt x="88" y="1595"/>
                  </a:lnTo>
                  <a:lnTo>
                    <a:pt x="89" y="1598"/>
                  </a:lnTo>
                  <a:lnTo>
                    <a:pt x="92" y="1602"/>
                  </a:lnTo>
                  <a:lnTo>
                    <a:pt x="93" y="1605"/>
                  </a:lnTo>
                  <a:lnTo>
                    <a:pt x="93" y="1607"/>
                  </a:lnTo>
                  <a:lnTo>
                    <a:pt x="91" y="1610"/>
                  </a:lnTo>
                  <a:lnTo>
                    <a:pt x="92" y="1613"/>
                  </a:lnTo>
                  <a:lnTo>
                    <a:pt x="96" y="1617"/>
                  </a:lnTo>
                  <a:lnTo>
                    <a:pt x="97" y="1621"/>
                  </a:lnTo>
                  <a:lnTo>
                    <a:pt x="102" y="1624"/>
                  </a:lnTo>
                  <a:lnTo>
                    <a:pt x="106" y="1629"/>
                  </a:lnTo>
                  <a:lnTo>
                    <a:pt x="107" y="1631"/>
                  </a:lnTo>
                  <a:lnTo>
                    <a:pt x="109" y="1632"/>
                  </a:lnTo>
                  <a:lnTo>
                    <a:pt x="116" y="1636"/>
                  </a:lnTo>
                  <a:lnTo>
                    <a:pt x="118" y="1638"/>
                  </a:lnTo>
                  <a:lnTo>
                    <a:pt x="122" y="1638"/>
                  </a:lnTo>
                  <a:lnTo>
                    <a:pt x="126" y="1642"/>
                  </a:lnTo>
                  <a:lnTo>
                    <a:pt x="139" y="1647"/>
                  </a:lnTo>
                  <a:lnTo>
                    <a:pt x="140" y="1648"/>
                  </a:lnTo>
                  <a:lnTo>
                    <a:pt x="143" y="1649"/>
                  </a:lnTo>
                  <a:lnTo>
                    <a:pt x="145" y="1650"/>
                  </a:lnTo>
                  <a:lnTo>
                    <a:pt x="149" y="1654"/>
                  </a:lnTo>
                  <a:lnTo>
                    <a:pt x="150" y="1654"/>
                  </a:lnTo>
                  <a:lnTo>
                    <a:pt x="152" y="1656"/>
                  </a:lnTo>
                  <a:lnTo>
                    <a:pt x="156" y="1657"/>
                  </a:lnTo>
                  <a:lnTo>
                    <a:pt x="158" y="1658"/>
                  </a:lnTo>
                  <a:lnTo>
                    <a:pt x="159" y="1660"/>
                  </a:lnTo>
                  <a:lnTo>
                    <a:pt x="159" y="1664"/>
                  </a:lnTo>
                  <a:lnTo>
                    <a:pt x="165" y="1666"/>
                  </a:lnTo>
                  <a:lnTo>
                    <a:pt x="173" y="1673"/>
                  </a:lnTo>
                  <a:lnTo>
                    <a:pt x="174" y="1674"/>
                  </a:lnTo>
                  <a:lnTo>
                    <a:pt x="174" y="1676"/>
                  </a:lnTo>
                  <a:lnTo>
                    <a:pt x="174" y="1682"/>
                  </a:lnTo>
                  <a:lnTo>
                    <a:pt x="175" y="1688"/>
                  </a:lnTo>
                  <a:lnTo>
                    <a:pt x="176" y="1696"/>
                  </a:lnTo>
                  <a:lnTo>
                    <a:pt x="175" y="1701"/>
                  </a:lnTo>
                  <a:lnTo>
                    <a:pt x="175" y="1707"/>
                  </a:lnTo>
                  <a:lnTo>
                    <a:pt x="176" y="1709"/>
                  </a:lnTo>
                  <a:lnTo>
                    <a:pt x="177" y="1717"/>
                  </a:lnTo>
                  <a:lnTo>
                    <a:pt x="176" y="1719"/>
                  </a:lnTo>
                  <a:lnTo>
                    <a:pt x="176" y="1722"/>
                  </a:lnTo>
                  <a:lnTo>
                    <a:pt x="175" y="1731"/>
                  </a:lnTo>
                  <a:lnTo>
                    <a:pt x="174" y="1739"/>
                  </a:lnTo>
                  <a:lnTo>
                    <a:pt x="169" y="1743"/>
                  </a:lnTo>
                  <a:lnTo>
                    <a:pt x="169" y="1745"/>
                  </a:lnTo>
                  <a:lnTo>
                    <a:pt x="173" y="1747"/>
                  </a:lnTo>
                  <a:lnTo>
                    <a:pt x="173" y="1749"/>
                  </a:lnTo>
                  <a:lnTo>
                    <a:pt x="171" y="1751"/>
                  </a:lnTo>
                  <a:lnTo>
                    <a:pt x="171" y="1757"/>
                  </a:lnTo>
                  <a:lnTo>
                    <a:pt x="170" y="1762"/>
                  </a:lnTo>
                  <a:lnTo>
                    <a:pt x="171" y="1768"/>
                  </a:lnTo>
                  <a:lnTo>
                    <a:pt x="171" y="1770"/>
                  </a:lnTo>
                  <a:lnTo>
                    <a:pt x="171" y="1773"/>
                  </a:lnTo>
                  <a:lnTo>
                    <a:pt x="169" y="1776"/>
                  </a:lnTo>
                  <a:lnTo>
                    <a:pt x="169" y="1778"/>
                  </a:lnTo>
                  <a:lnTo>
                    <a:pt x="168" y="1781"/>
                  </a:lnTo>
                  <a:lnTo>
                    <a:pt x="169" y="1783"/>
                  </a:lnTo>
                  <a:lnTo>
                    <a:pt x="169" y="1786"/>
                  </a:lnTo>
                  <a:lnTo>
                    <a:pt x="169" y="1787"/>
                  </a:lnTo>
                  <a:lnTo>
                    <a:pt x="165" y="1801"/>
                  </a:lnTo>
                  <a:lnTo>
                    <a:pt x="166" y="1804"/>
                  </a:lnTo>
                  <a:lnTo>
                    <a:pt x="164" y="1808"/>
                  </a:lnTo>
                  <a:lnTo>
                    <a:pt x="162" y="1813"/>
                  </a:lnTo>
                  <a:lnTo>
                    <a:pt x="161" y="1818"/>
                  </a:lnTo>
                  <a:lnTo>
                    <a:pt x="158" y="1827"/>
                  </a:lnTo>
                  <a:lnTo>
                    <a:pt x="158" y="1830"/>
                  </a:lnTo>
                  <a:lnTo>
                    <a:pt x="160" y="1833"/>
                  </a:lnTo>
                  <a:lnTo>
                    <a:pt x="160" y="1838"/>
                  </a:lnTo>
                  <a:lnTo>
                    <a:pt x="160" y="1841"/>
                  </a:lnTo>
                  <a:lnTo>
                    <a:pt x="159" y="1842"/>
                  </a:lnTo>
                  <a:lnTo>
                    <a:pt x="159" y="1845"/>
                  </a:lnTo>
                  <a:lnTo>
                    <a:pt x="157" y="1846"/>
                  </a:lnTo>
                  <a:lnTo>
                    <a:pt x="155" y="1848"/>
                  </a:lnTo>
                  <a:lnTo>
                    <a:pt x="155" y="1852"/>
                  </a:lnTo>
                  <a:lnTo>
                    <a:pt x="157" y="1867"/>
                  </a:lnTo>
                  <a:lnTo>
                    <a:pt x="157" y="1869"/>
                  </a:lnTo>
                  <a:lnTo>
                    <a:pt x="157" y="1875"/>
                  </a:lnTo>
                  <a:lnTo>
                    <a:pt x="159" y="1878"/>
                  </a:lnTo>
                  <a:lnTo>
                    <a:pt x="157" y="1884"/>
                  </a:lnTo>
                  <a:lnTo>
                    <a:pt x="157" y="1886"/>
                  </a:lnTo>
                  <a:lnTo>
                    <a:pt x="155" y="1888"/>
                  </a:lnTo>
                  <a:lnTo>
                    <a:pt x="155" y="1894"/>
                  </a:lnTo>
                  <a:lnTo>
                    <a:pt x="156" y="1897"/>
                  </a:lnTo>
                  <a:lnTo>
                    <a:pt x="153" y="1899"/>
                  </a:lnTo>
                  <a:lnTo>
                    <a:pt x="151" y="1904"/>
                  </a:lnTo>
                  <a:lnTo>
                    <a:pt x="151" y="1907"/>
                  </a:lnTo>
                  <a:lnTo>
                    <a:pt x="150" y="1908"/>
                  </a:lnTo>
                  <a:lnTo>
                    <a:pt x="150" y="1914"/>
                  </a:lnTo>
                  <a:lnTo>
                    <a:pt x="148" y="1918"/>
                  </a:lnTo>
                  <a:lnTo>
                    <a:pt x="148" y="1919"/>
                  </a:lnTo>
                  <a:lnTo>
                    <a:pt x="144" y="1923"/>
                  </a:lnTo>
                  <a:lnTo>
                    <a:pt x="143" y="1927"/>
                  </a:lnTo>
                  <a:lnTo>
                    <a:pt x="142" y="1931"/>
                  </a:lnTo>
                  <a:lnTo>
                    <a:pt x="140" y="1935"/>
                  </a:lnTo>
                  <a:lnTo>
                    <a:pt x="140" y="1937"/>
                  </a:lnTo>
                  <a:lnTo>
                    <a:pt x="139" y="1940"/>
                  </a:lnTo>
                  <a:lnTo>
                    <a:pt x="138" y="1942"/>
                  </a:lnTo>
                  <a:lnTo>
                    <a:pt x="138" y="1945"/>
                  </a:lnTo>
                  <a:lnTo>
                    <a:pt x="134" y="1946"/>
                  </a:lnTo>
                  <a:lnTo>
                    <a:pt x="134" y="1952"/>
                  </a:lnTo>
                  <a:lnTo>
                    <a:pt x="132" y="1953"/>
                  </a:lnTo>
                  <a:lnTo>
                    <a:pt x="130" y="1952"/>
                  </a:lnTo>
                  <a:lnTo>
                    <a:pt x="127" y="1955"/>
                  </a:lnTo>
                  <a:lnTo>
                    <a:pt x="128" y="1957"/>
                  </a:lnTo>
                  <a:lnTo>
                    <a:pt x="127" y="1958"/>
                  </a:lnTo>
                  <a:lnTo>
                    <a:pt x="128" y="1962"/>
                  </a:lnTo>
                  <a:lnTo>
                    <a:pt x="130" y="1964"/>
                  </a:lnTo>
                  <a:lnTo>
                    <a:pt x="131" y="1966"/>
                  </a:lnTo>
                  <a:lnTo>
                    <a:pt x="130" y="1972"/>
                  </a:lnTo>
                  <a:lnTo>
                    <a:pt x="131" y="1975"/>
                  </a:lnTo>
                  <a:lnTo>
                    <a:pt x="134" y="1984"/>
                  </a:lnTo>
                  <a:lnTo>
                    <a:pt x="134" y="1987"/>
                  </a:lnTo>
                  <a:lnTo>
                    <a:pt x="133" y="1990"/>
                  </a:lnTo>
                  <a:lnTo>
                    <a:pt x="132" y="1992"/>
                  </a:lnTo>
                  <a:lnTo>
                    <a:pt x="132" y="1995"/>
                  </a:lnTo>
                  <a:lnTo>
                    <a:pt x="130" y="1996"/>
                  </a:lnTo>
                  <a:lnTo>
                    <a:pt x="127" y="1997"/>
                  </a:lnTo>
                  <a:lnTo>
                    <a:pt x="127" y="2000"/>
                  </a:lnTo>
                  <a:lnTo>
                    <a:pt x="126" y="2004"/>
                  </a:lnTo>
                  <a:lnTo>
                    <a:pt x="126" y="2006"/>
                  </a:lnTo>
                  <a:lnTo>
                    <a:pt x="123" y="2013"/>
                  </a:lnTo>
                  <a:lnTo>
                    <a:pt x="124" y="2016"/>
                  </a:lnTo>
                  <a:lnTo>
                    <a:pt x="125" y="2018"/>
                  </a:lnTo>
                  <a:lnTo>
                    <a:pt x="125" y="2022"/>
                  </a:lnTo>
                  <a:lnTo>
                    <a:pt x="127" y="2023"/>
                  </a:lnTo>
                  <a:lnTo>
                    <a:pt x="130" y="2023"/>
                  </a:lnTo>
                  <a:lnTo>
                    <a:pt x="128" y="2026"/>
                  </a:lnTo>
                  <a:lnTo>
                    <a:pt x="130" y="2026"/>
                  </a:lnTo>
                  <a:lnTo>
                    <a:pt x="135" y="2026"/>
                  </a:lnTo>
                  <a:lnTo>
                    <a:pt x="135" y="2023"/>
                  </a:lnTo>
                  <a:lnTo>
                    <a:pt x="139" y="2022"/>
                  </a:lnTo>
                  <a:lnTo>
                    <a:pt x="143" y="2025"/>
                  </a:lnTo>
                  <a:lnTo>
                    <a:pt x="145" y="2022"/>
                  </a:lnTo>
                  <a:lnTo>
                    <a:pt x="145" y="2025"/>
                  </a:lnTo>
                  <a:lnTo>
                    <a:pt x="142" y="2025"/>
                  </a:lnTo>
                  <a:lnTo>
                    <a:pt x="140" y="2027"/>
                  </a:lnTo>
                  <a:lnTo>
                    <a:pt x="140" y="2030"/>
                  </a:lnTo>
                  <a:lnTo>
                    <a:pt x="143" y="2031"/>
                  </a:lnTo>
                  <a:lnTo>
                    <a:pt x="144" y="2032"/>
                  </a:lnTo>
                  <a:lnTo>
                    <a:pt x="144" y="2038"/>
                  </a:lnTo>
                  <a:lnTo>
                    <a:pt x="143" y="2035"/>
                  </a:lnTo>
                  <a:lnTo>
                    <a:pt x="141" y="2033"/>
                  </a:lnTo>
                  <a:lnTo>
                    <a:pt x="140" y="2036"/>
                  </a:lnTo>
                  <a:lnTo>
                    <a:pt x="143" y="2039"/>
                  </a:lnTo>
                  <a:lnTo>
                    <a:pt x="142" y="2039"/>
                  </a:lnTo>
                  <a:lnTo>
                    <a:pt x="140" y="2038"/>
                  </a:lnTo>
                  <a:lnTo>
                    <a:pt x="140" y="2043"/>
                  </a:lnTo>
                  <a:lnTo>
                    <a:pt x="141" y="2046"/>
                  </a:lnTo>
                  <a:lnTo>
                    <a:pt x="138" y="2048"/>
                  </a:lnTo>
                  <a:lnTo>
                    <a:pt x="138" y="2050"/>
                  </a:lnTo>
                  <a:lnTo>
                    <a:pt x="135" y="2053"/>
                  </a:lnTo>
                  <a:lnTo>
                    <a:pt x="136" y="2056"/>
                  </a:lnTo>
                  <a:lnTo>
                    <a:pt x="138" y="2056"/>
                  </a:lnTo>
                  <a:lnTo>
                    <a:pt x="136" y="2058"/>
                  </a:lnTo>
                  <a:lnTo>
                    <a:pt x="139" y="2058"/>
                  </a:lnTo>
                  <a:lnTo>
                    <a:pt x="133" y="2066"/>
                  </a:lnTo>
                  <a:lnTo>
                    <a:pt x="134" y="2067"/>
                  </a:lnTo>
                  <a:lnTo>
                    <a:pt x="138" y="2068"/>
                  </a:lnTo>
                  <a:lnTo>
                    <a:pt x="140" y="2070"/>
                  </a:lnTo>
                  <a:lnTo>
                    <a:pt x="142" y="2069"/>
                  </a:lnTo>
                  <a:lnTo>
                    <a:pt x="142" y="2072"/>
                  </a:lnTo>
                  <a:lnTo>
                    <a:pt x="141" y="2075"/>
                  </a:lnTo>
                  <a:lnTo>
                    <a:pt x="139" y="2077"/>
                  </a:lnTo>
                  <a:lnTo>
                    <a:pt x="135" y="2079"/>
                  </a:lnTo>
                  <a:lnTo>
                    <a:pt x="133" y="2079"/>
                  </a:lnTo>
                  <a:lnTo>
                    <a:pt x="132" y="2079"/>
                  </a:lnTo>
                  <a:lnTo>
                    <a:pt x="133" y="2083"/>
                  </a:lnTo>
                  <a:lnTo>
                    <a:pt x="135" y="2085"/>
                  </a:lnTo>
                  <a:lnTo>
                    <a:pt x="138" y="2087"/>
                  </a:lnTo>
                  <a:lnTo>
                    <a:pt x="140" y="2087"/>
                  </a:lnTo>
                  <a:lnTo>
                    <a:pt x="139" y="2087"/>
                  </a:lnTo>
                  <a:lnTo>
                    <a:pt x="136" y="2087"/>
                  </a:lnTo>
                  <a:lnTo>
                    <a:pt x="134" y="2085"/>
                  </a:lnTo>
                  <a:lnTo>
                    <a:pt x="131" y="2087"/>
                  </a:lnTo>
                  <a:lnTo>
                    <a:pt x="130" y="2090"/>
                  </a:lnTo>
                  <a:lnTo>
                    <a:pt x="130" y="2092"/>
                  </a:lnTo>
                  <a:lnTo>
                    <a:pt x="132" y="2091"/>
                  </a:lnTo>
                  <a:lnTo>
                    <a:pt x="130" y="2093"/>
                  </a:lnTo>
                  <a:lnTo>
                    <a:pt x="128" y="2096"/>
                  </a:lnTo>
                  <a:lnTo>
                    <a:pt x="128" y="2099"/>
                  </a:lnTo>
                  <a:lnTo>
                    <a:pt x="127" y="2101"/>
                  </a:lnTo>
                  <a:lnTo>
                    <a:pt x="131" y="2099"/>
                  </a:lnTo>
                  <a:lnTo>
                    <a:pt x="130" y="2101"/>
                  </a:lnTo>
                  <a:lnTo>
                    <a:pt x="126" y="2104"/>
                  </a:lnTo>
                  <a:lnTo>
                    <a:pt x="125" y="2107"/>
                  </a:lnTo>
                  <a:lnTo>
                    <a:pt x="125" y="2104"/>
                  </a:lnTo>
                  <a:lnTo>
                    <a:pt x="126" y="2102"/>
                  </a:lnTo>
                  <a:lnTo>
                    <a:pt x="124" y="2100"/>
                  </a:lnTo>
                  <a:lnTo>
                    <a:pt x="125" y="2102"/>
                  </a:lnTo>
                  <a:lnTo>
                    <a:pt x="122" y="2101"/>
                  </a:lnTo>
                  <a:lnTo>
                    <a:pt x="119" y="2101"/>
                  </a:lnTo>
                  <a:lnTo>
                    <a:pt x="117" y="2100"/>
                  </a:lnTo>
                  <a:lnTo>
                    <a:pt x="119" y="2101"/>
                  </a:lnTo>
                  <a:lnTo>
                    <a:pt x="122" y="2100"/>
                  </a:lnTo>
                  <a:lnTo>
                    <a:pt x="124" y="2098"/>
                  </a:lnTo>
                  <a:lnTo>
                    <a:pt x="121" y="2095"/>
                  </a:lnTo>
                  <a:lnTo>
                    <a:pt x="118" y="2093"/>
                  </a:lnTo>
                  <a:lnTo>
                    <a:pt x="117" y="2096"/>
                  </a:lnTo>
                  <a:lnTo>
                    <a:pt x="115" y="2094"/>
                  </a:lnTo>
                  <a:lnTo>
                    <a:pt x="113" y="2094"/>
                  </a:lnTo>
                  <a:lnTo>
                    <a:pt x="109" y="2095"/>
                  </a:lnTo>
                  <a:lnTo>
                    <a:pt x="108" y="2098"/>
                  </a:lnTo>
                  <a:lnTo>
                    <a:pt x="110" y="2099"/>
                  </a:lnTo>
                  <a:lnTo>
                    <a:pt x="113" y="2096"/>
                  </a:lnTo>
                  <a:lnTo>
                    <a:pt x="113" y="2099"/>
                  </a:lnTo>
                  <a:lnTo>
                    <a:pt x="110" y="2101"/>
                  </a:lnTo>
                  <a:lnTo>
                    <a:pt x="108" y="2102"/>
                  </a:lnTo>
                  <a:lnTo>
                    <a:pt x="102" y="2106"/>
                  </a:lnTo>
                  <a:lnTo>
                    <a:pt x="100" y="2109"/>
                  </a:lnTo>
                  <a:lnTo>
                    <a:pt x="100" y="2111"/>
                  </a:lnTo>
                  <a:lnTo>
                    <a:pt x="104" y="2113"/>
                  </a:lnTo>
                  <a:lnTo>
                    <a:pt x="105" y="2110"/>
                  </a:lnTo>
                  <a:lnTo>
                    <a:pt x="101" y="2109"/>
                  </a:lnTo>
                  <a:lnTo>
                    <a:pt x="107" y="2108"/>
                  </a:lnTo>
                  <a:lnTo>
                    <a:pt x="109" y="2106"/>
                  </a:lnTo>
                  <a:lnTo>
                    <a:pt x="109" y="2108"/>
                  </a:lnTo>
                  <a:lnTo>
                    <a:pt x="111" y="2110"/>
                  </a:lnTo>
                  <a:lnTo>
                    <a:pt x="114" y="2112"/>
                  </a:lnTo>
                  <a:lnTo>
                    <a:pt x="117" y="2112"/>
                  </a:lnTo>
                  <a:lnTo>
                    <a:pt x="116" y="2110"/>
                  </a:lnTo>
                  <a:lnTo>
                    <a:pt x="118" y="2110"/>
                  </a:lnTo>
                  <a:lnTo>
                    <a:pt x="122" y="2111"/>
                  </a:lnTo>
                  <a:lnTo>
                    <a:pt x="122" y="2115"/>
                  </a:lnTo>
                  <a:lnTo>
                    <a:pt x="122" y="2115"/>
                  </a:lnTo>
                  <a:lnTo>
                    <a:pt x="124" y="2115"/>
                  </a:lnTo>
                  <a:lnTo>
                    <a:pt x="123" y="2116"/>
                  </a:lnTo>
                  <a:lnTo>
                    <a:pt x="123" y="2117"/>
                  </a:lnTo>
                  <a:lnTo>
                    <a:pt x="122" y="2119"/>
                  </a:lnTo>
                  <a:lnTo>
                    <a:pt x="119" y="2118"/>
                  </a:lnTo>
                  <a:lnTo>
                    <a:pt x="117" y="2120"/>
                  </a:lnTo>
                  <a:lnTo>
                    <a:pt x="118" y="2124"/>
                  </a:lnTo>
                  <a:lnTo>
                    <a:pt x="121" y="2125"/>
                  </a:lnTo>
                  <a:lnTo>
                    <a:pt x="121" y="2127"/>
                  </a:lnTo>
                  <a:lnTo>
                    <a:pt x="115" y="2125"/>
                  </a:lnTo>
                  <a:lnTo>
                    <a:pt x="114" y="2127"/>
                  </a:lnTo>
                  <a:lnTo>
                    <a:pt x="122" y="2127"/>
                  </a:lnTo>
                  <a:lnTo>
                    <a:pt x="125" y="2128"/>
                  </a:lnTo>
                  <a:lnTo>
                    <a:pt x="126" y="2126"/>
                  </a:lnTo>
                  <a:lnTo>
                    <a:pt x="130" y="2128"/>
                  </a:lnTo>
                  <a:lnTo>
                    <a:pt x="131" y="2130"/>
                  </a:lnTo>
                  <a:lnTo>
                    <a:pt x="133" y="2132"/>
                  </a:lnTo>
                  <a:lnTo>
                    <a:pt x="131" y="2132"/>
                  </a:lnTo>
                  <a:lnTo>
                    <a:pt x="131" y="2134"/>
                  </a:lnTo>
                  <a:lnTo>
                    <a:pt x="132" y="2135"/>
                  </a:lnTo>
                  <a:lnTo>
                    <a:pt x="130" y="2136"/>
                  </a:lnTo>
                  <a:lnTo>
                    <a:pt x="126" y="2133"/>
                  </a:lnTo>
                  <a:lnTo>
                    <a:pt x="124" y="2132"/>
                  </a:lnTo>
                  <a:lnTo>
                    <a:pt x="122" y="2132"/>
                  </a:lnTo>
                  <a:lnTo>
                    <a:pt x="121" y="2134"/>
                  </a:lnTo>
                  <a:lnTo>
                    <a:pt x="118" y="2132"/>
                  </a:lnTo>
                  <a:lnTo>
                    <a:pt x="115" y="2132"/>
                  </a:lnTo>
                  <a:lnTo>
                    <a:pt x="117" y="2134"/>
                  </a:lnTo>
                  <a:lnTo>
                    <a:pt x="122" y="2138"/>
                  </a:lnTo>
                  <a:lnTo>
                    <a:pt x="123" y="2141"/>
                  </a:lnTo>
                  <a:lnTo>
                    <a:pt x="121" y="2139"/>
                  </a:lnTo>
                  <a:lnTo>
                    <a:pt x="118" y="2142"/>
                  </a:lnTo>
                  <a:lnTo>
                    <a:pt x="121" y="2144"/>
                  </a:lnTo>
                  <a:lnTo>
                    <a:pt x="123" y="2144"/>
                  </a:lnTo>
                  <a:lnTo>
                    <a:pt x="119" y="2144"/>
                  </a:lnTo>
                  <a:lnTo>
                    <a:pt x="117" y="2147"/>
                  </a:lnTo>
                  <a:lnTo>
                    <a:pt x="117" y="2150"/>
                  </a:lnTo>
                  <a:lnTo>
                    <a:pt x="117" y="2153"/>
                  </a:lnTo>
                  <a:lnTo>
                    <a:pt x="117" y="2155"/>
                  </a:lnTo>
                  <a:lnTo>
                    <a:pt x="119" y="2158"/>
                  </a:lnTo>
                  <a:lnTo>
                    <a:pt x="122" y="2155"/>
                  </a:lnTo>
                  <a:lnTo>
                    <a:pt x="121" y="2153"/>
                  </a:lnTo>
                  <a:lnTo>
                    <a:pt x="123" y="2150"/>
                  </a:lnTo>
                  <a:lnTo>
                    <a:pt x="125" y="2150"/>
                  </a:lnTo>
                  <a:lnTo>
                    <a:pt x="124" y="2152"/>
                  </a:lnTo>
                  <a:lnTo>
                    <a:pt x="125" y="2154"/>
                  </a:lnTo>
                  <a:lnTo>
                    <a:pt x="122" y="2154"/>
                  </a:lnTo>
                  <a:lnTo>
                    <a:pt x="122" y="2156"/>
                  </a:lnTo>
                  <a:lnTo>
                    <a:pt x="125" y="2158"/>
                  </a:lnTo>
                  <a:lnTo>
                    <a:pt x="126" y="2161"/>
                  </a:lnTo>
                  <a:lnTo>
                    <a:pt x="124" y="2159"/>
                  </a:lnTo>
                  <a:lnTo>
                    <a:pt x="122" y="2159"/>
                  </a:lnTo>
                  <a:lnTo>
                    <a:pt x="119" y="2162"/>
                  </a:lnTo>
                  <a:lnTo>
                    <a:pt x="122" y="2162"/>
                  </a:lnTo>
                  <a:lnTo>
                    <a:pt x="119" y="2163"/>
                  </a:lnTo>
                  <a:lnTo>
                    <a:pt x="122" y="2166"/>
                  </a:lnTo>
                  <a:lnTo>
                    <a:pt x="124" y="2164"/>
                  </a:lnTo>
                  <a:lnTo>
                    <a:pt x="123" y="2167"/>
                  </a:lnTo>
                  <a:lnTo>
                    <a:pt x="122" y="2167"/>
                  </a:lnTo>
                  <a:lnTo>
                    <a:pt x="118" y="2166"/>
                  </a:lnTo>
                  <a:lnTo>
                    <a:pt x="118" y="2167"/>
                  </a:lnTo>
                  <a:lnTo>
                    <a:pt x="121" y="2170"/>
                  </a:lnTo>
                  <a:lnTo>
                    <a:pt x="123" y="2170"/>
                  </a:lnTo>
                  <a:lnTo>
                    <a:pt x="121" y="2170"/>
                  </a:lnTo>
                  <a:lnTo>
                    <a:pt x="117" y="2169"/>
                  </a:lnTo>
                  <a:lnTo>
                    <a:pt x="115" y="2169"/>
                  </a:lnTo>
                  <a:lnTo>
                    <a:pt x="117" y="2171"/>
                  </a:lnTo>
                  <a:lnTo>
                    <a:pt x="119" y="2171"/>
                  </a:lnTo>
                  <a:lnTo>
                    <a:pt x="119" y="2175"/>
                  </a:lnTo>
                  <a:lnTo>
                    <a:pt x="122" y="2173"/>
                  </a:lnTo>
                  <a:lnTo>
                    <a:pt x="124" y="2176"/>
                  </a:lnTo>
                  <a:lnTo>
                    <a:pt x="122" y="2176"/>
                  </a:lnTo>
                  <a:lnTo>
                    <a:pt x="121" y="2178"/>
                  </a:lnTo>
                  <a:lnTo>
                    <a:pt x="122" y="2181"/>
                  </a:lnTo>
                  <a:lnTo>
                    <a:pt x="125" y="2181"/>
                  </a:lnTo>
                  <a:lnTo>
                    <a:pt x="127" y="2176"/>
                  </a:lnTo>
                  <a:lnTo>
                    <a:pt x="128" y="2175"/>
                  </a:lnTo>
                  <a:lnTo>
                    <a:pt x="127" y="2177"/>
                  </a:lnTo>
                  <a:lnTo>
                    <a:pt x="131" y="2179"/>
                  </a:lnTo>
                  <a:lnTo>
                    <a:pt x="127" y="2178"/>
                  </a:lnTo>
                  <a:lnTo>
                    <a:pt x="126" y="2181"/>
                  </a:lnTo>
                  <a:lnTo>
                    <a:pt x="126" y="2184"/>
                  </a:lnTo>
                  <a:lnTo>
                    <a:pt x="123" y="2183"/>
                  </a:lnTo>
                  <a:lnTo>
                    <a:pt x="121" y="2183"/>
                  </a:lnTo>
                  <a:lnTo>
                    <a:pt x="121" y="2186"/>
                  </a:lnTo>
                  <a:lnTo>
                    <a:pt x="122" y="2188"/>
                  </a:lnTo>
                  <a:lnTo>
                    <a:pt x="124" y="2188"/>
                  </a:lnTo>
                  <a:lnTo>
                    <a:pt x="127" y="2187"/>
                  </a:lnTo>
                  <a:lnTo>
                    <a:pt x="127" y="2190"/>
                  </a:lnTo>
                  <a:lnTo>
                    <a:pt x="128" y="2196"/>
                  </a:lnTo>
                  <a:lnTo>
                    <a:pt x="126" y="2193"/>
                  </a:lnTo>
                  <a:lnTo>
                    <a:pt x="125" y="2195"/>
                  </a:lnTo>
                  <a:lnTo>
                    <a:pt x="126" y="2198"/>
                  </a:lnTo>
                  <a:lnTo>
                    <a:pt x="130" y="2197"/>
                  </a:lnTo>
                  <a:lnTo>
                    <a:pt x="130" y="2200"/>
                  </a:lnTo>
                  <a:lnTo>
                    <a:pt x="131" y="2203"/>
                  </a:lnTo>
                  <a:lnTo>
                    <a:pt x="128" y="2200"/>
                  </a:lnTo>
                  <a:lnTo>
                    <a:pt x="130" y="2203"/>
                  </a:lnTo>
                  <a:lnTo>
                    <a:pt x="132" y="2205"/>
                  </a:lnTo>
                  <a:lnTo>
                    <a:pt x="133" y="2203"/>
                  </a:lnTo>
                  <a:lnTo>
                    <a:pt x="132" y="2197"/>
                  </a:lnTo>
                  <a:lnTo>
                    <a:pt x="133" y="2203"/>
                  </a:lnTo>
                  <a:lnTo>
                    <a:pt x="136" y="2202"/>
                  </a:lnTo>
                  <a:lnTo>
                    <a:pt x="136" y="2198"/>
                  </a:lnTo>
                  <a:lnTo>
                    <a:pt x="133" y="2196"/>
                  </a:lnTo>
                  <a:lnTo>
                    <a:pt x="142" y="2200"/>
                  </a:lnTo>
                  <a:lnTo>
                    <a:pt x="141" y="2197"/>
                  </a:lnTo>
                  <a:lnTo>
                    <a:pt x="139" y="2195"/>
                  </a:lnTo>
                  <a:lnTo>
                    <a:pt x="135" y="2196"/>
                  </a:lnTo>
                  <a:lnTo>
                    <a:pt x="135" y="2193"/>
                  </a:lnTo>
                  <a:lnTo>
                    <a:pt x="135" y="2193"/>
                  </a:lnTo>
                  <a:lnTo>
                    <a:pt x="139" y="2195"/>
                  </a:lnTo>
                  <a:lnTo>
                    <a:pt x="141" y="2196"/>
                  </a:lnTo>
                  <a:lnTo>
                    <a:pt x="144" y="2198"/>
                  </a:lnTo>
                  <a:lnTo>
                    <a:pt x="144" y="2201"/>
                  </a:lnTo>
                  <a:lnTo>
                    <a:pt x="142" y="2202"/>
                  </a:lnTo>
                  <a:lnTo>
                    <a:pt x="143" y="2205"/>
                  </a:lnTo>
                  <a:lnTo>
                    <a:pt x="144" y="2206"/>
                  </a:lnTo>
                  <a:lnTo>
                    <a:pt x="143" y="2209"/>
                  </a:lnTo>
                  <a:lnTo>
                    <a:pt x="141" y="2210"/>
                  </a:lnTo>
                  <a:lnTo>
                    <a:pt x="139" y="2211"/>
                  </a:lnTo>
                  <a:lnTo>
                    <a:pt x="141" y="2210"/>
                  </a:lnTo>
                  <a:lnTo>
                    <a:pt x="143" y="2206"/>
                  </a:lnTo>
                  <a:lnTo>
                    <a:pt x="141" y="2204"/>
                  </a:lnTo>
                  <a:lnTo>
                    <a:pt x="140" y="2204"/>
                  </a:lnTo>
                  <a:lnTo>
                    <a:pt x="140" y="2206"/>
                  </a:lnTo>
                  <a:lnTo>
                    <a:pt x="128" y="2205"/>
                  </a:lnTo>
                  <a:lnTo>
                    <a:pt x="128" y="2211"/>
                  </a:lnTo>
                  <a:lnTo>
                    <a:pt x="128" y="2214"/>
                  </a:lnTo>
                  <a:lnTo>
                    <a:pt x="128" y="2216"/>
                  </a:lnTo>
                  <a:lnTo>
                    <a:pt x="131" y="2214"/>
                  </a:lnTo>
                  <a:lnTo>
                    <a:pt x="134" y="2214"/>
                  </a:lnTo>
                  <a:lnTo>
                    <a:pt x="134" y="2212"/>
                  </a:lnTo>
                  <a:lnTo>
                    <a:pt x="138" y="2212"/>
                  </a:lnTo>
                  <a:lnTo>
                    <a:pt x="135" y="2214"/>
                  </a:lnTo>
                  <a:lnTo>
                    <a:pt x="134" y="2218"/>
                  </a:lnTo>
                  <a:lnTo>
                    <a:pt x="131" y="2218"/>
                  </a:lnTo>
                  <a:lnTo>
                    <a:pt x="134" y="2219"/>
                  </a:lnTo>
                  <a:lnTo>
                    <a:pt x="131" y="2221"/>
                  </a:lnTo>
                  <a:lnTo>
                    <a:pt x="134" y="2223"/>
                  </a:lnTo>
                  <a:lnTo>
                    <a:pt x="136" y="2222"/>
                  </a:lnTo>
                  <a:lnTo>
                    <a:pt x="138" y="2220"/>
                  </a:lnTo>
                  <a:lnTo>
                    <a:pt x="141" y="2214"/>
                  </a:lnTo>
                  <a:lnTo>
                    <a:pt x="139" y="2215"/>
                  </a:lnTo>
                  <a:lnTo>
                    <a:pt x="139" y="2212"/>
                  </a:lnTo>
                  <a:lnTo>
                    <a:pt x="142" y="2213"/>
                  </a:lnTo>
                  <a:lnTo>
                    <a:pt x="152" y="2213"/>
                  </a:lnTo>
                  <a:lnTo>
                    <a:pt x="156" y="2213"/>
                  </a:lnTo>
                  <a:lnTo>
                    <a:pt x="158" y="2214"/>
                  </a:lnTo>
                  <a:lnTo>
                    <a:pt x="156" y="2215"/>
                  </a:lnTo>
                  <a:lnTo>
                    <a:pt x="152" y="2215"/>
                  </a:lnTo>
                  <a:lnTo>
                    <a:pt x="150" y="2214"/>
                  </a:lnTo>
                  <a:lnTo>
                    <a:pt x="148" y="2215"/>
                  </a:lnTo>
                  <a:lnTo>
                    <a:pt x="144" y="2219"/>
                  </a:lnTo>
                  <a:lnTo>
                    <a:pt x="140" y="2218"/>
                  </a:lnTo>
                  <a:lnTo>
                    <a:pt x="138" y="2220"/>
                  </a:lnTo>
                  <a:lnTo>
                    <a:pt x="139" y="2222"/>
                  </a:lnTo>
                  <a:lnTo>
                    <a:pt x="141" y="2223"/>
                  </a:lnTo>
                  <a:lnTo>
                    <a:pt x="141" y="2227"/>
                  </a:lnTo>
                  <a:lnTo>
                    <a:pt x="139" y="2224"/>
                  </a:lnTo>
                  <a:lnTo>
                    <a:pt x="135" y="2224"/>
                  </a:lnTo>
                  <a:lnTo>
                    <a:pt x="138" y="2227"/>
                  </a:lnTo>
                  <a:lnTo>
                    <a:pt x="140" y="2229"/>
                  </a:lnTo>
                  <a:lnTo>
                    <a:pt x="142" y="2231"/>
                  </a:lnTo>
                  <a:lnTo>
                    <a:pt x="145" y="2231"/>
                  </a:lnTo>
                  <a:lnTo>
                    <a:pt x="143" y="2229"/>
                  </a:lnTo>
                  <a:lnTo>
                    <a:pt x="145" y="2226"/>
                  </a:lnTo>
                  <a:lnTo>
                    <a:pt x="148" y="2226"/>
                  </a:lnTo>
                  <a:lnTo>
                    <a:pt x="145" y="2223"/>
                  </a:lnTo>
                  <a:lnTo>
                    <a:pt x="148" y="2222"/>
                  </a:lnTo>
                  <a:lnTo>
                    <a:pt x="150" y="2223"/>
                  </a:lnTo>
                  <a:lnTo>
                    <a:pt x="152" y="2221"/>
                  </a:lnTo>
                  <a:lnTo>
                    <a:pt x="158" y="2218"/>
                  </a:lnTo>
                  <a:lnTo>
                    <a:pt x="159" y="2216"/>
                  </a:lnTo>
                  <a:lnTo>
                    <a:pt x="161" y="2218"/>
                  </a:lnTo>
                  <a:lnTo>
                    <a:pt x="161" y="2220"/>
                  </a:lnTo>
                  <a:lnTo>
                    <a:pt x="160" y="2223"/>
                  </a:lnTo>
                  <a:lnTo>
                    <a:pt x="155" y="2226"/>
                  </a:lnTo>
                  <a:lnTo>
                    <a:pt x="153" y="2231"/>
                  </a:lnTo>
                  <a:lnTo>
                    <a:pt x="151" y="2232"/>
                  </a:lnTo>
                  <a:lnTo>
                    <a:pt x="153" y="2230"/>
                  </a:lnTo>
                  <a:lnTo>
                    <a:pt x="153" y="2227"/>
                  </a:lnTo>
                  <a:lnTo>
                    <a:pt x="150" y="2226"/>
                  </a:lnTo>
                  <a:lnTo>
                    <a:pt x="150" y="2229"/>
                  </a:lnTo>
                  <a:lnTo>
                    <a:pt x="149" y="2226"/>
                  </a:lnTo>
                  <a:lnTo>
                    <a:pt x="147" y="2227"/>
                  </a:lnTo>
                  <a:lnTo>
                    <a:pt x="144" y="2229"/>
                  </a:lnTo>
                  <a:lnTo>
                    <a:pt x="149" y="2235"/>
                  </a:lnTo>
                  <a:lnTo>
                    <a:pt x="152" y="2235"/>
                  </a:lnTo>
                  <a:lnTo>
                    <a:pt x="155" y="2236"/>
                  </a:lnTo>
                  <a:lnTo>
                    <a:pt x="160" y="2238"/>
                  </a:lnTo>
                  <a:lnTo>
                    <a:pt x="164" y="2237"/>
                  </a:lnTo>
                  <a:lnTo>
                    <a:pt x="165" y="2235"/>
                  </a:lnTo>
                  <a:lnTo>
                    <a:pt x="165" y="2231"/>
                  </a:lnTo>
                  <a:lnTo>
                    <a:pt x="165" y="2229"/>
                  </a:lnTo>
                  <a:lnTo>
                    <a:pt x="165" y="2226"/>
                  </a:lnTo>
                  <a:lnTo>
                    <a:pt x="167" y="2218"/>
                  </a:lnTo>
                  <a:lnTo>
                    <a:pt x="170" y="2215"/>
                  </a:lnTo>
                  <a:lnTo>
                    <a:pt x="173" y="2215"/>
                  </a:lnTo>
                  <a:lnTo>
                    <a:pt x="175" y="2214"/>
                  </a:lnTo>
                  <a:lnTo>
                    <a:pt x="181" y="2212"/>
                  </a:lnTo>
                  <a:lnTo>
                    <a:pt x="183" y="2212"/>
                  </a:lnTo>
                  <a:lnTo>
                    <a:pt x="184" y="2211"/>
                  </a:lnTo>
                  <a:lnTo>
                    <a:pt x="185" y="2209"/>
                  </a:lnTo>
                  <a:lnTo>
                    <a:pt x="187" y="2206"/>
                  </a:lnTo>
                  <a:lnTo>
                    <a:pt x="191" y="2206"/>
                  </a:lnTo>
                  <a:lnTo>
                    <a:pt x="193" y="2209"/>
                  </a:lnTo>
                  <a:lnTo>
                    <a:pt x="198" y="2209"/>
                  </a:lnTo>
                  <a:lnTo>
                    <a:pt x="199" y="2209"/>
                  </a:lnTo>
                  <a:lnTo>
                    <a:pt x="200" y="2210"/>
                  </a:lnTo>
                  <a:lnTo>
                    <a:pt x="200" y="2210"/>
                  </a:lnTo>
                  <a:lnTo>
                    <a:pt x="199" y="2207"/>
                  </a:lnTo>
                  <a:lnTo>
                    <a:pt x="195" y="2202"/>
                  </a:lnTo>
                  <a:lnTo>
                    <a:pt x="192" y="2196"/>
                  </a:lnTo>
                  <a:lnTo>
                    <a:pt x="190" y="2197"/>
                  </a:lnTo>
                  <a:lnTo>
                    <a:pt x="186" y="2195"/>
                  </a:lnTo>
                  <a:lnTo>
                    <a:pt x="183" y="2196"/>
                  </a:lnTo>
                  <a:lnTo>
                    <a:pt x="186" y="2195"/>
                  </a:lnTo>
                  <a:lnTo>
                    <a:pt x="188" y="2195"/>
                  </a:lnTo>
                  <a:lnTo>
                    <a:pt x="192" y="2195"/>
                  </a:lnTo>
                  <a:lnTo>
                    <a:pt x="192" y="2193"/>
                  </a:lnTo>
                  <a:lnTo>
                    <a:pt x="190" y="2184"/>
                  </a:lnTo>
                  <a:lnTo>
                    <a:pt x="187" y="2185"/>
                  </a:lnTo>
                  <a:lnTo>
                    <a:pt x="186" y="2186"/>
                  </a:lnTo>
                  <a:lnTo>
                    <a:pt x="186" y="2186"/>
                  </a:lnTo>
                  <a:lnTo>
                    <a:pt x="187" y="2185"/>
                  </a:lnTo>
                  <a:lnTo>
                    <a:pt x="188" y="2184"/>
                  </a:lnTo>
                  <a:lnTo>
                    <a:pt x="191" y="2178"/>
                  </a:lnTo>
                  <a:lnTo>
                    <a:pt x="192" y="2176"/>
                  </a:lnTo>
                  <a:lnTo>
                    <a:pt x="193" y="2172"/>
                  </a:lnTo>
                  <a:lnTo>
                    <a:pt x="199" y="2170"/>
                  </a:lnTo>
                  <a:lnTo>
                    <a:pt x="198" y="2167"/>
                  </a:lnTo>
                  <a:lnTo>
                    <a:pt x="193" y="2167"/>
                  </a:lnTo>
                  <a:lnTo>
                    <a:pt x="193" y="2167"/>
                  </a:lnTo>
                  <a:lnTo>
                    <a:pt x="192" y="2167"/>
                  </a:lnTo>
                  <a:lnTo>
                    <a:pt x="193" y="2167"/>
                  </a:lnTo>
                  <a:lnTo>
                    <a:pt x="196" y="2166"/>
                  </a:lnTo>
                  <a:lnTo>
                    <a:pt x="196" y="2164"/>
                  </a:lnTo>
                  <a:lnTo>
                    <a:pt x="196" y="2162"/>
                  </a:lnTo>
                  <a:lnTo>
                    <a:pt x="195" y="2162"/>
                  </a:lnTo>
                  <a:lnTo>
                    <a:pt x="196" y="2162"/>
                  </a:lnTo>
                  <a:lnTo>
                    <a:pt x="199" y="2167"/>
                  </a:lnTo>
                  <a:lnTo>
                    <a:pt x="201" y="2169"/>
                  </a:lnTo>
                  <a:lnTo>
                    <a:pt x="204" y="2168"/>
                  </a:lnTo>
                  <a:lnTo>
                    <a:pt x="207" y="2167"/>
                  </a:lnTo>
                  <a:lnTo>
                    <a:pt x="209" y="2164"/>
                  </a:lnTo>
                  <a:lnTo>
                    <a:pt x="210" y="2156"/>
                  </a:lnTo>
                  <a:lnTo>
                    <a:pt x="210" y="2153"/>
                  </a:lnTo>
                  <a:lnTo>
                    <a:pt x="211" y="2151"/>
                  </a:lnTo>
                  <a:lnTo>
                    <a:pt x="212" y="2149"/>
                  </a:lnTo>
                  <a:lnTo>
                    <a:pt x="213" y="2147"/>
                  </a:lnTo>
                  <a:lnTo>
                    <a:pt x="216" y="2146"/>
                  </a:lnTo>
                  <a:lnTo>
                    <a:pt x="218" y="2143"/>
                  </a:lnTo>
                  <a:lnTo>
                    <a:pt x="226" y="2138"/>
                  </a:lnTo>
                  <a:lnTo>
                    <a:pt x="228" y="2137"/>
                  </a:lnTo>
                  <a:lnTo>
                    <a:pt x="230" y="2135"/>
                  </a:lnTo>
                  <a:lnTo>
                    <a:pt x="234" y="2133"/>
                  </a:lnTo>
                  <a:lnTo>
                    <a:pt x="236" y="2130"/>
                  </a:lnTo>
                  <a:lnTo>
                    <a:pt x="234" y="2127"/>
                  </a:lnTo>
                  <a:lnTo>
                    <a:pt x="228" y="2129"/>
                  </a:lnTo>
                  <a:lnTo>
                    <a:pt x="227" y="2129"/>
                  </a:lnTo>
                  <a:lnTo>
                    <a:pt x="230" y="2128"/>
                  </a:lnTo>
                  <a:lnTo>
                    <a:pt x="233" y="2127"/>
                  </a:lnTo>
                  <a:lnTo>
                    <a:pt x="235" y="2125"/>
                  </a:lnTo>
                  <a:lnTo>
                    <a:pt x="236" y="2119"/>
                  </a:lnTo>
                  <a:lnTo>
                    <a:pt x="235" y="2117"/>
                  </a:lnTo>
                  <a:lnTo>
                    <a:pt x="233" y="2115"/>
                  </a:lnTo>
                  <a:lnTo>
                    <a:pt x="230" y="2116"/>
                  </a:lnTo>
                  <a:lnTo>
                    <a:pt x="222" y="2115"/>
                  </a:lnTo>
                  <a:lnTo>
                    <a:pt x="219" y="2111"/>
                  </a:lnTo>
                  <a:lnTo>
                    <a:pt x="213" y="2107"/>
                  </a:lnTo>
                  <a:lnTo>
                    <a:pt x="212" y="2104"/>
                  </a:lnTo>
                  <a:lnTo>
                    <a:pt x="211" y="2101"/>
                  </a:lnTo>
                  <a:lnTo>
                    <a:pt x="211" y="2099"/>
                  </a:lnTo>
                  <a:lnTo>
                    <a:pt x="211" y="2096"/>
                  </a:lnTo>
                  <a:lnTo>
                    <a:pt x="215" y="2092"/>
                  </a:lnTo>
                  <a:lnTo>
                    <a:pt x="218" y="2086"/>
                  </a:lnTo>
                  <a:lnTo>
                    <a:pt x="221" y="2083"/>
                  </a:lnTo>
                  <a:lnTo>
                    <a:pt x="224" y="2083"/>
                  </a:lnTo>
                  <a:lnTo>
                    <a:pt x="226" y="2082"/>
                  </a:lnTo>
                  <a:lnTo>
                    <a:pt x="229" y="2079"/>
                  </a:lnTo>
                  <a:lnTo>
                    <a:pt x="233" y="2079"/>
                  </a:lnTo>
                  <a:lnTo>
                    <a:pt x="238" y="2081"/>
                  </a:lnTo>
                  <a:lnTo>
                    <a:pt x="238" y="2079"/>
                  </a:lnTo>
                  <a:lnTo>
                    <a:pt x="237" y="2077"/>
                  </a:lnTo>
                  <a:lnTo>
                    <a:pt x="237" y="2075"/>
                  </a:lnTo>
                  <a:lnTo>
                    <a:pt x="241" y="2073"/>
                  </a:lnTo>
                  <a:lnTo>
                    <a:pt x="242" y="2070"/>
                  </a:lnTo>
                  <a:lnTo>
                    <a:pt x="243" y="2067"/>
                  </a:lnTo>
                  <a:lnTo>
                    <a:pt x="244" y="2065"/>
                  </a:lnTo>
                  <a:lnTo>
                    <a:pt x="242" y="2059"/>
                  </a:lnTo>
                  <a:lnTo>
                    <a:pt x="243" y="2057"/>
                  </a:lnTo>
                  <a:lnTo>
                    <a:pt x="245" y="2053"/>
                  </a:lnTo>
                  <a:lnTo>
                    <a:pt x="246" y="2051"/>
                  </a:lnTo>
                  <a:lnTo>
                    <a:pt x="249" y="2049"/>
                  </a:lnTo>
                  <a:lnTo>
                    <a:pt x="254" y="2048"/>
                  </a:lnTo>
                  <a:lnTo>
                    <a:pt x="249" y="2043"/>
                  </a:lnTo>
                  <a:lnTo>
                    <a:pt x="247" y="2041"/>
                  </a:lnTo>
                  <a:lnTo>
                    <a:pt x="252" y="2039"/>
                  </a:lnTo>
                  <a:lnTo>
                    <a:pt x="255" y="2039"/>
                  </a:lnTo>
                  <a:lnTo>
                    <a:pt x="258" y="2041"/>
                  </a:lnTo>
                  <a:lnTo>
                    <a:pt x="258" y="2044"/>
                  </a:lnTo>
                  <a:lnTo>
                    <a:pt x="261" y="2044"/>
                  </a:lnTo>
                  <a:lnTo>
                    <a:pt x="263" y="2043"/>
                  </a:lnTo>
                  <a:lnTo>
                    <a:pt x="266" y="2041"/>
                  </a:lnTo>
                  <a:lnTo>
                    <a:pt x="266" y="2038"/>
                  </a:lnTo>
                  <a:lnTo>
                    <a:pt x="266" y="2035"/>
                  </a:lnTo>
                  <a:lnTo>
                    <a:pt x="264" y="2033"/>
                  </a:lnTo>
                  <a:lnTo>
                    <a:pt x="262" y="2032"/>
                  </a:lnTo>
                  <a:lnTo>
                    <a:pt x="259" y="2033"/>
                  </a:lnTo>
                  <a:lnTo>
                    <a:pt x="256" y="2033"/>
                  </a:lnTo>
                  <a:lnTo>
                    <a:pt x="259" y="2034"/>
                  </a:lnTo>
                  <a:lnTo>
                    <a:pt x="259" y="2036"/>
                  </a:lnTo>
                  <a:lnTo>
                    <a:pt x="253" y="2036"/>
                  </a:lnTo>
                  <a:lnTo>
                    <a:pt x="254" y="2034"/>
                  </a:lnTo>
                  <a:lnTo>
                    <a:pt x="249" y="2033"/>
                  </a:lnTo>
                  <a:lnTo>
                    <a:pt x="245" y="2030"/>
                  </a:lnTo>
                  <a:lnTo>
                    <a:pt x="246" y="2022"/>
                  </a:lnTo>
                  <a:lnTo>
                    <a:pt x="244" y="2016"/>
                  </a:lnTo>
                  <a:lnTo>
                    <a:pt x="244" y="2014"/>
                  </a:lnTo>
                  <a:lnTo>
                    <a:pt x="245" y="2012"/>
                  </a:lnTo>
                  <a:lnTo>
                    <a:pt x="247" y="2009"/>
                  </a:lnTo>
                  <a:lnTo>
                    <a:pt x="250" y="2009"/>
                  </a:lnTo>
                  <a:lnTo>
                    <a:pt x="253" y="2012"/>
                  </a:lnTo>
                  <a:lnTo>
                    <a:pt x="261" y="2014"/>
                  </a:lnTo>
                  <a:lnTo>
                    <a:pt x="263" y="2016"/>
                  </a:lnTo>
                  <a:lnTo>
                    <a:pt x="269" y="2016"/>
                  </a:lnTo>
                  <a:lnTo>
                    <a:pt x="275" y="2015"/>
                  </a:lnTo>
                  <a:lnTo>
                    <a:pt x="283" y="2012"/>
                  </a:lnTo>
                  <a:lnTo>
                    <a:pt x="284" y="2009"/>
                  </a:lnTo>
                  <a:lnTo>
                    <a:pt x="284" y="2006"/>
                  </a:lnTo>
                  <a:lnTo>
                    <a:pt x="281" y="2004"/>
                  </a:lnTo>
                  <a:lnTo>
                    <a:pt x="281" y="2001"/>
                  </a:lnTo>
                  <a:lnTo>
                    <a:pt x="284" y="1995"/>
                  </a:lnTo>
                  <a:lnTo>
                    <a:pt x="286" y="1995"/>
                  </a:lnTo>
                  <a:lnTo>
                    <a:pt x="287" y="1989"/>
                  </a:lnTo>
                  <a:lnTo>
                    <a:pt x="284" y="1987"/>
                  </a:lnTo>
                  <a:lnTo>
                    <a:pt x="287" y="1988"/>
                  </a:lnTo>
                  <a:lnTo>
                    <a:pt x="284" y="1985"/>
                  </a:lnTo>
                  <a:lnTo>
                    <a:pt x="283" y="1983"/>
                  </a:lnTo>
                  <a:lnTo>
                    <a:pt x="283" y="1980"/>
                  </a:lnTo>
                  <a:lnTo>
                    <a:pt x="286" y="1979"/>
                  </a:lnTo>
                  <a:lnTo>
                    <a:pt x="288" y="1981"/>
                  </a:lnTo>
                  <a:lnTo>
                    <a:pt x="292" y="1981"/>
                  </a:lnTo>
                  <a:lnTo>
                    <a:pt x="294" y="1981"/>
                  </a:lnTo>
                  <a:lnTo>
                    <a:pt x="296" y="1981"/>
                  </a:lnTo>
                  <a:lnTo>
                    <a:pt x="299" y="1981"/>
                  </a:lnTo>
                  <a:lnTo>
                    <a:pt x="304" y="1981"/>
                  </a:lnTo>
                  <a:lnTo>
                    <a:pt x="315" y="1979"/>
                  </a:lnTo>
                  <a:lnTo>
                    <a:pt x="329" y="1976"/>
                  </a:lnTo>
                  <a:lnTo>
                    <a:pt x="339" y="1972"/>
                  </a:lnTo>
                  <a:lnTo>
                    <a:pt x="346" y="1970"/>
                  </a:lnTo>
                  <a:lnTo>
                    <a:pt x="348" y="1967"/>
                  </a:lnTo>
                  <a:lnTo>
                    <a:pt x="348" y="1964"/>
                  </a:lnTo>
                  <a:lnTo>
                    <a:pt x="350" y="1962"/>
                  </a:lnTo>
                  <a:lnTo>
                    <a:pt x="355" y="1956"/>
                  </a:lnTo>
                  <a:lnTo>
                    <a:pt x="358" y="1950"/>
                  </a:lnTo>
                  <a:lnTo>
                    <a:pt x="361" y="1948"/>
                  </a:lnTo>
                  <a:lnTo>
                    <a:pt x="361" y="1942"/>
                  </a:lnTo>
                  <a:lnTo>
                    <a:pt x="360" y="1939"/>
                  </a:lnTo>
                  <a:lnTo>
                    <a:pt x="360" y="1939"/>
                  </a:lnTo>
                  <a:lnTo>
                    <a:pt x="356" y="1939"/>
                  </a:lnTo>
                  <a:lnTo>
                    <a:pt x="354" y="1938"/>
                  </a:lnTo>
                  <a:lnTo>
                    <a:pt x="352" y="1935"/>
                  </a:lnTo>
                  <a:lnTo>
                    <a:pt x="350" y="1932"/>
                  </a:lnTo>
                  <a:lnTo>
                    <a:pt x="352" y="1930"/>
                  </a:lnTo>
                  <a:lnTo>
                    <a:pt x="354" y="1924"/>
                  </a:lnTo>
                  <a:lnTo>
                    <a:pt x="353" y="1922"/>
                  </a:lnTo>
                  <a:lnTo>
                    <a:pt x="349" y="1919"/>
                  </a:lnTo>
                  <a:lnTo>
                    <a:pt x="345" y="1916"/>
                  </a:lnTo>
                  <a:lnTo>
                    <a:pt x="340" y="1914"/>
                  </a:lnTo>
                  <a:lnTo>
                    <a:pt x="337" y="1912"/>
                  </a:lnTo>
                  <a:lnTo>
                    <a:pt x="335" y="1907"/>
                  </a:lnTo>
                  <a:lnTo>
                    <a:pt x="337" y="1906"/>
                  </a:lnTo>
                  <a:lnTo>
                    <a:pt x="337" y="1906"/>
                  </a:lnTo>
                  <a:lnTo>
                    <a:pt x="336" y="1903"/>
                  </a:lnTo>
                  <a:lnTo>
                    <a:pt x="336" y="1901"/>
                  </a:lnTo>
                  <a:lnTo>
                    <a:pt x="335" y="1897"/>
                  </a:lnTo>
                  <a:lnTo>
                    <a:pt x="335" y="1895"/>
                  </a:lnTo>
                  <a:lnTo>
                    <a:pt x="337" y="1891"/>
                  </a:lnTo>
                  <a:lnTo>
                    <a:pt x="337" y="1889"/>
                  </a:lnTo>
                  <a:lnTo>
                    <a:pt x="339" y="1889"/>
                  </a:lnTo>
                  <a:lnTo>
                    <a:pt x="339" y="1888"/>
                  </a:lnTo>
                  <a:lnTo>
                    <a:pt x="340" y="1886"/>
                  </a:lnTo>
                  <a:lnTo>
                    <a:pt x="339" y="1880"/>
                  </a:lnTo>
                  <a:lnTo>
                    <a:pt x="339" y="1879"/>
                  </a:lnTo>
                  <a:lnTo>
                    <a:pt x="341" y="1887"/>
                  </a:lnTo>
                  <a:lnTo>
                    <a:pt x="339" y="1888"/>
                  </a:lnTo>
                  <a:lnTo>
                    <a:pt x="339" y="1889"/>
                  </a:lnTo>
                  <a:lnTo>
                    <a:pt x="339" y="1889"/>
                  </a:lnTo>
                  <a:lnTo>
                    <a:pt x="337" y="1894"/>
                  </a:lnTo>
                  <a:lnTo>
                    <a:pt x="337" y="1899"/>
                  </a:lnTo>
                  <a:lnTo>
                    <a:pt x="337" y="1901"/>
                  </a:lnTo>
                  <a:lnTo>
                    <a:pt x="339" y="1904"/>
                  </a:lnTo>
                  <a:lnTo>
                    <a:pt x="344" y="1908"/>
                  </a:lnTo>
                  <a:lnTo>
                    <a:pt x="345" y="1911"/>
                  </a:lnTo>
                  <a:lnTo>
                    <a:pt x="347" y="1910"/>
                  </a:lnTo>
                  <a:lnTo>
                    <a:pt x="354" y="1910"/>
                  </a:lnTo>
                  <a:lnTo>
                    <a:pt x="360" y="1914"/>
                  </a:lnTo>
                  <a:lnTo>
                    <a:pt x="365" y="1915"/>
                  </a:lnTo>
                  <a:lnTo>
                    <a:pt x="367" y="1918"/>
                  </a:lnTo>
                  <a:lnTo>
                    <a:pt x="372" y="1915"/>
                  </a:lnTo>
                  <a:lnTo>
                    <a:pt x="374" y="1914"/>
                  </a:lnTo>
                  <a:lnTo>
                    <a:pt x="379" y="1915"/>
                  </a:lnTo>
                  <a:lnTo>
                    <a:pt x="381" y="1916"/>
                  </a:lnTo>
                  <a:lnTo>
                    <a:pt x="383" y="1918"/>
                  </a:lnTo>
                  <a:lnTo>
                    <a:pt x="387" y="1916"/>
                  </a:lnTo>
                  <a:lnTo>
                    <a:pt x="396" y="1913"/>
                  </a:lnTo>
                  <a:lnTo>
                    <a:pt x="398" y="1910"/>
                  </a:lnTo>
                  <a:lnTo>
                    <a:pt x="400" y="1908"/>
                  </a:lnTo>
                  <a:lnTo>
                    <a:pt x="401" y="1906"/>
                  </a:lnTo>
                  <a:lnTo>
                    <a:pt x="404" y="1903"/>
                  </a:lnTo>
                  <a:lnTo>
                    <a:pt x="405" y="1901"/>
                  </a:lnTo>
                  <a:lnTo>
                    <a:pt x="406" y="1898"/>
                  </a:lnTo>
                  <a:lnTo>
                    <a:pt x="414" y="1891"/>
                  </a:lnTo>
                  <a:lnTo>
                    <a:pt x="416" y="1889"/>
                  </a:lnTo>
                  <a:lnTo>
                    <a:pt x="417" y="1886"/>
                  </a:lnTo>
                  <a:lnTo>
                    <a:pt x="418" y="1884"/>
                  </a:lnTo>
                  <a:lnTo>
                    <a:pt x="418" y="1881"/>
                  </a:lnTo>
                  <a:lnTo>
                    <a:pt x="423" y="1873"/>
                  </a:lnTo>
                  <a:lnTo>
                    <a:pt x="422" y="1870"/>
                  </a:lnTo>
                  <a:lnTo>
                    <a:pt x="422" y="1869"/>
                  </a:lnTo>
                  <a:lnTo>
                    <a:pt x="424" y="1863"/>
                  </a:lnTo>
                  <a:lnTo>
                    <a:pt x="427" y="1861"/>
                  </a:lnTo>
                  <a:lnTo>
                    <a:pt x="429" y="1861"/>
                  </a:lnTo>
                  <a:lnTo>
                    <a:pt x="431" y="1859"/>
                  </a:lnTo>
                  <a:lnTo>
                    <a:pt x="432" y="1856"/>
                  </a:lnTo>
                  <a:lnTo>
                    <a:pt x="434" y="1851"/>
                  </a:lnTo>
                  <a:lnTo>
                    <a:pt x="437" y="1847"/>
                  </a:lnTo>
                  <a:lnTo>
                    <a:pt x="434" y="1845"/>
                  </a:lnTo>
                  <a:lnTo>
                    <a:pt x="434" y="1843"/>
                  </a:lnTo>
                  <a:lnTo>
                    <a:pt x="435" y="1843"/>
                  </a:lnTo>
                  <a:lnTo>
                    <a:pt x="435" y="1845"/>
                  </a:lnTo>
                  <a:lnTo>
                    <a:pt x="439" y="1848"/>
                  </a:lnTo>
                  <a:lnTo>
                    <a:pt x="441" y="1846"/>
                  </a:lnTo>
                  <a:lnTo>
                    <a:pt x="444" y="1845"/>
                  </a:lnTo>
                  <a:lnTo>
                    <a:pt x="444" y="1848"/>
                  </a:lnTo>
                  <a:lnTo>
                    <a:pt x="442" y="1852"/>
                  </a:lnTo>
                  <a:lnTo>
                    <a:pt x="442" y="1854"/>
                  </a:lnTo>
                  <a:lnTo>
                    <a:pt x="439" y="1855"/>
                  </a:lnTo>
                  <a:lnTo>
                    <a:pt x="439" y="1858"/>
                  </a:lnTo>
                  <a:lnTo>
                    <a:pt x="435" y="1858"/>
                  </a:lnTo>
                  <a:lnTo>
                    <a:pt x="437" y="1861"/>
                  </a:lnTo>
                  <a:lnTo>
                    <a:pt x="435" y="1863"/>
                  </a:lnTo>
                  <a:lnTo>
                    <a:pt x="432" y="1864"/>
                  </a:lnTo>
                  <a:lnTo>
                    <a:pt x="431" y="1868"/>
                  </a:lnTo>
                  <a:lnTo>
                    <a:pt x="425" y="1870"/>
                  </a:lnTo>
                  <a:lnTo>
                    <a:pt x="424" y="1872"/>
                  </a:lnTo>
                  <a:lnTo>
                    <a:pt x="432" y="1868"/>
                  </a:lnTo>
                  <a:lnTo>
                    <a:pt x="438" y="1863"/>
                  </a:lnTo>
                  <a:lnTo>
                    <a:pt x="442" y="1858"/>
                  </a:lnTo>
                  <a:lnTo>
                    <a:pt x="447" y="1851"/>
                  </a:lnTo>
                  <a:lnTo>
                    <a:pt x="448" y="1847"/>
                  </a:lnTo>
                  <a:lnTo>
                    <a:pt x="451" y="1839"/>
                  </a:lnTo>
                  <a:lnTo>
                    <a:pt x="455" y="1834"/>
                  </a:lnTo>
                  <a:lnTo>
                    <a:pt x="460" y="1826"/>
                  </a:lnTo>
                  <a:lnTo>
                    <a:pt x="468" y="1820"/>
                  </a:lnTo>
                  <a:lnTo>
                    <a:pt x="468" y="1819"/>
                  </a:lnTo>
                  <a:lnTo>
                    <a:pt x="468" y="1818"/>
                  </a:lnTo>
                  <a:lnTo>
                    <a:pt x="469" y="1819"/>
                  </a:lnTo>
                  <a:lnTo>
                    <a:pt x="471" y="1817"/>
                  </a:lnTo>
                  <a:lnTo>
                    <a:pt x="471" y="1813"/>
                  </a:lnTo>
                  <a:lnTo>
                    <a:pt x="471" y="1811"/>
                  </a:lnTo>
                  <a:lnTo>
                    <a:pt x="472" y="1798"/>
                  </a:lnTo>
                  <a:lnTo>
                    <a:pt x="471" y="1792"/>
                  </a:lnTo>
                  <a:lnTo>
                    <a:pt x="471" y="1788"/>
                  </a:lnTo>
                  <a:lnTo>
                    <a:pt x="469" y="1785"/>
                  </a:lnTo>
                  <a:lnTo>
                    <a:pt x="472" y="1783"/>
                  </a:lnTo>
                  <a:lnTo>
                    <a:pt x="472" y="1779"/>
                  </a:lnTo>
                  <a:lnTo>
                    <a:pt x="474" y="1777"/>
                  </a:lnTo>
                  <a:lnTo>
                    <a:pt x="473" y="1777"/>
                  </a:lnTo>
                  <a:lnTo>
                    <a:pt x="472" y="1776"/>
                  </a:lnTo>
                  <a:lnTo>
                    <a:pt x="469" y="1775"/>
                  </a:lnTo>
                  <a:lnTo>
                    <a:pt x="472" y="1775"/>
                  </a:lnTo>
                  <a:lnTo>
                    <a:pt x="473" y="1773"/>
                  </a:lnTo>
                  <a:lnTo>
                    <a:pt x="478" y="1773"/>
                  </a:lnTo>
                  <a:lnTo>
                    <a:pt x="480" y="1771"/>
                  </a:lnTo>
                  <a:lnTo>
                    <a:pt x="478" y="1768"/>
                  </a:lnTo>
                  <a:lnTo>
                    <a:pt x="480" y="1769"/>
                  </a:lnTo>
                  <a:lnTo>
                    <a:pt x="482" y="1766"/>
                  </a:lnTo>
                  <a:lnTo>
                    <a:pt x="485" y="1765"/>
                  </a:lnTo>
                  <a:lnTo>
                    <a:pt x="491" y="1761"/>
                  </a:lnTo>
                  <a:lnTo>
                    <a:pt x="495" y="1757"/>
                  </a:lnTo>
                  <a:lnTo>
                    <a:pt x="499" y="1754"/>
                  </a:lnTo>
                  <a:lnTo>
                    <a:pt x="501" y="1753"/>
                  </a:lnTo>
                  <a:lnTo>
                    <a:pt x="501" y="1752"/>
                  </a:lnTo>
                  <a:lnTo>
                    <a:pt x="502" y="1752"/>
                  </a:lnTo>
                  <a:lnTo>
                    <a:pt x="503" y="1753"/>
                  </a:lnTo>
                  <a:lnTo>
                    <a:pt x="506" y="1751"/>
                  </a:lnTo>
                  <a:lnTo>
                    <a:pt x="508" y="1750"/>
                  </a:lnTo>
                  <a:lnTo>
                    <a:pt x="511" y="1750"/>
                  </a:lnTo>
                  <a:lnTo>
                    <a:pt x="514" y="1751"/>
                  </a:lnTo>
                  <a:lnTo>
                    <a:pt x="515" y="1749"/>
                  </a:lnTo>
                  <a:lnTo>
                    <a:pt x="517" y="1748"/>
                  </a:lnTo>
                  <a:lnTo>
                    <a:pt x="520" y="1745"/>
                  </a:lnTo>
                  <a:lnTo>
                    <a:pt x="520" y="1745"/>
                  </a:lnTo>
                  <a:lnTo>
                    <a:pt x="527" y="1743"/>
                  </a:lnTo>
                  <a:lnTo>
                    <a:pt x="525" y="1741"/>
                  </a:lnTo>
                  <a:lnTo>
                    <a:pt x="529" y="1739"/>
                  </a:lnTo>
                  <a:lnTo>
                    <a:pt x="533" y="1740"/>
                  </a:lnTo>
                  <a:lnTo>
                    <a:pt x="535" y="1737"/>
                  </a:lnTo>
                  <a:lnTo>
                    <a:pt x="538" y="1739"/>
                  </a:lnTo>
                  <a:lnTo>
                    <a:pt x="540" y="1740"/>
                  </a:lnTo>
                  <a:lnTo>
                    <a:pt x="534" y="1741"/>
                  </a:lnTo>
                  <a:lnTo>
                    <a:pt x="545" y="1739"/>
                  </a:lnTo>
                  <a:lnTo>
                    <a:pt x="545" y="1737"/>
                  </a:lnTo>
                  <a:lnTo>
                    <a:pt x="544" y="1737"/>
                  </a:lnTo>
                  <a:lnTo>
                    <a:pt x="546" y="1734"/>
                  </a:lnTo>
                  <a:lnTo>
                    <a:pt x="546" y="1737"/>
                  </a:lnTo>
                  <a:lnTo>
                    <a:pt x="549" y="1739"/>
                  </a:lnTo>
                  <a:lnTo>
                    <a:pt x="555" y="1739"/>
                  </a:lnTo>
                  <a:lnTo>
                    <a:pt x="561" y="1739"/>
                  </a:lnTo>
                  <a:lnTo>
                    <a:pt x="561" y="1739"/>
                  </a:lnTo>
                  <a:lnTo>
                    <a:pt x="562" y="1736"/>
                  </a:lnTo>
                  <a:lnTo>
                    <a:pt x="561" y="1734"/>
                  </a:lnTo>
                  <a:lnTo>
                    <a:pt x="563" y="1731"/>
                  </a:lnTo>
                  <a:lnTo>
                    <a:pt x="567" y="1728"/>
                  </a:lnTo>
                  <a:lnTo>
                    <a:pt x="575" y="1725"/>
                  </a:lnTo>
                  <a:lnTo>
                    <a:pt x="575" y="1723"/>
                  </a:lnTo>
                  <a:lnTo>
                    <a:pt x="575" y="1716"/>
                  </a:lnTo>
                  <a:lnTo>
                    <a:pt x="577" y="1711"/>
                  </a:lnTo>
                  <a:lnTo>
                    <a:pt x="578" y="1709"/>
                  </a:lnTo>
                  <a:lnTo>
                    <a:pt x="580" y="1708"/>
                  </a:lnTo>
                  <a:lnTo>
                    <a:pt x="583" y="1705"/>
                  </a:lnTo>
                  <a:lnTo>
                    <a:pt x="585" y="1702"/>
                  </a:lnTo>
                  <a:lnTo>
                    <a:pt x="584" y="1700"/>
                  </a:lnTo>
                  <a:lnTo>
                    <a:pt x="586" y="1700"/>
                  </a:lnTo>
                  <a:lnTo>
                    <a:pt x="587" y="1696"/>
                  </a:lnTo>
                  <a:lnTo>
                    <a:pt x="588" y="1692"/>
                  </a:lnTo>
                  <a:lnTo>
                    <a:pt x="592" y="1691"/>
                  </a:lnTo>
                  <a:lnTo>
                    <a:pt x="593" y="1689"/>
                  </a:lnTo>
                  <a:lnTo>
                    <a:pt x="593" y="1685"/>
                  </a:lnTo>
                  <a:lnTo>
                    <a:pt x="592" y="1677"/>
                  </a:lnTo>
                  <a:lnTo>
                    <a:pt x="593" y="1672"/>
                  </a:lnTo>
                  <a:lnTo>
                    <a:pt x="595" y="1670"/>
                  </a:lnTo>
                  <a:lnTo>
                    <a:pt x="601" y="1664"/>
                  </a:lnTo>
                  <a:lnTo>
                    <a:pt x="600" y="1656"/>
                  </a:lnTo>
                  <a:lnTo>
                    <a:pt x="602" y="1645"/>
                  </a:lnTo>
                  <a:lnTo>
                    <a:pt x="604" y="1638"/>
                  </a:lnTo>
                  <a:lnTo>
                    <a:pt x="603" y="1634"/>
                  </a:lnTo>
                  <a:lnTo>
                    <a:pt x="602" y="1622"/>
                  </a:lnTo>
                  <a:lnTo>
                    <a:pt x="603" y="1615"/>
                  </a:lnTo>
                  <a:lnTo>
                    <a:pt x="603" y="1613"/>
                  </a:lnTo>
                  <a:lnTo>
                    <a:pt x="602" y="1610"/>
                  </a:lnTo>
                  <a:lnTo>
                    <a:pt x="603" y="1607"/>
                  </a:lnTo>
                  <a:lnTo>
                    <a:pt x="602" y="1604"/>
                  </a:lnTo>
                  <a:lnTo>
                    <a:pt x="601" y="1606"/>
                  </a:lnTo>
                  <a:lnTo>
                    <a:pt x="602" y="1603"/>
                  </a:lnTo>
                  <a:lnTo>
                    <a:pt x="605" y="1598"/>
                  </a:lnTo>
                  <a:lnTo>
                    <a:pt x="604" y="1594"/>
                  </a:lnTo>
                  <a:lnTo>
                    <a:pt x="606" y="1594"/>
                  </a:lnTo>
                  <a:lnTo>
                    <a:pt x="609" y="1594"/>
                  </a:lnTo>
                  <a:lnTo>
                    <a:pt x="610" y="1597"/>
                  </a:lnTo>
                  <a:lnTo>
                    <a:pt x="612" y="1596"/>
                  </a:lnTo>
                  <a:lnTo>
                    <a:pt x="614" y="1594"/>
                  </a:lnTo>
                  <a:lnTo>
                    <a:pt x="620" y="1586"/>
                  </a:lnTo>
                  <a:lnTo>
                    <a:pt x="623" y="1579"/>
                  </a:lnTo>
                  <a:lnTo>
                    <a:pt x="625" y="1578"/>
                  </a:lnTo>
                  <a:lnTo>
                    <a:pt x="623" y="1577"/>
                  </a:lnTo>
                  <a:lnTo>
                    <a:pt x="625" y="1574"/>
                  </a:lnTo>
                  <a:lnTo>
                    <a:pt x="627" y="1573"/>
                  </a:lnTo>
                  <a:lnTo>
                    <a:pt x="626" y="1570"/>
                  </a:lnTo>
                  <a:lnTo>
                    <a:pt x="629" y="1570"/>
                  </a:lnTo>
                  <a:lnTo>
                    <a:pt x="628" y="1566"/>
                  </a:lnTo>
                  <a:lnTo>
                    <a:pt x="631" y="1568"/>
                  </a:lnTo>
                  <a:lnTo>
                    <a:pt x="636" y="1563"/>
                  </a:lnTo>
                  <a:lnTo>
                    <a:pt x="638" y="1563"/>
                  </a:lnTo>
                  <a:lnTo>
                    <a:pt x="639" y="1561"/>
                  </a:lnTo>
                  <a:lnTo>
                    <a:pt x="646" y="1553"/>
                  </a:lnTo>
                  <a:lnTo>
                    <a:pt x="646" y="1552"/>
                  </a:lnTo>
                  <a:lnTo>
                    <a:pt x="647" y="1552"/>
                  </a:lnTo>
                  <a:lnTo>
                    <a:pt x="647" y="1552"/>
                  </a:lnTo>
                  <a:lnTo>
                    <a:pt x="653" y="1546"/>
                  </a:lnTo>
                  <a:lnTo>
                    <a:pt x="655" y="1540"/>
                  </a:lnTo>
                  <a:lnTo>
                    <a:pt x="657" y="1536"/>
                  </a:lnTo>
                  <a:lnTo>
                    <a:pt x="657" y="1534"/>
                  </a:lnTo>
                  <a:lnTo>
                    <a:pt x="659" y="1529"/>
                  </a:lnTo>
                  <a:lnTo>
                    <a:pt x="660" y="1527"/>
                  </a:lnTo>
                  <a:lnTo>
                    <a:pt x="659" y="1526"/>
                  </a:lnTo>
                  <a:lnTo>
                    <a:pt x="660" y="1522"/>
                  </a:lnTo>
                  <a:lnTo>
                    <a:pt x="659" y="1522"/>
                  </a:lnTo>
                  <a:lnTo>
                    <a:pt x="660" y="1521"/>
                  </a:lnTo>
                  <a:lnTo>
                    <a:pt x="660" y="1518"/>
                  </a:lnTo>
                  <a:lnTo>
                    <a:pt x="660" y="1516"/>
                  </a:lnTo>
                  <a:lnTo>
                    <a:pt x="659" y="1517"/>
                  </a:lnTo>
                  <a:close/>
                  <a:moveTo>
                    <a:pt x="195" y="1646"/>
                  </a:moveTo>
                  <a:lnTo>
                    <a:pt x="193" y="1646"/>
                  </a:lnTo>
                  <a:lnTo>
                    <a:pt x="193" y="1646"/>
                  </a:lnTo>
                  <a:lnTo>
                    <a:pt x="194" y="1648"/>
                  </a:lnTo>
                  <a:lnTo>
                    <a:pt x="192" y="1648"/>
                  </a:lnTo>
                  <a:lnTo>
                    <a:pt x="192" y="1645"/>
                  </a:lnTo>
                  <a:lnTo>
                    <a:pt x="192" y="1642"/>
                  </a:lnTo>
                  <a:lnTo>
                    <a:pt x="191" y="1642"/>
                  </a:lnTo>
                  <a:lnTo>
                    <a:pt x="191" y="1642"/>
                  </a:lnTo>
                  <a:lnTo>
                    <a:pt x="187" y="1643"/>
                  </a:lnTo>
                  <a:lnTo>
                    <a:pt x="185" y="1642"/>
                  </a:lnTo>
                  <a:lnTo>
                    <a:pt x="186" y="1640"/>
                  </a:lnTo>
                  <a:lnTo>
                    <a:pt x="183" y="1639"/>
                  </a:lnTo>
                  <a:lnTo>
                    <a:pt x="181" y="1637"/>
                  </a:lnTo>
                  <a:lnTo>
                    <a:pt x="178" y="1638"/>
                  </a:lnTo>
                  <a:lnTo>
                    <a:pt x="178" y="1636"/>
                  </a:lnTo>
                  <a:lnTo>
                    <a:pt x="181" y="1636"/>
                  </a:lnTo>
                  <a:lnTo>
                    <a:pt x="179" y="1633"/>
                  </a:lnTo>
                  <a:lnTo>
                    <a:pt x="181" y="1630"/>
                  </a:lnTo>
                  <a:lnTo>
                    <a:pt x="184" y="1631"/>
                  </a:lnTo>
                  <a:lnTo>
                    <a:pt x="186" y="1632"/>
                  </a:lnTo>
                  <a:lnTo>
                    <a:pt x="187" y="1633"/>
                  </a:lnTo>
                  <a:lnTo>
                    <a:pt x="190" y="1634"/>
                  </a:lnTo>
                  <a:lnTo>
                    <a:pt x="192" y="1638"/>
                  </a:lnTo>
                  <a:lnTo>
                    <a:pt x="194" y="1639"/>
                  </a:lnTo>
                  <a:lnTo>
                    <a:pt x="193" y="1641"/>
                  </a:lnTo>
                  <a:lnTo>
                    <a:pt x="194" y="1642"/>
                  </a:lnTo>
                  <a:lnTo>
                    <a:pt x="196" y="1642"/>
                  </a:lnTo>
                  <a:lnTo>
                    <a:pt x="195" y="1646"/>
                  </a:lnTo>
                  <a:close/>
                  <a:moveTo>
                    <a:pt x="344" y="2192"/>
                  </a:moveTo>
                  <a:lnTo>
                    <a:pt x="340" y="2192"/>
                  </a:lnTo>
                  <a:lnTo>
                    <a:pt x="338" y="2193"/>
                  </a:lnTo>
                  <a:lnTo>
                    <a:pt x="339" y="2196"/>
                  </a:lnTo>
                  <a:lnTo>
                    <a:pt x="337" y="2193"/>
                  </a:lnTo>
                  <a:lnTo>
                    <a:pt x="336" y="2190"/>
                  </a:lnTo>
                  <a:lnTo>
                    <a:pt x="333" y="2190"/>
                  </a:lnTo>
                  <a:lnTo>
                    <a:pt x="331" y="2192"/>
                  </a:lnTo>
                  <a:lnTo>
                    <a:pt x="329" y="2194"/>
                  </a:lnTo>
                  <a:lnTo>
                    <a:pt x="327" y="2194"/>
                  </a:lnTo>
                  <a:lnTo>
                    <a:pt x="329" y="2196"/>
                  </a:lnTo>
                  <a:lnTo>
                    <a:pt x="329" y="2200"/>
                  </a:lnTo>
                  <a:lnTo>
                    <a:pt x="326" y="2197"/>
                  </a:lnTo>
                  <a:lnTo>
                    <a:pt x="323" y="2200"/>
                  </a:lnTo>
                  <a:lnTo>
                    <a:pt x="322" y="2202"/>
                  </a:lnTo>
                  <a:lnTo>
                    <a:pt x="319" y="2205"/>
                  </a:lnTo>
                  <a:lnTo>
                    <a:pt x="321" y="2207"/>
                  </a:lnTo>
                  <a:lnTo>
                    <a:pt x="323" y="2209"/>
                  </a:lnTo>
                  <a:lnTo>
                    <a:pt x="324" y="2205"/>
                  </a:lnTo>
                  <a:lnTo>
                    <a:pt x="327" y="2205"/>
                  </a:lnTo>
                  <a:lnTo>
                    <a:pt x="326" y="2203"/>
                  </a:lnTo>
                  <a:lnTo>
                    <a:pt x="328" y="2203"/>
                  </a:lnTo>
                  <a:lnTo>
                    <a:pt x="331" y="2204"/>
                  </a:lnTo>
                  <a:lnTo>
                    <a:pt x="333" y="2205"/>
                  </a:lnTo>
                  <a:lnTo>
                    <a:pt x="331" y="2202"/>
                  </a:lnTo>
                  <a:lnTo>
                    <a:pt x="329" y="2200"/>
                  </a:lnTo>
                  <a:lnTo>
                    <a:pt x="332" y="2201"/>
                  </a:lnTo>
                  <a:lnTo>
                    <a:pt x="335" y="2201"/>
                  </a:lnTo>
                  <a:lnTo>
                    <a:pt x="337" y="2201"/>
                  </a:lnTo>
                  <a:lnTo>
                    <a:pt x="339" y="2198"/>
                  </a:lnTo>
                  <a:lnTo>
                    <a:pt x="339" y="2198"/>
                  </a:lnTo>
                  <a:lnTo>
                    <a:pt x="343" y="2198"/>
                  </a:lnTo>
                  <a:lnTo>
                    <a:pt x="345" y="2196"/>
                  </a:lnTo>
                  <a:lnTo>
                    <a:pt x="343" y="2194"/>
                  </a:lnTo>
                  <a:lnTo>
                    <a:pt x="345" y="2194"/>
                  </a:lnTo>
                  <a:lnTo>
                    <a:pt x="344" y="2192"/>
                  </a:lnTo>
                  <a:close/>
                  <a:moveTo>
                    <a:pt x="444" y="1443"/>
                  </a:moveTo>
                  <a:lnTo>
                    <a:pt x="447" y="1444"/>
                  </a:lnTo>
                  <a:lnTo>
                    <a:pt x="448" y="1443"/>
                  </a:lnTo>
                  <a:lnTo>
                    <a:pt x="447" y="1443"/>
                  </a:lnTo>
                  <a:lnTo>
                    <a:pt x="449" y="1443"/>
                  </a:lnTo>
                  <a:lnTo>
                    <a:pt x="452" y="1443"/>
                  </a:lnTo>
                  <a:lnTo>
                    <a:pt x="455" y="1443"/>
                  </a:lnTo>
                  <a:lnTo>
                    <a:pt x="457" y="1443"/>
                  </a:lnTo>
                  <a:lnTo>
                    <a:pt x="460" y="1441"/>
                  </a:lnTo>
                  <a:lnTo>
                    <a:pt x="463" y="1441"/>
                  </a:lnTo>
                  <a:lnTo>
                    <a:pt x="465" y="1440"/>
                  </a:lnTo>
                  <a:lnTo>
                    <a:pt x="468" y="1437"/>
                  </a:lnTo>
                  <a:lnTo>
                    <a:pt x="468" y="1435"/>
                  </a:lnTo>
                  <a:lnTo>
                    <a:pt x="471" y="1433"/>
                  </a:lnTo>
                  <a:lnTo>
                    <a:pt x="472" y="1431"/>
                  </a:lnTo>
                  <a:lnTo>
                    <a:pt x="474" y="1425"/>
                  </a:lnTo>
                  <a:lnTo>
                    <a:pt x="472" y="1422"/>
                  </a:lnTo>
                  <a:lnTo>
                    <a:pt x="463" y="1420"/>
                  </a:lnTo>
                  <a:lnTo>
                    <a:pt x="460" y="1422"/>
                  </a:lnTo>
                  <a:lnTo>
                    <a:pt x="448" y="1420"/>
                  </a:lnTo>
                  <a:lnTo>
                    <a:pt x="444" y="1420"/>
                  </a:lnTo>
                  <a:lnTo>
                    <a:pt x="442" y="1424"/>
                  </a:lnTo>
                  <a:lnTo>
                    <a:pt x="442" y="1426"/>
                  </a:lnTo>
                  <a:lnTo>
                    <a:pt x="444" y="1428"/>
                  </a:lnTo>
                  <a:lnTo>
                    <a:pt x="442" y="1427"/>
                  </a:lnTo>
                  <a:lnTo>
                    <a:pt x="441" y="1428"/>
                  </a:lnTo>
                  <a:lnTo>
                    <a:pt x="442" y="1429"/>
                  </a:lnTo>
                  <a:lnTo>
                    <a:pt x="441" y="1431"/>
                  </a:lnTo>
                  <a:lnTo>
                    <a:pt x="442" y="1434"/>
                  </a:lnTo>
                  <a:lnTo>
                    <a:pt x="444" y="1433"/>
                  </a:lnTo>
                  <a:lnTo>
                    <a:pt x="446" y="1433"/>
                  </a:lnTo>
                  <a:lnTo>
                    <a:pt x="444" y="1435"/>
                  </a:lnTo>
                  <a:lnTo>
                    <a:pt x="441" y="1435"/>
                  </a:lnTo>
                  <a:lnTo>
                    <a:pt x="441" y="1439"/>
                  </a:lnTo>
                  <a:lnTo>
                    <a:pt x="442" y="1440"/>
                  </a:lnTo>
                  <a:lnTo>
                    <a:pt x="444" y="14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26" name="Freeform 226">
              <a:extLst>
                <a:ext uri="{FF2B5EF4-FFF2-40B4-BE49-F238E27FC236}">
                  <a16:creationId xmlns:a16="http://schemas.microsoft.com/office/drawing/2014/main" id="{8EC33DB8-5E0D-45EA-9C8D-8B5AD18EBD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57650" y="4014788"/>
              <a:ext cx="704850" cy="419100"/>
            </a:xfrm>
            <a:custGeom>
              <a:avLst/>
              <a:gdLst>
                <a:gd name="T0" fmla="*/ 79 w 444"/>
                <a:gd name="T1" fmla="*/ 28 h 264"/>
                <a:gd name="T2" fmla="*/ 80 w 444"/>
                <a:gd name="T3" fmla="*/ 28 h 264"/>
                <a:gd name="T4" fmla="*/ 83 w 444"/>
                <a:gd name="T5" fmla="*/ 26 h 264"/>
                <a:gd name="T6" fmla="*/ 76 w 444"/>
                <a:gd name="T7" fmla="*/ 22 h 264"/>
                <a:gd name="T8" fmla="*/ 68 w 444"/>
                <a:gd name="T9" fmla="*/ 21 h 264"/>
                <a:gd name="T10" fmla="*/ 63 w 444"/>
                <a:gd name="T11" fmla="*/ 20 h 264"/>
                <a:gd name="T12" fmla="*/ 56 w 444"/>
                <a:gd name="T13" fmla="*/ 24 h 264"/>
                <a:gd name="T14" fmla="*/ 58 w 444"/>
                <a:gd name="T15" fmla="*/ 25 h 264"/>
                <a:gd name="T16" fmla="*/ 64 w 444"/>
                <a:gd name="T17" fmla="*/ 29 h 264"/>
                <a:gd name="T18" fmla="*/ 69 w 444"/>
                <a:gd name="T19" fmla="*/ 30 h 264"/>
                <a:gd name="T20" fmla="*/ 76 w 444"/>
                <a:gd name="T21" fmla="*/ 28 h 264"/>
                <a:gd name="T22" fmla="*/ 170 w 444"/>
                <a:gd name="T23" fmla="*/ 21 h 264"/>
                <a:gd name="T24" fmla="*/ 177 w 444"/>
                <a:gd name="T25" fmla="*/ 22 h 264"/>
                <a:gd name="T26" fmla="*/ 184 w 444"/>
                <a:gd name="T27" fmla="*/ 22 h 264"/>
                <a:gd name="T28" fmla="*/ 190 w 444"/>
                <a:gd name="T29" fmla="*/ 22 h 264"/>
                <a:gd name="T30" fmla="*/ 188 w 444"/>
                <a:gd name="T31" fmla="*/ 16 h 264"/>
                <a:gd name="T32" fmla="*/ 180 w 444"/>
                <a:gd name="T33" fmla="*/ 13 h 264"/>
                <a:gd name="T34" fmla="*/ 176 w 444"/>
                <a:gd name="T35" fmla="*/ 10 h 264"/>
                <a:gd name="T36" fmla="*/ 179 w 444"/>
                <a:gd name="T37" fmla="*/ 9 h 264"/>
                <a:gd name="T38" fmla="*/ 171 w 444"/>
                <a:gd name="T39" fmla="*/ 7 h 264"/>
                <a:gd name="T40" fmla="*/ 166 w 444"/>
                <a:gd name="T41" fmla="*/ 4 h 264"/>
                <a:gd name="T42" fmla="*/ 158 w 444"/>
                <a:gd name="T43" fmla="*/ 1 h 264"/>
                <a:gd name="T44" fmla="*/ 150 w 444"/>
                <a:gd name="T45" fmla="*/ 1 h 264"/>
                <a:gd name="T46" fmla="*/ 145 w 444"/>
                <a:gd name="T47" fmla="*/ 3 h 264"/>
                <a:gd name="T48" fmla="*/ 140 w 444"/>
                <a:gd name="T49" fmla="*/ 2 h 264"/>
                <a:gd name="T50" fmla="*/ 132 w 444"/>
                <a:gd name="T51" fmla="*/ 0 h 264"/>
                <a:gd name="T52" fmla="*/ 124 w 444"/>
                <a:gd name="T53" fmla="*/ 2 h 264"/>
                <a:gd name="T54" fmla="*/ 131 w 444"/>
                <a:gd name="T55" fmla="*/ 5 h 264"/>
                <a:gd name="T56" fmla="*/ 132 w 444"/>
                <a:gd name="T57" fmla="*/ 11 h 264"/>
                <a:gd name="T58" fmla="*/ 136 w 444"/>
                <a:gd name="T59" fmla="*/ 17 h 264"/>
                <a:gd name="T60" fmla="*/ 133 w 444"/>
                <a:gd name="T61" fmla="*/ 21 h 264"/>
                <a:gd name="T62" fmla="*/ 125 w 444"/>
                <a:gd name="T63" fmla="*/ 20 h 264"/>
                <a:gd name="T64" fmla="*/ 117 w 444"/>
                <a:gd name="T65" fmla="*/ 19 h 264"/>
                <a:gd name="T66" fmla="*/ 109 w 444"/>
                <a:gd name="T67" fmla="*/ 20 h 264"/>
                <a:gd name="T68" fmla="*/ 115 w 444"/>
                <a:gd name="T69" fmla="*/ 25 h 264"/>
                <a:gd name="T70" fmla="*/ 120 w 444"/>
                <a:gd name="T71" fmla="*/ 25 h 264"/>
                <a:gd name="T72" fmla="*/ 127 w 444"/>
                <a:gd name="T73" fmla="*/ 25 h 264"/>
                <a:gd name="T74" fmla="*/ 135 w 444"/>
                <a:gd name="T75" fmla="*/ 25 h 264"/>
                <a:gd name="T76" fmla="*/ 143 w 444"/>
                <a:gd name="T77" fmla="*/ 25 h 264"/>
                <a:gd name="T78" fmla="*/ 149 w 444"/>
                <a:gd name="T79" fmla="*/ 32 h 264"/>
                <a:gd name="T80" fmla="*/ 153 w 444"/>
                <a:gd name="T81" fmla="*/ 29 h 264"/>
                <a:gd name="T82" fmla="*/ 157 w 444"/>
                <a:gd name="T83" fmla="*/ 24 h 264"/>
                <a:gd name="T84" fmla="*/ 162 w 444"/>
                <a:gd name="T85" fmla="*/ 24 h 264"/>
                <a:gd name="T86" fmla="*/ 170 w 444"/>
                <a:gd name="T87" fmla="*/ 21 h 264"/>
                <a:gd name="T88" fmla="*/ 0 w 444"/>
                <a:gd name="T89" fmla="*/ 164 h 264"/>
                <a:gd name="T90" fmla="*/ 0 w 444"/>
                <a:gd name="T91" fmla="*/ 163 h 264"/>
                <a:gd name="T92" fmla="*/ 444 w 444"/>
                <a:gd name="T93" fmla="*/ 263 h 264"/>
                <a:gd name="T94" fmla="*/ 444 w 444"/>
                <a:gd name="T95" fmla="*/ 263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44" h="264">
                  <a:moveTo>
                    <a:pt x="76" y="28"/>
                  </a:moveTo>
                  <a:lnTo>
                    <a:pt x="77" y="28"/>
                  </a:lnTo>
                  <a:lnTo>
                    <a:pt x="79" y="28"/>
                  </a:lnTo>
                  <a:lnTo>
                    <a:pt x="77" y="28"/>
                  </a:lnTo>
                  <a:lnTo>
                    <a:pt x="79" y="28"/>
                  </a:lnTo>
                  <a:lnTo>
                    <a:pt x="80" y="28"/>
                  </a:lnTo>
                  <a:lnTo>
                    <a:pt x="82" y="29"/>
                  </a:lnTo>
                  <a:lnTo>
                    <a:pt x="84" y="27"/>
                  </a:lnTo>
                  <a:lnTo>
                    <a:pt x="83" y="26"/>
                  </a:lnTo>
                  <a:lnTo>
                    <a:pt x="81" y="25"/>
                  </a:lnTo>
                  <a:lnTo>
                    <a:pt x="79" y="24"/>
                  </a:lnTo>
                  <a:lnTo>
                    <a:pt x="76" y="22"/>
                  </a:lnTo>
                  <a:lnTo>
                    <a:pt x="73" y="21"/>
                  </a:lnTo>
                  <a:lnTo>
                    <a:pt x="71" y="21"/>
                  </a:lnTo>
                  <a:lnTo>
                    <a:pt x="68" y="21"/>
                  </a:lnTo>
                  <a:lnTo>
                    <a:pt x="67" y="20"/>
                  </a:lnTo>
                  <a:lnTo>
                    <a:pt x="64" y="20"/>
                  </a:lnTo>
                  <a:lnTo>
                    <a:pt x="63" y="20"/>
                  </a:lnTo>
                  <a:lnTo>
                    <a:pt x="60" y="21"/>
                  </a:lnTo>
                  <a:lnTo>
                    <a:pt x="58" y="21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5"/>
                  </a:lnTo>
                  <a:lnTo>
                    <a:pt x="58" y="25"/>
                  </a:lnTo>
                  <a:lnTo>
                    <a:pt x="62" y="27"/>
                  </a:lnTo>
                  <a:lnTo>
                    <a:pt x="62" y="27"/>
                  </a:lnTo>
                  <a:lnTo>
                    <a:pt x="64" y="29"/>
                  </a:lnTo>
                  <a:lnTo>
                    <a:pt x="66" y="29"/>
                  </a:lnTo>
                  <a:lnTo>
                    <a:pt x="68" y="29"/>
                  </a:lnTo>
                  <a:lnTo>
                    <a:pt x="69" y="30"/>
                  </a:lnTo>
                  <a:lnTo>
                    <a:pt x="73" y="29"/>
                  </a:lnTo>
                  <a:lnTo>
                    <a:pt x="74" y="29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28"/>
                  </a:lnTo>
                  <a:close/>
                  <a:moveTo>
                    <a:pt x="170" y="21"/>
                  </a:moveTo>
                  <a:lnTo>
                    <a:pt x="171" y="21"/>
                  </a:lnTo>
                  <a:lnTo>
                    <a:pt x="174" y="21"/>
                  </a:lnTo>
                  <a:lnTo>
                    <a:pt x="177" y="22"/>
                  </a:lnTo>
                  <a:lnTo>
                    <a:pt x="179" y="21"/>
                  </a:lnTo>
                  <a:lnTo>
                    <a:pt x="182" y="21"/>
                  </a:lnTo>
                  <a:lnTo>
                    <a:pt x="184" y="22"/>
                  </a:lnTo>
                  <a:lnTo>
                    <a:pt x="186" y="24"/>
                  </a:lnTo>
                  <a:lnTo>
                    <a:pt x="190" y="22"/>
                  </a:lnTo>
                  <a:lnTo>
                    <a:pt x="190" y="22"/>
                  </a:lnTo>
                  <a:lnTo>
                    <a:pt x="192" y="20"/>
                  </a:lnTo>
                  <a:lnTo>
                    <a:pt x="192" y="18"/>
                  </a:lnTo>
                  <a:lnTo>
                    <a:pt x="188" y="16"/>
                  </a:lnTo>
                  <a:lnTo>
                    <a:pt x="186" y="13"/>
                  </a:lnTo>
                  <a:lnTo>
                    <a:pt x="184" y="13"/>
                  </a:lnTo>
                  <a:lnTo>
                    <a:pt x="180" y="13"/>
                  </a:lnTo>
                  <a:lnTo>
                    <a:pt x="178" y="12"/>
                  </a:lnTo>
                  <a:lnTo>
                    <a:pt x="175" y="10"/>
                  </a:lnTo>
                  <a:lnTo>
                    <a:pt x="176" y="10"/>
                  </a:lnTo>
                  <a:lnTo>
                    <a:pt x="179" y="10"/>
                  </a:lnTo>
                  <a:lnTo>
                    <a:pt x="182" y="9"/>
                  </a:lnTo>
                  <a:lnTo>
                    <a:pt x="179" y="9"/>
                  </a:lnTo>
                  <a:lnTo>
                    <a:pt x="176" y="9"/>
                  </a:lnTo>
                  <a:lnTo>
                    <a:pt x="174" y="9"/>
                  </a:lnTo>
                  <a:lnTo>
                    <a:pt x="171" y="7"/>
                  </a:lnTo>
                  <a:lnTo>
                    <a:pt x="170" y="4"/>
                  </a:lnTo>
                  <a:lnTo>
                    <a:pt x="169" y="4"/>
                  </a:lnTo>
                  <a:lnTo>
                    <a:pt x="166" y="4"/>
                  </a:lnTo>
                  <a:lnTo>
                    <a:pt x="163" y="2"/>
                  </a:lnTo>
                  <a:lnTo>
                    <a:pt x="160" y="2"/>
                  </a:lnTo>
                  <a:lnTo>
                    <a:pt x="158" y="1"/>
                  </a:lnTo>
                  <a:lnTo>
                    <a:pt x="156" y="1"/>
                  </a:lnTo>
                  <a:lnTo>
                    <a:pt x="152" y="1"/>
                  </a:lnTo>
                  <a:lnTo>
                    <a:pt x="150" y="1"/>
                  </a:lnTo>
                  <a:lnTo>
                    <a:pt x="148" y="1"/>
                  </a:lnTo>
                  <a:lnTo>
                    <a:pt x="147" y="3"/>
                  </a:lnTo>
                  <a:lnTo>
                    <a:pt x="145" y="3"/>
                  </a:lnTo>
                  <a:lnTo>
                    <a:pt x="143" y="3"/>
                  </a:lnTo>
                  <a:lnTo>
                    <a:pt x="142" y="3"/>
                  </a:lnTo>
                  <a:lnTo>
                    <a:pt x="140" y="2"/>
                  </a:lnTo>
                  <a:lnTo>
                    <a:pt x="136" y="2"/>
                  </a:lnTo>
                  <a:lnTo>
                    <a:pt x="134" y="1"/>
                  </a:lnTo>
                  <a:lnTo>
                    <a:pt x="132" y="0"/>
                  </a:lnTo>
                  <a:lnTo>
                    <a:pt x="130" y="1"/>
                  </a:lnTo>
                  <a:lnTo>
                    <a:pt x="127" y="0"/>
                  </a:lnTo>
                  <a:lnTo>
                    <a:pt x="124" y="2"/>
                  </a:lnTo>
                  <a:lnTo>
                    <a:pt x="125" y="4"/>
                  </a:lnTo>
                  <a:lnTo>
                    <a:pt x="127" y="4"/>
                  </a:lnTo>
                  <a:lnTo>
                    <a:pt x="131" y="5"/>
                  </a:lnTo>
                  <a:lnTo>
                    <a:pt x="133" y="7"/>
                  </a:lnTo>
                  <a:lnTo>
                    <a:pt x="132" y="10"/>
                  </a:lnTo>
                  <a:lnTo>
                    <a:pt x="132" y="11"/>
                  </a:lnTo>
                  <a:lnTo>
                    <a:pt x="133" y="12"/>
                  </a:lnTo>
                  <a:lnTo>
                    <a:pt x="134" y="15"/>
                  </a:lnTo>
                  <a:lnTo>
                    <a:pt x="136" y="17"/>
                  </a:lnTo>
                  <a:lnTo>
                    <a:pt x="137" y="20"/>
                  </a:lnTo>
                  <a:lnTo>
                    <a:pt x="135" y="20"/>
                  </a:lnTo>
                  <a:lnTo>
                    <a:pt x="133" y="21"/>
                  </a:lnTo>
                  <a:lnTo>
                    <a:pt x="131" y="21"/>
                  </a:lnTo>
                  <a:lnTo>
                    <a:pt x="127" y="21"/>
                  </a:lnTo>
                  <a:lnTo>
                    <a:pt x="125" y="20"/>
                  </a:lnTo>
                  <a:lnTo>
                    <a:pt x="123" y="20"/>
                  </a:lnTo>
                  <a:lnTo>
                    <a:pt x="119" y="19"/>
                  </a:lnTo>
                  <a:lnTo>
                    <a:pt x="117" y="19"/>
                  </a:lnTo>
                  <a:lnTo>
                    <a:pt x="114" y="18"/>
                  </a:lnTo>
                  <a:lnTo>
                    <a:pt x="113" y="18"/>
                  </a:lnTo>
                  <a:lnTo>
                    <a:pt x="109" y="20"/>
                  </a:lnTo>
                  <a:lnTo>
                    <a:pt x="109" y="22"/>
                  </a:lnTo>
                  <a:lnTo>
                    <a:pt x="111" y="24"/>
                  </a:lnTo>
                  <a:lnTo>
                    <a:pt x="115" y="25"/>
                  </a:lnTo>
                  <a:lnTo>
                    <a:pt x="117" y="27"/>
                  </a:lnTo>
                  <a:lnTo>
                    <a:pt x="118" y="26"/>
                  </a:lnTo>
                  <a:lnTo>
                    <a:pt x="120" y="25"/>
                  </a:lnTo>
                  <a:lnTo>
                    <a:pt x="123" y="24"/>
                  </a:lnTo>
                  <a:lnTo>
                    <a:pt x="124" y="25"/>
                  </a:lnTo>
                  <a:lnTo>
                    <a:pt x="127" y="25"/>
                  </a:lnTo>
                  <a:lnTo>
                    <a:pt x="130" y="25"/>
                  </a:lnTo>
                  <a:lnTo>
                    <a:pt x="132" y="25"/>
                  </a:lnTo>
                  <a:lnTo>
                    <a:pt x="135" y="25"/>
                  </a:lnTo>
                  <a:lnTo>
                    <a:pt x="137" y="25"/>
                  </a:lnTo>
                  <a:lnTo>
                    <a:pt x="141" y="25"/>
                  </a:lnTo>
                  <a:lnTo>
                    <a:pt x="143" y="25"/>
                  </a:lnTo>
                  <a:lnTo>
                    <a:pt x="145" y="27"/>
                  </a:lnTo>
                  <a:lnTo>
                    <a:pt x="148" y="28"/>
                  </a:lnTo>
                  <a:lnTo>
                    <a:pt x="149" y="32"/>
                  </a:lnTo>
                  <a:lnTo>
                    <a:pt x="151" y="32"/>
                  </a:lnTo>
                  <a:lnTo>
                    <a:pt x="152" y="32"/>
                  </a:lnTo>
                  <a:lnTo>
                    <a:pt x="153" y="29"/>
                  </a:lnTo>
                  <a:lnTo>
                    <a:pt x="156" y="26"/>
                  </a:lnTo>
                  <a:lnTo>
                    <a:pt x="156" y="24"/>
                  </a:lnTo>
                  <a:lnTo>
                    <a:pt x="157" y="24"/>
                  </a:lnTo>
                  <a:lnTo>
                    <a:pt x="159" y="22"/>
                  </a:lnTo>
                  <a:lnTo>
                    <a:pt x="162" y="24"/>
                  </a:lnTo>
                  <a:lnTo>
                    <a:pt x="162" y="24"/>
                  </a:lnTo>
                  <a:lnTo>
                    <a:pt x="165" y="25"/>
                  </a:lnTo>
                  <a:lnTo>
                    <a:pt x="168" y="25"/>
                  </a:lnTo>
                  <a:lnTo>
                    <a:pt x="170" y="21"/>
                  </a:lnTo>
                  <a:lnTo>
                    <a:pt x="170" y="21"/>
                  </a:lnTo>
                  <a:close/>
                  <a:moveTo>
                    <a:pt x="0" y="164"/>
                  </a:moveTo>
                  <a:lnTo>
                    <a:pt x="0" y="164"/>
                  </a:lnTo>
                  <a:lnTo>
                    <a:pt x="2" y="163"/>
                  </a:lnTo>
                  <a:lnTo>
                    <a:pt x="0" y="163"/>
                  </a:lnTo>
                  <a:lnTo>
                    <a:pt x="0" y="163"/>
                  </a:lnTo>
                  <a:lnTo>
                    <a:pt x="0" y="164"/>
                  </a:lnTo>
                  <a:lnTo>
                    <a:pt x="0" y="164"/>
                  </a:lnTo>
                  <a:close/>
                  <a:moveTo>
                    <a:pt x="444" y="263"/>
                  </a:moveTo>
                  <a:lnTo>
                    <a:pt x="444" y="264"/>
                  </a:lnTo>
                  <a:lnTo>
                    <a:pt x="444" y="263"/>
                  </a:lnTo>
                  <a:lnTo>
                    <a:pt x="444" y="2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27" name="Freeform 227">
              <a:extLst>
                <a:ext uri="{FF2B5EF4-FFF2-40B4-BE49-F238E27FC236}">
                  <a16:creationId xmlns:a16="http://schemas.microsoft.com/office/drawing/2014/main" id="{CB1B5C73-EE79-4E45-9E32-A4234A6CC03E}"/>
                </a:ext>
              </a:extLst>
            </p:cNvPr>
            <p:cNvSpPr>
              <a:spLocks/>
            </p:cNvSpPr>
            <p:nvPr/>
          </p:nvSpPr>
          <p:spPr bwMode="auto">
            <a:xfrm>
              <a:off x="4003675" y="3940175"/>
              <a:ext cx="234950" cy="76200"/>
            </a:xfrm>
            <a:custGeom>
              <a:avLst/>
              <a:gdLst>
                <a:gd name="T0" fmla="*/ 102 w 148"/>
                <a:gd name="T1" fmla="*/ 48 h 48"/>
                <a:gd name="T2" fmla="*/ 108 w 148"/>
                <a:gd name="T3" fmla="*/ 48 h 48"/>
                <a:gd name="T4" fmla="*/ 117 w 148"/>
                <a:gd name="T5" fmla="*/ 47 h 48"/>
                <a:gd name="T6" fmla="*/ 125 w 148"/>
                <a:gd name="T7" fmla="*/ 47 h 48"/>
                <a:gd name="T8" fmla="*/ 133 w 148"/>
                <a:gd name="T9" fmla="*/ 48 h 48"/>
                <a:gd name="T10" fmla="*/ 134 w 148"/>
                <a:gd name="T11" fmla="*/ 46 h 48"/>
                <a:gd name="T12" fmla="*/ 135 w 148"/>
                <a:gd name="T13" fmla="*/ 48 h 48"/>
                <a:gd name="T14" fmla="*/ 140 w 148"/>
                <a:gd name="T15" fmla="*/ 46 h 48"/>
                <a:gd name="T16" fmla="*/ 148 w 148"/>
                <a:gd name="T17" fmla="*/ 42 h 48"/>
                <a:gd name="T18" fmla="*/ 140 w 148"/>
                <a:gd name="T19" fmla="*/ 39 h 48"/>
                <a:gd name="T20" fmla="*/ 134 w 148"/>
                <a:gd name="T21" fmla="*/ 37 h 48"/>
                <a:gd name="T22" fmla="*/ 127 w 148"/>
                <a:gd name="T23" fmla="*/ 37 h 48"/>
                <a:gd name="T24" fmla="*/ 127 w 148"/>
                <a:gd name="T25" fmla="*/ 33 h 48"/>
                <a:gd name="T26" fmla="*/ 123 w 148"/>
                <a:gd name="T27" fmla="*/ 30 h 48"/>
                <a:gd name="T28" fmla="*/ 117 w 148"/>
                <a:gd name="T29" fmla="*/ 28 h 48"/>
                <a:gd name="T30" fmla="*/ 109 w 148"/>
                <a:gd name="T31" fmla="*/ 25 h 48"/>
                <a:gd name="T32" fmla="*/ 105 w 148"/>
                <a:gd name="T33" fmla="*/ 24 h 48"/>
                <a:gd name="T34" fmla="*/ 103 w 148"/>
                <a:gd name="T35" fmla="*/ 21 h 48"/>
                <a:gd name="T36" fmla="*/ 96 w 148"/>
                <a:gd name="T37" fmla="*/ 19 h 48"/>
                <a:gd name="T38" fmla="*/ 90 w 148"/>
                <a:gd name="T39" fmla="*/ 15 h 48"/>
                <a:gd name="T40" fmla="*/ 82 w 148"/>
                <a:gd name="T41" fmla="*/ 12 h 48"/>
                <a:gd name="T42" fmla="*/ 75 w 148"/>
                <a:gd name="T43" fmla="*/ 11 h 48"/>
                <a:gd name="T44" fmla="*/ 69 w 148"/>
                <a:gd name="T45" fmla="*/ 5 h 48"/>
                <a:gd name="T46" fmla="*/ 64 w 148"/>
                <a:gd name="T47" fmla="*/ 4 h 48"/>
                <a:gd name="T48" fmla="*/ 57 w 148"/>
                <a:gd name="T49" fmla="*/ 2 h 48"/>
                <a:gd name="T50" fmla="*/ 48 w 148"/>
                <a:gd name="T51" fmla="*/ 2 h 48"/>
                <a:gd name="T52" fmla="*/ 41 w 148"/>
                <a:gd name="T53" fmla="*/ 0 h 48"/>
                <a:gd name="T54" fmla="*/ 36 w 148"/>
                <a:gd name="T55" fmla="*/ 0 h 48"/>
                <a:gd name="T56" fmla="*/ 26 w 148"/>
                <a:gd name="T57" fmla="*/ 4 h 48"/>
                <a:gd name="T58" fmla="*/ 21 w 148"/>
                <a:gd name="T59" fmla="*/ 5 h 48"/>
                <a:gd name="T60" fmla="*/ 13 w 148"/>
                <a:gd name="T61" fmla="*/ 8 h 48"/>
                <a:gd name="T62" fmla="*/ 6 w 148"/>
                <a:gd name="T63" fmla="*/ 14 h 48"/>
                <a:gd name="T64" fmla="*/ 3 w 148"/>
                <a:gd name="T65" fmla="*/ 19 h 48"/>
                <a:gd name="T66" fmla="*/ 5 w 148"/>
                <a:gd name="T67" fmla="*/ 19 h 48"/>
                <a:gd name="T68" fmla="*/ 13 w 148"/>
                <a:gd name="T69" fmla="*/ 16 h 48"/>
                <a:gd name="T70" fmla="*/ 19 w 148"/>
                <a:gd name="T71" fmla="*/ 15 h 48"/>
                <a:gd name="T72" fmla="*/ 26 w 148"/>
                <a:gd name="T73" fmla="*/ 9 h 48"/>
                <a:gd name="T74" fmla="*/ 33 w 148"/>
                <a:gd name="T75" fmla="*/ 8 h 48"/>
                <a:gd name="T76" fmla="*/ 39 w 148"/>
                <a:gd name="T77" fmla="*/ 8 h 48"/>
                <a:gd name="T78" fmla="*/ 45 w 148"/>
                <a:gd name="T79" fmla="*/ 9 h 48"/>
                <a:gd name="T80" fmla="*/ 40 w 148"/>
                <a:gd name="T81" fmla="*/ 13 h 48"/>
                <a:gd name="T82" fmla="*/ 48 w 148"/>
                <a:gd name="T83" fmla="*/ 15 h 48"/>
                <a:gd name="T84" fmla="*/ 54 w 148"/>
                <a:gd name="T85" fmla="*/ 17 h 48"/>
                <a:gd name="T86" fmla="*/ 60 w 148"/>
                <a:gd name="T87" fmla="*/ 16 h 48"/>
                <a:gd name="T88" fmla="*/ 63 w 148"/>
                <a:gd name="T89" fmla="*/ 19 h 48"/>
                <a:gd name="T90" fmla="*/ 67 w 148"/>
                <a:gd name="T91" fmla="*/ 22 h 48"/>
                <a:gd name="T92" fmla="*/ 71 w 148"/>
                <a:gd name="T93" fmla="*/ 22 h 48"/>
                <a:gd name="T94" fmla="*/ 76 w 148"/>
                <a:gd name="T95" fmla="*/ 23 h 48"/>
                <a:gd name="T96" fmla="*/ 83 w 148"/>
                <a:gd name="T97" fmla="*/ 23 h 48"/>
                <a:gd name="T98" fmla="*/ 86 w 148"/>
                <a:gd name="T99" fmla="*/ 26 h 48"/>
                <a:gd name="T100" fmla="*/ 91 w 148"/>
                <a:gd name="T101" fmla="*/ 34 h 48"/>
                <a:gd name="T102" fmla="*/ 98 w 148"/>
                <a:gd name="T103" fmla="*/ 37 h 48"/>
                <a:gd name="T104" fmla="*/ 105 w 148"/>
                <a:gd name="T105" fmla="*/ 39 h 48"/>
                <a:gd name="T106" fmla="*/ 106 w 148"/>
                <a:gd name="T107" fmla="*/ 42 h 48"/>
                <a:gd name="T108" fmla="*/ 100 w 148"/>
                <a:gd name="T109" fmla="*/ 46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48" h="48">
                  <a:moveTo>
                    <a:pt x="100" y="46"/>
                  </a:moveTo>
                  <a:lnTo>
                    <a:pt x="100" y="48"/>
                  </a:lnTo>
                  <a:lnTo>
                    <a:pt x="102" y="48"/>
                  </a:lnTo>
                  <a:lnTo>
                    <a:pt x="105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11" y="47"/>
                  </a:lnTo>
                  <a:lnTo>
                    <a:pt x="114" y="47"/>
                  </a:lnTo>
                  <a:lnTo>
                    <a:pt x="117" y="47"/>
                  </a:lnTo>
                  <a:lnTo>
                    <a:pt x="119" y="47"/>
                  </a:lnTo>
                  <a:lnTo>
                    <a:pt x="123" y="47"/>
                  </a:lnTo>
                  <a:lnTo>
                    <a:pt x="125" y="47"/>
                  </a:lnTo>
                  <a:lnTo>
                    <a:pt x="127" y="48"/>
                  </a:lnTo>
                  <a:lnTo>
                    <a:pt x="131" y="48"/>
                  </a:lnTo>
                  <a:lnTo>
                    <a:pt x="133" y="48"/>
                  </a:lnTo>
                  <a:lnTo>
                    <a:pt x="133" y="47"/>
                  </a:lnTo>
                  <a:lnTo>
                    <a:pt x="133" y="46"/>
                  </a:lnTo>
                  <a:lnTo>
                    <a:pt x="134" y="46"/>
                  </a:lnTo>
                  <a:lnTo>
                    <a:pt x="134" y="47"/>
                  </a:lnTo>
                  <a:lnTo>
                    <a:pt x="134" y="48"/>
                  </a:lnTo>
                  <a:lnTo>
                    <a:pt x="135" y="48"/>
                  </a:lnTo>
                  <a:lnTo>
                    <a:pt x="137" y="46"/>
                  </a:lnTo>
                  <a:lnTo>
                    <a:pt x="137" y="46"/>
                  </a:lnTo>
                  <a:lnTo>
                    <a:pt x="140" y="46"/>
                  </a:lnTo>
                  <a:lnTo>
                    <a:pt x="143" y="46"/>
                  </a:lnTo>
                  <a:lnTo>
                    <a:pt x="145" y="46"/>
                  </a:lnTo>
                  <a:lnTo>
                    <a:pt x="148" y="42"/>
                  </a:lnTo>
                  <a:lnTo>
                    <a:pt x="144" y="42"/>
                  </a:lnTo>
                  <a:lnTo>
                    <a:pt x="142" y="41"/>
                  </a:lnTo>
                  <a:lnTo>
                    <a:pt x="140" y="39"/>
                  </a:lnTo>
                  <a:lnTo>
                    <a:pt x="140" y="38"/>
                  </a:lnTo>
                  <a:lnTo>
                    <a:pt x="136" y="37"/>
                  </a:lnTo>
                  <a:lnTo>
                    <a:pt x="134" y="37"/>
                  </a:lnTo>
                  <a:lnTo>
                    <a:pt x="133" y="36"/>
                  </a:lnTo>
                  <a:lnTo>
                    <a:pt x="131" y="36"/>
                  </a:lnTo>
                  <a:lnTo>
                    <a:pt x="127" y="37"/>
                  </a:lnTo>
                  <a:lnTo>
                    <a:pt x="125" y="36"/>
                  </a:lnTo>
                  <a:lnTo>
                    <a:pt x="126" y="33"/>
                  </a:lnTo>
                  <a:lnTo>
                    <a:pt x="127" y="33"/>
                  </a:lnTo>
                  <a:lnTo>
                    <a:pt x="126" y="30"/>
                  </a:lnTo>
                  <a:lnTo>
                    <a:pt x="123" y="30"/>
                  </a:lnTo>
                  <a:lnTo>
                    <a:pt x="123" y="30"/>
                  </a:lnTo>
                  <a:lnTo>
                    <a:pt x="120" y="31"/>
                  </a:lnTo>
                  <a:lnTo>
                    <a:pt x="117" y="29"/>
                  </a:lnTo>
                  <a:lnTo>
                    <a:pt x="117" y="28"/>
                  </a:lnTo>
                  <a:lnTo>
                    <a:pt x="115" y="28"/>
                  </a:lnTo>
                  <a:lnTo>
                    <a:pt x="111" y="26"/>
                  </a:lnTo>
                  <a:lnTo>
                    <a:pt x="109" y="25"/>
                  </a:lnTo>
                  <a:lnTo>
                    <a:pt x="108" y="24"/>
                  </a:lnTo>
                  <a:lnTo>
                    <a:pt x="106" y="25"/>
                  </a:lnTo>
                  <a:lnTo>
                    <a:pt x="105" y="24"/>
                  </a:lnTo>
                  <a:lnTo>
                    <a:pt x="103" y="23"/>
                  </a:lnTo>
                  <a:lnTo>
                    <a:pt x="106" y="24"/>
                  </a:lnTo>
                  <a:lnTo>
                    <a:pt x="103" y="21"/>
                  </a:lnTo>
                  <a:lnTo>
                    <a:pt x="101" y="21"/>
                  </a:lnTo>
                  <a:lnTo>
                    <a:pt x="99" y="21"/>
                  </a:lnTo>
                  <a:lnTo>
                    <a:pt x="96" y="19"/>
                  </a:lnTo>
                  <a:lnTo>
                    <a:pt x="93" y="16"/>
                  </a:lnTo>
                  <a:lnTo>
                    <a:pt x="92" y="16"/>
                  </a:lnTo>
                  <a:lnTo>
                    <a:pt x="90" y="15"/>
                  </a:lnTo>
                  <a:lnTo>
                    <a:pt x="86" y="13"/>
                  </a:lnTo>
                  <a:lnTo>
                    <a:pt x="84" y="13"/>
                  </a:lnTo>
                  <a:lnTo>
                    <a:pt x="82" y="12"/>
                  </a:lnTo>
                  <a:lnTo>
                    <a:pt x="81" y="12"/>
                  </a:lnTo>
                  <a:lnTo>
                    <a:pt x="79" y="12"/>
                  </a:lnTo>
                  <a:lnTo>
                    <a:pt x="75" y="11"/>
                  </a:lnTo>
                  <a:lnTo>
                    <a:pt x="74" y="11"/>
                  </a:lnTo>
                  <a:lnTo>
                    <a:pt x="72" y="7"/>
                  </a:lnTo>
                  <a:lnTo>
                    <a:pt x="69" y="5"/>
                  </a:lnTo>
                  <a:lnTo>
                    <a:pt x="67" y="4"/>
                  </a:lnTo>
                  <a:lnTo>
                    <a:pt x="67" y="4"/>
                  </a:lnTo>
                  <a:lnTo>
                    <a:pt x="64" y="4"/>
                  </a:lnTo>
                  <a:lnTo>
                    <a:pt x="62" y="4"/>
                  </a:lnTo>
                  <a:lnTo>
                    <a:pt x="59" y="3"/>
                  </a:lnTo>
                  <a:lnTo>
                    <a:pt x="57" y="2"/>
                  </a:lnTo>
                  <a:lnTo>
                    <a:pt x="54" y="3"/>
                  </a:lnTo>
                  <a:lnTo>
                    <a:pt x="51" y="0"/>
                  </a:lnTo>
                  <a:lnTo>
                    <a:pt x="48" y="2"/>
                  </a:lnTo>
                  <a:lnTo>
                    <a:pt x="47" y="2"/>
                  </a:lnTo>
                  <a:lnTo>
                    <a:pt x="45" y="0"/>
                  </a:lnTo>
                  <a:lnTo>
                    <a:pt x="41" y="0"/>
                  </a:lnTo>
                  <a:lnTo>
                    <a:pt x="39" y="0"/>
                  </a:lnTo>
                  <a:lnTo>
                    <a:pt x="38" y="0"/>
                  </a:lnTo>
                  <a:lnTo>
                    <a:pt x="36" y="0"/>
                  </a:lnTo>
                  <a:lnTo>
                    <a:pt x="32" y="3"/>
                  </a:lnTo>
                  <a:lnTo>
                    <a:pt x="30" y="3"/>
                  </a:lnTo>
                  <a:lnTo>
                    <a:pt x="26" y="4"/>
                  </a:lnTo>
                  <a:lnTo>
                    <a:pt x="25" y="3"/>
                  </a:lnTo>
                  <a:lnTo>
                    <a:pt x="23" y="4"/>
                  </a:lnTo>
                  <a:lnTo>
                    <a:pt x="21" y="5"/>
                  </a:lnTo>
                  <a:lnTo>
                    <a:pt x="17" y="6"/>
                  </a:lnTo>
                  <a:lnTo>
                    <a:pt x="15" y="6"/>
                  </a:lnTo>
                  <a:lnTo>
                    <a:pt x="13" y="8"/>
                  </a:lnTo>
                  <a:lnTo>
                    <a:pt x="9" y="9"/>
                  </a:lnTo>
                  <a:lnTo>
                    <a:pt x="7" y="12"/>
                  </a:lnTo>
                  <a:lnTo>
                    <a:pt x="6" y="14"/>
                  </a:lnTo>
                  <a:lnTo>
                    <a:pt x="8" y="17"/>
                  </a:lnTo>
                  <a:lnTo>
                    <a:pt x="5" y="17"/>
                  </a:lnTo>
                  <a:lnTo>
                    <a:pt x="3" y="19"/>
                  </a:lnTo>
                  <a:lnTo>
                    <a:pt x="0" y="20"/>
                  </a:lnTo>
                  <a:lnTo>
                    <a:pt x="2" y="20"/>
                  </a:lnTo>
                  <a:lnTo>
                    <a:pt x="5" y="19"/>
                  </a:lnTo>
                  <a:lnTo>
                    <a:pt x="7" y="20"/>
                  </a:lnTo>
                  <a:lnTo>
                    <a:pt x="9" y="19"/>
                  </a:lnTo>
                  <a:lnTo>
                    <a:pt x="13" y="16"/>
                  </a:lnTo>
                  <a:lnTo>
                    <a:pt x="15" y="15"/>
                  </a:lnTo>
                  <a:lnTo>
                    <a:pt x="16" y="15"/>
                  </a:lnTo>
                  <a:lnTo>
                    <a:pt x="19" y="15"/>
                  </a:lnTo>
                  <a:lnTo>
                    <a:pt x="22" y="14"/>
                  </a:lnTo>
                  <a:lnTo>
                    <a:pt x="24" y="13"/>
                  </a:lnTo>
                  <a:lnTo>
                    <a:pt x="26" y="9"/>
                  </a:lnTo>
                  <a:lnTo>
                    <a:pt x="29" y="8"/>
                  </a:lnTo>
                  <a:lnTo>
                    <a:pt x="30" y="7"/>
                  </a:lnTo>
                  <a:lnTo>
                    <a:pt x="33" y="8"/>
                  </a:lnTo>
                  <a:lnTo>
                    <a:pt x="36" y="8"/>
                  </a:lnTo>
                  <a:lnTo>
                    <a:pt x="39" y="8"/>
                  </a:lnTo>
                  <a:lnTo>
                    <a:pt x="39" y="8"/>
                  </a:lnTo>
                  <a:lnTo>
                    <a:pt x="42" y="8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3" y="11"/>
                  </a:lnTo>
                  <a:lnTo>
                    <a:pt x="42" y="12"/>
                  </a:lnTo>
                  <a:lnTo>
                    <a:pt x="40" y="13"/>
                  </a:lnTo>
                  <a:lnTo>
                    <a:pt x="42" y="15"/>
                  </a:lnTo>
                  <a:lnTo>
                    <a:pt x="46" y="15"/>
                  </a:lnTo>
                  <a:lnTo>
                    <a:pt x="48" y="15"/>
                  </a:lnTo>
                  <a:lnTo>
                    <a:pt x="50" y="17"/>
                  </a:lnTo>
                  <a:lnTo>
                    <a:pt x="51" y="14"/>
                  </a:lnTo>
                  <a:lnTo>
                    <a:pt x="54" y="17"/>
                  </a:lnTo>
                  <a:lnTo>
                    <a:pt x="59" y="17"/>
                  </a:lnTo>
                  <a:lnTo>
                    <a:pt x="59" y="16"/>
                  </a:lnTo>
                  <a:lnTo>
                    <a:pt x="60" y="16"/>
                  </a:lnTo>
                  <a:lnTo>
                    <a:pt x="60" y="15"/>
                  </a:lnTo>
                  <a:lnTo>
                    <a:pt x="62" y="17"/>
                  </a:lnTo>
                  <a:lnTo>
                    <a:pt x="63" y="19"/>
                  </a:lnTo>
                  <a:lnTo>
                    <a:pt x="66" y="20"/>
                  </a:lnTo>
                  <a:lnTo>
                    <a:pt x="66" y="21"/>
                  </a:lnTo>
                  <a:lnTo>
                    <a:pt x="67" y="22"/>
                  </a:lnTo>
                  <a:lnTo>
                    <a:pt x="67" y="21"/>
                  </a:lnTo>
                  <a:lnTo>
                    <a:pt x="67" y="22"/>
                  </a:lnTo>
                  <a:lnTo>
                    <a:pt x="71" y="22"/>
                  </a:lnTo>
                  <a:lnTo>
                    <a:pt x="73" y="23"/>
                  </a:lnTo>
                  <a:lnTo>
                    <a:pt x="74" y="23"/>
                  </a:lnTo>
                  <a:lnTo>
                    <a:pt x="76" y="23"/>
                  </a:lnTo>
                  <a:lnTo>
                    <a:pt x="79" y="24"/>
                  </a:lnTo>
                  <a:lnTo>
                    <a:pt x="81" y="23"/>
                  </a:lnTo>
                  <a:lnTo>
                    <a:pt x="83" y="23"/>
                  </a:lnTo>
                  <a:lnTo>
                    <a:pt x="85" y="23"/>
                  </a:lnTo>
                  <a:lnTo>
                    <a:pt x="85" y="24"/>
                  </a:lnTo>
                  <a:lnTo>
                    <a:pt x="86" y="26"/>
                  </a:lnTo>
                  <a:lnTo>
                    <a:pt x="88" y="30"/>
                  </a:lnTo>
                  <a:lnTo>
                    <a:pt x="89" y="32"/>
                  </a:lnTo>
                  <a:lnTo>
                    <a:pt x="91" y="34"/>
                  </a:lnTo>
                  <a:lnTo>
                    <a:pt x="94" y="37"/>
                  </a:lnTo>
                  <a:lnTo>
                    <a:pt x="97" y="36"/>
                  </a:lnTo>
                  <a:lnTo>
                    <a:pt x="98" y="37"/>
                  </a:lnTo>
                  <a:lnTo>
                    <a:pt x="101" y="37"/>
                  </a:lnTo>
                  <a:lnTo>
                    <a:pt x="103" y="36"/>
                  </a:lnTo>
                  <a:lnTo>
                    <a:pt x="105" y="39"/>
                  </a:lnTo>
                  <a:lnTo>
                    <a:pt x="107" y="39"/>
                  </a:lnTo>
                  <a:lnTo>
                    <a:pt x="107" y="41"/>
                  </a:lnTo>
                  <a:lnTo>
                    <a:pt x="106" y="42"/>
                  </a:lnTo>
                  <a:lnTo>
                    <a:pt x="103" y="43"/>
                  </a:lnTo>
                  <a:lnTo>
                    <a:pt x="102" y="43"/>
                  </a:lnTo>
                  <a:lnTo>
                    <a:pt x="100" y="46"/>
                  </a:lnTo>
                  <a:lnTo>
                    <a:pt x="100" y="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28" name="Freeform 228">
              <a:extLst>
                <a:ext uri="{FF2B5EF4-FFF2-40B4-BE49-F238E27FC236}">
                  <a16:creationId xmlns:a16="http://schemas.microsoft.com/office/drawing/2014/main" id="{AB921212-7CDB-49F9-9442-71A485A5F6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36913" y="3219450"/>
              <a:ext cx="1468437" cy="684213"/>
            </a:xfrm>
            <a:custGeom>
              <a:avLst/>
              <a:gdLst>
                <a:gd name="T0" fmla="*/ 913 w 925"/>
                <a:gd name="T1" fmla="*/ 80 h 431"/>
                <a:gd name="T2" fmla="*/ 918 w 925"/>
                <a:gd name="T3" fmla="*/ 87 h 431"/>
                <a:gd name="T4" fmla="*/ 923 w 925"/>
                <a:gd name="T5" fmla="*/ 77 h 431"/>
                <a:gd name="T6" fmla="*/ 918 w 925"/>
                <a:gd name="T7" fmla="*/ 74 h 431"/>
                <a:gd name="T8" fmla="*/ 921 w 925"/>
                <a:gd name="T9" fmla="*/ 63 h 431"/>
                <a:gd name="T10" fmla="*/ 910 w 925"/>
                <a:gd name="T11" fmla="*/ 73 h 431"/>
                <a:gd name="T12" fmla="*/ 910 w 925"/>
                <a:gd name="T13" fmla="*/ 65 h 431"/>
                <a:gd name="T14" fmla="*/ 915 w 925"/>
                <a:gd name="T15" fmla="*/ 59 h 431"/>
                <a:gd name="T16" fmla="*/ 914 w 925"/>
                <a:gd name="T17" fmla="*/ 55 h 431"/>
                <a:gd name="T18" fmla="*/ 905 w 925"/>
                <a:gd name="T19" fmla="*/ 58 h 431"/>
                <a:gd name="T20" fmla="*/ 907 w 925"/>
                <a:gd name="T21" fmla="*/ 54 h 431"/>
                <a:gd name="T22" fmla="*/ 909 w 925"/>
                <a:gd name="T23" fmla="*/ 47 h 431"/>
                <a:gd name="T24" fmla="*/ 906 w 925"/>
                <a:gd name="T25" fmla="*/ 40 h 431"/>
                <a:gd name="T26" fmla="*/ 900 w 925"/>
                <a:gd name="T27" fmla="*/ 38 h 431"/>
                <a:gd name="T28" fmla="*/ 890 w 925"/>
                <a:gd name="T29" fmla="*/ 46 h 431"/>
                <a:gd name="T30" fmla="*/ 888 w 925"/>
                <a:gd name="T31" fmla="*/ 41 h 431"/>
                <a:gd name="T32" fmla="*/ 880 w 925"/>
                <a:gd name="T33" fmla="*/ 39 h 431"/>
                <a:gd name="T34" fmla="*/ 881 w 925"/>
                <a:gd name="T35" fmla="*/ 33 h 431"/>
                <a:gd name="T36" fmla="*/ 881 w 925"/>
                <a:gd name="T37" fmla="*/ 30 h 431"/>
                <a:gd name="T38" fmla="*/ 871 w 925"/>
                <a:gd name="T39" fmla="*/ 32 h 431"/>
                <a:gd name="T40" fmla="*/ 869 w 925"/>
                <a:gd name="T41" fmla="*/ 30 h 431"/>
                <a:gd name="T42" fmla="*/ 876 w 925"/>
                <a:gd name="T43" fmla="*/ 18 h 431"/>
                <a:gd name="T44" fmla="*/ 879 w 925"/>
                <a:gd name="T45" fmla="*/ 7 h 431"/>
                <a:gd name="T46" fmla="*/ 887 w 925"/>
                <a:gd name="T47" fmla="*/ 1 h 431"/>
                <a:gd name="T48" fmla="*/ 873 w 925"/>
                <a:gd name="T49" fmla="*/ 4 h 431"/>
                <a:gd name="T50" fmla="*/ 863 w 925"/>
                <a:gd name="T51" fmla="*/ 16 h 431"/>
                <a:gd name="T52" fmla="*/ 855 w 925"/>
                <a:gd name="T53" fmla="*/ 30 h 431"/>
                <a:gd name="T54" fmla="*/ 852 w 925"/>
                <a:gd name="T55" fmla="*/ 38 h 431"/>
                <a:gd name="T56" fmla="*/ 850 w 925"/>
                <a:gd name="T57" fmla="*/ 47 h 431"/>
                <a:gd name="T58" fmla="*/ 844 w 925"/>
                <a:gd name="T59" fmla="*/ 49 h 431"/>
                <a:gd name="T60" fmla="*/ 837 w 925"/>
                <a:gd name="T61" fmla="*/ 54 h 431"/>
                <a:gd name="T62" fmla="*/ 842 w 925"/>
                <a:gd name="T63" fmla="*/ 56 h 431"/>
                <a:gd name="T64" fmla="*/ 838 w 925"/>
                <a:gd name="T65" fmla="*/ 63 h 431"/>
                <a:gd name="T66" fmla="*/ 837 w 925"/>
                <a:gd name="T67" fmla="*/ 73 h 431"/>
                <a:gd name="T68" fmla="*/ 849 w 925"/>
                <a:gd name="T69" fmla="*/ 71 h 431"/>
                <a:gd name="T70" fmla="*/ 862 w 925"/>
                <a:gd name="T71" fmla="*/ 72 h 431"/>
                <a:gd name="T72" fmla="*/ 873 w 925"/>
                <a:gd name="T73" fmla="*/ 72 h 431"/>
                <a:gd name="T74" fmla="*/ 881 w 925"/>
                <a:gd name="T75" fmla="*/ 69 h 431"/>
                <a:gd name="T76" fmla="*/ 887 w 925"/>
                <a:gd name="T77" fmla="*/ 74 h 431"/>
                <a:gd name="T78" fmla="*/ 896 w 925"/>
                <a:gd name="T79" fmla="*/ 72 h 431"/>
                <a:gd name="T80" fmla="*/ 883 w 925"/>
                <a:gd name="T81" fmla="*/ 81 h 431"/>
                <a:gd name="T82" fmla="*/ 888 w 925"/>
                <a:gd name="T83" fmla="*/ 84 h 431"/>
                <a:gd name="T84" fmla="*/ 898 w 925"/>
                <a:gd name="T85" fmla="*/ 75 h 431"/>
                <a:gd name="T86" fmla="*/ 904 w 925"/>
                <a:gd name="T87" fmla="*/ 67 h 431"/>
                <a:gd name="T88" fmla="*/ 905 w 925"/>
                <a:gd name="T89" fmla="*/ 80 h 431"/>
                <a:gd name="T90" fmla="*/ 827 w 925"/>
                <a:gd name="T91" fmla="*/ 98 h 431"/>
                <a:gd name="T92" fmla="*/ 813 w 925"/>
                <a:gd name="T93" fmla="*/ 107 h 431"/>
                <a:gd name="T94" fmla="*/ 804 w 925"/>
                <a:gd name="T95" fmla="*/ 102 h 431"/>
                <a:gd name="T96" fmla="*/ 810 w 925"/>
                <a:gd name="T97" fmla="*/ 89 h 431"/>
                <a:gd name="T98" fmla="*/ 819 w 925"/>
                <a:gd name="T99" fmla="*/ 87 h 431"/>
                <a:gd name="T100" fmla="*/ 815 w 925"/>
                <a:gd name="T101" fmla="*/ 98 h 431"/>
                <a:gd name="T102" fmla="*/ 808 w 925"/>
                <a:gd name="T103" fmla="*/ 104 h 431"/>
                <a:gd name="T104" fmla="*/ 816 w 925"/>
                <a:gd name="T105" fmla="*/ 101 h 431"/>
                <a:gd name="T106" fmla="*/ 816 w 925"/>
                <a:gd name="T107" fmla="*/ 97 h 431"/>
                <a:gd name="T108" fmla="*/ 2 w 925"/>
                <a:gd name="T109" fmla="*/ 295 h 431"/>
                <a:gd name="T110" fmla="*/ 164 w 925"/>
                <a:gd name="T111" fmla="*/ 428 h 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925" h="431">
                  <a:moveTo>
                    <a:pt x="904" y="85"/>
                  </a:moveTo>
                  <a:lnTo>
                    <a:pt x="905" y="85"/>
                  </a:lnTo>
                  <a:lnTo>
                    <a:pt x="907" y="84"/>
                  </a:lnTo>
                  <a:lnTo>
                    <a:pt x="910" y="82"/>
                  </a:lnTo>
                  <a:lnTo>
                    <a:pt x="913" y="80"/>
                  </a:lnTo>
                  <a:lnTo>
                    <a:pt x="913" y="83"/>
                  </a:lnTo>
                  <a:lnTo>
                    <a:pt x="912" y="85"/>
                  </a:lnTo>
                  <a:lnTo>
                    <a:pt x="914" y="89"/>
                  </a:lnTo>
                  <a:lnTo>
                    <a:pt x="916" y="87"/>
                  </a:lnTo>
                  <a:lnTo>
                    <a:pt x="918" y="87"/>
                  </a:lnTo>
                  <a:lnTo>
                    <a:pt x="921" y="85"/>
                  </a:lnTo>
                  <a:lnTo>
                    <a:pt x="922" y="83"/>
                  </a:lnTo>
                  <a:lnTo>
                    <a:pt x="922" y="80"/>
                  </a:lnTo>
                  <a:lnTo>
                    <a:pt x="923" y="77"/>
                  </a:lnTo>
                  <a:lnTo>
                    <a:pt x="923" y="77"/>
                  </a:lnTo>
                  <a:lnTo>
                    <a:pt x="924" y="75"/>
                  </a:lnTo>
                  <a:lnTo>
                    <a:pt x="925" y="72"/>
                  </a:lnTo>
                  <a:lnTo>
                    <a:pt x="923" y="69"/>
                  </a:lnTo>
                  <a:lnTo>
                    <a:pt x="922" y="72"/>
                  </a:lnTo>
                  <a:lnTo>
                    <a:pt x="918" y="74"/>
                  </a:lnTo>
                  <a:lnTo>
                    <a:pt x="916" y="73"/>
                  </a:lnTo>
                  <a:lnTo>
                    <a:pt x="917" y="71"/>
                  </a:lnTo>
                  <a:lnTo>
                    <a:pt x="918" y="67"/>
                  </a:lnTo>
                  <a:lnTo>
                    <a:pt x="921" y="65"/>
                  </a:lnTo>
                  <a:lnTo>
                    <a:pt x="921" y="63"/>
                  </a:lnTo>
                  <a:lnTo>
                    <a:pt x="918" y="64"/>
                  </a:lnTo>
                  <a:lnTo>
                    <a:pt x="916" y="65"/>
                  </a:lnTo>
                  <a:lnTo>
                    <a:pt x="914" y="68"/>
                  </a:lnTo>
                  <a:lnTo>
                    <a:pt x="914" y="71"/>
                  </a:lnTo>
                  <a:lnTo>
                    <a:pt x="910" y="73"/>
                  </a:lnTo>
                  <a:lnTo>
                    <a:pt x="910" y="73"/>
                  </a:lnTo>
                  <a:lnTo>
                    <a:pt x="908" y="71"/>
                  </a:lnTo>
                  <a:lnTo>
                    <a:pt x="907" y="67"/>
                  </a:lnTo>
                  <a:lnTo>
                    <a:pt x="909" y="67"/>
                  </a:lnTo>
                  <a:lnTo>
                    <a:pt x="910" y="65"/>
                  </a:lnTo>
                  <a:lnTo>
                    <a:pt x="908" y="65"/>
                  </a:lnTo>
                  <a:lnTo>
                    <a:pt x="910" y="64"/>
                  </a:lnTo>
                  <a:lnTo>
                    <a:pt x="909" y="61"/>
                  </a:lnTo>
                  <a:lnTo>
                    <a:pt x="912" y="61"/>
                  </a:lnTo>
                  <a:lnTo>
                    <a:pt x="915" y="59"/>
                  </a:lnTo>
                  <a:lnTo>
                    <a:pt x="917" y="58"/>
                  </a:lnTo>
                  <a:lnTo>
                    <a:pt x="920" y="56"/>
                  </a:lnTo>
                  <a:lnTo>
                    <a:pt x="918" y="54"/>
                  </a:lnTo>
                  <a:lnTo>
                    <a:pt x="916" y="56"/>
                  </a:lnTo>
                  <a:lnTo>
                    <a:pt x="914" y="55"/>
                  </a:lnTo>
                  <a:lnTo>
                    <a:pt x="913" y="57"/>
                  </a:lnTo>
                  <a:lnTo>
                    <a:pt x="909" y="56"/>
                  </a:lnTo>
                  <a:lnTo>
                    <a:pt x="907" y="57"/>
                  </a:lnTo>
                  <a:lnTo>
                    <a:pt x="905" y="59"/>
                  </a:lnTo>
                  <a:lnTo>
                    <a:pt x="905" y="58"/>
                  </a:lnTo>
                  <a:lnTo>
                    <a:pt x="907" y="57"/>
                  </a:lnTo>
                  <a:lnTo>
                    <a:pt x="909" y="55"/>
                  </a:lnTo>
                  <a:lnTo>
                    <a:pt x="907" y="55"/>
                  </a:lnTo>
                  <a:lnTo>
                    <a:pt x="909" y="52"/>
                  </a:lnTo>
                  <a:lnTo>
                    <a:pt x="907" y="54"/>
                  </a:lnTo>
                  <a:lnTo>
                    <a:pt x="907" y="54"/>
                  </a:lnTo>
                  <a:lnTo>
                    <a:pt x="907" y="50"/>
                  </a:lnTo>
                  <a:lnTo>
                    <a:pt x="905" y="50"/>
                  </a:lnTo>
                  <a:lnTo>
                    <a:pt x="907" y="50"/>
                  </a:lnTo>
                  <a:lnTo>
                    <a:pt x="909" y="47"/>
                  </a:lnTo>
                  <a:lnTo>
                    <a:pt x="912" y="46"/>
                  </a:lnTo>
                  <a:lnTo>
                    <a:pt x="914" y="43"/>
                  </a:lnTo>
                  <a:lnTo>
                    <a:pt x="912" y="41"/>
                  </a:lnTo>
                  <a:lnTo>
                    <a:pt x="909" y="40"/>
                  </a:lnTo>
                  <a:lnTo>
                    <a:pt x="906" y="40"/>
                  </a:lnTo>
                  <a:lnTo>
                    <a:pt x="904" y="41"/>
                  </a:lnTo>
                  <a:lnTo>
                    <a:pt x="901" y="40"/>
                  </a:lnTo>
                  <a:lnTo>
                    <a:pt x="899" y="42"/>
                  </a:lnTo>
                  <a:lnTo>
                    <a:pt x="899" y="40"/>
                  </a:lnTo>
                  <a:lnTo>
                    <a:pt x="900" y="38"/>
                  </a:lnTo>
                  <a:lnTo>
                    <a:pt x="897" y="40"/>
                  </a:lnTo>
                  <a:lnTo>
                    <a:pt x="895" y="40"/>
                  </a:lnTo>
                  <a:lnTo>
                    <a:pt x="892" y="43"/>
                  </a:lnTo>
                  <a:lnTo>
                    <a:pt x="891" y="42"/>
                  </a:lnTo>
                  <a:lnTo>
                    <a:pt x="890" y="46"/>
                  </a:lnTo>
                  <a:lnTo>
                    <a:pt x="888" y="47"/>
                  </a:lnTo>
                  <a:lnTo>
                    <a:pt x="888" y="44"/>
                  </a:lnTo>
                  <a:lnTo>
                    <a:pt x="889" y="41"/>
                  </a:lnTo>
                  <a:lnTo>
                    <a:pt x="889" y="39"/>
                  </a:lnTo>
                  <a:lnTo>
                    <a:pt x="888" y="41"/>
                  </a:lnTo>
                  <a:lnTo>
                    <a:pt x="888" y="39"/>
                  </a:lnTo>
                  <a:lnTo>
                    <a:pt x="884" y="41"/>
                  </a:lnTo>
                  <a:lnTo>
                    <a:pt x="886" y="39"/>
                  </a:lnTo>
                  <a:lnTo>
                    <a:pt x="882" y="39"/>
                  </a:lnTo>
                  <a:lnTo>
                    <a:pt x="880" y="39"/>
                  </a:lnTo>
                  <a:lnTo>
                    <a:pt x="878" y="40"/>
                  </a:lnTo>
                  <a:lnTo>
                    <a:pt x="880" y="38"/>
                  </a:lnTo>
                  <a:lnTo>
                    <a:pt x="881" y="35"/>
                  </a:lnTo>
                  <a:lnTo>
                    <a:pt x="879" y="35"/>
                  </a:lnTo>
                  <a:lnTo>
                    <a:pt x="881" y="33"/>
                  </a:lnTo>
                  <a:lnTo>
                    <a:pt x="883" y="32"/>
                  </a:lnTo>
                  <a:lnTo>
                    <a:pt x="886" y="30"/>
                  </a:lnTo>
                  <a:lnTo>
                    <a:pt x="886" y="30"/>
                  </a:lnTo>
                  <a:lnTo>
                    <a:pt x="883" y="30"/>
                  </a:lnTo>
                  <a:lnTo>
                    <a:pt x="881" y="30"/>
                  </a:lnTo>
                  <a:lnTo>
                    <a:pt x="878" y="30"/>
                  </a:lnTo>
                  <a:lnTo>
                    <a:pt x="876" y="27"/>
                  </a:lnTo>
                  <a:lnTo>
                    <a:pt x="874" y="30"/>
                  </a:lnTo>
                  <a:lnTo>
                    <a:pt x="874" y="30"/>
                  </a:lnTo>
                  <a:lnTo>
                    <a:pt x="871" y="32"/>
                  </a:lnTo>
                  <a:lnTo>
                    <a:pt x="869" y="35"/>
                  </a:lnTo>
                  <a:lnTo>
                    <a:pt x="867" y="38"/>
                  </a:lnTo>
                  <a:lnTo>
                    <a:pt x="869" y="35"/>
                  </a:lnTo>
                  <a:lnTo>
                    <a:pt x="869" y="32"/>
                  </a:lnTo>
                  <a:lnTo>
                    <a:pt x="869" y="30"/>
                  </a:lnTo>
                  <a:lnTo>
                    <a:pt x="870" y="27"/>
                  </a:lnTo>
                  <a:lnTo>
                    <a:pt x="872" y="25"/>
                  </a:lnTo>
                  <a:lnTo>
                    <a:pt x="872" y="23"/>
                  </a:lnTo>
                  <a:lnTo>
                    <a:pt x="875" y="21"/>
                  </a:lnTo>
                  <a:lnTo>
                    <a:pt x="876" y="18"/>
                  </a:lnTo>
                  <a:lnTo>
                    <a:pt x="879" y="15"/>
                  </a:lnTo>
                  <a:lnTo>
                    <a:pt x="881" y="13"/>
                  </a:lnTo>
                  <a:lnTo>
                    <a:pt x="882" y="10"/>
                  </a:lnTo>
                  <a:lnTo>
                    <a:pt x="881" y="7"/>
                  </a:lnTo>
                  <a:lnTo>
                    <a:pt x="879" y="7"/>
                  </a:lnTo>
                  <a:lnTo>
                    <a:pt x="878" y="5"/>
                  </a:lnTo>
                  <a:lnTo>
                    <a:pt x="881" y="6"/>
                  </a:lnTo>
                  <a:lnTo>
                    <a:pt x="883" y="6"/>
                  </a:lnTo>
                  <a:lnTo>
                    <a:pt x="887" y="4"/>
                  </a:lnTo>
                  <a:lnTo>
                    <a:pt x="887" y="1"/>
                  </a:lnTo>
                  <a:lnTo>
                    <a:pt x="883" y="3"/>
                  </a:lnTo>
                  <a:lnTo>
                    <a:pt x="881" y="0"/>
                  </a:lnTo>
                  <a:lnTo>
                    <a:pt x="878" y="1"/>
                  </a:lnTo>
                  <a:lnTo>
                    <a:pt x="875" y="3"/>
                  </a:lnTo>
                  <a:lnTo>
                    <a:pt x="873" y="4"/>
                  </a:lnTo>
                  <a:lnTo>
                    <a:pt x="870" y="5"/>
                  </a:lnTo>
                  <a:lnTo>
                    <a:pt x="869" y="8"/>
                  </a:lnTo>
                  <a:lnTo>
                    <a:pt x="866" y="10"/>
                  </a:lnTo>
                  <a:lnTo>
                    <a:pt x="865" y="14"/>
                  </a:lnTo>
                  <a:lnTo>
                    <a:pt x="863" y="16"/>
                  </a:lnTo>
                  <a:lnTo>
                    <a:pt x="861" y="18"/>
                  </a:lnTo>
                  <a:lnTo>
                    <a:pt x="858" y="22"/>
                  </a:lnTo>
                  <a:lnTo>
                    <a:pt x="857" y="24"/>
                  </a:lnTo>
                  <a:lnTo>
                    <a:pt x="856" y="27"/>
                  </a:lnTo>
                  <a:lnTo>
                    <a:pt x="855" y="30"/>
                  </a:lnTo>
                  <a:lnTo>
                    <a:pt x="855" y="31"/>
                  </a:lnTo>
                  <a:lnTo>
                    <a:pt x="853" y="33"/>
                  </a:lnTo>
                  <a:lnTo>
                    <a:pt x="853" y="37"/>
                  </a:lnTo>
                  <a:lnTo>
                    <a:pt x="855" y="39"/>
                  </a:lnTo>
                  <a:lnTo>
                    <a:pt x="852" y="38"/>
                  </a:lnTo>
                  <a:lnTo>
                    <a:pt x="849" y="40"/>
                  </a:lnTo>
                  <a:lnTo>
                    <a:pt x="848" y="42"/>
                  </a:lnTo>
                  <a:lnTo>
                    <a:pt x="850" y="44"/>
                  </a:lnTo>
                  <a:lnTo>
                    <a:pt x="853" y="44"/>
                  </a:lnTo>
                  <a:lnTo>
                    <a:pt x="850" y="47"/>
                  </a:lnTo>
                  <a:lnTo>
                    <a:pt x="853" y="48"/>
                  </a:lnTo>
                  <a:lnTo>
                    <a:pt x="850" y="48"/>
                  </a:lnTo>
                  <a:lnTo>
                    <a:pt x="848" y="46"/>
                  </a:lnTo>
                  <a:lnTo>
                    <a:pt x="845" y="47"/>
                  </a:lnTo>
                  <a:lnTo>
                    <a:pt x="844" y="49"/>
                  </a:lnTo>
                  <a:lnTo>
                    <a:pt x="842" y="52"/>
                  </a:lnTo>
                  <a:lnTo>
                    <a:pt x="841" y="55"/>
                  </a:lnTo>
                  <a:lnTo>
                    <a:pt x="839" y="55"/>
                  </a:lnTo>
                  <a:lnTo>
                    <a:pt x="839" y="52"/>
                  </a:lnTo>
                  <a:lnTo>
                    <a:pt x="837" y="54"/>
                  </a:lnTo>
                  <a:lnTo>
                    <a:pt x="835" y="57"/>
                  </a:lnTo>
                  <a:lnTo>
                    <a:pt x="837" y="56"/>
                  </a:lnTo>
                  <a:lnTo>
                    <a:pt x="840" y="56"/>
                  </a:lnTo>
                  <a:lnTo>
                    <a:pt x="842" y="56"/>
                  </a:lnTo>
                  <a:lnTo>
                    <a:pt x="842" y="56"/>
                  </a:lnTo>
                  <a:lnTo>
                    <a:pt x="846" y="56"/>
                  </a:lnTo>
                  <a:lnTo>
                    <a:pt x="846" y="57"/>
                  </a:lnTo>
                  <a:lnTo>
                    <a:pt x="844" y="58"/>
                  </a:lnTo>
                  <a:lnTo>
                    <a:pt x="840" y="60"/>
                  </a:lnTo>
                  <a:lnTo>
                    <a:pt x="838" y="63"/>
                  </a:lnTo>
                  <a:lnTo>
                    <a:pt x="835" y="65"/>
                  </a:lnTo>
                  <a:lnTo>
                    <a:pt x="832" y="67"/>
                  </a:lnTo>
                  <a:lnTo>
                    <a:pt x="833" y="69"/>
                  </a:lnTo>
                  <a:lnTo>
                    <a:pt x="835" y="73"/>
                  </a:lnTo>
                  <a:lnTo>
                    <a:pt x="837" y="73"/>
                  </a:lnTo>
                  <a:lnTo>
                    <a:pt x="840" y="72"/>
                  </a:lnTo>
                  <a:lnTo>
                    <a:pt x="842" y="72"/>
                  </a:lnTo>
                  <a:lnTo>
                    <a:pt x="846" y="72"/>
                  </a:lnTo>
                  <a:lnTo>
                    <a:pt x="847" y="71"/>
                  </a:lnTo>
                  <a:lnTo>
                    <a:pt x="849" y="71"/>
                  </a:lnTo>
                  <a:lnTo>
                    <a:pt x="853" y="71"/>
                  </a:lnTo>
                  <a:lnTo>
                    <a:pt x="855" y="71"/>
                  </a:lnTo>
                  <a:lnTo>
                    <a:pt x="858" y="72"/>
                  </a:lnTo>
                  <a:lnTo>
                    <a:pt x="861" y="72"/>
                  </a:lnTo>
                  <a:lnTo>
                    <a:pt x="862" y="72"/>
                  </a:lnTo>
                  <a:lnTo>
                    <a:pt x="864" y="73"/>
                  </a:lnTo>
                  <a:lnTo>
                    <a:pt x="867" y="73"/>
                  </a:lnTo>
                  <a:lnTo>
                    <a:pt x="870" y="73"/>
                  </a:lnTo>
                  <a:lnTo>
                    <a:pt x="870" y="72"/>
                  </a:lnTo>
                  <a:lnTo>
                    <a:pt x="873" y="72"/>
                  </a:lnTo>
                  <a:lnTo>
                    <a:pt x="875" y="72"/>
                  </a:lnTo>
                  <a:lnTo>
                    <a:pt x="878" y="68"/>
                  </a:lnTo>
                  <a:lnTo>
                    <a:pt x="880" y="69"/>
                  </a:lnTo>
                  <a:lnTo>
                    <a:pt x="882" y="66"/>
                  </a:lnTo>
                  <a:lnTo>
                    <a:pt x="881" y="69"/>
                  </a:lnTo>
                  <a:lnTo>
                    <a:pt x="881" y="72"/>
                  </a:lnTo>
                  <a:lnTo>
                    <a:pt x="879" y="74"/>
                  </a:lnTo>
                  <a:lnTo>
                    <a:pt x="882" y="74"/>
                  </a:lnTo>
                  <a:lnTo>
                    <a:pt x="884" y="75"/>
                  </a:lnTo>
                  <a:lnTo>
                    <a:pt x="887" y="74"/>
                  </a:lnTo>
                  <a:lnTo>
                    <a:pt x="888" y="71"/>
                  </a:lnTo>
                  <a:lnTo>
                    <a:pt x="891" y="72"/>
                  </a:lnTo>
                  <a:lnTo>
                    <a:pt x="893" y="69"/>
                  </a:lnTo>
                  <a:lnTo>
                    <a:pt x="892" y="72"/>
                  </a:lnTo>
                  <a:lnTo>
                    <a:pt x="896" y="72"/>
                  </a:lnTo>
                  <a:lnTo>
                    <a:pt x="892" y="74"/>
                  </a:lnTo>
                  <a:lnTo>
                    <a:pt x="890" y="75"/>
                  </a:lnTo>
                  <a:lnTo>
                    <a:pt x="889" y="77"/>
                  </a:lnTo>
                  <a:lnTo>
                    <a:pt x="886" y="80"/>
                  </a:lnTo>
                  <a:lnTo>
                    <a:pt x="883" y="81"/>
                  </a:lnTo>
                  <a:lnTo>
                    <a:pt x="881" y="81"/>
                  </a:lnTo>
                  <a:lnTo>
                    <a:pt x="879" y="84"/>
                  </a:lnTo>
                  <a:lnTo>
                    <a:pt x="882" y="84"/>
                  </a:lnTo>
                  <a:lnTo>
                    <a:pt x="884" y="84"/>
                  </a:lnTo>
                  <a:lnTo>
                    <a:pt x="888" y="84"/>
                  </a:lnTo>
                  <a:lnTo>
                    <a:pt x="889" y="84"/>
                  </a:lnTo>
                  <a:lnTo>
                    <a:pt x="891" y="81"/>
                  </a:lnTo>
                  <a:lnTo>
                    <a:pt x="892" y="78"/>
                  </a:lnTo>
                  <a:lnTo>
                    <a:pt x="895" y="76"/>
                  </a:lnTo>
                  <a:lnTo>
                    <a:pt x="898" y="75"/>
                  </a:lnTo>
                  <a:lnTo>
                    <a:pt x="900" y="73"/>
                  </a:lnTo>
                  <a:lnTo>
                    <a:pt x="899" y="75"/>
                  </a:lnTo>
                  <a:lnTo>
                    <a:pt x="900" y="73"/>
                  </a:lnTo>
                  <a:lnTo>
                    <a:pt x="903" y="71"/>
                  </a:lnTo>
                  <a:lnTo>
                    <a:pt x="904" y="67"/>
                  </a:lnTo>
                  <a:lnTo>
                    <a:pt x="907" y="69"/>
                  </a:lnTo>
                  <a:lnTo>
                    <a:pt x="908" y="72"/>
                  </a:lnTo>
                  <a:lnTo>
                    <a:pt x="907" y="75"/>
                  </a:lnTo>
                  <a:lnTo>
                    <a:pt x="906" y="77"/>
                  </a:lnTo>
                  <a:lnTo>
                    <a:pt x="905" y="80"/>
                  </a:lnTo>
                  <a:lnTo>
                    <a:pt x="904" y="83"/>
                  </a:lnTo>
                  <a:lnTo>
                    <a:pt x="904" y="85"/>
                  </a:lnTo>
                  <a:lnTo>
                    <a:pt x="904" y="85"/>
                  </a:lnTo>
                  <a:close/>
                  <a:moveTo>
                    <a:pt x="824" y="97"/>
                  </a:moveTo>
                  <a:lnTo>
                    <a:pt x="827" y="98"/>
                  </a:lnTo>
                  <a:lnTo>
                    <a:pt x="827" y="101"/>
                  </a:lnTo>
                  <a:lnTo>
                    <a:pt x="824" y="101"/>
                  </a:lnTo>
                  <a:lnTo>
                    <a:pt x="822" y="103"/>
                  </a:lnTo>
                  <a:lnTo>
                    <a:pt x="819" y="106"/>
                  </a:lnTo>
                  <a:lnTo>
                    <a:pt x="813" y="107"/>
                  </a:lnTo>
                  <a:lnTo>
                    <a:pt x="811" y="106"/>
                  </a:lnTo>
                  <a:lnTo>
                    <a:pt x="808" y="107"/>
                  </a:lnTo>
                  <a:lnTo>
                    <a:pt x="805" y="107"/>
                  </a:lnTo>
                  <a:lnTo>
                    <a:pt x="804" y="104"/>
                  </a:lnTo>
                  <a:lnTo>
                    <a:pt x="804" y="102"/>
                  </a:lnTo>
                  <a:lnTo>
                    <a:pt x="803" y="99"/>
                  </a:lnTo>
                  <a:lnTo>
                    <a:pt x="805" y="97"/>
                  </a:lnTo>
                  <a:lnTo>
                    <a:pt x="807" y="94"/>
                  </a:lnTo>
                  <a:lnTo>
                    <a:pt x="810" y="92"/>
                  </a:lnTo>
                  <a:lnTo>
                    <a:pt x="810" y="89"/>
                  </a:lnTo>
                  <a:lnTo>
                    <a:pt x="812" y="86"/>
                  </a:lnTo>
                  <a:lnTo>
                    <a:pt x="814" y="84"/>
                  </a:lnTo>
                  <a:lnTo>
                    <a:pt x="818" y="84"/>
                  </a:lnTo>
                  <a:lnTo>
                    <a:pt x="820" y="85"/>
                  </a:lnTo>
                  <a:lnTo>
                    <a:pt x="819" y="87"/>
                  </a:lnTo>
                  <a:lnTo>
                    <a:pt x="819" y="91"/>
                  </a:lnTo>
                  <a:lnTo>
                    <a:pt x="818" y="93"/>
                  </a:lnTo>
                  <a:lnTo>
                    <a:pt x="815" y="97"/>
                  </a:lnTo>
                  <a:lnTo>
                    <a:pt x="819" y="94"/>
                  </a:lnTo>
                  <a:lnTo>
                    <a:pt x="815" y="98"/>
                  </a:lnTo>
                  <a:lnTo>
                    <a:pt x="813" y="99"/>
                  </a:lnTo>
                  <a:lnTo>
                    <a:pt x="811" y="101"/>
                  </a:lnTo>
                  <a:lnTo>
                    <a:pt x="813" y="101"/>
                  </a:lnTo>
                  <a:lnTo>
                    <a:pt x="811" y="102"/>
                  </a:lnTo>
                  <a:lnTo>
                    <a:pt x="808" y="104"/>
                  </a:lnTo>
                  <a:lnTo>
                    <a:pt x="811" y="103"/>
                  </a:lnTo>
                  <a:lnTo>
                    <a:pt x="814" y="104"/>
                  </a:lnTo>
                  <a:lnTo>
                    <a:pt x="816" y="101"/>
                  </a:lnTo>
                  <a:lnTo>
                    <a:pt x="819" y="100"/>
                  </a:lnTo>
                  <a:lnTo>
                    <a:pt x="816" y="101"/>
                  </a:lnTo>
                  <a:lnTo>
                    <a:pt x="813" y="101"/>
                  </a:lnTo>
                  <a:lnTo>
                    <a:pt x="813" y="100"/>
                  </a:lnTo>
                  <a:lnTo>
                    <a:pt x="816" y="99"/>
                  </a:lnTo>
                  <a:lnTo>
                    <a:pt x="819" y="95"/>
                  </a:lnTo>
                  <a:lnTo>
                    <a:pt x="816" y="97"/>
                  </a:lnTo>
                  <a:lnTo>
                    <a:pt x="819" y="94"/>
                  </a:lnTo>
                  <a:lnTo>
                    <a:pt x="821" y="97"/>
                  </a:lnTo>
                  <a:lnTo>
                    <a:pt x="824" y="97"/>
                  </a:lnTo>
                  <a:lnTo>
                    <a:pt x="824" y="97"/>
                  </a:lnTo>
                  <a:close/>
                  <a:moveTo>
                    <a:pt x="2" y="295"/>
                  </a:moveTo>
                  <a:lnTo>
                    <a:pt x="2" y="294"/>
                  </a:lnTo>
                  <a:lnTo>
                    <a:pt x="0" y="294"/>
                  </a:lnTo>
                  <a:lnTo>
                    <a:pt x="2" y="295"/>
                  </a:lnTo>
                  <a:lnTo>
                    <a:pt x="2" y="295"/>
                  </a:lnTo>
                  <a:close/>
                  <a:moveTo>
                    <a:pt x="164" y="428"/>
                  </a:moveTo>
                  <a:lnTo>
                    <a:pt x="165" y="431"/>
                  </a:lnTo>
                  <a:lnTo>
                    <a:pt x="164" y="428"/>
                  </a:lnTo>
                  <a:lnTo>
                    <a:pt x="164" y="428"/>
                  </a:lnTo>
                  <a:lnTo>
                    <a:pt x="164" y="4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29" name="Freeform 229">
              <a:extLst>
                <a:ext uri="{FF2B5EF4-FFF2-40B4-BE49-F238E27FC236}">
                  <a16:creationId xmlns:a16="http://schemas.microsoft.com/office/drawing/2014/main" id="{E17E108B-D652-4A2B-B9F3-6B07301B0D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59113" y="3241675"/>
              <a:ext cx="898525" cy="166688"/>
            </a:xfrm>
            <a:custGeom>
              <a:avLst/>
              <a:gdLst>
                <a:gd name="T0" fmla="*/ 44 w 566"/>
                <a:gd name="T1" fmla="*/ 17 h 105"/>
                <a:gd name="T2" fmla="*/ 47 w 566"/>
                <a:gd name="T3" fmla="*/ 23 h 105"/>
                <a:gd name="T4" fmla="*/ 53 w 566"/>
                <a:gd name="T5" fmla="*/ 27 h 105"/>
                <a:gd name="T6" fmla="*/ 57 w 566"/>
                <a:gd name="T7" fmla="*/ 29 h 105"/>
                <a:gd name="T8" fmla="*/ 62 w 566"/>
                <a:gd name="T9" fmla="*/ 34 h 105"/>
                <a:gd name="T10" fmla="*/ 65 w 566"/>
                <a:gd name="T11" fmla="*/ 38 h 105"/>
                <a:gd name="T12" fmla="*/ 68 w 566"/>
                <a:gd name="T13" fmla="*/ 44 h 105"/>
                <a:gd name="T14" fmla="*/ 63 w 566"/>
                <a:gd name="T15" fmla="*/ 44 h 105"/>
                <a:gd name="T16" fmla="*/ 57 w 566"/>
                <a:gd name="T17" fmla="*/ 43 h 105"/>
                <a:gd name="T18" fmla="*/ 52 w 566"/>
                <a:gd name="T19" fmla="*/ 41 h 105"/>
                <a:gd name="T20" fmla="*/ 46 w 566"/>
                <a:gd name="T21" fmla="*/ 38 h 105"/>
                <a:gd name="T22" fmla="*/ 46 w 566"/>
                <a:gd name="T23" fmla="*/ 34 h 105"/>
                <a:gd name="T24" fmla="*/ 46 w 566"/>
                <a:gd name="T25" fmla="*/ 34 h 105"/>
                <a:gd name="T26" fmla="*/ 40 w 566"/>
                <a:gd name="T27" fmla="*/ 35 h 105"/>
                <a:gd name="T28" fmla="*/ 35 w 566"/>
                <a:gd name="T29" fmla="*/ 33 h 105"/>
                <a:gd name="T30" fmla="*/ 35 w 566"/>
                <a:gd name="T31" fmla="*/ 27 h 105"/>
                <a:gd name="T32" fmla="*/ 30 w 566"/>
                <a:gd name="T33" fmla="*/ 26 h 105"/>
                <a:gd name="T34" fmla="*/ 25 w 566"/>
                <a:gd name="T35" fmla="*/ 25 h 105"/>
                <a:gd name="T36" fmla="*/ 28 w 566"/>
                <a:gd name="T37" fmla="*/ 21 h 105"/>
                <a:gd name="T38" fmla="*/ 29 w 566"/>
                <a:gd name="T39" fmla="*/ 21 h 105"/>
                <a:gd name="T40" fmla="*/ 23 w 566"/>
                <a:gd name="T41" fmla="*/ 20 h 105"/>
                <a:gd name="T42" fmla="*/ 19 w 566"/>
                <a:gd name="T43" fmla="*/ 18 h 105"/>
                <a:gd name="T44" fmla="*/ 13 w 566"/>
                <a:gd name="T45" fmla="*/ 15 h 105"/>
                <a:gd name="T46" fmla="*/ 10 w 566"/>
                <a:gd name="T47" fmla="*/ 13 h 105"/>
                <a:gd name="T48" fmla="*/ 9 w 566"/>
                <a:gd name="T49" fmla="*/ 11 h 105"/>
                <a:gd name="T50" fmla="*/ 6 w 566"/>
                <a:gd name="T51" fmla="*/ 7 h 105"/>
                <a:gd name="T52" fmla="*/ 12 w 566"/>
                <a:gd name="T53" fmla="*/ 9 h 105"/>
                <a:gd name="T54" fmla="*/ 8 w 566"/>
                <a:gd name="T55" fmla="*/ 4 h 105"/>
                <a:gd name="T56" fmla="*/ 3 w 566"/>
                <a:gd name="T57" fmla="*/ 7 h 105"/>
                <a:gd name="T58" fmla="*/ 0 w 566"/>
                <a:gd name="T59" fmla="*/ 1 h 105"/>
                <a:gd name="T60" fmla="*/ 5 w 566"/>
                <a:gd name="T61" fmla="*/ 0 h 105"/>
                <a:gd name="T62" fmla="*/ 11 w 566"/>
                <a:gd name="T63" fmla="*/ 1 h 105"/>
                <a:gd name="T64" fmla="*/ 15 w 566"/>
                <a:gd name="T65" fmla="*/ 4 h 105"/>
                <a:gd name="T66" fmla="*/ 21 w 566"/>
                <a:gd name="T67" fmla="*/ 6 h 105"/>
                <a:gd name="T68" fmla="*/ 27 w 566"/>
                <a:gd name="T69" fmla="*/ 7 h 105"/>
                <a:gd name="T70" fmla="*/ 32 w 566"/>
                <a:gd name="T71" fmla="*/ 9 h 105"/>
                <a:gd name="T72" fmla="*/ 36 w 566"/>
                <a:gd name="T73" fmla="*/ 9 h 105"/>
                <a:gd name="T74" fmla="*/ 40 w 566"/>
                <a:gd name="T75" fmla="*/ 12 h 105"/>
                <a:gd name="T76" fmla="*/ 43 w 566"/>
                <a:gd name="T77" fmla="*/ 16 h 105"/>
                <a:gd name="T78" fmla="*/ 561 w 566"/>
                <a:gd name="T79" fmla="*/ 103 h 105"/>
                <a:gd name="T80" fmla="*/ 564 w 566"/>
                <a:gd name="T81" fmla="*/ 103 h 105"/>
                <a:gd name="T82" fmla="*/ 566 w 566"/>
                <a:gd name="T83" fmla="*/ 97 h 105"/>
                <a:gd name="T84" fmla="*/ 561 w 566"/>
                <a:gd name="T85" fmla="*/ 103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66" h="105">
                  <a:moveTo>
                    <a:pt x="43" y="16"/>
                  </a:moveTo>
                  <a:lnTo>
                    <a:pt x="44" y="17"/>
                  </a:lnTo>
                  <a:lnTo>
                    <a:pt x="46" y="19"/>
                  </a:lnTo>
                  <a:lnTo>
                    <a:pt x="47" y="23"/>
                  </a:lnTo>
                  <a:lnTo>
                    <a:pt x="49" y="25"/>
                  </a:lnTo>
                  <a:lnTo>
                    <a:pt x="53" y="27"/>
                  </a:lnTo>
                  <a:lnTo>
                    <a:pt x="55" y="27"/>
                  </a:lnTo>
                  <a:lnTo>
                    <a:pt x="57" y="29"/>
                  </a:lnTo>
                  <a:lnTo>
                    <a:pt x="61" y="30"/>
                  </a:lnTo>
                  <a:lnTo>
                    <a:pt x="62" y="34"/>
                  </a:lnTo>
                  <a:lnTo>
                    <a:pt x="64" y="36"/>
                  </a:lnTo>
                  <a:lnTo>
                    <a:pt x="65" y="38"/>
                  </a:lnTo>
                  <a:lnTo>
                    <a:pt x="69" y="41"/>
                  </a:lnTo>
                  <a:lnTo>
                    <a:pt x="68" y="44"/>
                  </a:lnTo>
                  <a:lnTo>
                    <a:pt x="65" y="45"/>
                  </a:lnTo>
                  <a:lnTo>
                    <a:pt x="63" y="44"/>
                  </a:lnTo>
                  <a:lnTo>
                    <a:pt x="60" y="44"/>
                  </a:lnTo>
                  <a:lnTo>
                    <a:pt x="57" y="43"/>
                  </a:lnTo>
                  <a:lnTo>
                    <a:pt x="54" y="42"/>
                  </a:lnTo>
                  <a:lnTo>
                    <a:pt x="52" y="41"/>
                  </a:lnTo>
                  <a:lnTo>
                    <a:pt x="49" y="41"/>
                  </a:lnTo>
                  <a:lnTo>
                    <a:pt x="46" y="38"/>
                  </a:lnTo>
                  <a:lnTo>
                    <a:pt x="44" y="36"/>
                  </a:lnTo>
                  <a:lnTo>
                    <a:pt x="46" y="34"/>
                  </a:lnTo>
                  <a:lnTo>
                    <a:pt x="48" y="32"/>
                  </a:lnTo>
                  <a:lnTo>
                    <a:pt x="46" y="34"/>
                  </a:lnTo>
                  <a:lnTo>
                    <a:pt x="43" y="34"/>
                  </a:lnTo>
                  <a:lnTo>
                    <a:pt x="40" y="35"/>
                  </a:lnTo>
                  <a:lnTo>
                    <a:pt x="37" y="34"/>
                  </a:lnTo>
                  <a:lnTo>
                    <a:pt x="35" y="33"/>
                  </a:lnTo>
                  <a:lnTo>
                    <a:pt x="36" y="29"/>
                  </a:lnTo>
                  <a:lnTo>
                    <a:pt x="35" y="27"/>
                  </a:lnTo>
                  <a:lnTo>
                    <a:pt x="32" y="27"/>
                  </a:lnTo>
                  <a:lnTo>
                    <a:pt x="30" y="26"/>
                  </a:lnTo>
                  <a:lnTo>
                    <a:pt x="27" y="26"/>
                  </a:lnTo>
                  <a:lnTo>
                    <a:pt x="25" y="25"/>
                  </a:lnTo>
                  <a:lnTo>
                    <a:pt x="26" y="23"/>
                  </a:lnTo>
                  <a:lnTo>
                    <a:pt x="28" y="21"/>
                  </a:lnTo>
                  <a:lnTo>
                    <a:pt x="30" y="21"/>
                  </a:lnTo>
                  <a:lnTo>
                    <a:pt x="29" y="21"/>
                  </a:lnTo>
                  <a:lnTo>
                    <a:pt x="27" y="19"/>
                  </a:lnTo>
                  <a:lnTo>
                    <a:pt x="23" y="20"/>
                  </a:lnTo>
                  <a:lnTo>
                    <a:pt x="21" y="17"/>
                  </a:lnTo>
                  <a:lnTo>
                    <a:pt x="19" y="18"/>
                  </a:lnTo>
                  <a:lnTo>
                    <a:pt x="15" y="16"/>
                  </a:lnTo>
                  <a:lnTo>
                    <a:pt x="13" y="15"/>
                  </a:lnTo>
                  <a:lnTo>
                    <a:pt x="12" y="12"/>
                  </a:lnTo>
                  <a:lnTo>
                    <a:pt x="10" y="13"/>
                  </a:lnTo>
                  <a:lnTo>
                    <a:pt x="8" y="13"/>
                  </a:lnTo>
                  <a:lnTo>
                    <a:pt x="9" y="11"/>
                  </a:lnTo>
                  <a:lnTo>
                    <a:pt x="5" y="10"/>
                  </a:lnTo>
                  <a:lnTo>
                    <a:pt x="6" y="7"/>
                  </a:lnTo>
                  <a:lnTo>
                    <a:pt x="10" y="7"/>
                  </a:lnTo>
                  <a:lnTo>
                    <a:pt x="12" y="9"/>
                  </a:lnTo>
                  <a:lnTo>
                    <a:pt x="11" y="7"/>
                  </a:lnTo>
                  <a:lnTo>
                    <a:pt x="8" y="4"/>
                  </a:lnTo>
                  <a:lnTo>
                    <a:pt x="5" y="7"/>
                  </a:lnTo>
                  <a:lnTo>
                    <a:pt x="3" y="7"/>
                  </a:lnTo>
                  <a:lnTo>
                    <a:pt x="1" y="4"/>
                  </a:lnTo>
                  <a:lnTo>
                    <a:pt x="0" y="1"/>
                  </a:lnTo>
                  <a:lnTo>
                    <a:pt x="3" y="0"/>
                  </a:lnTo>
                  <a:lnTo>
                    <a:pt x="5" y="0"/>
                  </a:lnTo>
                  <a:lnTo>
                    <a:pt x="8" y="0"/>
                  </a:lnTo>
                  <a:lnTo>
                    <a:pt x="11" y="1"/>
                  </a:lnTo>
                  <a:lnTo>
                    <a:pt x="13" y="3"/>
                  </a:lnTo>
                  <a:lnTo>
                    <a:pt x="15" y="4"/>
                  </a:lnTo>
                  <a:lnTo>
                    <a:pt x="19" y="6"/>
                  </a:lnTo>
                  <a:lnTo>
                    <a:pt x="21" y="6"/>
                  </a:lnTo>
                  <a:lnTo>
                    <a:pt x="25" y="7"/>
                  </a:lnTo>
                  <a:lnTo>
                    <a:pt x="27" y="7"/>
                  </a:lnTo>
                  <a:lnTo>
                    <a:pt x="29" y="8"/>
                  </a:lnTo>
                  <a:lnTo>
                    <a:pt x="32" y="9"/>
                  </a:lnTo>
                  <a:lnTo>
                    <a:pt x="34" y="9"/>
                  </a:lnTo>
                  <a:lnTo>
                    <a:pt x="36" y="9"/>
                  </a:lnTo>
                  <a:lnTo>
                    <a:pt x="38" y="9"/>
                  </a:lnTo>
                  <a:lnTo>
                    <a:pt x="40" y="12"/>
                  </a:lnTo>
                  <a:lnTo>
                    <a:pt x="43" y="15"/>
                  </a:lnTo>
                  <a:lnTo>
                    <a:pt x="43" y="16"/>
                  </a:lnTo>
                  <a:lnTo>
                    <a:pt x="43" y="16"/>
                  </a:lnTo>
                  <a:close/>
                  <a:moveTo>
                    <a:pt x="561" y="103"/>
                  </a:moveTo>
                  <a:lnTo>
                    <a:pt x="563" y="105"/>
                  </a:lnTo>
                  <a:lnTo>
                    <a:pt x="564" y="103"/>
                  </a:lnTo>
                  <a:lnTo>
                    <a:pt x="565" y="101"/>
                  </a:lnTo>
                  <a:lnTo>
                    <a:pt x="566" y="97"/>
                  </a:lnTo>
                  <a:lnTo>
                    <a:pt x="563" y="100"/>
                  </a:lnTo>
                  <a:lnTo>
                    <a:pt x="561" y="103"/>
                  </a:lnTo>
                  <a:lnTo>
                    <a:pt x="561" y="1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30" name="Freeform 230">
              <a:extLst>
                <a:ext uri="{FF2B5EF4-FFF2-40B4-BE49-F238E27FC236}">
                  <a16:creationId xmlns:a16="http://schemas.microsoft.com/office/drawing/2014/main" id="{A89A2919-E1E5-4704-AE2C-123DDD17D60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16538" y="2740025"/>
              <a:ext cx="239712" cy="109538"/>
            </a:xfrm>
            <a:custGeom>
              <a:avLst/>
              <a:gdLst>
                <a:gd name="T0" fmla="*/ 142 w 151"/>
                <a:gd name="T1" fmla="*/ 41 h 69"/>
                <a:gd name="T2" fmla="*/ 144 w 151"/>
                <a:gd name="T3" fmla="*/ 34 h 69"/>
                <a:gd name="T4" fmla="*/ 151 w 151"/>
                <a:gd name="T5" fmla="*/ 31 h 69"/>
                <a:gd name="T6" fmla="*/ 148 w 151"/>
                <a:gd name="T7" fmla="*/ 29 h 69"/>
                <a:gd name="T8" fmla="*/ 149 w 151"/>
                <a:gd name="T9" fmla="*/ 23 h 69"/>
                <a:gd name="T10" fmla="*/ 136 w 151"/>
                <a:gd name="T11" fmla="*/ 24 h 69"/>
                <a:gd name="T12" fmla="*/ 133 w 151"/>
                <a:gd name="T13" fmla="*/ 16 h 69"/>
                <a:gd name="T14" fmla="*/ 131 w 151"/>
                <a:gd name="T15" fmla="*/ 8 h 69"/>
                <a:gd name="T16" fmla="*/ 126 w 151"/>
                <a:gd name="T17" fmla="*/ 6 h 69"/>
                <a:gd name="T18" fmla="*/ 117 w 151"/>
                <a:gd name="T19" fmla="*/ 0 h 69"/>
                <a:gd name="T20" fmla="*/ 110 w 151"/>
                <a:gd name="T21" fmla="*/ 6 h 69"/>
                <a:gd name="T22" fmla="*/ 102 w 151"/>
                <a:gd name="T23" fmla="*/ 7 h 69"/>
                <a:gd name="T24" fmla="*/ 91 w 151"/>
                <a:gd name="T25" fmla="*/ 9 h 69"/>
                <a:gd name="T26" fmla="*/ 88 w 151"/>
                <a:gd name="T27" fmla="*/ 14 h 69"/>
                <a:gd name="T28" fmla="*/ 84 w 151"/>
                <a:gd name="T29" fmla="*/ 14 h 69"/>
                <a:gd name="T30" fmla="*/ 74 w 151"/>
                <a:gd name="T31" fmla="*/ 10 h 69"/>
                <a:gd name="T32" fmla="*/ 69 w 151"/>
                <a:gd name="T33" fmla="*/ 18 h 69"/>
                <a:gd name="T34" fmla="*/ 60 w 151"/>
                <a:gd name="T35" fmla="*/ 9 h 69"/>
                <a:gd name="T36" fmla="*/ 58 w 151"/>
                <a:gd name="T37" fmla="*/ 19 h 69"/>
                <a:gd name="T38" fmla="*/ 54 w 151"/>
                <a:gd name="T39" fmla="*/ 21 h 69"/>
                <a:gd name="T40" fmla="*/ 47 w 151"/>
                <a:gd name="T41" fmla="*/ 31 h 69"/>
                <a:gd name="T42" fmla="*/ 39 w 151"/>
                <a:gd name="T43" fmla="*/ 20 h 69"/>
                <a:gd name="T44" fmla="*/ 43 w 151"/>
                <a:gd name="T45" fmla="*/ 12 h 69"/>
                <a:gd name="T46" fmla="*/ 38 w 151"/>
                <a:gd name="T47" fmla="*/ 8 h 69"/>
                <a:gd name="T48" fmla="*/ 27 w 151"/>
                <a:gd name="T49" fmla="*/ 1 h 69"/>
                <a:gd name="T50" fmla="*/ 23 w 151"/>
                <a:gd name="T51" fmla="*/ 3 h 69"/>
                <a:gd name="T52" fmla="*/ 25 w 151"/>
                <a:gd name="T53" fmla="*/ 9 h 69"/>
                <a:gd name="T54" fmla="*/ 26 w 151"/>
                <a:gd name="T55" fmla="*/ 12 h 69"/>
                <a:gd name="T56" fmla="*/ 13 w 151"/>
                <a:gd name="T57" fmla="*/ 8 h 69"/>
                <a:gd name="T58" fmla="*/ 13 w 151"/>
                <a:gd name="T59" fmla="*/ 11 h 69"/>
                <a:gd name="T60" fmla="*/ 14 w 151"/>
                <a:gd name="T61" fmla="*/ 15 h 69"/>
                <a:gd name="T62" fmla="*/ 16 w 151"/>
                <a:gd name="T63" fmla="*/ 18 h 69"/>
                <a:gd name="T64" fmla="*/ 10 w 151"/>
                <a:gd name="T65" fmla="*/ 18 h 69"/>
                <a:gd name="T66" fmla="*/ 5 w 151"/>
                <a:gd name="T67" fmla="*/ 20 h 69"/>
                <a:gd name="T68" fmla="*/ 8 w 151"/>
                <a:gd name="T69" fmla="*/ 25 h 69"/>
                <a:gd name="T70" fmla="*/ 22 w 151"/>
                <a:gd name="T71" fmla="*/ 21 h 69"/>
                <a:gd name="T72" fmla="*/ 30 w 151"/>
                <a:gd name="T73" fmla="*/ 23 h 69"/>
                <a:gd name="T74" fmla="*/ 39 w 151"/>
                <a:gd name="T75" fmla="*/ 25 h 69"/>
                <a:gd name="T76" fmla="*/ 30 w 151"/>
                <a:gd name="T77" fmla="*/ 31 h 69"/>
                <a:gd name="T78" fmla="*/ 34 w 151"/>
                <a:gd name="T79" fmla="*/ 33 h 69"/>
                <a:gd name="T80" fmla="*/ 21 w 151"/>
                <a:gd name="T81" fmla="*/ 34 h 69"/>
                <a:gd name="T82" fmla="*/ 7 w 151"/>
                <a:gd name="T83" fmla="*/ 38 h 69"/>
                <a:gd name="T84" fmla="*/ 21 w 151"/>
                <a:gd name="T85" fmla="*/ 38 h 69"/>
                <a:gd name="T86" fmla="*/ 32 w 151"/>
                <a:gd name="T87" fmla="*/ 41 h 69"/>
                <a:gd name="T88" fmla="*/ 35 w 151"/>
                <a:gd name="T89" fmla="*/ 44 h 69"/>
                <a:gd name="T90" fmla="*/ 40 w 151"/>
                <a:gd name="T91" fmla="*/ 43 h 69"/>
                <a:gd name="T92" fmla="*/ 35 w 151"/>
                <a:gd name="T93" fmla="*/ 50 h 69"/>
                <a:gd name="T94" fmla="*/ 40 w 151"/>
                <a:gd name="T95" fmla="*/ 48 h 69"/>
                <a:gd name="T96" fmla="*/ 35 w 151"/>
                <a:gd name="T97" fmla="*/ 54 h 69"/>
                <a:gd name="T98" fmla="*/ 24 w 151"/>
                <a:gd name="T99" fmla="*/ 59 h 69"/>
                <a:gd name="T100" fmla="*/ 38 w 151"/>
                <a:gd name="T101" fmla="*/ 59 h 69"/>
                <a:gd name="T102" fmla="*/ 47 w 151"/>
                <a:gd name="T103" fmla="*/ 59 h 69"/>
                <a:gd name="T104" fmla="*/ 56 w 151"/>
                <a:gd name="T105" fmla="*/ 60 h 69"/>
                <a:gd name="T106" fmla="*/ 61 w 151"/>
                <a:gd name="T107" fmla="*/ 66 h 69"/>
                <a:gd name="T108" fmla="*/ 72 w 151"/>
                <a:gd name="T109" fmla="*/ 68 h 69"/>
                <a:gd name="T110" fmla="*/ 85 w 151"/>
                <a:gd name="T111" fmla="*/ 67 h 69"/>
                <a:gd name="T112" fmla="*/ 91 w 151"/>
                <a:gd name="T113" fmla="*/ 62 h 69"/>
                <a:gd name="T114" fmla="*/ 103 w 151"/>
                <a:gd name="T115" fmla="*/ 61 h 69"/>
                <a:gd name="T116" fmla="*/ 112 w 151"/>
                <a:gd name="T117" fmla="*/ 57 h 69"/>
                <a:gd name="T118" fmla="*/ 123 w 151"/>
                <a:gd name="T119" fmla="*/ 51 h 69"/>
                <a:gd name="T120" fmla="*/ 132 w 151"/>
                <a:gd name="T121" fmla="*/ 4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51" h="69">
                  <a:moveTo>
                    <a:pt x="137" y="46"/>
                  </a:moveTo>
                  <a:lnTo>
                    <a:pt x="137" y="46"/>
                  </a:lnTo>
                  <a:lnTo>
                    <a:pt x="136" y="43"/>
                  </a:lnTo>
                  <a:lnTo>
                    <a:pt x="140" y="41"/>
                  </a:lnTo>
                  <a:lnTo>
                    <a:pt x="142" y="41"/>
                  </a:lnTo>
                  <a:lnTo>
                    <a:pt x="145" y="38"/>
                  </a:lnTo>
                  <a:lnTo>
                    <a:pt x="146" y="38"/>
                  </a:lnTo>
                  <a:lnTo>
                    <a:pt x="144" y="36"/>
                  </a:lnTo>
                  <a:lnTo>
                    <a:pt x="148" y="35"/>
                  </a:lnTo>
                  <a:lnTo>
                    <a:pt x="144" y="34"/>
                  </a:lnTo>
                  <a:lnTo>
                    <a:pt x="142" y="34"/>
                  </a:lnTo>
                  <a:lnTo>
                    <a:pt x="145" y="33"/>
                  </a:lnTo>
                  <a:lnTo>
                    <a:pt x="148" y="34"/>
                  </a:lnTo>
                  <a:lnTo>
                    <a:pt x="150" y="33"/>
                  </a:lnTo>
                  <a:lnTo>
                    <a:pt x="151" y="31"/>
                  </a:lnTo>
                  <a:lnTo>
                    <a:pt x="148" y="29"/>
                  </a:lnTo>
                  <a:lnTo>
                    <a:pt x="145" y="29"/>
                  </a:lnTo>
                  <a:lnTo>
                    <a:pt x="144" y="31"/>
                  </a:lnTo>
                  <a:lnTo>
                    <a:pt x="144" y="29"/>
                  </a:lnTo>
                  <a:lnTo>
                    <a:pt x="148" y="29"/>
                  </a:lnTo>
                  <a:lnTo>
                    <a:pt x="150" y="28"/>
                  </a:lnTo>
                  <a:lnTo>
                    <a:pt x="149" y="27"/>
                  </a:lnTo>
                  <a:lnTo>
                    <a:pt x="145" y="27"/>
                  </a:lnTo>
                  <a:lnTo>
                    <a:pt x="149" y="26"/>
                  </a:lnTo>
                  <a:lnTo>
                    <a:pt x="149" y="23"/>
                  </a:lnTo>
                  <a:lnTo>
                    <a:pt x="146" y="23"/>
                  </a:lnTo>
                  <a:lnTo>
                    <a:pt x="144" y="20"/>
                  </a:lnTo>
                  <a:lnTo>
                    <a:pt x="141" y="20"/>
                  </a:lnTo>
                  <a:lnTo>
                    <a:pt x="138" y="20"/>
                  </a:lnTo>
                  <a:lnTo>
                    <a:pt x="136" y="24"/>
                  </a:lnTo>
                  <a:lnTo>
                    <a:pt x="138" y="20"/>
                  </a:lnTo>
                  <a:lnTo>
                    <a:pt x="140" y="19"/>
                  </a:lnTo>
                  <a:lnTo>
                    <a:pt x="137" y="17"/>
                  </a:lnTo>
                  <a:lnTo>
                    <a:pt x="133" y="18"/>
                  </a:lnTo>
                  <a:lnTo>
                    <a:pt x="133" y="16"/>
                  </a:lnTo>
                  <a:lnTo>
                    <a:pt x="135" y="14"/>
                  </a:lnTo>
                  <a:lnTo>
                    <a:pt x="133" y="10"/>
                  </a:lnTo>
                  <a:lnTo>
                    <a:pt x="131" y="11"/>
                  </a:lnTo>
                  <a:lnTo>
                    <a:pt x="131" y="8"/>
                  </a:lnTo>
                  <a:lnTo>
                    <a:pt x="131" y="8"/>
                  </a:lnTo>
                  <a:lnTo>
                    <a:pt x="131" y="6"/>
                  </a:lnTo>
                  <a:lnTo>
                    <a:pt x="134" y="3"/>
                  </a:lnTo>
                  <a:lnTo>
                    <a:pt x="131" y="3"/>
                  </a:lnTo>
                  <a:lnTo>
                    <a:pt x="128" y="6"/>
                  </a:lnTo>
                  <a:lnTo>
                    <a:pt x="126" y="6"/>
                  </a:lnTo>
                  <a:lnTo>
                    <a:pt x="125" y="9"/>
                  </a:lnTo>
                  <a:lnTo>
                    <a:pt x="123" y="7"/>
                  </a:lnTo>
                  <a:lnTo>
                    <a:pt x="119" y="6"/>
                  </a:lnTo>
                  <a:lnTo>
                    <a:pt x="119" y="2"/>
                  </a:lnTo>
                  <a:lnTo>
                    <a:pt x="117" y="0"/>
                  </a:lnTo>
                  <a:lnTo>
                    <a:pt x="114" y="0"/>
                  </a:lnTo>
                  <a:lnTo>
                    <a:pt x="111" y="0"/>
                  </a:lnTo>
                  <a:lnTo>
                    <a:pt x="109" y="1"/>
                  </a:lnTo>
                  <a:lnTo>
                    <a:pt x="109" y="3"/>
                  </a:lnTo>
                  <a:lnTo>
                    <a:pt x="110" y="6"/>
                  </a:lnTo>
                  <a:lnTo>
                    <a:pt x="110" y="7"/>
                  </a:lnTo>
                  <a:lnTo>
                    <a:pt x="109" y="10"/>
                  </a:lnTo>
                  <a:lnTo>
                    <a:pt x="106" y="9"/>
                  </a:lnTo>
                  <a:lnTo>
                    <a:pt x="103" y="7"/>
                  </a:lnTo>
                  <a:lnTo>
                    <a:pt x="102" y="7"/>
                  </a:lnTo>
                  <a:lnTo>
                    <a:pt x="100" y="8"/>
                  </a:lnTo>
                  <a:lnTo>
                    <a:pt x="98" y="11"/>
                  </a:lnTo>
                  <a:lnTo>
                    <a:pt x="95" y="14"/>
                  </a:lnTo>
                  <a:lnTo>
                    <a:pt x="93" y="11"/>
                  </a:lnTo>
                  <a:lnTo>
                    <a:pt x="91" y="9"/>
                  </a:lnTo>
                  <a:lnTo>
                    <a:pt x="90" y="8"/>
                  </a:lnTo>
                  <a:lnTo>
                    <a:pt x="88" y="8"/>
                  </a:lnTo>
                  <a:lnTo>
                    <a:pt x="85" y="8"/>
                  </a:lnTo>
                  <a:lnTo>
                    <a:pt x="85" y="11"/>
                  </a:lnTo>
                  <a:lnTo>
                    <a:pt x="88" y="14"/>
                  </a:lnTo>
                  <a:lnTo>
                    <a:pt x="89" y="16"/>
                  </a:lnTo>
                  <a:lnTo>
                    <a:pt x="89" y="20"/>
                  </a:lnTo>
                  <a:lnTo>
                    <a:pt x="88" y="18"/>
                  </a:lnTo>
                  <a:lnTo>
                    <a:pt x="86" y="16"/>
                  </a:lnTo>
                  <a:lnTo>
                    <a:pt x="84" y="14"/>
                  </a:lnTo>
                  <a:lnTo>
                    <a:pt x="82" y="11"/>
                  </a:lnTo>
                  <a:lnTo>
                    <a:pt x="80" y="8"/>
                  </a:lnTo>
                  <a:lnTo>
                    <a:pt x="76" y="8"/>
                  </a:lnTo>
                  <a:lnTo>
                    <a:pt x="74" y="8"/>
                  </a:lnTo>
                  <a:lnTo>
                    <a:pt x="74" y="10"/>
                  </a:lnTo>
                  <a:lnTo>
                    <a:pt x="72" y="10"/>
                  </a:lnTo>
                  <a:lnTo>
                    <a:pt x="68" y="12"/>
                  </a:lnTo>
                  <a:lnTo>
                    <a:pt x="69" y="16"/>
                  </a:lnTo>
                  <a:lnTo>
                    <a:pt x="69" y="18"/>
                  </a:lnTo>
                  <a:lnTo>
                    <a:pt x="69" y="18"/>
                  </a:lnTo>
                  <a:lnTo>
                    <a:pt x="68" y="18"/>
                  </a:lnTo>
                  <a:lnTo>
                    <a:pt x="66" y="16"/>
                  </a:lnTo>
                  <a:lnTo>
                    <a:pt x="64" y="14"/>
                  </a:lnTo>
                  <a:lnTo>
                    <a:pt x="61" y="11"/>
                  </a:lnTo>
                  <a:lnTo>
                    <a:pt x="60" y="9"/>
                  </a:lnTo>
                  <a:lnTo>
                    <a:pt x="59" y="9"/>
                  </a:lnTo>
                  <a:lnTo>
                    <a:pt x="56" y="11"/>
                  </a:lnTo>
                  <a:lnTo>
                    <a:pt x="57" y="15"/>
                  </a:lnTo>
                  <a:lnTo>
                    <a:pt x="58" y="17"/>
                  </a:lnTo>
                  <a:lnTo>
                    <a:pt x="58" y="19"/>
                  </a:lnTo>
                  <a:lnTo>
                    <a:pt x="57" y="20"/>
                  </a:lnTo>
                  <a:lnTo>
                    <a:pt x="56" y="23"/>
                  </a:lnTo>
                  <a:lnTo>
                    <a:pt x="56" y="24"/>
                  </a:lnTo>
                  <a:lnTo>
                    <a:pt x="55" y="23"/>
                  </a:lnTo>
                  <a:lnTo>
                    <a:pt x="54" y="21"/>
                  </a:lnTo>
                  <a:lnTo>
                    <a:pt x="51" y="20"/>
                  </a:lnTo>
                  <a:lnTo>
                    <a:pt x="48" y="23"/>
                  </a:lnTo>
                  <a:lnTo>
                    <a:pt x="47" y="25"/>
                  </a:lnTo>
                  <a:lnTo>
                    <a:pt x="47" y="28"/>
                  </a:lnTo>
                  <a:lnTo>
                    <a:pt x="47" y="31"/>
                  </a:lnTo>
                  <a:lnTo>
                    <a:pt x="46" y="28"/>
                  </a:lnTo>
                  <a:lnTo>
                    <a:pt x="46" y="25"/>
                  </a:lnTo>
                  <a:lnTo>
                    <a:pt x="43" y="23"/>
                  </a:lnTo>
                  <a:lnTo>
                    <a:pt x="42" y="20"/>
                  </a:lnTo>
                  <a:lnTo>
                    <a:pt x="39" y="20"/>
                  </a:lnTo>
                  <a:lnTo>
                    <a:pt x="38" y="17"/>
                  </a:lnTo>
                  <a:lnTo>
                    <a:pt x="40" y="19"/>
                  </a:lnTo>
                  <a:lnTo>
                    <a:pt x="43" y="18"/>
                  </a:lnTo>
                  <a:lnTo>
                    <a:pt x="44" y="16"/>
                  </a:lnTo>
                  <a:lnTo>
                    <a:pt x="43" y="12"/>
                  </a:lnTo>
                  <a:lnTo>
                    <a:pt x="41" y="12"/>
                  </a:lnTo>
                  <a:lnTo>
                    <a:pt x="43" y="11"/>
                  </a:lnTo>
                  <a:lnTo>
                    <a:pt x="41" y="10"/>
                  </a:lnTo>
                  <a:lnTo>
                    <a:pt x="39" y="10"/>
                  </a:lnTo>
                  <a:lnTo>
                    <a:pt x="38" y="8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1" y="6"/>
                  </a:lnTo>
                  <a:lnTo>
                    <a:pt x="30" y="3"/>
                  </a:lnTo>
                  <a:lnTo>
                    <a:pt x="27" y="1"/>
                  </a:lnTo>
                  <a:lnTo>
                    <a:pt x="24" y="2"/>
                  </a:lnTo>
                  <a:lnTo>
                    <a:pt x="22" y="2"/>
                  </a:lnTo>
                  <a:lnTo>
                    <a:pt x="18" y="2"/>
                  </a:lnTo>
                  <a:lnTo>
                    <a:pt x="20" y="4"/>
                  </a:lnTo>
                  <a:lnTo>
                    <a:pt x="23" y="3"/>
                  </a:lnTo>
                  <a:lnTo>
                    <a:pt x="25" y="6"/>
                  </a:lnTo>
                  <a:lnTo>
                    <a:pt x="29" y="6"/>
                  </a:lnTo>
                  <a:lnTo>
                    <a:pt x="25" y="7"/>
                  </a:lnTo>
                  <a:lnTo>
                    <a:pt x="23" y="8"/>
                  </a:lnTo>
                  <a:lnTo>
                    <a:pt x="25" y="9"/>
                  </a:lnTo>
                  <a:lnTo>
                    <a:pt x="27" y="10"/>
                  </a:lnTo>
                  <a:lnTo>
                    <a:pt x="26" y="14"/>
                  </a:lnTo>
                  <a:lnTo>
                    <a:pt x="25" y="16"/>
                  </a:lnTo>
                  <a:lnTo>
                    <a:pt x="26" y="15"/>
                  </a:lnTo>
                  <a:lnTo>
                    <a:pt x="26" y="12"/>
                  </a:lnTo>
                  <a:lnTo>
                    <a:pt x="24" y="12"/>
                  </a:lnTo>
                  <a:lnTo>
                    <a:pt x="21" y="11"/>
                  </a:lnTo>
                  <a:lnTo>
                    <a:pt x="18" y="9"/>
                  </a:lnTo>
                  <a:lnTo>
                    <a:pt x="16" y="8"/>
                  </a:lnTo>
                  <a:lnTo>
                    <a:pt x="13" y="8"/>
                  </a:lnTo>
                  <a:lnTo>
                    <a:pt x="13" y="9"/>
                  </a:lnTo>
                  <a:lnTo>
                    <a:pt x="15" y="10"/>
                  </a:lnTo>
                  <a:lnTo>
                    <a:pt x="13" y="10"/>
                  </a:lnTo>
                  <a:lnTo>
                    <a:pt x="15" y="12"/>
                  </a:lnTo>
                  <a:lnTo>
                    <a:pt x="13" y="11"/>
                  </a:lnTo>
                  <a:lnTo>
                    <a:pt x="9" y="10"/>
                  </a:lnTo>
                  <a:lnTo>
                    <a:pt x="12" y="14"/>
                  </a:lnTo>
                  <a:lnTo>
                    <a:pt x="14" y="15"/>
                  </a:lnTo>
                  <a:lnTo>
                    <a:pt x="17" y="16"/>
                  </a:lnTo>
                  <a:lnTo>
                    <a:pt x="14" y="15"/>
                  </a:lnTo>
                  <a:lnTo>
                    <a:pt x="12" y="14"/>
                  </a:lnTo>
                  <a:lnTo>
                    <a:pt x="8" y="15"/>
                  </a:lnTo>
                  <a:lnTo>
                    <a:pt x="10" y="17"/>
                  </a:lnTo>
                  <a:lnTo>
                    <a:pt x="13" y="17"/>
                  </a:lnTo>
                  <a:lnTo>
                    <a:pt x="16" y="18"/>
                  </a:lnTo>
                  <a:lnTo>
                    <a:pt x="13" y="18"/>
                  </a:lnTo>
                  <a:lnTo>
                    <a:pt x="14" y="18"/>
                  </a:lnTo>
                  <a:lnTo>
                    <a:pt x="16" y="19"/>
                  </a:lnTo>
                  <a:lnTo>
                    <a:pt x="13" y="20"/>
                  </a:lnTo>
                  <a:lnTo>
                    <a:pt x="10" y="18"/>
                  </a:lnTo>
                  <a:lnTo>
                    <a:pt x="8" y="17"/>
                  </a:lnTo>
                  <a:lnTo>
                    <a:pt x="5" y="17"/>
                  </a:lnTo>
                  <a:lnTo>
                    <a:pt x="7" y="19"/>
                  </a:lnTo>
                  <a:lnTo>
                    <a:pt x="7" y="21"/>
                  </a:lnTo>
                  <a:lnTo>
                    <a:pt x="5" y="20"/>
                  </a:lnTo>
                  <a:lnTo>
                    <a:pt x="1" y="20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6" y="24"/>
                  </a:lnTo>
                  <a:lnTo>
                    <a:pt x="8" y="25"/>
                  </a:lnTo>
                  <a:lnTo>
                    <a:pt x="10" y="25"/>
                  </a:lnTo>
                  <a:lnTo>
                    <a:pt x="13" y="24"/>
                  </a:lnTo>
                  <a:lnTo>
                    <a:pt x="16" y="24"/>
                  </a:lnTo>
                  <a:lnTo>
                    <a:pt x="18" y="21"/>
                  </a:lnTo>
                  <a:lnTo>
                    <a:pt x="22" y="21"/>
                  </a:lnTo>
                  <a:lnTo>
                    <a:pt x="22" y="21"/>
                  </a:lnTo>
                  <a:lnTo>
                    <a:pt x="24" y="23"/>
                  </a:lnTo>
                  <a:lnTo>
                    <a:pt x="24" y="20"/>
                  </a:lnTo>
                  <a:lnTo>
                    <a:pt x="26" y="20"/>
                  </a:lnTo>
                  <a:lnTo>
                    <a:pt x="30" y="23"/>
                  </a:lnTo>
                  <a:lnTo>
                    <a:pt x="32" y="21"/>
                  </a:lnTo>
                  <a:lnTo>
                    <a:pt x="30" y="25"/>
                  </a:lnTo>
                  <a:lnTo>
                    <a:pt x="33" y="23"/>
                  </a:lnTo>
                  <a:lnTo>
                    <a:pt x="35" y="25"/>
                  </a:lnTo>
                  <a:lnTo>
                    <a:pt x="39" y="25"/>
                  </a:lnTo>
                  <a:lnTo>
                    <a:pt x="38" y="25"/>
                  </a:lnTo>
                  <a:lnTo>
                    <a:pt x="34" y="25"/>
                  </a:lnTo>
                  <a:lnTo>
                    <a:pt x="32" y="27"/>
                  </a:lnTo>
                  <a:lnTo>
                    <a:pt x="30" y="28"/>
                  </a:lnTo>
                  <a:lnTo>
                    <a:pt x="30" y="31"/>
                  </a:lnTo>
                  <a:lnTo>
                    <a:pt x="32" y="32"/>
                  </a:lnTo>
                  <a:lnTo>
                    <a:pt x="34" y="32"/>
                  </a:lnTo>
                  <a:lnTo>
                    <a:pt x="38" y="32"/>
                  </a:lnTo>
                  <a:lnTo>
                    <a:pt x="34" y="34"/>
                  </a:lnTo>
                  <a:lnTo>
                    <a:pt x="34" y="33"/>
                  </a:lnTo>
                  <a:lnTo>
                    <a:pt x="31" y="33"/>
                  </a:lnTo>
                  <a:lnTo>
                    <a:pt x="29" y="33"/>
                  </a:lnTo>
                  <a:lnTo>
                    <a:pt x="26" y="34"/>
                  </a:lnTo>
                  <a:lnTo>
                    <a:pt x="23" y="34"/>
                  </a:lnTo>
                  <a:lnTo>
                    <a:pt x="21" y="34"/>
                  </a:lnTo>
                  <a:lnTo>
                    <a:pt x="17" y="34"/>
                  </a:lnTo>
                  <a:lnTo>
                    <a:pt x="15" y="35"/>
                  </a:lnTo>
                  <a:lnTo>
                    <a:pt x="13" y="36"/>
                  </a:lnTo>
                  <a:lnTo>
                    <a:pt x="9" y="36"/>
                  </a:lnTo>
                  <a:lnTo>
                    <a:pt x="7" y="38"/>
                  </a:lnTo>
                  <a:lnTo>
                    <a:pt x="9" y="41"/>
                  </a:lnTo>
                  <a:lnTo>
                    <a:pt x="13" y="38"/>
                  </a:lnTo>
                  <a:lnTo>
                    <a:pt x="15" y="38"/>
                  </a:lnTo>
                  <a:lnTo>
                    <a:pt x="17" y="38"/>
                  </a:lnTo>
                  <a:lnTo>
                    <a:pt x="21" y="38"/>
                  </a:lnTo>
                  <a:lnTo>
                    <a:pt x="23" y="38"/>
                  </a:lnTo>
                  <a:lnTo>
                    <a:pt x="26" y="40"/>
                  </a:lnTo>
                  <a:lnTo>
                    <a:pt x="29" y="38"/>
                  </a:lnTo>
                  <a:lnTo>
                    <a:pt x="30" y="42"/>
                  </a:lnTo>
                  <a:lnTo>
                    <a:pt x="32" y="41"/>
                  </a:lnTo>
                  <a:lnTo>
                    <a:pt x="30" y="41"/>
                  </a:lnTo>
                  <a:lnTo>
                    <a:pt x="30" y="44"/>
                  </a:lnTo>
                  <a:lnTo>
                    <a:pt x="32" y="46"/>
                  </a:lnTo>
                  <a:lnTo>
                    <a:pt x="33" y="46"/>
                  </a:lnTo>
                  <a:lnTo>
                    <a:pt x="35" y="44"/>
                  </a:lnTo>
                  <a:lnTo>
                    <a:pt x="38" y="43"/>
                  </a:lnTo>
                  <a:lnTo>
                    <a:pt x="40" y="42"/>
                  </a:lnTo>
                  <a:lnTo>
                    <a:pt x="41" y="42"/>
                  </a:lnTo>
                  <a:lnTo>
                    <a:pt x="40" y="43"/>
                  </a:lnTo>
                  <a:lnTo>
                    <a:pt x="40" y="43"/>
                  </a:lnTo>
                  <a:lnTo>
                    <a:pt x="39" y="43"/>
                  </a:lnTo>
                  <a:lnTo>
                    <a:pt x="38" y="44"/>
                  </a:lnTo>
                  <a:lnTo>
                    <a:pt x="35" y="45"/>
                  </a:lnTo>
                  <a:lnTo>
                    <a:pt x="34" y="46"/>
                  </a:lnTo>
                  <a:lnTo>
                    <a:pt x="35" y="50"/>
                  </a:lnTo>
                  <a:lnTo>
                    <a:pt x="38" y="48"/>
                  </a:lnTo>
                  <a:lnTo>
                    <a:pt x="40" y="48"/>
                  </a:lnTo>
                  <a:lnTo>
                    <a:pt x="43" y="48"/>
                  </a:lnTo>
                  <a:lnTo>
                    <a:pt x="42" y="49"/>
                  </a:lnTo>
                  <a:lnTo>
                    <a:pt x="40" y="48"/>
                  </a:lnTo>
                  <a:lnTo>
                    <a:pt x="37" y="50"/>
                  </a:lnTo>
                  <a:lnTo>
                    <a:pt x="38" y="52"/>
                  </a:lnTo>
                  <a:lnTo>
                    <a:pt x="37" y="53"/>
                  </a:lnTo>
                  <a:lnTo>
                    <a:pt x="34" y="53"/>
                  </a:lnTo>
                  <a:lnTo>
                    <a:pt x="35" y="54"/>
                  </a:lnTo>
                  <a:lnTo>
                    <a:pt x="33" y="55"/>
                  </a:lnTo>
                  <a:lnTo>
                    <a:pt x="30" y="55"/>
                  </a:lnTo>
                  <a:lnTo>
                    <a:pt x="27" y="57"/>
                  </a:lnTo>
                  <a:lnTo>
                    <a:pt x="25" y="55"/>
                  </a:lnTo>
                  <a:lnTo>
                    <a:pt x="24" y="59"/>
                  </a:lnTo>
                  <a:lnTo>
                    <a:pt x="27" y="60"/>
                  </a:lnTo>
                  <a:lnTo>
                    <a:pt x="30" y="59"/>
                  </a:lnTo>
                  <a:lnTo>
                    <a:pt x="32" y="60"/>
                  </a:lnTo>
                  <a:lnTo>
                    <a:pt x="35" y="60"/>
                  </a:lnTo>
                  <a:lnTo>
                    <a:pt x="38" y="59"/>
                  </a:lnTo>
                  <a:lnTo>
                    <a:pt x="40" y="60"/>
                  </a:lnTo>
                  <a:lnTo>
                    <a:pt x="43" y="60"/>
                  </a:lnTo>
                  <a:lnTo>
                    <a:pt x="44" y="58"/>
                  </a:lnTo>
                  <a:lnTo>
                    <a:pt x="48" y="58"/>
                  </a:lnTo>
                  <a:lnTo>
                    <a:pt x="47" y="59"/>
                  </a:lnTo>
                  <a:lnTo>
                    <a:pt x="49" y="60"/>
                  </a:lnTo>
                  <a:lnTo>
                    <a:pt x="52" y="59"/>
                  </a:lnTo>
                  <a:lnTo>
                    <a:pt x="51" y="61"/>
                  </a:lnTo>
                  <a:lnTo>
                    <a:pt x="54" y="62"/>
                  </a:lnTo>
                  <a:lnTo>
                    <a:pt x="56" y="60"/>
                  </a:lnTo>
                  <a:lnTo>
                    <a:pt x="57" y="62"/>
                  </a:lnTo>
                  <a:lnTo>
                    <a:pt x="56" y="63"/>
                  </a:lnTo>
                  <a:lnTo>
                    <a:pt x="58" y="66"/>
                  </a:lnTo>
                  <a:lnTo>
                    <a:pt x="60" y="66"/>
                  </a:lnTo>
                  <a:lnTo>
                    <a:pt x="61" y="66"/>
                  </a:lnTo>
                  <a:lnTo>
                    <a:pt x="61" y="67"/>
                  </a:lnTo>
                  <a:lnTo>
                    <a:pt x="65" y="67"/>
                  </a:lnTo>
                  <a:lnTo>
                    <a:pt x="67" y="67"/>
                  </a:lnTo>
                  <a:lnTo>
                    <a:pt x="69" y="68"/>
                  </a:lnTo>
                  <a:lnTo>
                    <a:pt x="72" y="68"/>
                  </a:lnTo>
                  <a:lnTo>
                    <a:pt x="74" y="69"/>
                  </a:lnTo>
                  <a:lnTo>
                    <a:pt x="77" y="69"/>
                  </a:lnTo>
                  <a:lnTo>
                    <a:pt x="80" y="69"/>
                  </a:lnTo>
                  <a:lnTo>
                    <a:pt x="82" y="69"/>
                  </a:lnTo>
                  <a:lnTo>
                    <a:pt x="85" y="67"/>
                  </a:lnTo>
                  <a:lnTo>
                    <a:pt x="85" y="67"/>
                  </a:lnTo>
                  <a:lnTo>
                    <a:pt x="89" y="67"/>
                  </a:lnTo>
                  <a:lnTo>
                    <a:pt x="91" y="64"/>
                  </a:lnTo>
                  <a:lnTo>
                    <a:pt x="90" y="64"/>
                  </a:lnTo>
                  <a:lnTo>
                    <a:pt x="91" y="62"/>
                  </a:lnTo>
                  <a:lnTo>
                    <a:pt x="93" y="62"/>
                  </a:lnTo>
                  <a:lnTo>
                    <a:pt x="97" y="61"/>
                  </a:lnTo>
                  <a:lnTo>
                    <a:pt x="99" y="61"/>
                  </a:lnTo>
                  <a:lnTo>
                    <a:pt x="100" y="61"/>
                  </a:lnTo>
                  <a:lnTo>
                    <a:pt x="103" y="61"/>
                  </a:lnTo>
                  <a:lnTo>
                    <a:pt x="103" y="58"/>
                  </a:lnTo>
                  <a:lnTo>
                    <a:pt x="105" y="61"/>
                  </a:lnTo>
                  <a:lnTo>
                    <a:pt x="107" y="59"/>
                  </a:lnTo>
                  <a:lnTo>
                    <a:pt x="109" y="59"/>
                  </a:lnTo>
                  <a:lnTo>
                    <a:pt x="112" y="57"/>
                  </a:lnTo>
                  <a:lnTo>
                    <a:pt x="112" y="57"/>
                  </a:lnTo>
                  <a:lnTo>
                    <a:pt x="115" y="55"/>
                  </a:lnTo>
                  <a:lnTo>
                    <a:pt x="117" y="53"/>
                  </a:lnTo>
                  <a:lnTo>
                    <a:pt x="120" y="52"/>
                  </a:lnTo>
                  <a:lnTo>
                    <a:pt x="123" y="51"/>
                  </a:lnTo>
                  <a:lnTo>
                    <a:pt x="125" y="49"/>
                  </a:lnTo>
                  <a:lnTo>
                    <a:pt x="125" y="49"/>
                  </a:lnTo>
                  <a:lnTo>
                    <a:pt x="126" y="50"/>
                  </a:lnTo>
                  <a:lnTo>
                    <a:pt x="129" y="50"/>
                  </a:lnTo>
                  <a:lnTo>
                    <a:pt x="132" y="49"/>
                  </a:lnTo>
                  <a:lnTo>
                    <a:pt x="134" y="48"/>
                  </a:lnTo>
                  <a:lnTo>
                    <a:pt x="134" y="48"/>
                  </a:lnTo>
                  <a:lnTo>
                    <a:pt x="137" y="46"/>
                  </a:lnTo>
                  <a:lnTo>
                    <a:pt x="137" y="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31" name="Freeform 231">
              <a:extLst>
                <a:ext uri="{FF2B5EF4-FFF2-40B4-BE49-F238E27FC236}">
                  <a16:creationId xmlns:a16="http://schemas.microsoft.com/office/drawing/2014/main" id="{E48F5449-4FEB-4FC2-9677-95DFBC1BA70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9138" y="2473325"/>
              <a:ext cx="398462" cy="195263"/>
            </a:xfrm>
            <a:custGeom>
              <a:avLst/>
              <a:gdLst>
                <a:gd name="T0" fmla="*/ 238 w 251"/>
                <a:gd name="T1" fmla="*/ 93 h 123"/>
                <a:gd name="T2" fmla="*/ 226 w 251"/>
                <a:gd name="T3" fmla="*/ 97 h 123"/>
                <a:gd name="T4" fmla="*/ 220 w 251"/>
                <a:gd name="T5" fmla="*/ 103 h 123"/>
                <a:gd name="T6" fmla="*/ 235 w 251"/>
                <a:gd name="T7" fmla="*/ 99 h 123"/>
                <a:gd name="T8" fmla="*/ 233 w 251"/>
                <a:gd name="T9" fmla="*/ 111 h 123"/>
                <a:gd name="T10" fmla="*/ 211 w 251"/>
                <a:gd name="T11" fmla="*/ 114 h 123"/>
                <a:gd name="T12" fmla="*/ 191 w 251"/>
                <a:gd name="T13" fmla="*/ 110 h 123"/>
                <a:gd name="T14" fmla="*/ 177 w 251"/>
                <a:gd name="T15" fmla="*/ 107 h 123"/>
                <a:gd name="T16" fmla="*/ 167 w 251"/>
                <a:gd name="T17" fmla="*/ 106 h 123"/>
                <a:gd name="T18" fmla="*/ 148 w 251"/>
                <a:gd name="T19" fmla="*/ 111 h 123"/>
                <a:gd name="T20" fmla="*/ 128 w 251"/>
                <a:gd name="T21" fmla="*/ 118 h 123"/>
                <a:gd name="T22" fmla="*/ 109 w 251"/>
                <a:gd name="T23" fmla="*/ 120 h 123"/>
                <a:gd name="T24" fmla="*/ 90 w 251"/>
                <a:gd name="T25" fmla="*/ 122 h 123"/>
                <a:gd name="T26" fmla="*/ 76 w 251"/>
                <a:gd name="T27" fmla="*/ 110 h 123"/>
                <a:gd name="T28" fmla="*/ 63 w 251"/>
                <a:gd name="T29" fmla="*/ 103 h 123"/>
                <a:gd name="T30" fmla="*/ 43 w 251"/>
                <a:gd name="T31" fmla="*/ 102 h 123"/>
                <a:gd name="T32" fmla="*/ 25 w 251"/>
                <a:gd name="T33" fmla="*/ 91 h 123"/>
                <a:gd name="T34" fmla="*/ 38 w 251"/>
                <a:gd name="T35" fmla="*/ 81 h 123"/>
                <a:gd name="T36" fmla="*/ 58 w 251"/>
                <a:gd name="T37" fmla="*/ 78 h 123"/>
                <a:gd name="T38" fmla="*/ 77 w 251"/>
                <a:gd name="T39" fmla="*/ 78 h 123"/>
                <a:gd name="T40" fmla="*/ 97 w 251"/>
                <a:gd name="T41" fmla="*/ 78 h 123"/>
                <a:gd name="T42" fmla="*/ 96 w 251"/>
                <a:gd name="T43" fmla="*/ 73 h 123"/>
                <a:gd name="T44" fmla="*/ 76 w 251"/>
                <a:gd name="T45" fmla="*/ 69 h 123"/>
                <a:gd name="T46" fmla="*/ 56 w 251"/>
                <a:gd name="T47" fmla="*/ 71 h 123"/>
                <a:gd name="T48" fmla="*/ 34 w 251"/>
                <a:gd name="T49" fmla="*/ 71 h 123"/>
                <a:gd name="T50" fmla="*/ 16 w 251"/>
                <a:gd name="T51" fmla="*/ 66 h 123"/>
                <a:gd name="T52" fmla="*/ 23 w 251"/>
                <a:gd name="T53" fmla="*/ 56 h 123"/>
                <a:gd name="T54" fmla="*/ 45 w 251"/>
                <a:gd name="T55" fmla="*/ 51 h 123"/>
                <a:gd name="T56" fmla="*/ 53 w 251"/>
                <a:gd name="T57" fmla="*/ 49 h 123"/>
                <a:gd name="T58" fmla="*/ 33 w 251"/>
                <a:gd name="T59" fmla="*/ 49 h 123"/>
                <a:gd name="T60" fmla="*/ 14 w 251"/>
                <a:gd name="T61" fmla="*/ 51 h 123"/>
                <a:gd name="T62" fmla="*/ 12 w 251"/>
                <a:gd name="T63" fmla="*/ 46 h 123"/>
                <a:gd name="T64" fmla="*/ 4 w 251"/>
                <a:gd name="T65" fmla="*/ 35 h 123"/>
                <a:gd name="T66" fmla="*/ 7 w 251"/>
                <a:gd name="T67" fmla="*/ 24 h 123"/>
                <a:gd name="T68" fmla="*/ 26 w 251"/>
                <a:gd name="T69" fmla="*/ 12 h 123"/>
                <a:gd name="T70" fmla="*/ 46 w 251"/>
                <a:gd name="T71" fmla="*/ 5 h 123"/>
                <a:gd name="T72" fmla="*/ 64 w 251"/>
                <a:gd name="T73" fmla="*/ 0 h 123"/>
                <a:gd name="T74" fmla="*/ 68 w 251"/>
                <a:gd name="T75" fmla="*/ 15 h 123"/>
                <a:gd name="T76" fmla="*/ 71 w 251"/>
                <a:gd name="T77" fmla="*/ 18 h 123"/>
                <a:gd name="T78" fmla="*/ 83 w 251"/>
                <a:gd name="T79" fmla="*/ 9 h 123"/>
                <a:gd name="T80" fmla="*/ 104 w 251"/>
                <a:gd name="T81" fmla="*/ 15 h 123"/>
                <a:gd name="T82" fmla="*/ 100 w 251"/>
                <a:gd name="T83" fmla="*/ 28 h 123"/>
                <a:gd name="T84" fmla="*/ 111 w 251"/>
                <a:gd name="T85" fmla="*/ 23 h 123"/>
                <a:gd name="T86" fmla="*/ 125 w 251"/>
                <a:gd name="T87" fmla="*/ 23 h 123"/>
                <a:gd name="T88" fmla="*/ 125 w 251"/>
                <a:gd name="T89" fmla="*/ 17 h 123"/>
                <a:gd name="T90" fmla="*/ 116 w 251"/>
                <a:gd name="T91" fmla="*/ 12 h 123"/>
                <a:gd name="T92" fmla="*/ 131 w 251"/>
                <a:gd name="T93" fmla="*/ 14 h 123"/>
                <a:gd name="T94" fmla="*/ 144 w 251"/>
                <a:gd name="T95" fmla="*/ 22 h 123"/>
                <a:gd name="T96" fmla="*/ 149 w 251"/>
                <a:gd name="T97" fmla="*/ 40 h 123"/>
                <a:gd name="T98" fmla="*/ 162 w 251"/>
                <a:gd name="T99" fmla="*/ 40 h 123"/>
                <a:gd name="T100" fmla="*/ 154 w 251"/>
                <a:gd name="T101" fmla="*/ 23 h 123"/>
                <a:gd name="T102" fmla="*/ 149 w 251"/>
                <a:gd name="T103" fmla="*/ 6 h 123"/>
                <a:gd name="T104" fmla="*/ 160 w 251"/>
                <a:gd name="T105" fmla="*/ 3 h 123"/>
                <a:gd name="T106" fmla="*/ 177 w 251"/>
                <a:gd name="T107" fmla="*/ 7 h 123"/>
                <a:gd name="T108" fmla="*/ 191 w 251"/>
                <a:gd name="T109" fmla="*/ 23 h 123"/>
                <a:gd name="T110" fmla="*/ 199 w 251"/>
                <a:gd name="T111" fmla="*/ 41 h 123"/>
                <a:gd name="T112" fmla="*/ 199 w 251"/>
                <a:gd name="T113" fmla="*/ 58 h 123"/>
                <a:gd name="T114" fmla="*/ 217 w 251"/>
                <a:gd name="T115" fmla="*/ 71 h 123"/>
                <a:gd name="T116" fmla="*/ 227 w 251"/>
                <a:gd name="T117" fmla="*/ 74 h 123"/>
                <a:gd name="T118" fmla="*/ 243 w 251"/>
                <a:gd name="T119" fmla="*/ 82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51" h="123">
                  <a:moveTo>
                    <a:pt x="250" y="85"/>
                  </a:moveTo>
                  <a:lnTo>
                    <a:pt x="250" y="89"/>
                  </a:lnTo>
                  <a:lnTo>
                    <a:pt x="251" y="91"/>
                  </a:lnTo>
                  <a:lnTo>
                    <a:pt x="250" y="93"/>
                  </a:lnTo>
                  <a:lnTo>
                    <a:pt x="244" y="93"/>
                  </a:lnTo>
                  <a:lnTo>
                    <a:pt x="242" y="91"/>
                  </a:lnTo>
                  <a:lnTo>
                    <a:pt x="238" y="93"/>
                  </a:lnTo>
                  <a:lnTo>
                    <a:pt x="236" y="92"/>
                  </a:lnTo>
                  <a:lnTo>
                    <a:pt x="234" y="90"/>
                  </a:lnTo>
                  <a:lnTo>
                    <a:pt x="232" y="90"/>
                  </a:lnTo>
                  <a:lnTo>
                    <a:pt x="228" y="91"/>
                  </a:lnTo>
                  <a:lnTo>
                    <a:pt x="226" y="91"/>
                  </a:lnTo>
                  <a:lnTo>
                    <a:pt x="228" y="94"/>
                  </a:lnTo>
                  <a:lnTo>
                    <a:pt x="226" y="97"/>
                  </a:lnTo>
                  <a:lnTo>
                    <a:pt x="224" y="97"/>
                  </a:lnTo>
                  <a:lnTo>
                    <a:pt x="220" y="95"/>
                  </a:lnTo>
                  <a:lnTo>
                    <a:pt x="218" y="94"/>
                  </a:lnTo>
                  <a:lnTo>
                    <a:pt x="216" y="95"/>
                  </a:lnTo>
                  <a:lnTo>
                    <a:pt x="220" y="98"/>
                  </a:lnTo>
                  <a:lnTo>
                    <a:pt x="221" y="100"/>
                  </a:lnTo>
                  <a:lnTo>
                    <a:pt x="220" y="103"/>
                  </a:lnTo>
                  <a:lnTo>
                    <a:pt x="220" y="106"/>
                  </a:lnTo>
                  <a:lnTo>
                    <a:pt x="221" y="103"/>
                  </a:lnTo>
                  <a:lnTo>
                    <a:pt x="225" y="101"/>
                  </a:lnTo>
                  <a:lnTo>
                    <a:pt x="227" y="100"/>
                  </a:lnTo>
                  <a:lnTo>
                    <a:pt x="229" y="99"/>
                  </a:lnTo>
                  <a:lnTo>
                    <a:pt x="233" y="98"/>
                  </a:lnTo>
                  <a:lnTo>
                    <a:pt x="235" y="99"/>
                  </a:lnTo>
                  <a:lnTo>
                    <a:pt x="234" y="102"/>
                  </a:lnTo>
                  <a:lnTo>
                    <a:pt x="233" y="105"/>
                  </a:lnTo>
                  <a:lnTo>
                    <a:pt x="235" y="103"/>
                  </a:lnTo>
                  <a:lnTo>
                    <a:pt x="238" y="106"/>
                  </a:lnTo>
                  <a:lnTo>
                    <a:pt x="237" y="108"/>
                  </a:lnTo>
                  <a:lnTo>
                    <a:pt x="235" y="110"/>
                  </a:lnTo>
                  <a:lnTo>
                    <a:pt x="233" y="111"/>
                  </a:lnTo>
                  <a:lnTo>
                    <a:pt x="229" y="111"/>
                  </a:lnTo>
                  <a:lnTo>
                    <a:pt x="227" y="114"/>
                  </a:lnTo>
                  <a:lnTo>
                    <a:pt x="221" y="115"/>
                  </a:lnTo>
                  <a:lnTo>
                    <a:pt x="219" y="114"/>
                  </a:lnTo>
                  <a:lnTo>
                    <a:pt x="216" y="115"/>
                  </a:lnTo>
                  <a:lnTo>
                    <a:pt x="213" y="114"/>
                  </a:lnTo>
                  <a:lnTo>
                    <a:pt x="211" y="114"/>
                  </a:lnTo>
                  <a:lnTo>
                    <a:pt x="208" y="114"/>
                  </a:lnTo>
                  <a:lnTo>
                    <a:pt x="205" y="112"/>
                  </a:lnTo>
                  <a:lnTo>
                    <a:pt x="202" y="111"/>
                  </a:lnTo>
                  <a:lnTo>
                    <a:pt x="200" y="114"/>
                  </a:lnTo>
                  <a:lnTo>
                    <a:pt x="196" y="114"/>
                  </a:lnTo>
                  <a:lnTo>
                    <a:pt x="194" y="112"/>
                  </a:lnTo>
                  <a:lnTo>
                    <a:pt x="191" y="110"/>
                  </a:lnTo>
                  <a:lnTo>
                    <a:pt x="194" y="108"/>
                  </a:lnTo>
                  <a:lnTo>
                    <a:pt x="191" y="108"/>
                  </a:lnTo>
                  <a:lnTo>
                    <a:pt x="188" y="108"/>
                  </a:lnTo>
                  <a:lnTo>
                    <a:pt x="186" y="106"/>
                  </a:lnTo>
                  <a:lnTo>
                    <a:pt x="183" y="106"/>
                  </a:lnTo>
                  <a:lnTo>
                    <a:pt x="181" y="106"/>
                  </a:lnTo>
                  <a:lnTo>
                    <a:pt x="177" y="107"/>
                  </a:lnTo>
                  <a:lnTo>
                    <a:pt x="175" y="105"/>
                  </a:lnTo>
                  <a:lnTo>
                    <a:pt x="176" y="102"/>
                  </a:lnTo>
                  <a:lnTo>
                    <a:pt x="174" y="99"/>
                  </a:lnTo>
                  <a:lnTo>
                    <a:pt x="171" y="98"/>
                  </a:lnTo>
                  <a:lnTo>
                    <a:pt x="169" y="101"/>
                  </a:lnTo>
                  <a:lnTo>
                    <a:pt x="167" y="102"/>
                  </a:lnTo>
                  <a:lnTo>
                    <a:pt x="167" y="106"/>
                  </a:lnTo>
                  <a:lnTo>
                    <a:pt x="164" y="107"/>
                  </a:lnTo>
                  <a:lnTo>
                    <a:pt x="161" y="109"/>
                  </a:lnTo>
                  <a:lnTo>
                    <a:pt x="159" y="110"/>
                  </a:lnTo>
                  <a:lnTo>
                    <a:pt x="156" y="110"/>
                  </a:lnTo>
                  <a:lnTo>
                    <a:pt x="153" y="111"/>
                  </a:lnTo>
                  <a:lnTo>
                    <a:pt x="150" y="111"/>
                  </a:lnTo>
                  <a:lnTo>
                    <a:pt x="148" y="111"/>
                  </a:lnTo>
                  <a:lnTo>
                    <a:pt x="144" y="114"/>
                  </a:lnTo>
                  <a:lnTo>
                    <a:pt x="142" y="115"/>
                  </a:lnTo>
                  <a:lnTo>
                    <a:pt x="139" y="116"/>
                  </a:lnTo>
                  <a:lnTo>
                    <a:pt x="136" y="117"/>
                  </a:lnTo>
                  <a:lnTo>
                    <a:pt x="134" y="117"/>
                  </a:lnTo>
                  <a:lnTo>
                    <a:pt x="131" y="118"/>
                  </a:lnTo>
                  <a:lnTo>
                    <a:pt x="128" y="118"/>
                  </a:lnTo>
                  <a:lnTo>
                    <a:pt x="125" y="119"/>
                  </a:lnTo>
                  <a:lnTo>
                    <a:pt x="123" y="118"/>
                  </a:lnTo>
                  <a:lnTo>
                    <a:pt x="119" y="119"/>
                  </a:lnTo>
                  <a:lnTo>
                    <a:pt x="117" y="119"/>
                  </a:lnTo>
                  <a:lnTo>
                    <a:pt x="115" y="120"/>
                  </a:lnTo>
                  <a:lnTo>
                    <a:pt x="111" y="119"/>
                  </a:lnTo>
                  <a:lnTo>
                    <a:pt x="109" y="120"/>
                  </a:lnTo>
                  <a:lnTo>
                    <a:pt x="106" y="120"/>
                  </a:lnTo>
                  <a:lnTo>
                    <a:pt x="109" y="122"/>
                  </a:lnTo>
                  <a:lnTo>
                    <a:pt x="106" y="122"/>
                  </a:lnTo>
                  <a:lnTo>
                    <a:pt x="104" y="120"/>
                  </a:lnTo>
                  <a:lnTo>
                    <a:pt x="94" y="122"/>
                  </a:lnTo>
                  <a:lnTo>
                    <a:pt x="92" y="122"/>
                  </a:lnTo>
                  <a:lnTo>
                    <a:pt x="90" y="122"/>
                  </a:lnTo>
                  <a:lnTo>
                    <a:pt x="87" y="123"/>
                  </a:lnTo>
                  <a:lnTo>
                    <a:pt x="84" y="123"/>
                  </a:lnTo>
                  <a:lnTo>
                    <a:pt x="81" y="120"/>
                  </a:lnTo>
                  <a:lnTo>
                    <a:pt x="79" y="119"/>
                  </a:lnTo>
                  <a:lnTo>
                    <a:pt x="76" y="116"/>
                  </a:lnTo>
                  <a:lnTo>
                    <a:pt x="76" y="114"/>
                  </a:lnTo>
                  <a:lnTo>
                    <a:pt x="76" y="110"/>
                  </a:lnTo>
                  <a:lnTo>
                    <a:pt x="75" y="108"/>
                  </a:lnTo>
                  <a:lnTo>
                    <a:pt x="76" y="106"/>
                  </a:lnTo>
                  <a:lnTo>
                    <a:pt x="74" y="105"/>
                  </a:lnTo>
                  <a:lnTo>
                    <a:pt x="71" y="103"/>
                  </a:lnTo>
                  <a:lnTo>
                    <a:pt x="68" y="103"/>
                  </a:lnTo>
                  <a:lnTo>
                    <a:pt x="65" y="103"/>
                  </a:lnTo>
                  <a:lnTo>
                    <a:pt x="63" y="103"/>
                  </a:lnTo>
                  <a:lnTo>
                    <a:pt x="59" y="103"/>
                  </a:lnTo>
                  <a:lnTo>
                    <a:pt x="57" y="103"/>
                  </a:lnTo>
                  <a:lnTo>
                    <a:pt x="55" y="105"/>
                  </a:lnTo>
                  <a:lnTo>
                    <a:pt x="51" y="103"/>
                  </a:lnTo>
                  <a:lnTo>
                    <a:pt x="49" y="103"/>
                  </a:lnTo>
                  <a:lnTo>
                    <a:pt x="46" y="103"/>
                  </a:lnTo>
                  <a:lnTo>
                    <a:pt x="43" y="102"/>
                  </a:lnTo>
                  <a:lnTo>
                    <a:pt x="41" y="101"/>
                  </a:lnTo>
                  <a:lnTo>
                    <a:pt x="38" y="100"/>
                  </a:lnTo>
                  <a:lnTo>
                    <a:pt x="36" y="100"/>
                  </a:lnTo>
                  <a:lnTo>
                    <a:pt x="33" y="97"/>
                  </a:lnTo>
                  <a:lnTo>
                    <a:pt x="31" y="94"/>
                  </a:lnTo>
                  <a:lnTo>
                    <a:pt x="29" y="93"/>
                  </a:lnTo>
                  <a:lnTo>
                    <a:pt x="25" y="91"/>
                  </a:lnTo>
                  <a:lnTo>
                    <a:pt x="25" y="89"/>
                  </a:lnTo>
                  <a:lnTo>
                    <a:pt x="23" y="85"/>
                  </a:lnTo>
                  <a:lnTo>
                    <a:pt x="24" y="84"/>
                  </a:lnTo>
                  <a:lnTo>
                    <a:pt x="28" y="83"/>
                  </a:lnTo>
                  <a:lnTo>
                    <a:pt x="30" y="83"/>
                  </a:lnTo>
                  <a:lnTo>
                    <a:pt x="33" y="82"/>
                  </a:lnTo>
                  <a:lnTo>
                    <a:pt x="38" y="81"/>
                  </a:lnTo>
                  <a:lnTo>
                    <a:pt x="41" y="81"/>
                  </a:lnTo>
                  <a:lnTo>
                    <a:pt x="43" y="80"/>
                  </a:lnTo>
                  <a:lnTo>
                    <a:pt x="47" y="80"/>
                  </a:lnTo>
                  <a:lnTo>
                    <a:pt x="49" y="80"/>
                  </a:lnTo>
                  <a:lnTo>
                    <a:pt x="53" y="78"/>
                  </a:lnTo>
                  <a:lnTo>
                    <a:pt x="55" y="78"/>
                  </a:lnTo>
                  <a:lnTo>
                    <a:pt x="58" y="78"/>
                  </a:lnTo>
                  <a:lnTo>
                    <a:pt x="60" y="78"/>
                  </a:lnTo>
                  <a:lnTo>
                    <a:pt x="64" y="78"/>
                  </a:lnTo>
                  <a:lnTo>
                    <a:pt x="66" y="77"/>
                  </a:lnTo>
                  <a:lnTo>
                    <a:pt x="68" y="78"/>
                  </a:lnTo>
                  <a:lnTo>
                    <a:pt x="72" y="78"/>
                  </a:lnTo>
                  <a:lnTo>
                    <a:pt x="74" y="78"/>
                  </a:lnTo>
                  <a:lnTo>
                    <a:pt x="77" y="78"/>
                  </a:lnTo>
                  <a:lnTo>
                    <a:pt x="80" y="78"/>
                  </a:lnTo>
                  <a:lnTo>
                    <a:pt x="83" y="80"/>
                  </a:lnTo>
                  <a:lnTo>
                    <a:pt x="85" y="80"/>
                  </a:lnTo>
                  <a:lnTo>
                    <a:pt x="89" y="81"/>
                  </a:lnTo>
                  <a:lnTo>
                    <a:pt x="91" y="80"/>
                  </a:lnTo>
                  <a:lnTo>
                    <a:pt x="94" y="78"/>
                  </a:lnTo>
                  <a:lnTo>
                    <a:pt x="97" y="78"/>
                  </a:lnTo>
                  <a:lnTo>
                    <a:pt x="99" y="78"/>
                  </a:lnTo>
                  <a:lnTo>
                    <a:pt x="102" y="78"/>
                  </a:lnTo>
                  <a:lnTo>
                    <a:pt x="105" y="77"/>
                  </a:lnTo>
                  <a:lnTo>
                    <a:pt x="102" y="77"/>
                  </a:lnTo>
                  <a:lnTo>
                    <a:pt x="99" y="76"/>
                  </a:lnTo>
                  <a:lnTo>
                    <a:pt x="98" y="76"/>
                  </a:lnTo>
                  <a:lnTo>
                    <a:pt x="96" y="73"/>
                  </a:lnTo>
                  <a:lnTo>
                    <a:pt x="92" y="73"/>
                  </a:lnTo>
                  <a:lnTo>
                    <a:pt x="90" y="73"/>
                  </a:lnTo>
                  <a:lnTo>
                    <a:pt x="87" y="72"/>
                  </a:lnTo>
                  <a:lnTo>
                    <a:pt x="84" y="72"/>
                  </a:lnTo>
                  <a:lnTo>
                    <a:pt x="82" y="71"/>
                  </a:lnTo>
                  <a:lnTo>
                    <a:pt x="79" y="69"/>
                  </a:lnTo>
                  <a:lnTo>
                    <a:pt x="76" y="69"/>
                  </a:lnTo>
                  <a:lnTo>
                    <a:pt x="73" y="68"/>
                  </a:lnTo>
                  <a:lnTo>
                    <a:pt x="71" y="68"/>
                  </a:lnTo>
                  <a:lnTo>
                    <a:pt x="67" y="69"/>
                  </a:lnTo>
                  <a:lnTo>
                    <a:pt x="65" y="69"/>
                  </a:lnTo>
                  <a:lnTo>
                    <a:pt x="62" y="71"/>
                  </a:lnTo>
                  <a:lnTo>
                    <a:pt x="59" y="71"/>
                  </a:lnTo>
                  <a:lnTo>
                    <a:pt x="56" y="71"/>
                  </a:lnTo>
                  <a:lnTo>
                    <a:pt x="51" y="71"/>
                  </a:lnTo>
                  <a:lnTo>
                    <a:pt x="48" y="71"/>
                  </a:lnTo>
                  <a:lnTo>
                    <a:pt x="46" y="71"/>
                  </a:lnTo>
                  <a:lnTo>
                    <a:pt x="42" y="72"/>
                  </a:lnTo>
                  <a:lnTo>
                    <a:pt x="40" y="71"/>
                  </a:lnTo>
                  <a:lnTo>
                    <a:pt x="37" y="71"/>
                  </a:lnTo>
                  <a:lnTo>
                    <a:pt x="34" y="71"/>
                  </a:lnTo>
                  <a:lnTo>
                    <a:pt x="32" y="71"/>
                  </a:lnTo>
                  <a:lnTo>
                    <a:pt x="29" y="71"/>
                  </a:lnTo>
                  <a:lnTo>
                    <a:pt x="26" y="71"/>
                  </a:lnTo>
                  <a:lnTo>
                    <a:pt x="23" y="71"/>
                  </a:lnTo>
                  <a:lnTo>
                    <a:pt x="21" y="71"/>
                  </a:lnTo>
                  <a:lnTo>
                    <a:pt x="19" y="67"/>
                  </a:lnTo>
                  <a:lnTo>
                    <a:pt x="16" y="66"/>
                  </a:lnTo>
                  <a:lnTo>
                    <a:pt x="13" y="65"/>
                  </a:lnTo>
                  <a:lnTo>
                    <a:pt x="11" y="61"/>
                  </a:lnTo>
                  <a:lnTo>
                    <a:pt x="13" y="59"/>
                  </a:lnTo>
                  <a:lnTo>
                    <a:pt x="15" y="58"/>
                  </a:lnTo>
                  <a:lnTo>
                    <a:pt x="17" y="57"/>
                  </a:lnTo>
                  <a:lnTo>
                    <a:pt x="21" y="57"/>
                  </a:lnTo>
                  <a:lnTo>
                    <a:pt x="23" y="56"/>
                  </a:lnTo>
                  <a:lnTo>
                    <a:pt x="26" y="56"/>
                  </a:lnTo>
                  <a:lnTo>
                    <a:pt x="32" y="55"/>
                  </a:lnTo>
                  <a:lnTo>
                    <a:pt x="33" y="54"/>
                  </a:lnTo>
                  <a:lnTo>
                    <a:pt x="36" y="52"/>
                  </a:lnTo>
                  <a:lnTo>
                    <a:pt x="39" y="52"/>
                  </a:lnTo>
                  <a:lnTo>
                    <a:pt x="41" y="52"/>
                  </a:lnTo>
                  <a:lnTo>
                    <a:pt x="45" y="51"/>
                  </a:lnTo>
                  <a:lnTo>
                    <a:pt x="41" y="50"/>
                  </a:lnTo>
                  <a:lnTo>
                    <a:pt x="45" y="49"/>
                  </a:lnTo>
                  <a:lnTo>
                    <a:pt x="47" y="49"/>
                  </a:lnTo>
                  <a:lnTo>
                    <a:pt x="50" y="49"/>
                  </a:lnTo>
                  <a:lnTo>
                    <a:pt x="53" y="49"/>
                  </a:lnTo>
                  <a:lnTo>
                    <a:pt x="56" y="48"/>
                  </a:lnTo>
                  <a:lnTo>
                    <a:pt x="53" y="49"/>
                  </a:lnTo>
                  <a:lnTo>
                    <a:pt x="50" y="48"/>
                  </a:lnTo>
                  <a:lnTo>
                    <a:pt x="47" y="47"/>
                  </a:lnTo>
                  <a:lnTo>
                    <a:pt x="45" y="48"/>
                  </a:lnTo>
                  <a:lnTo>
                    <a:pt x="42" y="48"/>
                  </a:lnTo>
                  <a:lnTo>
                    <a:pt x="39" y="49"/>
                  </a:lnTo>
                  <a:lnTo>
                    <a:pt x="37" y="49"/>
                  </a:lnTo>
                  <a:lnTo>
                    <a:pt x="33" y="49"/>
                  </a:lnTo>
                  <a:lnTo>
                    <a:pt x="31" y="50"/>
                  </a:lnTo>
                  <a:lnTo>
                    <a:pt x="28" y="50"/>
                  </a:lnTo>
                  <a:lnTo>
                    <a:pt x="25" y="51"/>
                  </a:lnTo>
                  <a:lnTo>
                    <a:pt x="23" y="50"/>
                  </a:lnTo>
                  <a:lnTo>
                    <a:pt x="20" y="51"/>
                  </a:lnTo>
                  <a:lnTo>
                    <a:pt x="17" y="51"/>
                  </a:lnTo>
                  <a:lnTo>
                    <a:pt x="14" y="51"/>
                  </a:lnTo>
                  <a:lnTo>
                    <a:pt x="12" y="49"/>
                  </a:lnTo>
                  <a:lnTo>
                    <a:pt x="14" y="48"/>
                  </a:lnTo>
                  <a:lnTo>
                    <a:pt x="17" y="48"/>
                  </a:lnTo>
                  <a:lnTo>
                    <a:pt x="20" y="47"/>
                  </a:lnTo>
                  <a:lnTo>
                    <a:pt x="17" y="45"/>
                  </a:lnTo>
                  <a:lnTo>
                    <a:pt x="14" y="45"/>
                  </a:lnTo>
                  <a:lnTo>
                    <a:pt x="12" y="46"/>
                  </a:lnTo>
                  <a:lnTo>
                    <a:pt x="10" y="45"/>
                  </a:lnTo>
                  <a:lnTo>
                    <a:pt x="6" y="45"/>
                  </a:lnTo>
                  <a:lnTo>
                    <a:pt x="4" y="47"/>
                  </a:lnTo>
                  <a:lnTo>
                    <a:pt x="0" y="43"/>
                  </a:lnTo>
                  <a:lnTo>
                    <a:pt x="0" y="41"/>
                  </a:lnTo>
                  <a:lnTo>
                    <a:pt x="0" y="39"/>
                  </a:lnTo>
                  <a:lnTo>
                    <a:pt x="4" y="35"/>
                  </a:lnTo>
                  <a:lnTo>
                    <a:pt x="6" y="33"/>
                  </a:lnTo>
                  <a:lnTo>
                    <a:pt x="8" y="31"/>
                  </a:lnTo>
                  <a:lnTo>
                    <a:pt x="12" y="31"/>
                  </a:lnTo>
                  <a:lnTo>
                    <a:pt x="14" y="30"/>
                  </a:lnTo>
                  <a:lnTo>
                    <a:pt x="13" y="26"/>
                  </a:lnTo>
                  <a:lnTo>
                    <a:pt x="11" y="26"/>
                  </a:lnTo>
                  <a:lnTo>
                    <a:pt x="7" y="24"/>
                  </a:lnTo>
                  <a:lnTo>
                    <a:pt x="11" y="22"/>
                  </a:lnTo>
                  <a:lnTo>
                    <a:pt x="13" y="20"/>
                  </a:lnTo>
                  <a:lnTo>
                    <a:pt x="16" y="18"/>
                  </a:lnTo>
                  <a:lnTo>
                    <a:pt x="19" y="16"/>
                  </a:lnTo>
                  <a:lnTo>
                    <a:pt x="21" y="15"/>
                  </a:lnTo>
                  <a:lnTo>
                    <a:pt x="24" y="13"/>
                  </a:lnTo>
                  <a:lnTo>
                    <a:pt x="26" y="12"/>
                  </a:lnTo>
                  <a:lnTo>
                    <a:pt x="30" y="11"/>
                  </a:lnTo>
                  <a:lnTo>
                    <a:pt x="32" y="9"/>
                  </a:lnTo>
                  <a:lnTo>
                    <a:pt x="36" y="8"/>
                  </a:lnTo>
                  <a:lnTo>
                    <a:pt x="38" y="8"/>
                  </a:lnTo>
                  <a:lnTo>
                    <a:pt x="40" y="6"/>
                  </a:lnTo>
                  <a:lnTo>
                    <a:pt x="43" y="6"/>
                  </a:lnTo>
                  <a:lnTo>
                    <a:pt x="46" y="5"/>
                  </a:lnTo>
                  <a:lnTo>
                    <a:pt x="49" y="5"/>
                  </a:lnTo>
                  <a:lnTo>
                    <a:pt x="51" y="4"/>
                  </a:lnTo>
                  <a:lnTo>
                    <a:pt x="55" y="3"/>
                  </a:lnTo>
                  <a:lnTo>
                    <a:pt x="57" y="1"/>
                  </a:lnTo>
                  <a:lnTo>
                    <a:pt x="59" y="0"/>
                  </a:lnTo>
                  <a:lnTo>
                    <a:pt x="62" y="0"/>
                  </a:lnTo>
                  <a:lnTo>
                    <a:pt x="64" y="0"/>
                  </a:lnTo>
                  <a:lnTo>
                    <a:pt x="67" y="1"/>
                  </a:lnTo>
                  <a:lnTo>
                    <a:pt x="70" y="4"/>
                  </a:lnTo>
                  <a:lnTo>
                    <a:pt x="71" y="6"/>
                  </a:lnTo>
                  <a:lnTo>
                    <a:pt x="71" y="9"/>
                  </a:lnTo>
                  <a:lnTo>
                    <a:pt x="70" y="12"/>
                  </a:lnTo>
                  <a:lnTo>
                    <a:pt x="71" y="15"/>
                  </a:lnTo>
                  <a:lnTo>
                    <a:pt x="68" y="15"/>
                  </a:lnTo>
                  <a:lnTo>
                    <a:pt x="66" y="16"/>
                  </a:lnTo>
                  <a:lnTo>
                    <a:pt x="65" y="18"/>
                  </a:lnTo>
                  <a:lnTo>
                    <a:pt x="63" y="20"/>
                  </a:lnTo>
                  <a:lnTo>
                    <a:pt x="63" y="21"/>
                  </a:lnTo>
                  <a:lnTo>
                    <a:pt x="65" y="22"/>
                  </a:lnTo>
                  <a:lnTo>
                    <a:pt x="67" y="21"/>
                  </a:lnTo>
                  <a:lnTo>
                    <a:pt x="71" y="18"/>
                  </a:lnTo>
                  <a:lnTo>
                    <a:pt x="73" y="20"/>
                  </a:lnTo>
                  <a:lnTo>
                    <a:pt x="76" y="20"/>
                  </a:lnTo>
                  <a:lnTo>
                    <a:pt x="79" y="17"/>
                  </a:lnTo>
                  <a:lnTo>
                    <a:pt x="76" y="16"/>
                  </a:lnTo>
                  <a:lnTo>
                    <a:pt x="77" y="14"/>
                  </a:lnTo>
                  <a:lnTo>
                    <a:pt x="81" y="11"/>
                  </a:lnTo>
                  <a:lnTo>
                    <a:pt x="83" y="9"/>
                  </a:lnTo>
                  <a:lnTo>
                    <a:pt x="87" y="9"/>
                  </a:lnTo>
                  <a:lnTo>
                    <a:pt x="89" y="11"/>
                  </a:lnTo>
                  <a:lnTo>
                    <a:pt x="91" y="12"/>
                  </a:lnTo>
                  <a:lnTo>
                    <a:pt x="94" y="13"/>
                  </a:lnTo>
                  <a:lnTo>
                    <a:pt x="97" y="13"/>
                  </a:lnTo>
                  <a:lnTo>
                    <a:pt x="100" y="14"/>
                  </a:lnTo>
                  <a:lnTo>
                    <a:pt x="104" y="15"/>
                  </a:lnTo>
                  <a:lnTo>
                    <a:pt x="106" y="16"/>
                  </a:lnTo>
                  <a:lnTo>
                    <a:pt x="108" y="17"/>
                  </a:lnTo>
                  <a:lnTo>
                    <a:pt x="108" y="18"/>
                  </a:lnTo>
                  <a:lnTo>
                    <a:pt x="108" y="21"/>
                  </a:lnTo>
                  <a:lnTo>
                    <a:pt x="106" y="23"/>
                  </a:lnTo>
                  <a:lnTo>
                    <a:pt x="102" y="25"/>
                  </a:lnTo>
                  <a:lnTo>
                    <a:pt x="100" y="28"/>
                  </a:lnTo>
                  <a:lnTo>
                    <a:pt x="102" y="28"/>
                  </a:lnTo>
                  <a:lnTo>
                    <a:pt x="101" y="30"/>
                  </a:lnTo>
                  <a:lnTo>
                    <a:pt x="104" y="28"/>
                  </a:lnTo>
                  <a:lnTo>
                    <a:pt x="105" y="25"/>
                  </a:lnTo>
                  <a:lnTo>
                    <a:pt x="108" y="26"/>
                  </a:lnTo>
                  <a:lnTo>
                    <a:pt x="110" y="26"/>
                  </a:lnTo>
                  <a:lnTo>
                    <a:pt x="111" y="23"/>
                  </a:lnTo>
                  <a:lnTo>
                    <a:pt x="115" y="22"/>
                  </a:lnTo>
                  <a:lnTo>
                    <a:pt x="117" y="23"/>
                  </a:lnTo>
                  <a:lnTo>
                    <a:pt x="121" y="24"/>
                  </a:lnTo>
                  <a:lnTo>
                    <a:pt x="121" y="22"/>
                  </a:lnTo>
                  <a:lnTo>
                    <a:pt x="125" y="24"/>
                  </a:lnTo>
                  <a:lnTo>
                    <a:pt x="128" y="24"/>
                  </a:lnTo>
                  <a:lnTo>
                    <a:pt x="125" y="23"/>
                  </a:lnTo>
                  <a:lnTo>
                    <a:pt x="123" y="21"/>
                  </a:lnTo>
                  <a:lnTo>
                    <a:pt x="125" y="22"/>
                  </a:lnTo>
                  <a:lnTo>
                    <a:pt x="128" y="23"/>
                  </a:lnTo>
                  <a:lnTo>
                    <a:pt x="125" y="20"/>
                  </a:lnTo>
                  <a:lnTo>
                    <a:pt x="125" y="20"/>
                  </a:lnTo>
                  <a:lnTo>
                    <a:pt x="123" y="17"/>
                  </a:lnTo>
                  <a:lnTo>
                    <a:pt x="125" y="17"/>
                  </a:lnTo>
                  <a:lnTo>
                    <a:pt x="125" y="17"/>
                  </a:lnTo>
                  <a:lnTo>
                    <a:pt x="128" y="17"/>
                  </a:lnTo>
                  <a:lnTo>
                    <a:pt x="125" y="16"/>
                  </a:lnTo>
                  <a:lnTo>
                    <a:pt x="124" y="16"/>
                  </a:lnTo>
                  <a:lnTo>
                    <a:pt x="121" y="14"/>
                  </a:lnTo>
                  <a:lnTo>
                    <a:pt x="118" y="14"/>
                  </a:lnTo>
                  <a:lnTo>
                    <a:pt x="116" y="12"/>
                  </a:lnTo>
                  <a:lnTo>
                    <a:pt x="117" y="9"/>
                  </a:lnTo>
                  <a:lnTo>
                    <a:pt x="119" y="9"/>
                  </a:lnTo>
                  <a:lnTo>
                    <a:pt x="123" y="9"/>
                  </a:lnTo>
                  <a:lnTo>
                    <a:pt x="125" y="11"/>
                  </a:lnTo>
                  <a:lnTo>
                    <a:pt x="127" y="11"/>
                  </a:lnTo>
                  <a:lnTo>
                    <a:pt x="130" y="12"/>
                  </a:lnTo>
                  <a:lnTo>
                    <a:pt x="131" y="14"/>
                  </a:lnTo>
                  <a:lnTo>
                    <a:pt x="134" y="16"/>
                  </a:lnTo>
                  <a:lnTo>
                    <a:pt x="136" y="16"/>
                  </a:lnTo>
                  <a:lnTo>
                    <a:pt x="136" y="17"/>
                  </a:lnTo>
                  <a:lnTo>
                    <a:pt x="140" y="18"/>
                  </a:lnTo>
                  <a:lnTo>
                    <a:pt x="139" y="21"/>
                  </a:lnTo>
                  <a:lnTo>
                    <a:pt x="142" y="21"/>
                  </a:lnTo>
                  <a:lnTo>
                    <a:pt x="144" y="22"/>
                  </a:lnTo>
                  <a:lnTo>
                    <a:pt x="144" y="25"/>
                  </a:lnTo>
                  <a:lnTo>
                    <a:pt x="144" y="28"/>
                  </a:lnTo>
                  <a:lnTo>
                    <a:pt x="145" y="31"/>
                  </a:lnTo>
                  <a:lnTo>
                    <a:pt x="147" y="33"/>
                  </a:lnTo>
                  <a:lnTo>
                    <a:pt x="147" y="35"/>
                  </a:lnTo>
                  <a:lnTo>
                    <a:pt x="150" y="38"/>
                  </a:lnTo>
                  <a:lnTo>
                    <a:pt x="149" y="40"/>
                  </a:lnTo>
                  <a:lnTo>
                    <a:pt x="150" y="43"/>
                  </a:lnTo>
                  <a:lnTo>
                    <a:pt x="152" y="43"/>
                  </a:lnTo>
                  <a:lnTo>
                    <a:pt x="156" y="46"/>
                  </a:lnTo>
                  <a:lnTo>
                    <a:pt x="154" y="43"/>
                  </a:lnTo>
                  <a:lnTo>
                    <a:pt x="158" y="42"/>
                  </a:lnTo>
                  <a:lnTo>
                    <a:pt x="160" y="41"/>
                  </a:lnTo>
                  <a:lnTo>
                    <a:pt x="162" y="40"/>
                  </a:lnTo>
                  <a:lnTo>
                    <a:pt x="161" y="38"/>
                  </a:lnTo>
                  <a:lnTo>
                    <a:pt x="159" y="35"/>
                  </a:lnTo>
                  <a:lnTo>
                    <a:pt x="158" y="33"/>
                  </a:lnTo>
                  <a:lnTo>
                    <a:pt x="156" y="31"/>
                  </a:lnTo>
                  <a:lnTo>
                    <a:pt x="157" y="28"/>
                  </a:lnTo>
                  <a:lnTo>
                    <a:pt x="154" y="25"/>
                  </a:lnTo>
                  <a:lnTo>
                    <a:pt x="154" y="23"/>
                  </a:lnTo>
                  <a:lnTo>
                    <a:pt x="152" y="20"/>
                  </a:lnTo>
                  <a:lnTo>
                    <a:pt x="152" y="17"/>
                  </a:lnTo>
                  <a:lnTo>
                    <a:pt x="151" y="16"/>
                  </a:lnTo>
                  <a:lnTo>
                    <a:pt x="151" y="14"/>
                  </a:lnTo>
                  <a:lnTo>
                    <a:pt x="150" y="11"/>
                  </a:lnTo>
                  <a:lnTo>
                    <a:pt x="151" y="8"/>
                  </a:lnTo>
                  <a:lnTo>
                    <a:pt x="149" y="6"/>
                  </a:lnTo>
                  <a:lnTo>
                    <a:pt x="151" y="5"/>
                  </a:lnTo>
                  <a:lnTo>
                    <a:pt x="154" y="5"/>
                  </a:lnTo>
                  <a:lnTo>
                    <a:pt x="151" y="4"/>
                  </a:lnTo>
                  <a:lnTo>
                    <a:pt x="152" y="0"/>
                  </a:lnTo>
                  <a:lnTo>
                    <a:pt x="156" y="1"/>
                  </a:lnTo>
                  <a:lnTo>
                    <a:pt x="158" y="1"/>
                  </a:lnTo>
                  <a:lnTo>
                    <a:pt x="160" y="3"/>
                  </a:lnTo>
                  <a:lnTo>
                    <a:pt x="164" y="5"/>
                  </a:lnTo>
                  <a:lnTo>
                    <a:pt x="166" y="5"/>
                  </a:lnTo>
                  <a:lnTo>
                    <a:pt x="166" y="1"/>
                  </a:lnTo>
                  <a:lnTo>
                    <a:pt x="168" y="1"/>
                  </a:lnTo>
                  <a:lnTo>
                    <a:pt x="171" y="4"/>
                  </a:lnTo>
                  <a:lnTo>
                    <a:pt x="174" y="5"/>
                  </a:lnTo>
                  <a:lnTo>
                    <a:pt x="177" y="7"/>
                  </a:lnTo>
                  <a:lnTo>
                    <a:pt x="179" y="8"/>
                  </a:lnTo>
                  <a:lnTo>
                    <a:pt x="183" y="9"/>
                  </a:lnTo>
                  <a:lnTo>
                    <a:pt x="185" y="12"/>
                  </a:lnTo>
                  <a:lnTo>
                    <a:pt x="187" y="14"/>
                  </a:lnTo>
                  <a:lnTo>
                    <a:pt x="187" y="17"/>
                  </a:lnTo>
                  <a:lnTo>
                    <a:pt x="190" y="20"/>
                  </a:lnTo>
                  <a:lnTo>
                    <a:pt x="191" y="23"/>
                  </a:lnTo>
                  <a:lnTo>
                    <a:pt x="191" y="25"/>
                  </a:lnTo>
                  <a:lnTo>
                    <a:pt x="192" y="28"/>
                  </a:lnTo>
                  <a:lnTo>
                    <a:pt x="194" y="31"/>
                  </a:lnTo>
                  <a:lnTo>
                    <a:pt x="194" y="33"/>
                  </a:lnTo>
                  <a:lnTo>
                    <a:pt x="195" y="37"/>
                  </a:lnTo>
                  <a:lnTo>
                    <a:pt x="196" y="39"/>
                  </a:lnTo>
                  <a:lnTo>
                    <a:pt x="199" y="41"/>
                  </a:lnTo>
                  <a:lnTo>
                    <a:pt x="201" y="45"/>
                  </a:lnTo>
                  <a:lnTo>
                    <a:pt x="202" y="47"/>
                  </a:lnTo>
                  <a:lnTo>
                    <a:pt x="203" y="49"/>
                  </a:lnTo>
                  <a:lnTo>
                    <a:pt x="203" y="52"/>
                  </a:lnTo>
                  <a:lnTo>
                    <a:pt x="201" y="54"/>
                  </a:lnTo>
                  <a:lnTo>
                    <a:pt x="201" y="56"/>
                  </a:lnTo>
                  <a:lnTo>
                    <a:pt x="199" y="58"/>
                  </a:lnTo>
                  <a:lnTo>
                    <a:pt x="202" y="61"/>
                  </a:lnTo>
                  <a:lnTo>
                    <a:pt x="204" y="61"/>
                  </a:lnTo>
                  <a:lnTo>
                    <a:pt x="207" y="65"/>
                  </a:lnTo>
                  <a:lnTo>
                    <a:pt x="209" y="67"/>
                  </a:lnTo>
                  <a:lnTo>
                    <a:pt x="211" y="68"/>
                  </a:lnTo>
                  <a:lnTo>
                    <a:pt x="215" y="71"/>
                  </a:lnTo>
                  <a:lnTo>
                    <a:pt x="217" y="71"/>
                  </a:lnTo>
                  <a:lnTo>
                    <a:pt x="220" y="73"/>
                  </a:lnTo>
                  <a:lnTo>
                    <a:pt x="222" y="73"/>
                  </a:lnTo>
                  <a:lnTo>
                    <a:pt x="220" y="72"/>
                  </a:lnTo>
                  <a:lnTo>
                    <a:pt x="219" y="69"/>
                  </a:lnTo>
                  <a:lnTo>
                    <a:pt x="222" y="71"/>
                  </a:lnTo>
                  <a:lnTo>
                    <a:pt x="224" y="74"/>
                  </a:lnTo>
                  <a:lnTo>
                    <a:pt x="227" y="74"/>
                  </a:lnTo>
                  <a:lnTo>
                    <a:pt x="229" y="75"/>
                  </a:lnTo>
                  <a:lnTo>
                    <a:pt x="233" y="77"/>
                  </a:lnTo>
                  <a:lnTo>
                    <a:pt x="235" y="78"/>
                  </a:lnTo>
                  <a:lnTo>
                    <a:pt x="237" y="78"/>
                  </a:lnTo>
                  <a:lnTo>
                    <a:pt x="241" y="80"/>
                  </a:lnTo>
                  <a:lnTo>
                    <a:pt x="241" y="82"/>
                  </a:lnTo>
                  <a:lnTo>
                    <a:pt x="243" y="82"/>
                  </a:lnTo>
                  <a:lnTo>
                    <a:pt x="246" y="82"/>
                  </a:lnTo>
                  <a:lnTo>
                    <a:pt x="249" y="83"/>
                  </a:lnTo>
                  <a:lnTo>
                    <a:pt x="250" y="85"/>
                  </a:lnTo>
                  <a:lnTo>
                    <a:pt x="250" y="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32" name="Freeform 232">
              <a:extLst>
                <a:ext uri="{FF2B5EF4-FFF2-40B4-BE49-F238E27FC236}">
                  <a16:creationId xmlns:a16="http://schemas.microsoft.com/office/drawing/2014/main" id="{39CDCEFA-A1B8-4F4F-91CF-3ED5622C8A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43325" y="2311400"/>
              <a:ext cx="450850" cy="188913"/>
            </a:xfrm>
            <a:custGeom>
              <a:avLst/>
              <a:gdLst>
                <a:gd name="T0" fmla="*/ 235 w 284"/>
                <a:gd name="T1" fmla="*/ 46 h 119"/>
                <a:gd name="T2" fmla="*/ 229 w 284"/>
                <a:gd name="T3" fmla="*/ 57 h 119"/>
                <a:gd name="T4" fmla="*/ 238 w 284"/>
                <a:gd name="T5" fmla="*/ 59 h 119"/>
                <a:gd name="T6" fmla="*/ 227 w 284"/>
                <a:gd name="T7" fmla="*/ 62 h 119"/>
                <a:gd name="T8" fmla="*/ 220 w 284"/>
                <a:gd name="T9" fmla="*/ 71 h 119"/>
                <a:gd name="T10" fmla="*/ 203 w 284"/>
                <a:gd name="T11" fmla="*/ 73 h 119"/>
                <a:gd name="T12" fmla="*/ 188 w 284"/>
                <a:gd name="T13" fmla="*/ 66 h 119"/>
                <a:gd name="T14" fmla="*/ 183 w 284"/>
                <a:gd name="T15" fmla="*/ 70 h 119"/>
                <a:gd name="T16" fmla="*/ 166 w 284"/>
                <a:gd name="T17" fmla="*/ 72 h 119"/>
                <a:gd name="T18" fmla="*/ 155 w 284"/>
                <a:gd name="T19" fmla="*/ 68 h 119"/>
                <a:gd name="T20" fmla="*/ 143 w 284"/>
                <a:gd name="T21" fmla="*/ 73 h 119"/>
                <a:gd name="T22" fmla="*/ 130 w 284"/>
                <a:gd name="T23" fmla="*/ 71 h 119"/>
                <a:gd name="T24" fmla="*/ 113 w 284"/>
                <a:gd name="T25" fmla="*/ 70 h 119"/>
                <a:gd name="T26" fmla="*/ 108 w 284"/>
                <a:gd name="T27" fmla="*/ 64 h 119"/>
                <a:gd name="T28" fmla="*/ 94 w 284"/>
                <a:gd name="T29" fmla="*/ 70 h 119"/>
                <a:gd name="T30" fmla="*/ 83 w 284"/>
                <a:gd name="T31" fmla="*/ 64 h 119"/>
                <a:gd name="T32" fmla="*/ 74 w 284"/>
                <a:gd name="T33" fmla="*/ 68 h 119"/>
                <a:gd name="T34" fmla="*/ 66 w 284"/>
                <a:gd name="T35" fmla="*/ 54 h 119"/>
                <a:gd name="T36" fmla="*/ 67 w 284"/>
                <a:gd name="T37" fmla="*/ 42 h 119"/>
                <a:gd name="T38" fmla="*/ 58 w 284"/>
                <a:gd name="T39" fmla="*/ 28 h 119"/>
                <a:gd name="T40" fmla="*/ 42 w 284"/>
                <a:gd name="T41" fmla="*/ 23 h 119"/>
                <a:gd name="T42" fmla="*/ 24 w 284"/>
                <a:gd name="T43" fmla="*/ 24 h 119"/>
                <a:gd name="T44" fmla="*/ 16 w 284"/>
                <a:gd name="T45" fmla="*/ 20 h 119"/>
                <a:gd name="T46" fmla="*/ 11 w 284"/>
                <a:gd name="T47" fmla="*/ 14 h 119"/>
                <a:gd name="T48" fmla="*/ 4 w 284"/>
                <a:gd name="T49" fmla="*/ 9 h 119"/>
                <a:gd name="T50" fmla="*/ 8 w 284"/>
                <a:gd name="T51" fmla="*/ 0 h 119"/>
                <a:gd name="T52" fmla="*/ 25 w 284"/>
                <a:gd name="T53" fmla="*/ 3 h 119"/>
                <a:gd name="T54" fmla="*/ 42 w 284"/>
                <a:gd name="T55" fmla="*/ 5 h 119"/>
                <a:gd name="T56" fmla="*/ 44 w 284"/>
                <a:gd name="T57" fmla="*/ 19 h 119"/>
                <a:gd name="T58" fmla="*/ 61 w 284"/>
                <a:gd name="T59" fmla="*/ 14 h 119"/>
                <a:gd name="T60" fmla="*/ 82 w 284"/>
                <a:gd name="T61" fmla="*/ 13 h 119"/>
                <a:gd name="T62" fmla="*/ 77 w 284"/>
                <a:gd name="T63" fmla="*/ 16 h 119"/>
                <a:gd name="T64" fmla="*/ 89 w 284"/>
                <a:gd name="T65" fmla="*/ 20 h 119"/>
                <a:gd name="T66" fmla="*/ 104 w 284"/>
                <a:gd name="T67" fmla="*/ 23 h 119"/>
                <a:gd name="T68" fmla="*/ 91 w 284"/>
                <a:gd name="T69" fmla="*/ 25 h 119"/>
                <a:gd name="T70" fmla="*/ 77 w 284"/>
                <a:gd name="T71" fmla="*/ 24 h 119"/>
                <a:gd name="T72" fmla="*/ 87 w 284"/>
                <a:gd name="T73" fmla="*/ 28 h 119"/>
                <a:gd name="T74" fmla="*/ 82 w 284"/>
                <a:gd name="T75" fmla="*/ 30 h 119"/>
                <a:gd name="T76" fmla="*/ 94 w 284"/>
                <a:gd name="T77" fmla="*/ 30 h 119"/>
                <a:gd name="T78" fmla="*/ 105 w 284"/>
                <a:gd name="T79" fmla="*/ 38 h 119"/>
                <a:gd name="T80" fmla="*/ 105 w 284"/>
                <a:gd name="T81" fmla="*/ 43 h 119"/>
                <a:gd name="T82" fmla="*/ 116 w 284"/>
                <a:gd name="T83" fmla="*/ 42 h 119"/>
                <a:gd name="T84" fmla="*/ 130 w 284"/>
                <a:gd name="T85" fmla="*/ 41 h 119"/>
                <a:gd name="T86" fmla="*/ 146 w 284"/>
                <a:gd name="T87" fmla="*/ 47 h 119"/>
                <a:gd name="T88" fmla="*/ 152 w 284"/>
                <a:gd name="T89" fmla="*/ 43 h 119"/>
                <a:gd name="T90" fmla="*/ 168 w 284"/>
                <a:gd name="T91" fmla="*/ 39 h 119"/>
                <a:gd name="T92" fmla="*/ 185 w 284"/>
                <a:gd name="T93" fmla="*/ 38 h 119"/>
                <a:gd name="T94" fmla="*/ 204 w 284"/>
                <a:gd name="T95" fmla="*/ 36 h 119"/>
                <a:gd name="T96" fmla="*/ 220 w 284"/>
                <a:gd name="T97" fmla="*/ 41 h 119"/>
                <a:gd name="T98" fmla="*/ 231 w 284"/>
                <a:gd name="T99" fmla="*/ 93 h 119"/>
                <a:gd name="T100" fmla="*/ 248 w 284"/>
                <a:gd name="T101" fmla="*/ 94 h 119"/>
                <a:gd name="T102" fmla="*/ 265 w 284"/>
                <a:gd name="T103" fmla="*/ 97 h 119"/>
                <a:gd name="T104" fmla="*/ 279 w 284"/>
                <a:gd name="T105" fmla="*/ 109 h 119"/>
                <a:gd name="T106" fmla="*/ 275 w 284"/>
                <a:gd name="T107" fmla="*/ 116 h 119"/>
                <a:gd name="T108" fmla="*/ 254 w 284"/>
                <a:gd name="T109" fmla="*/ 115 h 119"/>
                <a:gd name="T110" fmla="*/ 237 w 284"/>
                <a:gd name="T111" fmla="*/ 118 h 119"/>
                <a:gd name="T112" fmla="*/ 228 w 284"/>
                <a:gd name="T113" fmla="*/ 106 h 119"/>
                <a:gd name="T114" fmla="*/ 220 w 284"/>
                <a:gd name="T115" fmla="*/ 94 h 119"/>
                <a:gd name="T116" fmla="*/ 231 w 284"/>
                <a:gd name="T117" fmla="*/ 93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84" h="119">
                  <a:moveTo>
                    <a:pt x="231" y="43"/>
                  </a:moveTo>
                  <a:lnTo>
                    <a:pt x="231" y="43"/>
                  </a:lnTo>
                  <a:lnTo>
                    <a:pt x="228" y="46"/>
                  </a:lnTo>
                  <a:lnTo>
                    <a:pt x="231" y="46"/>
                  </a:lnTo>
                  <a:lnTo>
                    <a:pt x="232" y="46"/>
                  </a:lnTo>
                  <a:lnTo>
                    <a:pt x="235" y="46"/>
                  </a:lnTo>
                  <a:lnTo>
                    <a:pt x="238" y="48"/>
                  </a:lnTo>
                  <a:lnTo>
                    <a:pt x="237" y="50"/>
                  </a:lnTo>
                  <a:lnTo>
                    <a:pt x="237" y="53"/>
                  </a:lnTo>
                  <a:lnTo>
                    <a:pt x="233" y="54"/>
                  </a:lnTo>
                  <a:lnTo>
                    <a:pt x="231" y="56"/>
                  </a:lnTo>
                  <a:lnTo>
                    <a:pt x="229" y="57"/>
                  </a:lnTo>
                  <a:lnTo>
                    <a:pt x="226" y="58"/>
                  </a:lnTo>
                  <a:lnTo>
                    <a:pt x="229" y="59"/>
                  </a:lnTo>
                  <a:lnTo>
                    <a:pt x="231" y="58"/>
                  </a:lnTo>
                  <a:lnTo>
                    <a:pt x="232" y="58"/>
                  </a:lnTo>
                  <a:lnTo>
                    <a:pt x="235" y="57"/>
                  </a:lnTo>
                  <a:lnTo>
                    <a:pt x="238" y="59"/>
                  </a:lnTo>
                  <a:lnTo>
                    <a:pt x="239" y="62"/>
                  </a:lnTo>
                  <a:lnTo>
                    <a:pt x="237" y="63"/>
                  </a:lnTo>
                  <a:lnTo>
                    <a:pt x="233" y="63"/>
                  </a:lnTo>
                  <a:lnTo>
                    <a:pt x="231" y="63"/>
                  </a:lnTo>
                  <a:lnTo>
                    <a:pt x="229" y="63"/>
                  </a:lnTo>
                  <a:lnTo>
                    <a:pt x="227" y="62"/>
                  </a:lnTo>
                  <a:lnTo>
                    <a:pt x="229" y="64"/>
                  </a:lnTo>
                  <a:lnTo>
                    <a:pt x="228" y="67"/>
                  </a:lnTo>
                  <a:lnTo>
                    <a:pt x="228" y="70"/>
                  </a:lnTo>
                  <a:lnTo>
                    <a:pt x="226" y="70"/>
                  </a:lnTo>
                  <a:lnTo>
                    <a:pt x="222" y="71"/>
                  </a:lnTo>
                  <a:lnTo>
                    <a:pt x="220" y="71"/>
                  </a:lnTo>
                  <a:lnTo>
                    <a:pt x="217" y="70"/>
                  </a:lnTo>
                  <a:lnTo>
                    <a:pt x="214" y="71"/>
                  </a:lnTo>
                  <a:lnTo>
                    <a:pt x="211" y="72"/>
                  </a:lnTo>
                  <a:lnTo>
                    <a:pt x="209" y="73"/>
                  </a:lnTo>
                  <a:lnTo>
                    <a:pt x="205" y="73"/>
                  </a:lnTo>
                  <a:lnTo>
                    <a:pt x="203" y="73"/>
                  </a:lnTo>
                  <a:lnTo>
                    <a:pt x="200" y="72"/>
                  </a:lnTo>
                  <a:lnTo>
                    <a:pt x="197" y="71"/>
                  </a:lnTo>
                  <a:lnTo>
                    <a:pt x="194" y="72"/>
                  </a:lnTo>
                  <a:lnTo>
                    <a:pt x="192" y="71"/>
                  </a:lnTo>
                  <a:lnTo>
                    <a:pt x="189" y="68"/>
                  </a:lnTo>
                  <a:lnTo>
                    <a:pt x="188" y="66"/>
                  </a:lnTo>
                  <a:lnTo>
                    <a:pt x="188" y="63"/>
                  </a:lnTo>
                  <a:lnTo>
                    <a:pt x="186" y="63"/>
                  </a:lnTo>
                  <a:lnTo>
                    <a:pt x="183" y="63"/>
                  </a:lnTo>
                  <a:lnTo>
                    <a:pt x="186" y="65"/>
                  </a:lnTo>
                  <a:lnTo>
                    <a:pt x="184" y="67"/>
                  </a:lnTo>
                  <a:lnTo>
                    <a:pt x="183" y="70"/>
                  </a:lnTo>
                  <a:lnTo>
                    <a:pt x="180" y="71"/>
                  </a:lnTo>
                  <a:lnTo>
                    <a:pt x="177" y="71"/>
                  </a:lnTo>
                  <a:lnTo>
                    <a:pt x="175" y="72"/>
                  </a:lnTo>
                  <a:lnTo>
                    <a:pt x="171" y="72"/>
                  </a:lnTo>
                  <a:lnTo>
                    <a:pt x="169" y="72"/>
                  </a:lnTo>
                  <a:lnTo>
                    <a:pt x="166" y="72"/>
                  </a:lnTo>
                  <a:lnTo>
                    <a:pt x="163" y="70"/>
                  </a:lnTo>
                  <a:lnTo>
                    <a:pt x="162" y="67"/>
                  </a:lnTo>
                  <a:lnTo>
                    <a:pt x="162" y="70"/>
                  </a:lnTo>
                  <a:lnTo>
                    <a:pt x="160" y="72"/>
                  </a:lnTo>
                  <a:lnTo>
                    <a:pt x="158" y="72"/>
                  </a:lnTo>
                  <a:lnTo>
                    <a:pt x="155" y="68"/>
                  </a:lnTo>
                  <a:lnTo>
                    <a:pt x="155" y="72"/>
                  </a:lnTo>
                  <a:lnTo>
                    <a:pt x="153" y="72"/>
                  </a:lnTo>
                  <a:lnTo>
                    <a:pt x="150" y="73"/>
                  </a:lnTo>
                  <a:lnTo>
                    <a:pt x="147" y="73"/>
                  </a:lnTo>
                  <a:lnTo>
                    <a:pt x="146" y="70"/>
                  </a:lnTo>
                  <a:lnTo>
                    <a:pt x="143" y="73"/>
                  </a:lnTo>
                  <a:lnTo>
                    <a:pt x="141" y="72"/>
                  </a:lnTo>
                  <a:lnTo>
                    <a:pt x="138" y="70"/>
                  </a:lnTo>
                  <a:lnTo>
                    <a:pt x="138" y="73"/>
                  </a:lnTo>
                  <a:lnTo>
                    <a:pt x="136" y="73"/>
                  </a:lnTo>
                  <a:lnTo>
                    <a:pt x="134" y="73"/>
                  </a:lnTo>
                  <a:lnTo>
                    <a:pt x="130" y="71"/>
                  </a:lnTo>
                  <a:lnTo>
                    <a:pt x="128" y="73"/>
                  </a:lnTo>
                  <a:lnTo>
                    <a:pt x="125" y="72"/>
                  </a:lnTo>
                  <a:lnTo>
                    <a:pt x="122" y="73"/>
                  </a:lnTo>
                  <a:lnTo>
                    <a:pt x="119" y="72"/>
                  </a:lnTo>
                  <a:lnTo>
                    <a:pt x="117" y="72"/>
                  </a:lnTo>
                  <a:lnTo>
                    <a:pt x="113" y="70"/>
                  </a:lnTo>
                  <a:lnTo>
                    <a:pt x="116" y="67"/>
                  </a:lnTo>
                  <a:lnTo>
                    <a:pt x="115" y="64"/>
                  </a:lnTo>
                  <a:lnTo>
                    <a:pt x="113" y="62"/>
                  </a:lnTo>
                  <a:lnTo>
                    <a:pt x="111" y="64"/>
                  </a:lnTo>
                  <a:lnTo>
                    <a:pt x="110" y="67"/>
                  </a:lnTo>
                  <a:lnTo>
                    <a:pt x="108" y="64"/>
                  </a:lnTo>
                  <a:lnTo>
                    <a:pt x="107" y="67"/>
                  </a:lnTo>
                  <a:lnTo>
                    <a:pt x="105" y="70"/>
                  </a:lnTo>
                  <a:lnTo>
                    <a:pt x="102" y="70"/>
                  </a:lnTo>
                  <a:lnTo>
                    <a:pt x="100" y="71"/>
                  </a:lnTo>
                  <a:lnTo>
                    <a:pt x="98" y="71"/>
                  </a:lnTo>
                  <a:lnTo>
                    <a:pt x="94" y="70"/>
                  </a:lnTo>
                  <a:lnTo>
                    <a:pt x="93" y="71"/>
                  </a:lnTo>
                  <a:lnTo>
                    <a:pt x="90" y="70"/>
                  </a:lnTo>
                  <a:lnTo>
                    <a:pt x="87" y="70"/>
                  </a:lnTo>
                  <a:lnTo>
                    <a:pt x="85" y="68"/>
                  </a:lnTo>
                  <a:lnTo>
                    <a:pt x="82" y="67"/>
                  </a:lnTo>
                  <a:lnTo>
                    <a:pt x="83" y="64"/>
                  </a:lnTo>
                  <a:lnTo>
                    <a:pt x="83" y="62"/>
                  </a:lnTo>
                  <a:lnTo>
                    <a:pt x="81" y="64"/>
                  </a:lnTo>
                  <a:lnTo>
                    <a:pt x="77" y="66"/>
                  </a:lnTo>
                  <a:lnTo>
                    <a:pt x="79" y="68"/>
                  </a:lnTo>
                  <a:lnTo>
                    <a:pt x="76" y="66"/>
                  </a:lnTo>
                  <a:lnTo>
                    <a:pt x="74" y="68"/>
                  </a:lnTo>
                  <a:lnTo>
                    <a:pt x="70" y="66"/>
                  </a:lnTo>
                  <a:lnTo>
                    <a:pt x="68" y="65"/>
                  </a:lnTo>
                  <a:lnTo>
                    <a:pt x="67" y="63"/>
                  </a:lnTo>
                  <a:lnTo>
                    <a:pt x="66" y="59"/>
                  </a:lnTo>
                  <a:lnTo>
                    <a:pt x="64" y="57"/>
                  </a:lnTo>
                  <a:lnTo>
                    <a:pt x="66" y="54"/>
                  </a:lnTo>
                  <a:lnTo>
                    <a:pt x="62" y="54"/>
                  </a:lnTo>
                  <a:lnTo>
                    <a:pt x="60" y="51"/>
                  </a:lnTo>
                  <a:lnTo>
                    <a:pt x="61" y="48"/>
                  </a:lnTo>
                  <a:lnTo>
                    <a:pt x="61" y="46"/>
                  </a:lnTo>
                  <a:lnTo>
                    <a:pt x="64" y="43"/>
                  </a:lnTo>
                  <a:lnTo>
                    <a:pt x="67" y="42"/>
                  </a:lnTo>
                  <a:lnTo>
                    <a:pt x="66" y="39"/>
                  </a:lnTo>
                  <a:lnTo>
                    <a:pt x="65" y="37"/>
                  </a:lnTo>
                  <a:lnTo>
                    <a:pt x="64" y="33"/>
                  </a:lnTo>
                  <a:lnTo>
                    <a:pt x="60" y="32"/>
                  </a:lnTo>
                  <a:lnTo>
                    <a:pt x="58" y="30"/>
                  </a:lnTo>
                  <a:lnTo>
                    <a:pt x="58" y="28"/>
                  </a:lnTo>
                  <a:lnTo>
                    <a:pt x="56" y="24"/>
                  </a:lnTo>
                  <a:lnTo>
                    <a:pt x="53" y="23"/>
                  </a:lnTo>
                  <a:lnTo>
                    <a:pt x="50" y="20"/>
                  </a:lnTo>
                  <a:lnTo>
                    <a:pt x="47" y="21"/>
                  </a:lnTo>
                  <a:lnTo>
                    <a:pt x="44" y="23"/>
                  </a:lnTo>
                  <a:lnTo>
                    <a:pt x="42" y="23"/>
                  </a:lnTo>
                  <a:lnTo>
                    <a:pt x="39" y="23"/>
                  </a:lnTo>
                  <a:lnTo>
                    <a:pt x="35" y="23"/>
                  </a:lnTo>
                  <a:lnTo>
                    <a:pt x="33" y="23"/>
                  </a:lnTo>
                  <a:lnTo>
                    <a:pt x="30" y="22"/>
                  </a:lnTo>
                  <a:lnTo>
                    <a:pt x="27" y="23"/>
                  </a:lnTo>
                  <a:lnTo>
                    <a:pt x="24" y="24"/>
                  </a:lnTo>
                  <a:lnTo>
                    <a:pt x="22" y="22"/>
                  </a:lnTo>
                  <a:lnTo>
                    <a:pt x="24" y="22"/>
                  </a:lnTo>
                  <a:lnTo>
                    <a:pt x="27" y="21"/>
                  </a:lnTo>
                  <a:lnTo>
                    <a:pt x="21" y="20"/>
                  </a:lnTo>
                  <a:lnTo>
                    <a:pt x="18" y="20"/>
                  </a:lnTo>
                  <a:lnTo>
                    <a:pt x="16" y="20"/>
                  </a:lnTo>
                  <a:lnTo>
                    <a:pt x="13" y="19"/>
                  </a:lnTo>
                  <a:lnTo>
                    <a:pt x="11" y="16"/>
                  </a:lnTo>
                  <a:lnTo>
                    <a:pt x="14" y="16"/>
                  </a:lnTo>
                  <a:lnTo>
                    <a:pt x="16" y="14"/>
                  </a:lnTo>
                  <a:lnTo>
                    <a:pt x="14" y="15"/>
                  </a:lnTo>
                  <a:lnTo>
                    <a:pt x="11" y="14"/>
                  </a:lnTo>
                  <a:lnTo>
                    <a:pt x="8" y="13"/>
                  </a:lnTo>
                  <a:lnTo>
                    <a:pt x="6" y="12"/>
                  </a:lnTo>
                  <a:lnTo>
                    <a:pt x="2" y="11"/>
                  </a:lnTo>
                  <a:lnTo>
                    <a:pt x="0" y="11"/>
                  </a:lnTo>
                  <a:lnTo>
                    <a:pt x="0" y="7"/>
                  </a:lnTo>
                  <a:lnTo>
                    <a:pt x="4" y="9"/>
                  </a:lnTo>
                  <a:lnTo>
                    <a:pt x="6" y="7"/>
                  </a:lnTo>
                  <a:lnTo>
                    <a:pt x="4" y="6"/>
                  </a:lnTo>
                  <a:lnTo>
                    <a:pt x="0" y="4"/>
                  </a:lnTo>
                  <a:lnTo>
                    <a:pt x="4" y="3"/>
                  </a:lnTo>
                  <a:lnTo>
                    <a:pt x="6" y="3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4" y="0"/>
                  </a:lnTo>
                  <a:lnTo>
                    <a:pt x="17" y="0"/>
                  </a:lnTo>
                  <a:lnTo>
                    <a:pt x="21" y="0"/>
                  </a:lnTo>
                  <a:lnTo>
                    <a:pt x="23" y="2"/>
                  </a:lnTo>
                  <a:lnTo>
                    <a:pt x="25" y="3"/>
                  </a:lnTo>
                  <a:lnTo>
                    <a:pt x="28" y="3"/>
                  </a:lnTo>
                  <a:lnTo>
                    <a:pt x="31" y="3"/>
                  </a:lnTo>
                  <a:lnTo>
                    <a:pt x="34" y="5"/>
                  </a:lnTo>
                  <a:lnTo>
                    <a:pt x="36" y="5"/>
                  </a:lnTo>
                  <a:lnTo>
                    <a:pt x="40" y="4"/>
                  </a:lnTo>
                  <a:lnTo>
                    <a:pt x="42" y="5"/>
                  </a:lnTo>
                  <a:lnTo>
                    <a:pt x="45" y="6"/>
                  </a:lnTo>
                  <a:lnTo>
                    <a:pt x="48" y="8"/>
                  </a:lnTo>
                  <a:lnTo>
                    <a:pt x="51" y="11"/>
                  </a:lnTo>
                  <a:lnTo>
                    <a:pt x="50" y="13"/>
                  </a:lnTo>
                  <a:lnTo>
                    <a:pt x="47" y="16"/>
                  </a:lnTo>
                  <a:lnTo>
                    <a:pt x="44" y="19"/>
                  </a:lnTo>
                  <a:lnTo>
                    <a:pt x="48" y="17"/>
                  </a:lnTo>
                  <a:lnTo>
                    <a:pt x="50" y="15"/>
                  </a:lnTo>
                  <a:lnTo>
                    <a:pt x="53" y="13"/>
                  </a:lnTo>
                  <a:lnTo>
                    <a:pt x="56" y="13"/>
                  </a:lnTo>
                  <a:lnTo>
                    <a:pt x="59" y="13"/>
                  </a:lnTo>
                  <a:lnTo>
                    <a:pt x="61" y="14"/>
                  </a:lnTo>
                  <a:lnTo>
                    <a:pt x="65" y="13"/>
                  </a:lnTo>
                  <a:lnTo>
                    <a:pt x="67" y="12"/>
                  </a:lnTo>
                  <a:lnTo>
                    <a:pt x="73" y="12"/>
                  </a:lnTo>
                  <a:lnTo>
                    <a:pt x="76" y="12"/>
                  </a:lnTo>
                  <a:lnTo>
                    <a:pt x="78" y="12"/>
                  </a:lnTo>
                  <a:lnTo>
                    <a:pt x="82" y="13"/>
                  </a:lnTo>
                  <a:lnTo>
                    <a:pt x="84" y="14"/>
                  </a:lnTo>
                  <a:lnTo>
                    <a:pt x="86" y="15"/>
                  </a:lnTo>
                  <a:lnTo>
                    <a:pt x="85" y="17"/>
                  </a:lnTo>
                  <a:lnTo>
                    <a:pt x="83" y="17"/>
                  </a:lnTo>
                  <a:lnTo>
                    <a:pt x="79" y="17"/>
                  </a:lnTo>
                  <a:lnTo>
                    <a:pt x="77" y="16"/>
                  </a:lnTo>
                  <a:lnTo>
                    <a:pt x="74" y="17"/>
                  </a:lnTo>
                  <a:lnTo>
                    <a:pt x="77" y="17"/>
                  </a:lnTo>
                  <a:lnTo>
                    <a:pt x="81" y="17"/>
                  </a:lnTo>
                  <a:lnTo>
                    <a:pt x="83" y="19"/>
                  </a:lnTo>
                  <a:lnTo>
                    <a:pt x="85" y="20"/>
                  </a:lnTo>
                  <a:lnTo>
                    <a:pt x="89" y="20"/>
                  </a:lnTo>
                  <a:lnTo>
                    <a:pt x="92" y="20"/>
                  </a:lnTo>
                  <a:lnTo>
                    <a:pt x="94" y="21"/>
                  </a:lnTo>
                  <a:lnTo>
                    <a:pt x="96" y="21"/>
                  </a:lnTo>
                  <a:lnTo>
                    <a:pt x="99" y="22"/>
                  </a:lnTo>
                  <a:lnTo>
                    <a:pt x="102" y="22"/>
                  </a:lnTo>
                  <a:lnTo>
                    <a:pt x="104" y="23"/>
                  </a:lnTo>
                  <a:lnTo>
                    <a:pt x="103" y="25"/>
                  </a:lnTo>
                  <a:lnTo>
                    <a:pt x="100" y="25"/>
                  </a:lnTo>
                  <a:lnTo>
                    <a:pt x="98" y="26"/>
                  </a:lnTo>
                  <a:lnTo>
                    <a:pt x="94" y="25"/>
                  </a:lnTo>
                  <a:lnTo>
                    <a:pt x="94" y="25"/>
                  </a:lnTo>
                  <a:lnTo>
                    <a:pt x="91" y="25"/>
                  </a:lnTo>
                  <a:lnTo>
                    <a:pt x="89" y="26"/>
                  </a:lnTo>
                  <a:lnTo>
                    <a:pt x="91" y="26"/>
                  </a:lnTo>
                  <a:lnTo>
                    <a:pt x="89" y="26"/>
                  </a:lnTo>
                  <a:lnTo>
                    <a:pt x="85" y="25"/>
                  </a:lnTo>
                  <a:lnTo>
                    <a:pt x="83" y="25"/>
                  </a:lnTo>
                  <a:lnTo>
                    <a:pt x="77" y="24"/>
                  </a:lnTo>
                  <a:lnTo>
                    <a:pt x="74" y="24"/>
                  </a:lnTo>
                  <a:lnTo>
                    <a:pt x="76" y="26"/>
                  </a:lnTo>
                  <a:lnTo>
                    <a:pt x="78" y="26"/>
                  </a:lnTo>
                  <a:lnTo>
                    <a:pt x="82" y="26"/>
                  </a:lnTo>
                  <a:lnTo>
                    <a:pt x="84" y="29"/>
                  </a:lnTo>
                  <a:lnTo>
                    <a:pt x="87" y="28"/>
                  </a:lnTo>
                  <a:lnTo>
                    <a:pt x="90" y="30"/>
                  </a:lnTo>
                  <a:lnTo>
                    <a:pt x="86" y="30"/>
                  </a:lnTo>
                  <a:lnTo>
                    <a:pt x="84" y="30"/>
                  </a:lnTo>
                  <a:lnTo>
                    <a:pt x="82" y="30"/>
                  </a:lnTo>
                  <a:lnTo>
                    <a:pt x="78" y="30"/>
                  </a:lnTo>
                  <a:lnTo>
                    <a:pt x="82" y="30"/>
                  </a:lnTo>
                  <a:lnTo>
                    <a:pt x="81" y="33"/>
                  </a:lnTo>
                  <a:lnTo>
                    <a:pt x="83" y="31"/>
                  </a:lnTo>
                  <a:lnTo>
                    <a:pt x="86" y="31"/>
                  </a:lnTo>
                  <a:lnTo>
                    <a:pt x="89" y="32"/>
                  </a:lnTo>
                  <a:lnTo>
                    <a:pt x="92" y="32"/>
                  </a:lnTo>
                  <a:lnTo>
                    <a:pt x="94" y="30"/>
                  </a:lnTo>
                  <a:lnTo>
                    <a:pt x="94" y="30"/>
                  </a:lnTo>
                  <a:lnTo>
                    <a:pt x="98" y="33"/>
                  </a:lnTo>
                  <a:lnTo>
                    <a:pt x="98" y="36"/>
                  </a:lnTo>
                  <a:lnTo>
                    <a:pt x="100" y="34"/>
                  </a:lnTo>
                  <a:lnTo>
                    <a:pt x="102" y="36"/>
                  </a:lnTo>
                  <a:lnTo>
                    <a:pt x="105" y="38"/>
                  </a:lnTo>
                  <a:lnTo>
                    <a:pt x="103" y="41"/>
                  </a:lnTo>
                  <a:lnTo>
                    <a:pt x="100" y="41"/>
                  </a:lnTo>
                  <a:lnTo>
                    <a:pt x="98" y="42"/>
                  </a:lnTo>
                  <a:lnTo>
                    <a:pt x="100" y="43"/>
                  </a:lnTo>
                  <a:lnTo>
                    <a:pt x="103" y="42"/>
                  </a:lnTo>
                  <a:lnTo>
                    <a:pt x="105" y="43"/>
                  </a:lnTo>
                  <a:lnTo>
                    <a:pt x="108" y="46"/>
                  </a:lnTo>
                  <a:lnTo>
                    <a:pt x="111" y="46"/>
                  </a:lnTo>
                  <a:lnTo>
                    <a:pt x="111" y="43"/>
                  </a:lnTo>
                  <a:lnTo>
                    <a:pt x="111" y="41"/>
                  </a:lnTo>
                  <a:lnTo>
                    <a:pt x="113" y="40"/>
                  </a:lnTo>
                  <a:lnTo>
                    <a:pt x="116" y="42"/>
                  </a:lnTo>
                  <a:lnTo>
                    <a:pt x="118" y="46"/>
                  </a:lnTo>
                  <a:lnTo>
                    <a:pt x="121" y="43"/>
                  </a:lnTo>
                  <a:lnTo>
                    <a:pt x="124" y="42"/>
                  </a:lnTo>
                  <a:lnTo>
                    <a:pt x="126" y="42"/>
                  </a:lnTo>
                  <a:lnTo>
                    <a:pt x="129" y="45"/>
                  </a:lnTo>
                  <a:lnTo>
                    <a:pt x="130" y="41"/>
                  </a:lnTo>
                  <a:lnTo>
                    <a:pt x="133" y="42"/>
                  </a:lnTo>
                  <a:lnTo>
                    <a:pt x="136" y="45"/>
                  </a:lnTo>
                  <a:lnTo>
                    <a:pt x="138" y="46"/>
                  </a:lnTo>
                  <a:lnTo>
                    <a:pt x="142" y="46"/>
                  </a:lnTo>
                  <a:lnTo>
                    <a:pt x="143" y="48"/>
                  </a:lnTo>
                  <a:lnTo>
                    <a:pt x="146" y="47"/>
                  </a:lnTo>
                  <a:lnTo>
                    <a:pt x="149" y="47"/>
                  </a:lnTo>
                  <a:lnTo>
                    <a:pt x="151" y="47"/>
                  </a:lnTo>
                  <a:lnTo>
                    <a:pt x="154" y="47"/>
                  </a:lnTo>
                  <a:lnTo>
                    <a:pt x="151" y="46"/>
                  </a:lnTo>
                  <a:lnTo>
                    <a:pt x="149" y="43"/>
                  </a:lnTo>
                  <a:lnTo>
                    <a:pt x="152" y="43"/>
                  </a:lnTo>
                  <a:lnTo>
                    <a:pt x="154" y="42"/>
                  </a:lnTo>
                  <a:lnTo>
                    <a:pt x="158" y="42"/>
                  </a:lnTo>
                  <a:lnTo>
                    <a:pt x="160" y="41"/>
                  </a:lnTo>
                  <a:lnTo>
                    <a:pt x="163" y="40"/>
                  </a:lnTo>
                  <a:lnTo>
                    <a:pt x="166" y="40"/>
                  </a:lnTo>
                  <a:lnTo>
                    <a:pt x="168" y="39"/>
                  </a:lnTo>
                  <a:lnTo>
                    <a:pt x="171" y="39"/>
                  </a:lnTo>
                  <a:lnTo>
                    <a:pt x="173" y="38"/>
                  </a:lnTo>
                  <a:lnTo>
                    <a:pt x="177" y="36"/>
                  </a:lnTo>
                  <a:lnTo>
                    <a:pt x="179" y="36"/>
                  </a:lnTo>
                  <a:lnTo>
                    <a:pt x="181" y="37"/>
                  </a:lnTo>
                  <a:lnTo>
                    <a:pt x="185" y="38"/>
                  </a:lnTo>
                  <a:lnTo>
                    <a:pt x="190" y="38"/>
                  </a:lnTo>
                  <a:lnTo>
                    <a:pt x="193" y="37"/>
                  </a:lnTo>
                  <a:lnTo>
                    <a:pt x="196" y="36"/>
                  </a:lnTo>
                  <a:lnTo>
                    <a:pt x="198" y="36"/>
                  </a:lnTo>
                  <a:lnTo>
                    <a:pt x="202" y="36"/>
                  </a:lnTo>
                  <a:lnTo>
                    <a:pt x="204" y="36"/>
                  </a:lnTo>
                  <a:lnTo>
                    <a:pt x="211" y="36"/>
                  </a:lnTo>
                  <a:lnTo>
                    <a:pt x="213" y="37"/>
                  </a:lnTo>
                  <a:lnTo>
                    <a:pt x="217" y="38"/>
                  </a:lnTo>
                  <a:lnTo>
                    <a:pt x="214" y="40"/>
                  </a:lnTo>
                  <a:lnTo>
                    <a:pt x="218" y="41"/>
                  </a:lnTo>
                  <a:lnTo>
                    <a:pt x="220" y="41"/>
                  </a:lnTo>
                  <a:lnTo>
                    <a:pt x="223" y="40"/>
                  </a:lnTo>
                  <a:lnTo>
                    <a:pt x="226" y="41"/>
                  </a:lnTo>
                  <a:lnTo>
                    <a:pt x="229" y="41"/>
                  </a:lnTo>
                  <a:lnTo>
                    <a:pt x="231" y="43"/>
                  </a:lnTo>
                  <a:lnTo>
                    <a:pt x="231" y="43"/>
                  </a:lnTo>
                  <a:close/>
                  <a:moveTo>
                    <a:pt x="231" y="93"/>
                  </a:moveTo>
                  <a:lnTo>
                    <a:pt x="231" y="93"/>
                  </a:lnTo>
                  <a:lnTo>
                    <a:pt x="235" y="94"/>
                  </a:lnTo>
                  <a:lnTo>
                    <a:pt x="237" y="94"/>
                  </a:lnTo>
                  <a:lnTo>
                    <a:pt x="240" y="96"/>
                  </a:lnTo>
                  <a:lnTo>
                    <a:pt x="246" y="96"/>
                  </a:lnTo>
                  <a:lnTo>
                    <a:pt x="248" y="94"/>
                  </a:lnTo>
                  <a:lnTo>
                    <a:pt x="252" y="94"/>
                  </a:lnTo>
                  <a:lnTo>
                    <a:pt x="254" y="94"/>
                  </a:lnTo>
                  <a:lnTo>
                    <a:pt x="257" y="94"/>
                  </a:lnTo>
                  <a:lnTo>
                    <a:pt x="260" y="96"/>
                  </a:lnTo>
                  <a:lnTo>
                    <a:pt x="263" y="97"/>
                  </a:lnTo>
                  <a:lnTo>
                    <a:pt x="265" y="97"/>
                  </a:lnTo>
                  <a:lnTo>
                    <a:pt x="269" y="99"/>
                  </a:lnTo>
                  <a:lnTo>
                    <a:pt x="271" y="100"/>
                  </a:lnTo>
                  <a:lnTo>
                    <a:pt x="273" y="103"/>
                  </a:lnTo>
                  <a:lnTo>
                    <a:pt x="275" y="103"/>
                  </a:lnTo>
                  <a:lnTo>
                    <a:pt x="278" y="106"/>
                  </a:lnTo>
                  <a:lnTo>
                    <a:pt x="279" y="109"/>
                  </a:lnTo>
                  <a:lnTo>
                    <a:pt x="281" y="110"/>
                  </a:lnTo>
                  <a:lnTo>
                    <a:pt x="282" y="113"/>
                  </a:lnTo>
                  <a:lnTo>
                    <a:pt x="284" y="116"/>
                  </a:lnTo>
                  <a:lnTo>
                    <a:pt x="281" y="117"/>
                  </a:lnTo>
                  <a:lnTo>
                    <a:pt x="279" y="117"/>
                  </a:lnTo>
                  <a:lnTo>
                    <a:pt x="275" y="116"/>
                  </a:lnTo>
                  <a:lnTo>
                    <a:pt x="273" y="116"/>
                  </a:lnTo>
                  <a:lnTo>
                    <a:pt x="270" y="116"/>
                  </a:lnTo>
                  <a:lnTo>
                    <a:pt x="267" y="116"/>
                  </a:lnTo>
                  <a:lnTo>
                    <a:pt x="265" y="115"/>
                  </a:lnTo>
                  <a:lnTo>
                    <a:pt x="256" y="115"/>
                  </a:lnTo>
                  <a:lnTo>
                    <a:pt x="254" y="115"/>
                  </a:lnTo>
                  <a:lnTo>
                    <a:pt x="250" y="116"/>
                  </a:lnTo>
                  <a:lnTo>
                    <a:pt x="248" y="116"/>
                  </a:lnTo>
                  <a:lnTo>
                    <a:pt x="245" y="117"/>
                  </a:lnTo>
                  <a:lnTo>
                    <a:pt x="243" y="118"/>
                  </a:lnTo>
                  <a:lnTo>
                    <a:pt x="239" y="119"/>
                  </a:lnTo>
                  <a:lnTo>
                    <a:pt x="237" y="118"/>
                  </a:lnTo>
                  <a:lnTo>
                    <a:pt x="233" y="116"/>
                  </a:lnTo>
                  <a:lnTo>
                    <a:pt x="231" y="116"/>
                  </a:lnTo>
                  <a:lnTo>
                    <a:pt x="230" y="114"/>
                  </a:lnTo>
                  <a:lnTo>
                    <a:pt x="229" y="111"/>
                  </a:lnTo>
                  <a:lnTo>
                    <a:pt x="229" y="108"/>
                  </a:lnTo>
                  <a:lnTo>
                    <a:pt x="228" y="106"/>
                  </a:lnTo>
                  <a:lnTo>
                    <a:pt x="224" y="105"/>
                  </a:lnTo>
                  <a:lnTo>
                    <a:pt x="222" y="105"/>
                  </a:lnTo>
                  <a:lnTo>
                    <a:pt x="219" y="103"/>
                  </a:lnTo>
                  <a:lnTo>
                    <a:pt x="219" y="100"/>
                  </a:lnTo>
                  <a:lnTo>
                    <a:pt x="220" y="98"/>
                  </a:lnTo>
                  <a:lnTo>
                    <a:pt x="220" y="94"/>
                  </a:lnTo>
                  <a:lnTo>
                    <a:pt x="220" y="92"/>
                  </a:lnTo>
                  <a:lnTo>
                    <a:pt x="222" y="92"/>
                  </a:lnTo>
                  <a:lnTo>
                    <a:pt x="226" y="92"/>
                  </a:lnTo>
                  <a:lnTo>
                    <a:pt x="228" y="93"/>
                  </a:lnTo>
                  <a:lnTo>
                    <a:pt x="231" y="93"/>
                  </a:lnTo>
                  <a:lnTo>
                    <a:pt x="231" y="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33" name="Freeform 233">
              <a:extLst>
                <a:ext uri="{FF2B5EF4-FFF2-40B4-BE49-F238E27FC236}">
                  <a16:creationId xmlns:a16="http://schemas.microsoft.com/office/drawing/2014/main" id="{94F5788B-70E7-4B4D-9C7D-C6049B7960E8}"/>
                </a:ext>
              </a:extLst>
            </p:cNvPr>
            <p:cNvSpPr>
              <a:spLocks/>
            </p:cNvSpPr>
            <p:nvPr/>
          </p:nvSpPr>
          <p:spPr bwMode="auto">
            <a:xfrm>
              <a:off x="3614738" y="2330450"/>
              <a:ext cx="119062" cy="74613"/>
            </a:xfrm>
            <a:custGeom>
              <a:avLst/>
              <a:gdLst>
                <a:gd name="T0" fmla="*/ 36 w 75"/>
                <a:gd name="T1" fmla="*/ 31 h 47"/>
                <a:gd name="T2" fmla="*/ 39 w 75"/>
                <a:gd name="T3" fmla="*/ 30 h 47"/>
                <a:gd name="T4" fmla="*/ 47 w 75"/>
                <a:gd name="T5" fmla="*/ 28 h 47"/>
                <a:gd name="T6" fmla="*/ 49 w 75"/>
                <a:gd name="T7" fmla="*/ 27 h 47"/>
                <a:gd name="T8" fmla="*/ 38 w 75"/>
                <a:gd name="T9" fmla="*/ 28 h 47"/>
                <a:gd name="T10" fmla="*/ 30 w 75"/>
                <a:gd name="T11" fmla="*/ 29 h 47"/>
                <a:gd name="T12" fmla="*/ 21 w 75"/>
                <a:gd name="T13" fmla="*/ 30 h 47"/>
                <a:gd name="T14" fmla="*/ 10 w 75"/>
                <a:gd name="T15" fmla="*/ 31 h 47"/>
                <a:gd name="T16" fmla="*/ 2 w 75"/>
                <a:gd name="T17" fmla="*/ 31 h 47"/>
                <a:gd name="T18" fmla="*/ 5 w 75"/>
                <a:gd name="T19" fmla="*/ 26 h 47"/>
                <a:gd name="T20" fmla="*/ 9 w 75"/>
                <a:gd name="T21" fmla="*/ 25 h 47"/>
                <a:gd name="T22" fmla="*/ 11 w 75"/>
                <a:gd name="T23" fmla="*/ 21 h 47"/>
                <a:gd name="T24" fmla="*/ 20 w 75"/>
                <a:gd name="T25" fmla="*/ 26 h 47"/>
                <a:gd name="T26" fmla="*/ 23 w 75"/>
                <a:gd name="T27" fmla="*/ 25 h 47"/>
                <a:gd name="T28" fmla="*/ 20 w 75"/>
                <a:gd name="T29" fmla="*/ 18 h 47"/>
                <a:gd name="T30" fmla="*/ 12 w 75"/>
                <a:gd name="T31" fmla="*/ 17 h 47"/>
                <a:gd name="T32" fmla="*/ 14 w 75"/>
                <a:gd name="T33" fmla="*/ 12 h 47"/>
                <a:gd name="T34" fmla="*/ 10 w 75"/>
                <a:gd name="T35" fmla="*/ 9 h 47"/>
                <a:gd name="T36" fmla="*/ 18 w 75"/>
                <a:gd name="T37" fmla="*/ 7 h 47"/>
                <a:gd name="T38" fmla="*/ 22 w 75"/>
                <a:gd name="T39" fmla="*/ 12 h 47"/>
                <a:gd name="T40" fmla="*/ 30 w 75"/>
                <a:gd name="T41" fmla="*/ 17 h 47"/>
                <a:gd name="T42" fmla="*/ 38 w 75"/>
                <a:gd name="T43" fmla="*/ 21 h 47"/>
                <a:gd name="T44" fmla="*/ 44 w 75"/>
                <a:gd name="T45" fmla="*/ 19 h 47"/>
                <a:gd name="T46" fmla="*/ 38 w 75"/>
                <a:gd name="T47" fmla="*/ 18 h 47"/>
                <a:gd name="T48" fmla="*/ 38 w 75"/>
                <a:gd name="T49" fmla="*/ 14 h 47"/>
                <a:gd name="T50" fmla="*/ 40 w 75"/>
                <a:gd name="T51" fmla="*/ 14 h 47"/>
                <a:gd name="T52" fmla="*/ 32 w 75"/>
                <a:gd name="T53" fmla="*/ 11 h 47"/>
                <a:gd name="T54" fmla="*/ 38 w 75"/>
                <a:gd name="T55" fmla="*/ 10 h 47"/>
                <a:gd name="T56" fmla="*/ 28 w 75"/>
                <a:gd name="T57" fmla="*/ 7 h 47"/>
                <a:gd name="T58" fmla="*/ 32 w 75"/>
                <a:gd name="T59" fmla="*/ 1 h 47"/>
                <a:gd name="T60" fmla="*/ 44 w 75"/>
                <a:gd name="T61" fmla="*/ 2 h 47"/>
                <a:gd name="T62" fmla="*/ 51 w 75"/>
                <a:gd name="T63" fmla="*/ 7 h 47"/>
                <a:gd name="T64" fmla="*/ 55 w 75"/>
                <a:gd name="T65" fmla="*/ 2 h 47"/>
                <a:gd name="T66" fmla="*/ 57 w 75"/>
                <a:gd name="T67" fmla="*/ 0 h 47"/>
                <a:gd name="T68" fmla="*/ 61 w 75"/>
                <a:gd name="T69" fmla="*/ 3 h 47"/>
                <a:gd name="T70" fmla="*/ 69 w 75"/>
                <a:gd name="T71" fmla="*/ 4 h 47"/>
                <a:gd name="T72" fmla="*/ 72 w 75"/>
                <a:gd name="T73" fmla="*/ 12 h 47"/>
                <a:gd name="T74" fmla="*/ 71 w 75"/>
                <a:gd name="T75" fmla="*/ 21 h 47"/>
                <a:gd name="T76" fmla="*/ 71 w 75"/>
                <a:gd name="T77" fmla="*/ 27 h 47"/>
                <a:gd name="T78" fmla="*/ 73 w 75"/>
                <a:gd name="T79" fmla="*/ 33 h 47"/>
                <a:gd name="T80" fmla="*/ 71 w 75"/>
                <a:gd name="T81" fmla="*/ 31 h 47"/>
                <a:gd name="T82" fmla="*/ 66 w 75"/>
                <a:gd name="T83" fmla="*/ 36 h 47"/>
                <a:gd name="T84" fmla="*/ 69 w 75"/>
                <a:gd name="T85" fmla="*/ 41 h 47"/>
                <a:gd name="T86" fmla="*/ 64 w 75"/>
                <a:gd name="T87" fmla="*/ 41 h 47"/>
                <a:gd name="T88" fmla="*/ 63 w 75"/>
                <a:gd name="T89" fmla="*/ 46 h 47"/>
                <a:gd name="T90" fmla="*/ 55 w 75"/>
                <a:gd name="T91" fmla="*/ 46 h 47"/>
                <a:gd name="T92" fmla="*/ 46 w 75"/>
                <a:gd name="T93" fmla="*/ 44 h 47"/>
                <a:gd name="T94" fmla="*/ 38 w 75"/>
                <a:gd name="T95" fmla="*/ 47 h 47"/>
                <a:gd name="T96" fmla="*/ 32 w 75"/>
                <a:gd name="T97" fmla="*/ 41 h 47"/>
                <a:gd name="T98" fmla="*/ 38 w 75"/>
                <a:gd name="T99" fmla="*/ 39 h 47"/>
                <a:gd name="T100" fmla="*/ 32 w 75"/>
                <a:gd name="T101" fmla="*/ 38 h 47"/>
                <a:gd name="T102" fmla="*/ 30 w 75"/>
                <a:gd name="T103" fmla="*/ 34 h 47"/>
                <a:gd name="T104" fmla="*/ 38 w 75"/>
                <a:gd name="T105" fmla="*/ 33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75" h="47">
                  <a:moveTo>
                    <a:pt x="38" y="33"/>
                  </a:moveTo>
                  <a:lnTo>
                    <a:pt x="38" y="33"/>
                  </a:lnTo>
                  <a:lnTo>
                    <a:pt x="36" y="31"/>
                  </a:lnTo>
                  <a:lnTo>
                    <a:pt x="38" y="31"/>
                  </a:lnTo>
                  <a:lnTo>
                    <a:pt x="38" y="30"/>
                  </a:lnTo>
                  <a:lnTo>
                    <a:pt x="39" y="30"/>
                  </a:lnTo>
                  <a:lnTo>
                    <a:pt x="42" y="28"/>
                  </a:lnTo>
                  <a:lnTo>
                    <a:pt x="45" y="28"/>
                  </a:lnTo>
                  <a:lnTo>
                    <a:pt x="47" y="28"/>
                  </a:lnTo>
                  <a:lnTo>
                    <a:pt x="51" y="28"/>
                  </a:lnTo>
                  <a:lnTo>
                    <a:pt x="53" y="27"/>
                  </a:lnTo>
                  <a:lnTo>
                    <a:pt x="49" y="27"/>
                  </a:lnTo>
                  <a:lnTo>
                    <a:pt x="44" y="27"/>
                  </a:lnTo>
                  <a:lnTo>
                    <a:pt x="42" y="27"/>
                  </a:lnTo>
                  <a:lnTo>
                    <a:pt x="38" y="28"/>
                  </a:lnTo>
                  <a:lnTo>
                    <a:pt x="36" y="28"/>
                  </a:lnTo>
                  <a:lnTo>
                    <a:pt x="32" y="28"/>
                  </a:lnTo>
                  <a:lnTo>
                    <a:pt x="30" y="29"/>
                  </a:lnTo>
                  <a:lnTo>
                    <a:pt x="27" y="29"/>
                  </a:lnTo>
                  <a:lnTo>
                    <a:pt x="25" y="29"/>
                  </a:lnTo>
                  <a:lnTo>
                    <a:pt x="21" y="30"/>
                  </a:lnTo>
                  <a:lnTo>
                    <a:pt x="19" y="30"/>
                  </a:lnTo>
                  <a:lnTo>
                    <a:pt x="13" y="30"/>
                  </a:lnTo>
                  <a:lnTo>
                    <a:pt x="10" y="31"/>
                  </a:lnTo>
                  <a:lnTo>
                    <a:pt x="8" y="31"/>
                  </a:lnTo>
                  <a:lnTo>
                    <a:pt x="4" y="31"/>
                  </a:lnTo>
                  <a:lnTo>
                    <a:pt x="2" y="31"/>
                  </a:lnTo>
                  <a:lnTo>
                    <a:pt x="0" y="29"/>
                  </a:lnTo>
                  <a:lnTo>
                    <a:pt x="2" y="28"/>
                  </a:lnTo>
                  <a:lnTo>
                    <a:pt x="5" y="26"/>
                  </a:lnTo>
                  <a:lnTo>
                    <a:pt x="8" y="26"/>
                  </a:lnTo>
                  <a:lnTo>
                    <a:pt x="10" y="27"/>
                  </a:lnTo>
                  <a:lnTo>
                    <a:pt x="9" y="25"/>
                  </a:lnTo>
                  <a:lnTo>
                    <a:pt x="5" y="24"/>
                  </a:lnTo>
                  <a:lnTo>
                    <a:pt x="9" y="22"/>
                  </a:lnTo>
                  <a:lnTo>
                    <a:pt x="11" y="21"/>
                  </a:lnTo>
                  <a:lnTo>
                    <a:pt x="14" y="22"/>
                  </a:lnTo>
                  <a:lnTo>
                    <a:pt x="17" y="24"/>
                  </a:lnTo>
                  <a:lnTo>
                    <a:pt x="20" y="26"/>
                  </a:lnTo>
                  <a:lnTo>
                    <a:pt x="22" y="25"/>
                  </a:lnTo>
                  <a:lnTo>
                    <a:pt x="26" y="24"/>
                  </a:lnTo>
                  <a:lnTo>
                    <a:pt x="23" y="25"/>
                  </a:lnTo>
                  <a:lnTo>
                    <a:pt x="20" y="24"/>
                  </a:lnTo>
                  <a:lnTo>
                    <a:pt x="17" y="20"/>
                  </a:lnTo>
                  <a:lnTo>
                    <a:pt x="20" y="18"/>
                  </a:lnTo>
                  <a:lnTo>
                    <a:pt x="18" y="19"/>
                  </a:lnTo>
                  <a:lnTo>
                    <a:pt x="14" y="19"/>
                  </a:lnTo>
                  <a:lnTo>
                    <a:pt x="12" y="17"/>
                  </a:lnTo>
                  <a:lnTo>
                    <a:pt x="14" y="13"/>
                  </a:lnTo>
                  <a:lnTo>
                    <a:pt x="18" y="12"/>
                  </a:lnTo>
                  <a:lnTo>
                    <a:pt x="14" y="12"/>
                  </a:lnTo>
                  <a:lnTo>
                    <a:pt x="12" y="12"/>
                  </a:lnTo>
                  <a:lnTo>
                    <a:pt x="9" y="12"/>
                  </a:lnTo>
                  <a:lnTo>
                    <a:pt x="10" y="9"/>
                  </a:lnTo>
                  <a:lnTo>
                    <a:pt x="12" y="7"/>
                  </a:lnTo>
                  <a:lnTo>
                    <a:pt x="15" y="5"/>
                  </a:lnTo>
                  <a:lnTo>
                    <a:pt x="18" y="7"/>
                  </a:lnTo>
                  <a:lnTo>
                    <a:pt x="21" y="8"/>
                  </a:lnTo>
                  <a:lnTo>
                    <a:pt x="23" y="9"/>
                  </a:lnTo>
                  <a:lnTo>
                    <a:pt x="22" y="12"/>
                  </a:lnTo>
                  <a:lnTo>
                    <a:pt x="26" y="12"/>
                  </a:lnTo>
                  <a:lnTo>
                    <a:pt x="28" y="13"/>
                  </a:lnTo>
                  <a:lnTo>
                    <a:pt x="30" y="17"/>
                  </a:lnTo>
                  <a:lnTo>
                    <a:pt x="32" y="17"/>
                  </a:lnTo>
                  <a:lnTo>
                    <a:pt x="36" y="19"/>
                  </a:lnTo>
                  <a:lnTo>
                    <a:pt x="38" y="21"/>
                  </a:lnTo>
                  <a:lnTo>
                    <a:pt x="38" y="22"/>
                  </a:lnTo>
                  <a:lnTo>
                    <a:pt x="42" y="21"/>
                  </a:lnTo>
                  <a:lnTo>
                    <a:pt x="44" y="19"/>
                  </a:lnTo>
                  <a:lnTo>
                    <a:pt x="42" y="20"/>
                  </a:lnTo>
                  <a:lnTo>
                    <a:pt x="38" y="18"/>
                  </a:lnTo>
                  <a:lnTo>
                    <a:pt x="38" y="18"/>
                  </a:lnTo>
                  <a:lnTo>
                    <a:pt x="37" y="18"/>
                  </a:lnTo>
                  <a:lnTo>
                    <a:pt x="36" y="14"/>
                  </a:lnTo>
                  <a:lnTo>
                    <a:pt x="38" y="14"/>
                  </a:lnTo>
                  <a:lnTo>
                    <a:pt x="40" y="14"/>
                  </a:lnTo>
                  <a:lnTo>
                    <a:pt x="44" y="14"/>
                  </a:lnTo>
                  <a:lnTo>
                    <a:pt x="40" y="14"/>
                  </a:lnTo>
                  <a:lnTo>
                    <a:pt x="38" y="13"/>
                  </a:lnTo>
                  <a:lnTo>
                    <a:pt x="36" y="13"/>
                  </a:lnTo>
                  <a:lnTo>
                    <a:pt x="32" y="11"/>
                  </a:lnTo>
                  <a:lnTo>
                    <a:pt x="36" y="10"/>
                  </a:lnTo>
                  <a:lnTo>
                    <a:pt x="38" y="11"/>
                  </a:lnTo>
                  <a:lnTo>
                    <a:pt x="38" y="10"/>
                  </a:lnTo>
                  <a:lnTo>
                    <a:pt x="36" y="8"/>
                  </a:lnTo>
                  <a:lnTo>
                    <a:pt x="30" y="8"/>
                  </a:lnTo>
                  <a:lnTo>
                    <a:pt x="28" y="7"/>
                  </a:lnTo>
                  <a:lnTo>
                    <a:pt x="27" y="4"/>
                  </a:lnTo>
                  <a:lnTo>
                    <a:pt x="30" y="2"/>
                  </a:lnTo>
                  <a:lnTo>
                    <a:pt x="32" y="1"/>
                  </a:lnTo>
                  <a:lnTo>
                    <a:pt x="36" y="0"/>
                  </a:lnTo>
                  <a:lnTo>
                    <a:pt x="38" y="1"/>
                  </a:lnTo>
                  <a:lnTo>
                    <a:pt x="44" y="2"/>
                  </a:lnTo>
                  <a:lnTo>
                    <a:pt x="46" y="3"/>
                  </a:lnTo>
                  <a:lnTo>
                    <a:pt x="49" y="4"/>
                  </a:lnTo>
                  <a:lnTo>
                    <a:pt x="51" y="7"/>
                  </a:lnTo>
                  <a:lnTo>
                    <a:pt x="53" y="4"/>
                  </a:lnTo>
                  <a:lnTo>
                    <a:pt x="52" y="2"/>
                  </a:lnTo>
                  <a:lnTo>
                    <a:pt x="55" y="2"/>
                  </a:lnTo>
                  <a:lnTo>
                    <a:pt x="57" y="0"/>
                  </a:lnTo>
                  <a:lnTo>
                    <a:pt x="55" y="0"/>
                  </a:lnTo>
                  <a:lnTo>
                    <a:pt x="57" y="0"/>
                  </a:lnTo>
                  <a:lnTo>
                    <a:pt x="61" y="1"/>
                  </a:lnTo>
                  <a:lnTo>
                    <a:pt x="63" y="2"/>
                  </a:lnTo>
                  <a:lnTo>
                    <a:pt x="61" y="3"/>
                  </a:lnTo>
                  <a:lnTo>
                    <a:pt x="63" y="3"/>
                  </a:lnTo>
                  <a:lnTo>
                    <a:pt x="66" y="4"/>
                  </a:lnTo>
                  <a:lnTo>
                    <a:pt x="69" y="4"/>
                  </a:lnTo>
                  <a:lnTo>
                    <a:pt x="70" y="8"/>
                  </a:lnTo>
                  <a:lnTo>
                    <a:pt x="69" y="10"/>
                  </a:lnTo>
                  <a:lnTo>
                    <a:pt x="72" y="12"/>
                  </a:lnTo>
                  <a:lnTo>
                    <a:pt x="72" y="16"/>
                  </a:lnTo>
                  <a:lnTo>
                    <a:pt x="71" y="18"/>
                  </a:lnTo>
                  <a:lnTo>
                    <a:pt x="71" y="21"/>
                  </a:lnTo>
                  <a:lnTo>
                    <a:pt x="71" y="24"/>
                  </a:lnTo>
                  <a:lnTo>
                    <a:pt x="69" y="26"/>
                  </a:lnTo>
                  <a:lnTo>
                    <a:pt x="71" y="27"/>
                  </a:lnTo>
                  <a:lnTo>
                    <a:pt x="74" y="27"/>
                  </a:lnTo>
                  <a:lnTo>
                    <a:pt x="74" y="30"/>
                  </a:lnTo>
                  <a:lnTo>
                    <a:pt x="73" y="33"/>
                  </a:lnTo>
                  <a:lnTo>
                    <a:pt x="75" y="35"/>
                  </a:lnTo>
                  <a:lnTo>
                    <a:pt x="72" y="34"/>
                  </a:lnTo>
                  <a:lnTo>
                    <a:pt x="71" y="31"/>
                  </a:lnTo>
                  <a:lnTo>
                    <a:pt x="68" y="33"/>
                  </a:lnTo>
                  <a:lnTo>
                    <a:pt x="65" y="34"/>
                  </a:lnTo>
                  <a:lnTo>
                    <a:pt x="66" y="36"/>
                  </a:lnTo>
                  <a:lnTo>
                    <a:pt x="64" y="37"/>
                  </a:lnTo>
                  <a:lnTo>
                    <a:pt x="66" y="39"/>
                  </a:lnTo>
                  <a:lnTo>
                    <a:pt x="69" y="41"/>
                  </a:lnTo>
                  <a:lnTo>
                    <a:pt x="70" y="43"/>
                  </a:lnTo>
                  <a:lnTo>
                    <a:pt x="68" y="43"/>
                  </a:lnTo>
                  <a:lnTo>
                    <a:pt x="64" y="41"/>
                  </a:lnTo>
                  <a:lnTo>
                    <a:pt x="65" y="43"/>
                  </a:lnTo>
                  <a:lnTo>
                    <a:pt x="66" y="46"/>
                  </a:lnTo>
                  <a:lnTo>
                    <a:pt x="63" y="46"/>
                  </a:lnTo>
                  <a:lnTo>
                    <a:pt x="61" y="46"/>
                  </a:lnTo>
                  <a:lnTo>
                    <a:pt x="57" y="46"/>
                  </a:lnTo>
                  <a:lnTo>
                    <a:pt x="55" y="46"/>
                  </a:lnTo>
                  <a:lnTo>
                    <a:pt x="52" y="46"/>
                  </a:lnTo>
                  <a:lnTo>
                    <a:pt x="49" y="46"/>
                  </a:lnTo>
                  <a:lnTo>
                    <a:pt x="46" y="44"/>
                  </a:lnTo>
                  <a:lnTo>
                    <a:pt x="44" y="47"/>
                  </a:lnTo>
                  <a:lnTo>
                    <a:pt x="42" y="47"/>
                  </a:lnTo>
                  <a:lnTo>
                    <a:pt x="38" y="47"/>
                  </a:lnTo>
                  <a:lnTo>
                    <a:pt x="36" y="46"/>
                  </a:lnTo>
                  <a:lnTo>
                    <a:pt x="32" y="45"/>
                  </a:lnTo>
                  <a:lnTo>
                    <a:pt x="32" y="41"/>
                  </a:lnTo>
                  <a:lnTo>
                    <a:pt x="36" y="41"/>
                  </a:lnTo>
                  <a:lnTo>
                    <a:pt x="38" y="39"/>
                  </a:lnTo>
                  <a:lnTo>
                    <a:pt x="38" y="39"/>
                  </a:lnTo>
                  <a:lnTo>
                    <a:pt x="38" y="39"/>
                  </a:lnTo>
                  <a:lnTo>
                    <a:pt x="35" y="39"/>
                  </a:lnTo>
                  <a:lnTo>
                    <a:pt x="32" y="38"/>
                  </a:lnTo>
                  <a:lnTo>
                    <a:pt x="29" y="37"/>
                  </a:lnTo>
                  <a:lnTo>
                    <a:pt x="32" y="36"/>
                  </a:lnTo>
                  <a:lnTo>
                    <a:pt x="30" y="34"/>
                  </a:lnTo>
                  <a:lnTo>
                    <a:pt x="32" y="34"/>
                  </a:lnTo>
                  <a:lnTo>
                    <a:pt x="36" y="33"/>
                  </a:lnTo>
                  <a:lnTo>
                    <a:pt x="38" y="33"/>
                  </a:lnTo>
                  <a:lnTo>
                    <a:pt x="38" y="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34" name="Freeform 234">
              <a:extLst>
                <a:ext uri="{FF2B5EF4-FFF2-40B4-BE49-F238E27FC236}">
                  <a16:creationId xmlns:a16="http://schemas.microsoft.com/office/drawing/2014/main" id="{42803298-6947-4EA9-9E22-215D2BA9A5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52825" y="2165350"/>
              <a:ext cx="150812" cy="163513"/>
            </a:xfrm>
            <a:custGeom>
              <a:avLst/>
              <a:gdLst>
                <a:gd name="T0" fmla="*/ 82 w 95"/>
                <a:gd name="T1" fmla="*/ 7 h 103"/>
                <a:gd name="T2" fmla="*/ 86 w 95"/>
                <a:gd name="T3" fmla="*/ 12 h 103"/>
                <a:gd name="T4" fmla="*/ 95 w 95"/>
                <a:gd name="T5" fmla="*/ 12 h 103"/>
                <a:gd name="T6" fmla="*/ 94 w 95"/>
                <a:gd name="T7" fmla="*/ 4 h 103"/>
                <a:gd name="T8" fmla="*/ 88 w 95"/>
                <a:gd name="T9" fmla="*/ 1 h 103"/>
                <a:gd name="T10" fmla="*/ 81 w 95"/>
                <a:gd name="T11" fmla="*/ 0 h 103"/>
                <a:gd name="T12" fmla="*/ 75 w 95"/>
                <a:gd name="T13" fmla="*/ 4 h 103"/>
                <a:gd name="T14" fmla="*/ 77 w 95"/>
                <a:gd name="T15" fmla="*/ 7 h 103"/>
                <a:gd name="T16" fmla="*/ 81 w 95"/>
                <a:gd name="T17" fmla="*/ 103 h 103"/>
                <a:gd name="T18" fmla="*/ 77 w 95"/>
                <a:gd name="T19" fmla="*/ 101 h 103"/>
                <a:gd name="T20" fmla="*/ 77 w 95"/>
                <a:gd name="T21" fmla="*/ 47 h 103"/>
                <a:gd name="T22" fmla="*/ 84 w 95"/>
                <a:gd name="T23" fmla="*/ 48 h 103"/>
                <a:gd name="T24" fmla="*/ 81 w 95"/>
                <a:gd name="T25" fmla="*/ 56 h 103"/>
                <a:gd name="T26" fmla="*/ 88 w 95"/>
                <a:gd name="T27" fmla="*/ 61 h 103"/>
                <a:gd name="T28" fmla="*/ 88 w 95"/>
                <a:gd name="T29" fmla="*/ 70 h 103"/>
                <a:gd name="T30" fmla="*/ 81 w 95"/>
                <a:gd name="T31" fmla="*/ 71 h 103"/>
                <a:gd name="T32" fmla="*/ 74 w 95"/>
                <a:gd name="T33" fmla="*/ 71 h 103"/>
                <a:gd name="T34" fmla="*/ 66 w 95"/>
                <a:gd name="T35" fmla="*/ 64 h 103"/>
                <a:gd name="T36" fmla="*/ 59 w 95"/>
                <a:gd name="T37" fmla="*/ 60 h 103"/>
                <a:gd name="T38" fmla="*/ 50 w 95"/>
                <a:gd name="T39" fmla="*/ 57 h 103"/>
                <a:gd name="T40" fmla="*/ 42 w 95"/>
                <a:gd name="T41" fmla="*/ 58 h 103"/>
                <a:gd name="T42" fmla="*/ 35 w 95"/>
                <a:gd name="T43" fmla="*/ 54 h 103"/>
                <a:gd name="T44" fmla="*/ 27 w 95"/>
                <a:gd name="T45" fmla="*/ 56 h 103"/>
                <a:gd name="T46" fmla="*/ 19 w 95"/>
                <a:gd name="T47" fmla="*/ 57 h 103"/>
                <a:gd name="T48" fmla="*/ 10 w 95"/>
                <a:gd name="T49" fmla="*/ 53 h 103"/>
                <a:gd name="T50" fmla="*/ 13 w 95"/>
                <a:gd name="T51" fmla="*/ 48 h 103"/>
                <a:gd name="T52" fmla="*/ 22 w 95"/>
                <a:gd name="T53" fmla="*/ 49 h 103"/>
                <a:gd name="T54" fmla="*/ 30 w 95"/>
                <a:gd name="T55" fmla="*/ 49 h 103"/>
                <a:gd name="T56" fmla="*/ 23 w 95"/>
                <a:gd name="T57" fmla="*/ 46 h 103"/>
                <a:gd name="T58" fmla="*/ 30 w 95"/>
                <a:gd name="T59" fmla="*/ 41 h 103"/>
                <a:gd name="T60" fmla="*/ 22 w 95"/>
                <a:gd name="T61" fmla="*/ 43 h 103"/>
                <a:gd name="T62" fmla="*/ 22 w 95"/>
                <a:gd name="T63" fmla="*/ 36 h 103"/>
                <a:gd name="T64" fmla="*/ 15 w 95"/>
                <a:gd name="T65" fmla="*/ 39 h 103"/>
                <a:gd name="T66" fmla="*/ 11 w 95"/>
                <a:gd name="T67" fmla="*/ 37 h 103"/>
                <a:gd name="T68" fmla="*/ 6 w 95"/>
                <a:gd name="T69" fmla="*/ 35 h 103"/>
                <a:gd name="T70" fmla="*/ 0 w 95"/>
                <a:gd name="T71" fmla="*/ 30 h 103"/>
                <a:gd name="T72" fmla="*/ 6 w 95"/>
                <a:gd name="T73" fmla="*/ 26 h 103"/>
                <a:gd name="T74" fmla="*/ 15 w 95"/>
                <a:gd name="T75" fmla="*/ 26 h 103"/>
                <a:gd name="T76" fmla="*/ 23 w 95"/>
                <a:gd name="T77" fmla="*/ 23 h 103"/>
                <a:gd name="T78" fmla="*/ 32 w 95"/>
                <a:gd name="T79" fmla="*/ 26 h 103"/>
                <a:gd name="T80" fmla="*/ 39 w 95"/>
                <a:gd name="T81" fmla="*/ 30 h 103"/>
                <a:gd name="T82" fmla="*/ 42 w 95"/>
                <a:gd name="T83" fmla="*/ 39 h 103"/>
                <a:gd name="T84" fmla="*/ 48 w 95"/>
                <a:gd name="T85" fmla="*/ 34 h 103"/>
                <a:gd name="T86" fmla="*/ 53 w 95"/>
                <a:gd name="T87" fmla="*/ 32 h 103"/>
                <a:gd name="T88" fmla="*/ 64 w 95"/>
                <a:gd name="T89" fmla="*/ 41 h 103"/>
                <a:gd name="T90" fmla="*/ 71 w 95"/>
                <a:gd name="T91" fmla="*/ 40 h 103"/>
                <a:gd name="T92" fmla="*/ 77 w 95"/>
                <a:gd name="T93" fmla="*/ 47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95" h="103">
                  <a:moveTo>
                    <a:pt x="77" y="7"/>
                  </a:moveTo>
                  <a:lnTo>
                    <a:pt x="78" y="7"/>
                  </a:lnTo>
                  <a:lnTo>
                    <a:pt x="82" y="7"/>
                  </a:lnTo>
                  <a:lnTo>
                    <a:pt x="84" y="7"/>
                  </a:lnTo>
                  <a:lnTo>
                    <a:pt x="87" y="9"/>
                  </a:lnTo>
                  <a:lnTo>
                    <a:pt x="86" y="12"/>
                  </a:lnTo>
                  <a:lnTo>
                    <a:pt x="90" y="12"/>
                  </a:lnTo>
                  <a:lnTo>
                    <a:pt x="92" y="13"/>
                  </a:lnTo>
                  <a:lnTo>
                    <a:pt x="95" y="12"/>
                  </a:lnTo>
                  <a:lnTo>
                    <a:pt x="95" y="10"/>
                  </a:lnTo>
                  <a:lnTo>
                    <a:pt x="94" y="7"/>
                  </a:lnTo>
                  <a:lnTo>
                    <a:pt x="94" y="4"/>
                  </a:lnTo>
                  <a:lnTo>
                    <a:pt x="94" y="3"/>
                  </a:lnTo>
                  <a:lnTo>
                    <a:pt x="91" y="1"/>
                  </a:lnTo>
                  <a:lnTo>
                    <a:pt x="88" y="1"/>
                  </a:lnTo>
                  <a:lnTo>
                    <a:pt x="85" y="1"/>
                  </a:lnTo>
                  <a:lnTo>
                    <a:pt x="83" y="0"/>
                  </a:lnTo>
                  <a:lnTo>
                    <a:pt x="81" y="0"/>
                  </a:lnTo>
                  <a:lnTo>
                    <a:pt x="79" y="0"/>
                  </a:lnTo>
                  <a:lnTo>
                    <a:pt x="76" y="2"/>
                  </a:lnTo>
                  <a:lnTo>
                    <a:pt x="75" y="4"/>
                  </a:lnTo>
                  <a:lnTo>
                    <a:pt x="75" y="5"/>
                  </a:lnTo>
                  <a:lnTo>
                    <a:pt x="76" y="7"/>
                  </a:lnTo>
                  <a:lnTo>
                    <a:pt x="77" y="7"/>
                  </a:lnTo>
                  <a:lnTo>
                    <a:pt x="77" y="7"/>
                  </a:lnTo>
                  <a:close/>
                  <a:moveTo>
                    <a:pt x="77" y="103"/>
                  </a:moveTo>
                  <a:lnTo>
                    <a:pt x="81" y="103"/>
                  </a:lnTo>
                  <a:lnTo>
                    <a:pt x="83" y="103"/>
                  </a:lnTo>
                  <a:lnTo>
                    <a:pt x="81" y="101"/>
                  </a:lnTo>
                  <a:lnTo>
                    <a:pt x="77" y="101"/>
                  </a:lnTo>
                  <a:lnTo>
                    <a:pt x="77" y="103"/>
                  </a:lnTo>
                  <a:lnTo>
                    <a:pt x="77" y="103"/>
                  </a:lnTo>
                  <a:close/>
                  <a:moveTo>
                    <a:pt x="77" y="47"/>
                  </a:moveTo>
                  <a:lnTo>
                    <a:pt x="78" y="47"/>
                  </a:lnTo>
                  <a:lnTo>
                    <a:pt x="81" y="47"/>
                  </a:lnTo>
                  <a:lnTo>
                    <a:pt x="84" y="48"/>
                  </a:lnTo>
                  <a:lnTo>
                    <a:pt x="82" y="51"/>
                  </a:lnTo>
                  <a:lnTo>
                    <a:pt x="81" y="54"/>
                  </a:lnTo>
                  <a:lnTo>
                    <a:pt x="81" y="56"/>
                  </a:lnTo>
                  <a:lnTo>
                    <a:pt x="84" y="56"/>
                  </a:lnTo>
                  <a:lnTo>
                    <a:pt x="86" y="60"/>
                  </a:lnTo>
                  <a:lnTo>
                    <a:pt x="88" y="61"/>
                  </a:lnTo>
                  <a:lnTo>
                    <a:pt x="92" y="64"/>
                  </a:lnTo>
                  <a:lnTo>
                    <a:pt x="90" y="66"/>
                  </a:lnTo>
                  <a:lnTo>
                    <a:pt x="88" y="70"/>
                  </a:lnTo>
                  <a:lnTo>
                    <a:pt x="86" y="70"/>
                  </a:lnTo>
                  <a:lnTo>
                    <a:pt x="83" y="71"/>
                  </a:lnTo>
                  <a:lnTo>
                    <a:pt x="81" y="71"/>
                  </a:lnTo>
                  <a:lnTo>
                    <a:pt x="77" y="71"/>
                  </a:lnTo>
                  <a:lnTo>
                    <a:pt x="76" y="71"/>
                  </a:lnTo>
                  <a:lnTo>
                    <a:pt x="74" y="71"/>
                  </a:lnTo>
                  <a:lnTo>
                    <a:pt x="70" y="70"/>
                  </a:lnTo>
                  <a:lnTo>
                    <a:pt x="68" y="68"/>
                  </a:lnTo>
                  <a:lnTo>
                    <a:pt x="66" y="64"/>
                  </a:lnTo>
                  <a:lnTo>
                    <a:pt x="65" y="62"/>
                  </a:lnTo>
                  <a:lnTo>
                    <a:pt x="61" y="60"/>
                  </a:lnTo>
                  <a:lnTo>
                    <a:pt x="59" y="60"/>
                  </a:lnTo>
                  <a:lnTo>
                    <a:pt x="56" y="58"/>
                  </a:lnTo>
                  <a:lnTo>
                    <a:pt x="53" y="57"/>
                  </a:lnTo>
                  <a:lnTo>
                    <a:pt x="50" y="57"/>
                  </a:lnTo>
                  <a:lnTo>
                    <a:pt x="48" y="56"/>
                  </a:lnTo>
                  <a:lnTo>
                    <a:pt x="44" y="57"/>
                  </a:lnTo>
                  <a:lnTo>
                    <a:pt x="42" y="58"/>
                  </a:lnTo>
                  <a:lnTo>
                    <a:pt x="39" y="56"/>
                  </a:lnTo>
                  <a:lnTo>
                    <a:pt x="39" y="54"/>
                  </a:lnTo>
                  <a:lnTo>
                    <a:pt x="35" y="54"/>
                  </a:lnTo>
                  <a:lnTo>
                    <a:pt x="33" y="55"/>
                  </a:lnTo>
                  <a:lnTo>
                    <a:pt x="31" y="55"/>
                  </a:lnTo>
                  <a:lnTo>
                    <a:pt x="27" y="56"/>
                  </a:lnTo>
                  <a:lnTo>
                    <a:pt x="25" y="57"/>
                  </a:lnTo>
                  <a:lnTo>
                    <a:pt x="22" y="57"/>
                  </a:lnTo>
                  <a:lnTo>
                    <a:pt x="19" y="57"/>
                  </a:lnTo>
                  <a:lnTo>
                    <a:pt x="16" y="57"/>
                  </a:lnTo>
                  <a:lnTo>
                    <a:pt x="14" y="55"/>
                  </a:lnTo>
                  <a:lnTo>
                    <a:pt x="10" y="53"/>
                  </a:lnTo>
                  <a:lnTo>
                    <a:pt x="8" y="51"/>
                  </a:lnTo>
                  <a:lnTo>
                    <a:pt x="10" y="48"/>
                  </a:lnTo>
                  <a:lnTo>
                    <a:pt x="13" y="48"/>
                  </a:lnTo>
                  <a:lnTo>
                    <a:pt x="16" y="48"/>
                  </a:lnTo>
                  <a:lnTo>
                    <a:pt x="18" y="48"/>
                  </a:lnTo>
                  <a:lnTo>
                    <a:pt x="22" y="49"/>
                  </a:lnTo>
                  <a:lnTo>
                    <a:pt x="24" y="49"/>
                  </a:lnTo>
                  <a:lnTo>
                    <a:pt x="27" y="49"/>
                  </a:lnTo>
                  <a:lnTo>
                    <a:pt x="30" y="49"/>
                  </a:lnTo>
                  <a:lnTo>
                    <a:pt x="28" y="47"/>
                  </a:lnTo>
                  <a:lnTo>
                    <a:pt x="26" y="47"/>
                  </a:lnTo>
                  <a:lnTo>
                    <a:pt x="23" y="46"/>
                  </a:lnTo>
                  <a:lnTo>
                    <a:pt x="26" y="45"/>
                  </a:lnTo>
                  <a:lnTo>
                    <a:pt x="30" y="44"/>
                  </a:lnTo>
                  <a:lnTo>
                    <a:pt x="30" y="41"/>
                  </a:lnTo>
                  <a:lnTo>
                    <a:pt x="27" y="41"/>
                  </a:lnTo>
                  <a:lnTo>
                    <a:pt x="24" y="41"/>
                  </a:lnTo>
                  <a:lnTo>
                    <a:pt x="22" y="43"/>
                  </a:lnTo>
                  <a:lnTo>
                    <a:pt x="22" y="40"/>
                  </a:lnTo>
                  <a:lnTo>
                    <a:pt x="24" y="38"/>
                  </a:lnTo>
                  <a:lnTo>
                    <a:pt x="22" y="36"/>
                  </a:lnTo>
                  <a:lnTo>
                    <a:pt x="18" y="36"/>
                  </a:lnTo>
                  <a:lnTo>
                    <a:pt x="16" y="37"/>
                  </a:lnTo>
                  <a:lnTo>
                    <a:pt x="15" y="39"/>
                  </a:lnTo>
                  <a:lnTo>
                    <a:pt x="11" y="41"/>
                  </a:lnTo>
                  <a:lnTo>
                    <a:pt x="9" y="39"/>
                  </a:lnTo>
                  <a:lnTo>
                    <a:pt x="11" y="37"/>
                  </a:lnTo>
                  <a:lnTo>
                    <a:pt x="11" y="34"/>
                  </a:lnTo>
                  <a:lnTo>
                    <a:pt x="9" y="34"/>
                  </a:lnTo>
                  <a:lnTo>
                    <a:pt x="6" y="35"/>
                  </a:lnTo>
                  <a:lnTo>
                    <a:pt x="3" y="35"/>
                  </a:lnTo>
                  <a:lnTo>
                    <a:pt x="0" y="34"/>
                  </a:lnTo>
                  <a:lnTo>
                    <a:pt x="0" y="30"/>
                  </a:lnTo>
                  <a:lnTo>
                    <a:pt x="1" y="28"/>
                  </a:lnTo>
                  <a:lnTo>
                    <a:pt x="3" y="26"/>
                  </a:lnTo>
                  <a:lnTo>
                    <a:pt x="6" y="26"/>
                  </a:lnTo>
                  <a:lnTo>
                    <a:pt x="9" y="26"/>
                  </a:lnTo>
                  <a:lnTo>
                    <a:pt x="11" y="26"/>
                  </a:lnTo>
                  <a:lnTo>
                    <a:pt x="15" y="26"/>
                  </a:lnTo>
                  <a:lnTo>
                    <a:pt x="17" y="24"/>
                  </a:lnTo>
                  <a:lnTo>
                    <a:pt x="20" y="24"/>
                  </a:lnTo>
                  <a:lnTo>
                    <a:pt x="23" y="23"/>
                  </a:lnTo>
                  <a:lnTo>
                    <a:pt x="26" y="24"/>
                  </a:lnTo>
                  <a:lnTo>
                    <a:pt x="28" y="26"/>
                  </a:lnTo>
                  <a:lnTo>
                    <a:pt x="32" y="26"/>
                  </a:lnTo>
                  <a:lnTo>
                    <a:pt x="34" y="27"/>
                  </a:lnTo>
                  <a:lnTo>
                    <a:pt x="37" y="28"/>
                  </a:lnTo>
                  <a:lnTo>
                    <a:pt x="39" y="30"/>
                  </a:lnTo>
                  <a:lnTo>
                    <a:pt x="41" y="34"/>
                  </a:lnTo>
                  <a:lnTo>
                    <a:pt x="40" y="36"/>
                  </a:lnTo>
                  <a:lnTo>
                    <a:pt x="42" y="39"/>
                  </a:lnTo>
                  <a:lnTo>
                    <a:pt x="44" y="37"/>
                  </a:lnTo>
                  <a:lnTo>
                    <a:pt x="47" y="34"/>
                  </a:lnTo>
                  <a:lnTo>
                    <a:pt x="48" y="34"/>
                  </a:lnTo>
                  <a:lnTo>
                    <a:pt x="50" y="32"/>
                  </a:lnTo>
                  <a:lnTo>
                    <a:pt x="53" y="32"/>
                  </a:lnTo>
                  <a:lnTo>
                    <a:pt x="53" y="32"/>
                  </a:lnTo>
                  <a:lnTo>
                    <a:pt x="60" y="36"/>
                  </a:lnTo>
                  <a:lnTo>
                    <a:pt x="62" y="38"/>
                  </a:lnTo>
                  <a:lnTo>
                    <a:pt x="64" y="41"/>
                  </a:lnTo>
                  <a:lnTo>
                    <a:pt x="66" y="41"/>
                  </a:lnTo>
                  <a:lnTo>
                    <a:pt x="69" y="41"/>
                  </a:lnTo>
                  <a:lnTo>
                    <a:pt x="71" y="40"/>
                  </a:lnTo>
                  <a:lnTo>
                    <a:pt x="75" y="43"/>
                  </a:lnTo>
                  <a:lnTo>
                    <a:pt x="77" y="43"/>
                  </a:lnTo>
                  <a:lnTo>
                    <a:pt x="77" y="47"/>
                  </a:lnTo>
                  <a:lnTo>
                    <a:pt x="77" y="4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35" name="Freeform 235">
              <a:extLst>
                <a:ext uri="{FF2B5EF4-FFF2-40B4-BE49-F238E27FC236}">
                  <a16:creationId xmlns:a16="http://schemas.microsoft.com/office/drawing/2014/main" id="{A3408BB4-D859-45FD-AE45-80A6E6113F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94063" y="2320925"/>
              <a:ext cx="301625" cy="174625"/>
            </a:xfrm>
            <a:custGeom>
              <a:avLst/>
              <a:gdLst>
                <a:gd name="T0" fmla="*/ 125 w 190"/>
                <a:gd name="T1" fmla="*/ 20 h 110"/>
                <a:gd name="T2" fmla="*/ 131 w 190"/>
                <a:gd name="T3" fmla="*/ 27 h 110"/>
                <a:gd name="T4" fmla="*/ 144 w 190"/>
                <a:gd name="T5" fmla="*/ 31 h 110"/>
                <a:gd name="T6" fmla="*/ 151 w 190"/>
                <a:gd name="T7" fmla="*/ 23 h 110"/>
                <a:gd name="T8" fmla="*/ 165 w 190"/>
                <a:gd name="T9" fmla="*/ 30 h 110"/>
                <a:gd name="T10" fmla="*/ 160 w 190"/>
                <a:gd name="T11" fmla="*/ 45 h 110"/>
                <a:gd name="T12" fmla="*/ 144 w 190"/>
                <a:gd name="T13" fmla="*/ 54 h 110"/>
                <a:gd name="T14" fmla="*/ 129 w 190"/>
                <a:gd name="T15" fmla="*/ 54 h 110"/>
                <a:gd name="T16" fmla="*/ 117 w 190"/>
                <a:gd name="T17" fmla="*/ 52 h 110"/>
                <a:gd name="T18" fmla="*/ 103 w 190"/>
                <a:gd name="T19" fmla="*/ 57 h 110"/>
                <a:gd name="T20" fmla="*/ 85 w 190"/>
                <a:gd name="T21" fmla="*/ 65 h 110"/>
                <a:gd name="T22" fmla="*/ 69 w 190"/>
                <a:gd name="T23" fmla="*/ 68 h 110"/>
                <a:gd name="T24" fmla="*/ 52 w 190"/>
                <a:gd name="T25" fmla="*/ 67 h 110"/>
                <a:gd name="T26" fmla="*/ 50 w 190"/>
                <a:gd name="T27" fmla="*/ 58 h 110"/>
                <a:gd name="T28" fmla="*/ 66 w 190"/>
                <a:gd name="T29" fmla="*/ 53 h 110"/>
                <a:gd name="T30" fmla="*/ 88 w 190"/>
                <a:gd name="T31" fmla="*/ 49 h 110"/>
                <a:gd name="T32" fmla="*/ 77 w 190"/>
                <a:gd name="T33" fmla="*/ 49 h 110"/>
                <a:gd name="T34" fmla="*/ 63 w 190"/>
                <a:gd name="T35" fmla="*/ 50 h 110"/>
                <a:gd name="T36" fmla="*/ 52 w 190"/>
                <a:gd name="T37" fmla="*/ 47 h 110"/>
                <a:gd name="T38" fmla="*/ 51 w 190"/>
                <a:gd name="T39" fmla="*/ 42 h 110"/>
                <a:gd name="T40" fmla="*/ 43 w 190"/>
                <a:gd name="T41" fmla="*/ 50 h 110"/>
                <a:gd name="T42" fmla="*/ 29 w 190"/>
                <a:gd name="T43" fmla="*/ 50 h 110"/>
                <a:gd name="T44" fmla="*/ 17 w 190"/>
                <a:gd name="T45" fmla="*/ 50 h 110"/>
                <a:gd name="T46" fmla="*/ 3 w 190"/>
                <a:gd name="T47" fmla="*/ 48 h 110"/>
                <a:gd name="T48" fmla="*/ 12 w 190"/>
                <a:gd name="T49" fmla="*/ 39 h 110"/>
                <a:gd name="T50" fmla="*/ 29 w 190"/>
                <a:gd name="T51" fmla="*/ 36 h 110"/>
                <a:gd name="T52" fmla="*/ 24 w 190"/>
                <a:gd name="T53" fmla="*/ 35 h 110"/>
                <a:gd name="T54" fmla="*/ 4 w 190"/>
                <a:gd name="T55" fmla="*/ 36 h 110"/>
                <a:gd name="T56" fmla="*/ 20 w 190"/>
                <a:gd name="T57" fmla="*/ 30 h 110"/>
                <a:gd name="T58" fmla="*/ 37 w 190"/>
                <a:gd name="T59" fmla="*/ 27 h 110"/>
                <a:gd name="T60" fmla="*/ 20 w 190"/>
                <a:gd name="T61" fmla="*/ 28 h 110"/>
                <a:gd name="T62" fmla="*/ 14 w 190"/>
                <a:gd name="T63" fmla="*/ 20 h 110"/>
                <a:gd name="T64" fmla="*/ 34 w 190"/>
                <a:gd name="T65" fmla="*/ 20 h 110"/>
                <a:gd name="T66" fmla="*/ 25 w 190"/>
                <a:gd name="T67" fmla="*/ 18 h 110"/>
                <a:gd name="T68" fmla="*/ 36 w 190"/>
                <a:gd name="T69" fmla="*/ 10 h 110"/>
                <a:gd name="T70" fmla="*/ 50 w 190"/>
                <a:gd name="T71" fmla="*/ 19 h 110"/>
                <a:gd name="T72" fmla="*/ 66 w 190"/>
                <a:gd name="T73" fmla="*/ 19 h 110"/>
                <a:gd name="T74" fmla="*/ 76 w 190"/>
                <a:gd name="T75" fmla="*/ 27 h 110"/>
                <a:gd name="T76" fmla="*/ 84 w 190"/>
                <a:gd name="T77" fmla="*/ 35 h 110"/>
                <a:gd name="T78" fmla="*/ 101 w 190"/>
                <a:gd name="T79" fmla="*/ 37 h 110"/>
                <a:gd name="T80" fmla="*/ 117 w 190"/>
                <a:gd name="T81" fmla="*/ 37 h 110"/>
                <a:gd name="T82" fmla="*/ 106 w 190"/>
                <a:gd name="T83" fmla="*/ 28 h 110"/>
                <a:gd name="T84" fmla="*/ 113 w 190"/>
                <a:gd name="T85" fmla="*/ 24 h 110"/>
                <a:gd name="T86" fmla="*/ 99 w 190"/>
                <a:gd name="T87" fmla="*/ 15 h 110"/>
                <a:gd name="T88" fmla="*/ 112 w 190"/>
                <a:gd name="T89" fmla="*/ 3 h 110"/>
                <a:gd name="T90" fmla="*/ 121 w 190"/>
                <a:gd name="T91" fmla="*/ 7 h 110"/>
                <a:gd name="T92" fmla="*/ 188 w 190"/>
                <a:gd name="T93" fmla="*/ 43 h 110"/>
                <a:gd name="T94" fmla="*/ 178 w 190"/>
                <a:gd name="T95" fmla="*/ 51 h 110"/>
                <a:gd name="T96" fmla="*/ 181 w 190"/>
                <a:gd name="T97" fmla="*/ 40 h 110"/>
                <a:gd name="T98" fmla="*/ 160 w 190"/>
                <a:gd name="T99" fmla="*/ 103 h 110"/>
                <a:gd name="T100" fmla="*/ 145 w 190"/>
                <a:gd name="T101" fmla="*/ 93 h 110"/>
                <a:gd name="T102" fmla="*/ 165 w 190"/>
                <a:gd name="T103" fmla="*/ 86 h 110"/>
                <a:gd name="T104" fmla="*/ 178 w 190"/>
                <a:gd name="T105" fmla="*/ 93 h 110"/>
                <a:gd name="T106" fmla="*/ 169 w 190"/>
                <a:gd name="T107" fmla="*/ 11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90" h="110">
                  <a:moveTo>
                    <a:pt x="125" y="11"/>
                  </a:moveTo>
                  <a:lnTo>
                    <a:pt x="123" y="13"/>
                  </a:lnTo>
                  <a:lnTo>
                    <a:pt x="126" y="14"/>
                  </a:lnTo>
                  <a:lnTo>
                    <a:pt x="129" y="16"/>
                  </a:lnTo>
                  <a:lnTo>
                    <a:pt x="128" y="18"/>
                  </a:lnTo>
                  <a:lnTo>
                    <a:pt x="125" y="20"/>
                  </a:lnTo>
                  <a:lnTo>
                    <a:pt x="126" y="23"/>
                  </a:lnTo>
                  <a:lnTo>
                    <a:pt x="128" y="23"/>
                  </a:lnTo>
                  <a:lnTo>
                    <a:pt x="131" y="23"/>
                  </a:lnTo>
                  <a:lnTo>
                    <a:pt x="134" y="23"/>
                  </a:lnTo>
                  <a:lnTo>
                    <a:pt x="135" y="26"/>
                  </a:lnTo>
                  <a:lnTo>
                    <a:pt x="131" y="27"/>
                  </a:lnTo>
                  <a:lnTo>
                    <a:pt x="132" y="31"/>
                  </a:lnTo>
                  <a:lnTo>
                    <a:pt x="135" y="27"/>
                  </a:lnTo>
                  <a:lnTo>
                    <a:pt x="138" y="27"/>
                  </a:lnTo>
                  <a:lnTo>
                    <a:pt x="140" y="27"/>
                  </a:lnTo>
                  <a:lnTo>
                    <a:pt x="143" y="28"/>
                  </a:lnTo>
                  <a:lnTo>
                    <a:pt x="144" y="31"/>
                  </a:lnTo>
                  <a:lnTo>
                    <a:pt x="146" y="34"/>
                  </a:lnTo>
                  <a:lnTo>
                    <a:pt x="146" y="31"/>
                  </a:lnTo>
                  <a:lnTo>
                    <a:pt x="149" y="30"/>
                  </a:lnTo>
                  <a:lnTo>
                    <a:pt x="146" y="27"/>
                  </a:lnTo>
                  <a:lnTo>
                    <a:pt x="147" y="25"/>
                  </a:lnTo>
                  <a:lnTo>
                    <a:pt x="151" y="23"/>
                  </a:lnTo>
                  <a:lnTo>
                    <a:pt x="153" y="23"/>
                  </a:lnTo>
                  <a:lnTo>
                    <a:pt x="155" y="24"/>
                  </a:lnTo>
                  <a:lnTo>
                    <a:pt x="159" y="24"/>
                  </a:lnTo>
                  <a:lnTo>
                    <a:pt x="161" y="25"/>
                  </a:lnTo>
                  <a:lnTo>
                    <a:pt x="164" y="27"/>
                  </a:lnTo>
                  <a:lnTo>
                    <a:pt x="165" y="30"/>
                  </a:lnTo>
                  <a:lnTo>
                    <a:pt x="165" y="32"/>
                  </a:lnTo>
                  <a:lnTo>
                    <a:pt x="166" y="35"/>
                  </a:lnTo>
                  <a:lnTo>
                    <a:pt x="163" y="37"/>
                  </a:lnTo>
                  <a:lnTo>
                    <a:pt x="163" y="40"/>
                  </a:lnTo>
                  <a:lnTo>
                    <a:pt x="162" y="43"/>
                  </a:lnTo>
                  <a:lnTo>
                    <a:pt x="160" y="45"/>
                  </a:lnTo>
                  <a:lnTo>
                    <a:pt x="160" y="49"/>
                  </a:lnTo>
                  <a:lnTo>
                    <a:pt x="157" y="51"/>
                  </a:lnTo>
                  <a:lnTo>
                    <a:pt x="154" y="52"/>
                  </a:lnTo>
                  <a:lnTo>
                    <a:pt x="152" y="52"/>
                  </a:lnTo>
                  <a:lnTo>
                    <a:pt x="148" y="52"/>
                  </a:lnTo>
                  <a:lnTo>
                    <a:pt x="144" y="54"/>
                  </a:lnTo>
                  <a:lnTo>
                    <a:pt x="140" y="54"/>
                  </a:lnTo>
                  <a:lnTo>
                    <a:pt x="138" y="54"/>
                  </a:lnTo>
                  <a:lnTo>
                    <a:pt x="135" y="52"/>
                  </a:lnTo>
                  <a:lnTo>
                    <a:pt x="134" y="50"/>
                  </a:lnTo>
                  <a:lnTo>
                    <a:pt x="131" y="52"/>
                  </a:lnTo>
                  <a:lnTo>
                    <a:pt x="129" y="54"/>
                  </a:lnTo>
                  <a:lnTo>
                    <a:pt x="126" y="54"/>
                  </a:lnTo>
                  <a:lnTo>
                    <a:pt x="123" y="53"/>
                  </a:lnTo>
                  <a:lnTo>
                    <a:pt x="120" y="53"/>
                  </a:lnTo>
                  <a:lnTo>
                    <a:pt x="122" y="52"/>
                  </a:lnTo>
                  <a:lnTo>
                    <a:pt x="120" y="51"/>
                  </a:lnTo>
                  <a:lnTo>
                    <a:pt x="117" y="52"/>
                  </a:lnTo>
                  <a:lnTo>
                    <a:pt x="114" y="53"/>
                  </a:lnTo>
                  <a:lnTo>
                    <a:pt x="112" y="56"/>
                  </a:lnTo>
                  <a:lnTo>
                    <a:pt x="109" y="57"/>
                  </a:lnTo>
                  <a:lnTo>
                    <a:pt x="106" y="56"/>
                  </a:lnTo>
                  <a:lnTo>
                    <a:pt x="103" y="57"/>
                  </a:lnTo>
                  <a:lnTo>
                    <a:pt x="103" y="57"/>
                  </a:lnTo>
                  <a:lnTo>
                    <a:pt x="100" y="57"/>
                  </a:lnTo>
                  <a:lnTo>
                    <a:pt x="97" y="58"/>
                  </a:lnTo>
                  <a:lnTo>
                    <a:pt x="94" y="58"/>
                  </a:lnTo>
                  <a:lnTo>
                    <a:pt x="94" y="61"/>
                  </a:lnTo>
                  <a:lnTo>
                    <a:pt x="91" y="62"/>
                  </a:lnTo>
                  <a:lnTo>
                    <a:pt x="85" y="65"/>
                  </a:lnTo>
                  <a:lnTo>
                    <a:pt x="83" y="65"/>
                  </a:lnTo>
                  <a:lnTo>
                    <a:pt x="79" y="66"/>
                  </a:lnTo>
                  <a:lnTo>
                    <a:pt x="77" y="67"/>
                  </a:lnTo>
                  <a:lnTo>
                    <a:pt x="74" y="67"/>
                  </a:lnTo>
                  <a:lnTo>
                    <a:pt x="71" y="68"/>
                  </a:lnTo>
                  <a:lnTo>
                    <a:pt x="69" y="68"/>
                  </a:lnTo>
                  <a:lnTo>
                    <a:pt x="66" y="68"/>
                  </a:lnTo>
                  <a:lnTo>
                    <a:pt x="63" y="69"/>
                  </a:lnTo>
                  <a:lnTo>
                    <a:pt x="60" y="68"/>
                  </a:lnTo>
                  <a:lnTo>
                    <a:pt x="58" y="68"/>
                  </a:lnTo>
                  <a:lnTo>
                    <a:pt x="54" y="68"/>
                  </a:lnTo>
                  <a:lnTo>
                    <a:pt x="52" y="67"/>
                  </a:lnTo>
                  <a:lnTo>
                    <a:pt x="49" y="66"/>
                  </a:lnTo>
                  <a:lnTo>
                    <a:pt x="46" y="65"/>
                  </a:lnTo>
                  <a:lnTo>
                    <a:pt x="43" y="62"/>
                  </a:lnTo>
                  <a:lnTo>
                    <a:pt x="44" y="60"/>
                  </a:lnTo>
                  <a:lnTo>
                    <a:pt x="46" y="59"/>
                  </a:lnTo>
                  <a:lnTo>
                    <a:pt x="50" y="58"/>
                  </a:lnTo>
                  <a:lnTo>
                    <a:pt x="52" y="57"/>
                  </a:lnTo>
                  <a:lnTo>
                    <a:pt x="55" y="57"/>
                  </a:lnTo>
                  <a:lnTo>
                    <a:pt x="58" y="56"/>
                  </a:lnTo>
                  <a:lnTo>
                    <a:pt x="61" y="54"/>
                  </a:lnTo>
                  <a:lnTo>
                    <a:pt x="63" y="53"/>
                  </a:lnTo>
                  <a:lnTo>
                    <a:pt x="66" y="53"/>
                  </a:lnTo>
                  <a:lnTo>
                    <a:pt x="69" y="52"/>
                  </a:lnTo>
                  <a:lnTo>
                    <a:pt x="71" y="52"/>
                  </a:lnTo>
                  <a:lnTo>
                    <a:pt x="75" y="52"/>
                  </a:lnTo>
                  <a:lnTo>
                    <a:pt x="79" y="53"/>
                  </a:lnTo>
                  <a:lnTo>
                    <a:pt x="83" y="50"/>
                  </a:lnTo>
                  <a:lnTo>
                    <a:pt x="88" y="49"/>
                  </a:lnTo>
                  <a:lnTo>
                    <a:pt x="91" y="45"/>
                  </a:lnTo>
                  <a:lnTo>
                    <a:pt x="88" y="45"/>
                  </a:lnTo>
                  <a:lnTo>
                    <a:pt x="85" y="47"/>
                  </a:lnTo>
                  <a:lnTo>
                    <a:pt x="83" y="48"/>
                  </a:lnTo>
                  <a:lnTo>
                    <a:pt x="79" y="48"/>
                  </a:lnTo>
                  <a:lnTo>
                    <a:pt x="77" y="49"/>
                  </a:lnTo>
                  <a:lnTo>
                    <a:pt x="75" y="49"/>
                  </a:lnTo>
                  <a:lnTo>
                    <a:pt x="71" y="47"/>
                  </a:lnTo>
                  <a:lnTo>
                    <a:pt x="69" y="48"/>
                  </a:lnTo>
                  <a:lnTo>
                    <a:pt x="66" y="45"/>
                  </a:lnTo>
                  <a:lnTo>
                    <a:pt x="67" y="49"/>
                  </a:lnTo>
                  <a:lnTo>
                    <a:pt x="63" y="50"/>
                  </a:lnTo>
                  <a:lnTo>
                    <a:pt x="61" y="49"/>
                  </a:lnTo>
                  <a:lnTo>
                    <a:pt x="58" y="50"/>
                  </a:lnTo>
                  <a:lnTo>
                    <a:pt x="55" y="50"/>
                  </a:lnTo>
                  <a:lnTo>
                    <a:pt x="52" y="51"/>
                  </a:lnTo>
                  <a:lnTo>
                    <a:pt x="50" y="49"/>
                  </a:lnTo>
                  <a:lnTo>
                    <a:pt x="52" y="47"/>
                  </a:lnTo>
                  <a:lnTo>
                    <a:pt x="50" y="47"/>
                  </a:lnTo>
                  <a:lnTo>
                    <a:pt x="51" y="44"/>
                  </a:lnTo>
                  <a:lnTo>
                    <a:pt x="53" y="43"/>
                  </a:lnTo>
                  <a:lnTo>
                    <a:pt x="57" y="41"/>
                  </a:lnTo>
                  <a:lnTo>
                    <a:pt x="53" y="41"/>
                  </a:lnTo>
                  <a:lnTo>
                    <a:pt x="51" y="42"/>
                  </a:lnTo>
                  <a:lnTo>
                    <a:pt x="48" y="42"/>
                  </a:lnTo>
                  <a:lnTo>
                    <a:pt x="46" y="44"/>
                  </a:lnTo>
                  <a:lnTo>
                    <a:pt x="44" y="45"/>
                  </a:lnTo>
                  <a:lnTo>
                    <a:pt x="42" y="45"/>
                  </a:lnTo>
                  <a:lnTo>
                    <a:pt x="44" y="48"/>
                  </a:lnTo>
                  <a:lnTo>
                    <a:pt x="43" y="50"/>
                  </a:lnTo>
                  <a:lnTo>
                    <a:pt x="41" y="51"/>
                  </a:lnTo>
                  <a:lnTo>
                    <a:pt x="37" y="52"/>
                  </a:lnTo>
                  <a:lnTo>
                    <a:pt x="34" y="53"/>
                  </a:lnTo>
                  <a:lnTo>
                    <a:pt x="32" y="51"/>
                  </a:lnTo>
                  <a:lnTo>
                    <a:pt x="33" y="49"/>
                  </a:lnTo>
                  <a:lnTo>
                    <a:pt x="29" y="50"/>
                  </a:lnTo>
                  <a:lnTo>
                    <a:pt x="27" y="50"/>
                  </a:lnTo>
                  <a:lnTo>
                    <a:pt x="26" y="53"/>
                  </a:lnTo>
                  <a:lnTo>
                    <a:pt x="24" y="53"/>
                  </a:lnTo>
                  <a:lnTo>
                    <a:pt x="20" y="52"/>
                  </a:lnTo>
                  <a:lnTo>
                    <a:pt x="19" y="49"/>
                  </a:lnTo>
                  <a:lnTo>
                    <a:pt x="17" y="50"/>
                  </a:lnTo>
                  <a:lnTo>
                    <a:pt x="17" y="47"/>
                  </a:lnTo>
                  <a:lnTo>
                    <a:pt x="14" y="48"/>
                  </a:lnTo>
                  <a:lnTo>
                    <a:pt x="11" y="49"/>
                  </a:lnTo>
                  <a:lnTo>
                    <a:pt x="8" y="48"/>
                  </a:lnTo>
                  <a:lnTo>
                    <a:pt x="6" y="48"/>
                  </a:lnTo>
                  <a:lnTo>
                    <a:pt x="3" y="48"/>
                  </a:lnTo>
                  <a:lnTo>
                    <a:pt x="0" y="47"/>
                  </a:lnTo>
                  <a:lnTo>
                    <a:pt x="0" y="44"/>
                  </a:lnTo>
                  <a:lnTo>
                    <a:pt x="1" y="41"/>
                  </a:lnTo>
                  <a:lnTo>
                    <a:pt x="4" y="40"/>
                  </a:lnTo>
                  <a:lnTo>
                    <a:pt x="7" y="39"/>
                  </a:lnTo>
                  <a:lnTo>
                    <a:pt x="12" y="39"/>
                  </a:lnTo>
                  <a:lnTo>
                    <a:pt x="16" y="40"/>
                  </a:lnTo>
                  <a:lnTo>
                    <a:pt x="18" y="40"/>
                  </a:lnTo>
                  <a:lnTo>
                    <a:pt x="20" y="39"/>
                  </a:lnTo>
                  <a:lnTo>
                    <a:pt x="24" y="37"/>
                  </a:lnTo>
                  <a:lnTo>
                    <a:pt x="26" y="36"/>
                  </a:lnTo>
                  <a:lnTo>
                    <a:pt x="29" y="36"/>
                  </a:lnTo>
                  <a:lnTo>
                    <a:pt x="32" y="34"/>
                  </a:lnTo>
                  <a:lnTo>
                    <a:pt x="35" y="33"/>
                  </a:lnTo>
                  <a:lnTo>
                    <a:pt x="32" y="33"/>
                  </a:lnTo>
                  <a:lnTo>
                    <a:pt x="29" y="34"/>
                  </a:lnTo>
                  <a:lnTo>
                    <a:pt x="26" y="34"/>
                  </a:lnTo>
                  <a:lnTo>
                    <a:pt x="24" y="35"/>
                  </a:lnTo>
                  <a:lnTo>
                    <a:pt x="20" y="36"/>
                  </a:lnTo>
                  <a:lnTo>
                    <a:pt x="18" y="36"/>
                  </a:lnTo>
                  <a:lnTo>
                    <a:pt x="15" y="36"/>
                  </a:lnTo>
                  <a:lnTo>
                    <a:pt x="9" y="36"/>
                  </a:lnTo>
                  <a:lnTo>
                    <a:pt x="7" y="36"/>
                  </a:lnTo>
                  <a:lnTo>
                    <a:pt x="4" y="36"/>
                  </a:lnTo>
                  <a:lnTo>
                    <a:pt x="7" y="33"/>
                  </a:lnTo>
                  <a:lnTo>
                    <a:pt x="9" y="31"/>
                  </a:lnTo>
                  <a:lnTo>
                    <a:pt x="11" y="31"/>
                  </a:lnTo>
                  <a:lnTo>
                    <a:pt x="15" y="31"/>
                  </a:lnTo>
                  <a:lnTo>
                    <a:pt x="18" y="30"/>
                  </a:lnTo>
                  <a:lnTo>
                    <a:pt x="20" y="30"/>
                  </a:lnTo>
                  <a:lnTo>
                    <a:pt x="23" y="30"/>
                  </a:lnTo>
                  <a:lnTo>
                    <a:pt x="26" y="30"/>
                  </a:lnTo>
                  <a:lnTo>
                    <a:pt x="28" y="30"/>
                  </a:lnTo>
                  <a:lnTo>
                    <a:pt x="32" y="28"/>
                  </a:lnTo>
                  <a:lnTo>
                    <a:pt x="34" y="28"/>
                  </a:lnTo>
                  <a:lnTo>
                    <a:pt x="37" y="27"/>
                  </a:lnTo>
                  <a:lnTo>
                    <a:pt x="34" y="27"/>
                  </a:lnTo>
                  <a:lnTo>
                    <a:pt x="32" y="28"/>
                  </a:lnTo>
                  <a:lnTo>
                    <a:pt x="28" y="28"/>
                  </a:lnTo>
                  <a:lnTo>
                    <a:pt x="26" y="27"/>
                  </a:lnTo>
                  <a:lnTo>
                    <a:pt x="23" y="27"/>
                  </a:lnTo>
                  <a:lnTo>
                    <a:pt x="20" y="28"/>
                  </a:lnTo>
                  <a:lnTo>
                    <a:pt x="17" y="28"/>
                  </a:lnTo>
                  <a:lnTo>
                    <a:pt x="15" y="28"/>
                  </a:lnTo>
                  <a:lnTo>
                    <a:pt x="11" y="26"/>
                  </a:lnTo>
                  <a:lnTo>
                    <a:pt x="15" y="24"/>
                  </a:lnTo>
                  <a:lnTo>
                    <a:pt x="11" y="23"/>
                  </a:lnTo>
                  <a:lnTo>
                    <a:pt x="14" y="20"/>
                  </a:lnTo>
                  <a:lnTo>
                    <a:pt x="17" y="19"/>
                  </a:lnTo>
                  <a:lnTo>
                    <a:pt x="19" y="19"/>
                  </a:lnTo>
                  <a:lnTo>
                    <a:pt x="23" y="19"/>
                  </a:lnTo>
                  <a:lnTo>
                    <a:pt x="28" y="19"/>
                  </a:lnTo>
                  <a:lnTo>
                    <a:pt x="31" y="19"/>
                  </a:lnTo>
                  <a:lnTo>
                    <a:pt x="34" y="20"/>
                  </a:lnTo>
                  <a:lnTo>
                    <a:pt x="36" y="20"/>
                  </a:lnTo>
                  <a:lnTo>
                    <a:pt x="40" y="19"/>
                  </a:lnTo>
                  <a:lnTo>
                    <a:pt x="36" y="19"/>
                  </a:lnTo>
                  <a:lnTo>
                    <a:pt x="34" y="18"/>
                  </a:lnTo>
                  <a:lnTo>
                    <a:pt x="31" y="18"/>
                  </a:lnTo>
                  <a:lnTo>
                    <a:pt x="25" y="18"/>
                  </a:lnTo>
                  <a:lnTo>
                    <a:pt x="23" y="17"/>
                  </a:lnTo>
                  <a:lnTo>
                    <a:pt x="25" y="14"/>
                  </a:lnTo>
                  <a:lnTo>
                    <a:pt x="27" y="13"/>
                  </a:lnTo>
                  <a:lnTo>
                    <a:pt x="31" y="11"/>
                  </a:lnTo>
                  <a:lnTo>
                    <a:pt x="33" y="11"/>
                  </a:lnTo>
                  <a:lnTo>
                    <a:pt x="36" y="10"/>
                  </a:lnTo>
                  <a:lnTo>
                    <a:pt x="38" y="10"/>
                  </a:lnTo>
                  <a:lnTo>
                    <a:pt x="42" y="10"/>
                  </a:lnTo>
                  <a:lnTo>
                    <a:pt x="44" y="11"/>
                  </a:lnTo>
                  <a:lnTo>
                    <a:pt x="48" y="14"/>
                  </a:lnTo>
                  <a:lnTo>
                    <a:pt x="48" y="16"/>
                  </a:lnTo>
                  <a:lnTo>
                    <a:pt x="50" y="19"/>
                  </a:lnTo>
                  <a:lnTo>
                    <a:pt x="52" y="18"/>
                  </a:lnTo>
                  <a:lnTo>
                    <a:pt x="55" y="18"/>
                  </a:lnTo>
                  <a:lnTo>
                    <a:pt x="58" y="17"/>
                  </a:lnTo>
                  <a:lnTo>
                    <a:pt x="60" y="17"/>
                  </a:lnTo>
                  <a:lnTo>
                    <a:pt x="63" y="17"/>
                  </a:lnTo>
                  <a:lnTo>
                    <a:pt x="66" y="19"/>
                  </a:lnTo>
                  <a:lnTo>
                    <a:pt x="69" y="20"/>
                  </a:lnTo>
                  <a:lnTo>
                    <a:pt x="70" y="24"/>
                  </a:lnTo>
                  <a:lnTo>
                    <a:pt x="74" y="24"/>
                  </a:lnTo>
                  <a:lnTo>
                    <a:pt x="76" y="25"/>
                  </a:lnTo>
                  <a:lnTo>
                    <a:pt x="79" y="27"/>
                  </a:lnTo>
                  <a:lnTo>
                    <a:pt x="76" y="27"/>
                  </a:lnTo>
                  <a:lnTo>
                    <a:pt x="74" y="30"/>
                  </a:lnTo>
                  <a:lnTo>
                    <a:pt x="76" y="30"/>
                  </a:lnTo>
                  <a:lnTo>
                    <a:pt x="79" y="30"/>
                  </a:lnTo>
                  <a:lnTo>
                    <a:pt x="82" y="31"/>
                  </a:lnTo>
                  <a:lnTo>
                    <a:pt x="85" y="33"/>
                  </a:lnTo>
                  <a:lnTo>
                    <a:pt x="84" y="35"/>
                  </a:lnTo>
                  <a:lnTo>
                    <a:pt x="86" y="39"/>
                  </a:lnTo>
                  <a:lnTo>
                    <a:pt x="89" y="37"/>
                  </a:lnTo>
                  <a:lnTo>
                    <a:pt x="92" y="36"/>
                  </a:lnTo>
                  <a:lnTo>
                    <a:pt x="95" y="36"/>
                  </a:lnTo>
                  <a:lnTo>
                    <a:pt x="97" y="37"/>
                  </a:lnTo>
                  <a:lnTo>
                    <a:pt x="101" y="37"/>
                  </a:lnTo>
                  <a:lnTo>
                    <a:pt x="103" y="37"/>
                  </a:lnTo>
                  <a:lnTo>
                    <a:pt x="105" y="37"/>
                  </a:lnTo>
                  <a:lnTo>
                    <a:pt x="108" y="37"/>
                  </a:lnTo>
                  <a:lnTo>
                    <a:pt x="111" y="39"/>
                  </a:lnTo>
                  <a:lnTo>
                    <a:pt x="114" y="39"/>
                  </a:lnTo>
                  <a:lnTo>
                    <a:pt x="117" y="37"/>
                  </a:lnTo>
                  <a:lnTo>
                    <a:pt x="119" y="35"/>
                  </a:lnTo>
                  <a:lnTo>
                    <a:pt x="118" y="33"/>
                  </a:lnTo>
                  <a:lnTo>
                    <a:pt x="114" y="32"/>
                  </a:lnTo>
                  <a:lnTo>
                    <a:pt x="112" y="31"/>
                  </a:lnTo>
                  <a:lnTo>
                    <a:pt x="109" y="31"/>
                  </a:lnTo>
                  <a:lnTo>
                    <a:pt x="106" y="28"/>
                  </a:lnTo>
                  <a:lnTo>
                    <a:pt x="103" y="28"/>
                  </a:lnTo>
                  <a:lnTo>
                    <a:pt x="103" y="27"/>
                  </a:lnTo>
                  <a:lnTo>
                    <a:pt x="104" y="26"/>
                  </a:lnTo>
                  <a:lnTo>
                    <a:pt x="108" y="26"/>
                  </a:lnTo>
                  <a:lnTo>
                    <a:pt x="110" y="25"/>
                  </a:lnTo>
                  <a:lnTo>
                    <a:pt x="113" y="24"/>
                  </a:lnTo>
                  <a:lnTo>
                    <a:pt x="112" y="20"/>
                  </a:lnTo>
                  <a:lnTo>
                    <a:pt x="109" y="19"/>
                  </a:lnTo>
                  <a:lnTo>
                    <a:pt x="106" y="18"/>
                  </a:lnTo>
                  <a:lnTo>
                    <a:pt x="103" y="18"/>
                  </a:lnTo>
                  <a:lnTo>
                    <a:pt x="102" y="17"/>
                  </a:lnTo>
                  <a:lnTo>
                    <a:pt x="99" y="15"/>
                  </a:lnTo>
                  <a:lnTo>
                    <a:pt x="101" y="13"/>
                  </a:lnTo>
                  <a:lnTo>
                    <a:pt x="103" y="11"/>
                  </a:lnTo>
                  <a:lnTo>
                    <a:pt x="106" y="10"/>
                  </a:lnTo>
                  <a:lnTo>
                    <a:pt x="106" y="8"/>
                  </a:lnTo>
                  <a:lnTo>
                    <a:pt x="110" y="6"/>
                  </a:lnTo>
                  <a:lnTo>
                    <a:pt x="112" y="3"/>
                  </a:lnTo>
                  <a:lnTo>
                    <a:pt x="114" y="1"/>
                  </a:lnTo>
                  <a:lnTo>
                    <a:pt x="118" y="1"/>
                  </a:lnTo>
                  <a:lnTo>
                    <a:pt x="120" y="0"/>
                  </a:lnTo>
                  <a:lnTo>
                    <a:pt x="123" y="3"/>
                  </a:lnTo>
                  <a:lnTo>
                    <a:pt x="123" y="6"/>
                  </a:lnTo>
                  <a:lnTo>
                    <a:pt x="121" y="7"/>
                  </a:lnTo>
                  <a:lnTo>
                    <a:pt x="123" y="9"/>
                  </a:lnTo>
                  <a:lnTo>
                    <a:pt x="125" y="11"/>
                  </a:lnTo>
                  <a:lnTo>
                    <a:pt x="125" y="11"/>
                  </a:lnTo>
                  <a:close/>
                  <a:moveTo>
                    <a:pt x="183" y="40"/>
                  </a:moveTo>
                  <a:lnTo>
                    <a:pt x="186" y="41"/>
                  </a:lnTo>
                  <a:lnTo>
                    <a:pt x="188" y="43"/>
                  </a:lnTo>
                  <a:lnTo>
                    <a:pt x="189" y="45"/>
                  </a:lnTo>
                  <a:lnTo>
                    <a:pt x="190" y="49"/>
                  </a:lnTo>
                  <a:lnTo>
                    <a:pt x="188" y="50"/>
                  </a:lnTo>
                  <a:lnTo>
                    <a:pt x="183" y="51"/>
                  </a:lnTo>
                  <a:lnTo>
                    <a:pt x="181" y="51"/>
                  </a:lnTo>
                  <a:lnTo>
                    <a:pt x="178" y="51"/>
                  </a:lnTo>
                  <a:lnTo>
                    <a:pt x="176" y="50"/>
                  </a:lnTo>
                  <a:lnTo>
                    <a:pt x="173" y="49"/>
                  </a:lnTo>
                  <a:lnTo>
                    <a:pt x="176" y="45"/>
                  </a:lnTo>
                  <a:lnTo>
                    <a:pt x="177" y="43"/>
                  </a:lnTo>
                  <a:lnTo>
                    <a:pt x="179" y="41"/>
                  </a:lnTo>
                  <a:lnTo>
                    <a:pt x="181" y="40"/>
                  </a:lnTo>
                  <a:lnTo>
                    <a:pt x="183" y="40"/>
                  </a:lnTo>
                  <a:lnTo>
                    <a:pt x="183" y="40"/>
                  </a:lnTo>
                  <a:close/>
                  <a:moveTo>
                    <a:pt x="166" y="109"/>
                  </a:moveTo>
                  <a:lnTo>
                    <a:pt x="165" y="108"/>
                  </a:lnTo>
                  <a:lnTo>
                    <a:pt x="163" y="105"/>
                  </a:lnTo>
                  <a:lnTo>
                    <a:pt x="160" y="103"/>
                  </a:lnTo>
                  <a:lnTo>
                    <a:pt x="157" y="101"/>
                  </a:lnTo>
                  <a:lnTo>
                    <a:pt x="155" y="97"/>
                  </a:lnTo>
                  <a:lnTo>
                    <a:pt x="153" y="96"/>
                  </a:lnTo>
                  <a:lnTo>
                    <a:pt x="151" y="95"/>
                  </a:lnTo>
                  <a:lnTo>
                    <a:pt x="147" y="94"/>
                  </a:lnTo>
                  <a:lnTo>
                    <a:pt x="145" y="93"/>
                  </a:lnTo>
                  <a:lnTo>
                    <a:pt x="146" y="91"/>
                  </a:lnTo>
                  <a:lnTo>
                    <a:pt x="148" y="88"/>
                  </a:lnTo>
                  <a:lnTo>
                    <a:pt x="151" y="87"/>
                  </a:lnTo>
                  <a:lnTo>
                    <a:pt x="154" y="86"/>
                  </a:lnTo>
                  <a:lnTo>
                    <a:pt x="162" y="86"/>
                  </a:lnTo>
                  <a:lnTo>
                    <a:pt x="165" y="86"/>
                  </a:lnTo>
                  <a:lnTo>
                    <a:pt x="168" y="86"/>
                  </a:lnTo>
                  <a:lnTo>
                    <a:pt x="171" y="86"/>
                  </a:lnTo>
                  <a:lnTo>
                    <a:pt x="173" y="88"/>
                  </a:lnTo>
                  <a:lnTo>
                    <a:pt x="176" y="90"/>
                  </a:lnTo>
                  <a:lnTo>
                    <a:pt x="178" y="91"/>
                  </a:lnTo>
                  <a:lnTo>
                    <a:pt x="178" y="93"/>
                  </a:lnTo>
                  <a:lnTo>
                    <a:pt x="178" y="96"/>
                  </a:lnTo>
                  <a:lnTo>
                    <a:pt x="177" y="99"/>
                  </a:lnTo>
                  <a:lnTo>
                    <a:pt x="174" y="101"/>
                  </a:lnTo>
                  <a:lnTo>
                    <a:pt x="172" y="104"/>
                  </a:lnTo>
                  <a:lnTo>
                    <a:pt x="170" y="107"/>
                  </a:lnTo>
                  <a:lnTo>
                    <a:pt x="169" y="110"/>
                  </a:lnTo>
                  <a:lnTo>
                    <a:pt x="166" y="109"/>
                  </a:lnTo>
                  <a:lnTo>
                    <a:pt x="166" y="10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36" name="Freeform 236">
              <a:extLst>
                <a:ext uri="{FF2B5EF4-FFF2-40B4-BE49-F238E27FC236}">
                  <a16:creationId xmlns:a16="http://schemas.microsoft.com/office/drawing/2014/main" id="{6574C7BC-0A22-4D91-9A3A-62E767CC354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86138" y="2233613"/>
              <a:ext cx="193675" cy="76200"/>
            </a:xfrm>
            <a:custGeom>
              <a:avLst/>
              <a:gdLst>
                <a:gd name="T0" fmla="*/ 47 w 122"/>
                <a:gd name="T1" fmla="*/ 2 h 48"/>
                <a:gd name="T2" fmla="*/ 52 w 122"/>
                <a:gd name="T3" fmla="*/ 5 h 48"/>
                <a:gd name="T4" fmla="*/ 54 w 122"/>
                <a:gd name="T5" fmla="*/ 10 h 48"/>
                <a:gd name="T6" fmla="*/ 51 w 122"/>
                <a:gd name="T7" fmla="*/ 13 h 48"/>
                <a:gd name="T8" fmla="*/ 45 w 122"/>
                <a:gd name="T9" fmla="*/ 12 h 48"/>
                <a:gd name="T10" fmla="*/ 42 w 122"/>
                <a:gd name="T11" fmla="*/ 13 h 48"/>
                <a:gd name="T12" fmla="*/ 36 w 122"/>
                <a:gd name="T13" fmla="*/ 13 h 48"/>
                <a:gd name="T14" fmla="*/ 30 w 122"/>
                <a:gd name="T15" fmla="*/ 11 h 48"/>
                <a:gd name="T16" fmla="*/ 25 w 122"/>
                <a:gd name="T17" fmla="*/ 14 h 48"/>
                <a:gd name="T18" fmla="*/ 19 w 122"/>
                <a:gd name="T19" fmla="*/ 13 h 48"/>
                <a:gd name="T20" fmla="*/ 13 w 122"/>
                <a:gd name="T21" fmla="*/ 11 h 48"/>
                <a:gd name="T22" fmla="*/ 8 w 122"/>
                <a:gd name="T23" fmla="*/ 12 h 48"/>
                <a:gd name="T24" fmla="*/ 3 w 122"/>
                <a:gd name="T25" fmla="*/ 14 h 48"/>
                <a:gd name="T26" fmla="*/ 3 w 122"/>
                <a:gd name="T27" fmla="*/ 10 h 48"/>
                <a:gd name="T28" fmla="*/ 9 w 122"/>
                <a:gd name="T29" fmla="*/ 8 h 48"/>
                <a:gd name="T30" fmla="*/ 14 w 122"/>
                <a:gd name="T31" fmla="*/ 6 h 48"/>
                <a:gd name="T32" fmla="*/ 20 w 122"/>
                <a:gd name="T33" fmla="*/ 5 h 48"/>
                <a:gd name="T34" fmla="*/ 26 w 122"/>
                <a:gd name="T35" fmla="*/ 3 h 48"/>
                <a:gd name="T36" fmla="*/ 31 w 122"/>
                <a:gd name="T37" fmla="*/ 1 h 48"/>
                <a:gd name="T38" fmla="*/ 37 w 122"/>
                <a:gd name="T39" fmla="*/ 0 h 48"/>
                <a:gd name="T40" fmla="*/ 43 w 122"/>
                <a:gd name="T41" fmla="*/ 1 h 48"/>
                <a:gd name="T42" fmla="*/ 45 w 122"/>
                <a:gd name="T43" fmla="*/ 2 h 48"/>
                <a:gd name="T44" fmla="*/ 48 w 122"/>
                <a:gd name="T45" fmla="*/ 19 h 48"/>
                <a:gd name="T46" fmla="*/ 48 w 122"/>
                <a:gd name="T47" fmla="*/ 23 h 48"/>
                <a:gd name="T48" fmla="*/ 43 w 122"/>
                <a:gd name="T49" fmla="*/ 26 h 48"/>
                <a:gd name="T50" fmla="*/ 36 w 122"/>
                <a:gd name="T51" fmla="*/ 26 h 48"/>
                <a:gd name="T52" fmla="*/ 36 w 122"/>
                <a:gd name="T53" fmla="*/ 29 h 48"/>
                <a:gd name="T54" fmla="*/ 41 w 122"/>
                <a:gd name="T55" fmla="*/ 28 h 48"/>
                <a:gd name="T56" fmla="*/ 44 w 122"/>
                <a:gd name="T57" fmla="*/ 34 h 48"/>
                <a:gd name="T58" fmla="*/ 41 w 122"/>
                <a:gd name="T59" fmla="*/ 37 h 48"/>
                <a:gd name="T60" fmla="*/ 35 w 122"/>
                <a:gd name="T61" fmla="*/ 38 h 48"/>
                <a:gd name="T62" fmla="*/ 29 w 122"/>
                <a:gd name="T63" fmla="*/ 39 h 48"/>
                <a:gd name="T64" fmla="*/ 24 w 122"/>
                <a:gd name="T65" fmla="*/ 40 h 48"/>
                <a:gd name="T66" fmla="*/ 14 w 122"/>
                <a:gd name="T67" fmla="*/ 42 h 48"/>
                <a:gd name="T68" fmla="*/ 10 w 122"/>
                <a:gd name="T69" fmla="*/ 38 h 48"/>
                <a:gd name="T70" fmla="*/ 4 w 122"/>
                <a:gd name="T71" fmla="*/ 36 h 48"/>
                <a:gd name="T72" fmla="*/ 1 w 122"/>
                <a:gd name="T73" fmla="*/ 32 h 48"/>
                <a:gd name="T74" fmla="*/ 0 w 122"/>
                <a:gd name="T75" fmla="*/ 27 h 48"/>
                <a:gd name="T76" fmla="*/ 5 w 122"/>
                <a:gd name="T77" fmla="*/ 25 h 48"/>
                <a:gd name="T78" fmla="*/ 11 w 122"/>
                <a:gd name="T79" fmla="*/ 22 h 48"/>
                <a:gd name="T80" fmla="*/ 17 w 122"/>
                <a:gd name="T81" fmla="*/ 21 h 48"/>
                <a:gd name="T82" fmla="*/ 24 w 122"/>
                <a:gd name="T83" fmla="*/ 21 h 48"/>
                <a:gd name="T84" fmla="*/ 29 w 122"/>
                <a:gd name="T85" fmla="*/ 20 h 48"/>
                <a:gd name="T86" fmla="*/ 34 w 122"/>
                <a:gd name="T87" fmla="*/ 20 h 48"/>
                <a:gd name="T88" fmla="*/ 39 w 122"/>
                <a:gd name="T89" fmla="*/ 19 h 48"/>
                <a:gd name="T90" fmla="*/ 45 w 122"/>
                <a:gd name="T91" fmla="*/ 19 h 48"/>
                <a:gd name="T92" fmla="*/ 105 w 122"/>
                <a:gd name="T93" fmla="*/ 29 h 48"/>
                <a:gd name="T94" fmla="*/ 110 w 122"/>
                <a:gd name="T95" fmla="*/ 32 h 48"/>
                <a:gd name="T96" fmla="*/ 114 w 122"/>
                <a:gd name="T97" fmla="*/ 37 h 48"/>
                <a:gd name="T98" fmla="*/ 119 w 122"/>
                <a:gd name="T99" fmla="*/ 40 h 48"/>
                <a:gd name="T100" fmla="*/ 122 w 122"/>
                <a:gd name="T101" fmla="*/ 46 h 48"/>
                <a:gd name="T102" fmla="*/ 116 w 122"/>
                <a:gd name="T103" fmla="*/ 48 h 48"/>
                <a:gd name="T104" fmla="*/ 113 w 122"/>
                <a:gd name="T105" fmla="*/ 46 h 48"/>
                <a:gd name="T106" fmla="*/ 107 w 122"/>
                <a:gd name="T107" fmla="*/ 43 h 48"/>
                <a:gd name="T108" fmla="*/ 104 w 122"/>
                <a:gd name="T109" fmla="*/ 37 h 48"/>
                <a:gd name="T110" fmla="*/ 101 w 122"/>
                <a:gd name="T111" fmla="*/ 31 h 48"/>
                <a:gd name="T112" fmla="*/ 102 w 122"/>
                <a:gd name="T113" fmla="*/ 29 h 48"/>
                <a:gd name="T114" fmla="*/ 105 w 122"/>
                <a:gd name="T115" fmla="*/ 29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22" h="48">
                  <a:moveTo>
                    <a:pt x="45" y="2"/>
                  </a:moveTo>
                  <a:lnTo>
                    <a:pt x="47" y="2"/>
                  </a:lnTo>
                  <a:lnTo>
                    <a:pt x="50" y="4"/>
                  </a:lnTo>
                  <a:lnTo>
                    <a:pt x="52" y="5"/>
                  </a:lnTo>
                  <a:lnTo>
                    <a:pt x="55" y="8"/>
                  </a:lnTo>
                  <a:lnTo>
                    <a:pt x="54" y="10"/>
                  </a:lnTo>
                  <a:lnTo>
                    <a:pt x="54" y="13"/>
                  </a:lnTo>
                  <a:lnTo>
                    <a:pt x="51" y="13"/>
                  </a:lnTo>
                  <a:lnTo>
                    <a:pt x="48" y="13"/>
                  </a:lnTo>
                  <a:lnTo>
                    <a:pt x="45" y="12"/>
                  </a:lnTo>
                  <a:lnTo>
                    <a:pt x="45" y="12"/>
                  </a:lnTo>
                  <a:lnTo>
                    <a:pt x="42" y="13"/>
                  </a:lnTo>
                  <a:lnTo>
                    <a:pt x="39" y="13"/>
                  </a:lnTo>
                  <a:lnTo>
                    <a:pt x="36" y="13"/>
                  </a:lnTo>
                  <a:lnTo>
                    <a:pt x="34" y="12"/>
                  </a:lnTo>
                  <a:lnTo>
                    <a:pt x="30" y="11"/>
                  </a:lnTo>
                  <a:lnTo>
                    <a:pt x="28" y="13"/>
                  </a:lnTo>
                  <a:lnTo>
                    <a:pt x="25" y="14"/>
                  </a:lnTo>
                  <a:lnTo>
                    <a:pt x="22" y="14"/>
                  </a:lnTo>
                  <a:lnTo>
                    <a:pt x="19" y="13"/>
                  </a:lnTo>
                  <a:lnTo>
                    <a:pt x="17" y="11"/>
                  </a:lnTo>
                  <a:lnTo>
                    <a:pt x="13" y="11"/>
                  </a:lnTo>
                  <a:lnTo>
                    <a:pt x="11" y="12"/>
                  </a:lnTo>
                  <a:lnTo>
                    <a:pt x="8" y="12"/>
                  </a:lnTo>
                  <a:lnTo>
                    <a:pt x="5" y="13"/>
                  </a:lnTo>
                  <a:lnTo>
                    <a:pt x="3" y="14"/>
                  </a:lnTo>
                  <a:lnTo>
                    <a:pt x="0" y="12"/>
                  </a:lnTo>
                  <a:lnTo>
                    <a:pt x="3" y="10"/>
                  </a:lnTo>
                  <a:lnTo>
                    <a:pt x="5" y="9"/>
                  </a:lnTo>
                  <a:lnTo>
                    <a:pt x="9" y="8"/>
                  </a:lnTo>
                  <a:lnTo>
                    <a:pt x="11" y="6"/>
                  </a:lnTo>
                  <a:lnTo>
                    <a:pt x="14" y="6"/>
                  </a:lnTo>
                  <a:lnTo>
                    <a:pt x="17" y="5"/>
                  </a:lnTo>
                  <a:lnTo>
                    <a:pt x="20" y="5"/>
                  </a:lnTo>
                  <a:lnTo>
                    <a:pt x="22" y="5"/>
                  </a:lnTo>
                  <a:lnTo>
                    <a:pt x="26" y="3"/>
                  </a:lnTo>
                  <a:lnTo>
                    <a:pt x="28" y="2"/>
                  </a:lnTo>
                  <a:lnTo>
                    <a:pt x="31" y="1"/>
                  </a:lnTo>
                  <a:lnTo>
                    <a:pt x="34" y="0"/>
                  </a:lnTo>
                  <a:lnTo>
                    <a:pt x="37" y="0"/>
                  </a:lnTo>
                  <a:lnTo>
                    <a:pt x="39" y="0"/>
                  </a:lnTo>
                  <a:lnTo>
                    <a:pt x="43" y="1"/>
                  </a:lnTo>
                  <a:lnTo>
                    <a:pt x="45" y="2"/>
                  </a:lnTo>
                  <a:lnTo>
                    <a:pt x="45" y="2"/>
                  </a:lnTo>
                  <a:close/>
                  <a:moveTo>
                    <a:pt x="45" y="19"/>
                  </a:moveTo>
                  <a:lnTo>
                    <a:pt x="48" y="19"/>
                  </a:lnTo>
                  <a:lnTo>
                    <a:pt x="51" y="21"/>
                  </a:lnTo>
                  <a:lnTo>
                    <a:pt x="48" y="23"/>
                  </a:lnTo>
                  <a:lnTo>
                    <a:pt x="45" y="25"/>
                  </a:lnTo>
                  <a:lnTo>
                    <a:pt x="43" y="26"/>
                  </a:lnTo>
                  <a:lnTo>
                    <a:pt x="39" y="26"/>
                  </a:lnTo>
                  <a:lnTo>
                    <a:pt x="36" y="26"/>
                  </a:lnTo>
                  <a:lnTo>
                    <a:pt x="34" y="26"/>
                  </a:lnTo>
                  <a:lnTo>
                    <a:pt x="36" y="29"/>
                  </a:lnTo>
                  <a:lnTo>
                    <a:pt x="38" y="29"/>
                  </a:lnTo>
                  <a:lnTo>
                    <a:pt x="41" y="28"/>
                  </a:lnTo>
                  <a:lnTo>
                    <a:pt x="44" y="30"/>
                  </a:lnTo>
                  <a:lnTo>
                    <a:pt x="44" y="34"/>
                  </a:lnTo>
                  <a:lnTo>
                    <a:pt x="43" y="36"/>
                  </a:lnTo>
                  <a:lnTo>
                    <a:pt x="41" y="37"/>
                  </a:lnTo>
                  <a:lnTo>
                    <a:pt x="37" y="38"/>
                  </a:lnTo>
                  <a:lnTo>
                    <a:pt x="35" y="38"/>
                  </a:lnTo>
                  <a:lnTo>
                    <a:pt x="31" y="39"/>
                  </a:lnTo>
                  <a:lnTo>
                    <a:pt x="29" y="39"/>
                  </a:lnTo>
                  <a:lnTo>
                    <a:pt x="26" y="39"/>
                  </a:lnTo>
                  <a:lnTo>
                    <a:pt x="24" y="40"/>
                  </a:lnTo>
                  <a:lnTo>
                    <a:pt x="18" y="42"/>
                  </a:lnTo>
                  <a:lnTo>
                    <a:pt x="14" y="42"/>
                  </a:lnTo>
                  <a:lnTo>
                    <a:pt x="12" y="40"/>
                  </a:lnTo>
                  <a:lnTo>
                    <a:pt x="10" y="38"/>
                  </a:lnTo>
                  <a:lnTo>
                    <a:pt x="7" y="38"/>
                  </a:lnTo>
                  <a:lnTo>
                    <a:pt x="4" y="36"/>
                  </a:lnTo>
                  <a:lnTo>
                    <a:pt x="2" y="35"/>
                  </a:lnTo>
                  <a:lnTo>
                    <a:pt x="1" y="32"/>
                  </a:lnTo>
                  <a:lnTo>
                    <a:pt x="1" y="29"/>
                  </a:lnTo>
                  <a:lnTo>
                    <a:pt x="0" y="27"/>
                  </a:lnTo>
                  <a:lnTo>
                    <a:pt x="3" y="25"/>
                  </a:lnTo>
                  <a:lnTo>
                    <a:pt x="5" y="25"/>
                  </a:lnTo>
                  <a:lnTo>
                    <a:pt x="9" y="23"/>
                  </a:lnTo>
                  <a:lnTo>
                    <a:pt x="11" y="22"/>
                  </a:lnTo>
                  <a:lnTo>
                    <a:pt x="14" y="21"/>
                  </a:lnTo>
                  <a:lnTo>
                    <a:pt x="17" y="21"/>
                  </a:lnTo>
                  <a:lnTo>
                    <a:pt x="20" y="21"/>
                  </a:lnTo>
                  <a:lnTo>
                    <a:pt x="24" y="21"/>
                  </a:lnTo>
                  <a:lnTo>
                    <a:pt x="26" y="20"/>
                  </a:lnTo>
                  <a:lnTo>
                    <a:pt x="29" y="20"/>
                  </a:lnTo>
                  <a:lnTo>
                    <a:pt x="31" y="20"/>
                  </a:lnTo>
                  <a:lnTo>
                    <a:pt x="34" y="20"/>
                  </a:lnTo>
                  <a:lnTo>
                    <a:pt x="37" y="19"/>
                  </a:lnTo>
                  <a:lnTo>
                    <a:pt x="39" y="19"/>
                  </a:lnTo>
                  <a:lnTo>
                    <a:pt x="43" y="19"/>
                  </a:lnTo>
                  <a:lnTo>
                    <a:pt x="45" y="19"/>
                  </a:lnTo>
                  <a:lnTo>
                    <a:pt x="45" y="19"/>
                  </a:lnTo>
                  <a:close/>
                  <a:moveTo>
                    <a:pt x="105" y="29"/>
                  </a:moveTo>
                  <a:lnTo>
                    <a:pt x="106" y="30"/>
                  </a:lnTo>
                  <a:lnTo>
                    <a:pt x="110" y="32"/>
                  </a:lnTo>
                  <a:lnTo>
                    <a:pt x="112" y="34"/>
                  </a:lnTo>
                  <a:lnTo>
                    <a:pt x="114" y="37"/>
                  </a:lnTo>
                  <a:lnTo>
                    <a:pt x="115" y="39"/>
                  </a:lnTo>
                  <a:lnTo>
                    <a:pt x="119" y="40"/>
                  </a:lnTo>
                  <a:lnTo>
                    <a:pt x="121" y="43"/>
                  </a:lnTo>
                  <a:lnTo>
                    <a:pt x="122" y="46"/>
                  </a:lnTo>
                  <a:lnTo>
                    <a:pt x="120" y="47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13" y="46"/>
                  </a:lnTo>
                  <a:lnTo>
                    <a:pt x="111" y="45"/>
                  </a:lnTo>
                  <a:lnTo>
                    <a:pt x="107" y="43"/>
                  </a:lnTo>
                  <a:lnTo>
                    <a:pt x="105" y="40"/>
                  </a:lnTo>
                  <a:lnTo>
                    <a:pt x="104" y="37"/>
                  </a:lnTo>
                  <a:lnTo>
                    <a:pt x="102" y="35"/>
                  </a:lnTo>
                  <a:lnTo>
                    <a:pt x="101" y="31"/>
                  </a:lnTo>
                  <a:lnTo>
                    <a:pt x="102" y="29"/>
                  </a:lnTo>
                  <a:lnTo>
                    <a:pt x="102" y="29"/>
                  </a:lnTo>
                  <a:lnTo>
                    <a:pt x="105" y="29"/>
                  </a:lnTo>
                  <a:lnTo>
                    <a:pt x="105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37" name="Freeform 237">
              <a:extLst>
                <a:ext uri="{FF2B5EF4-FFF2-40B4-BE49-F238E27FC236}">
                  <a16:creationId xmlns:a16="http://schemas.microsoft.com/office/drawing/2014/main" id="{4DA46E54-99BE-4893-AD96-465D93118CB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13088" y="2424113"/>
              <a:ext cx="230187" cy="142875"/>
            </a:xfrm>
            <a:custGeom>
              <a:avLst/>
              <a:gdLst>
                <a:gd name="T0" fmla="*/ 86 w 145"/>
                <a:gd name="T1" fmla="*/ 60 h 90"/>
                <a:gd name="T2" fmla="*/ 91 w 145"/>
                <a:gd name="T3" fmla="*/ 53 h 90"/>
                <a:gd name="T4" fmla="*/ 98 w 145"/>
                <a:gd name="T5" fmla="*/ 47 h 90"/>
                <a:gd name="T6" fmla="*/ 106 w 145"/>
                <a:gd name="T7" fmla="*/ 44 h 90"/>
                <a:gd name="T8" fmla="*/ 114 w 145"/>
                <a:gd name="T9" fmla="*/ 40 h 90"/>
                <a:gd name="T10" fmla="*/ 122 w 145"/>
                <a:gd name="T11" fmla="*/ 37 h 90"/>
                <a:gd name="T12" fmla="*/ 131 w 145"/>
                <a:gd name="T13" fmla="*/ 34 h 90"/>
                <a:gd name="T14" fmla="*/ 139 w 145"/>
                <a:gd name="T15" fmla="*/ 31 h 90"/>
                <a:gd name="T16" fmla="*/ 145 w 145"/>
                <a:gd name="T17" fmla="*/ 28 h 90"/>
                <a:gd name="T18" fmla="*/ 138 w 145"/>
                <a:gd name="T19" fmla="*/ 22 h 90"/>
                <a:gd name="T20" fmla="*/ 130 w 145"/>
                <a:gd name="T21" fmla="*/ 17 h 90"/>
                <a:gd name="T22" fmla="*/ 118 w 145"/>
                <a:gd name="T23" fmla="*/ 10 h 90"/>
                <a:gd name="T24" fmla="*/ 112 w 145"/>
                <a:gd name="T25" fmla="*/ 8 h 90"/>
                <a:gd name="T26" fmla="*/ 100 w 145"/>
                <a:gd name="T27" fmla="*/ 8 h 90"/>
                <a:gd name="T28" fmla="*/ 95 w 145"/>
                <a:gd name="T29" fmla="*/ 14 h 90"/>
                <a:gd name="T30" fmla="*/ 91 w 145"/>
                <a:gd name="T31" fmla="*/ 9 h 90"/>
                <a:gd name="T32" fmla="*/ 83 w 145"/>
                <a:gd name="T33" fmla="*/ 13 h 90"/>
                <a:gd name="T34" fmla="*/ 87 w 145"/>
                <a:gd name="T35" fmla="*/ 9 h 90"/>
                <a:gd name="T36" fmla="*/ 80 w 145"/>
                <a:gd name="T37" fmla="*/ 8 h 90"/>
                <a:gd name="T38" fmla="*/ 73 w 145"/>
                <a:gd name="T39" fmla="*/ 5 h 90"/>
                <a:gd name="T40" fmla="*/ 65 w 145"/>
                <a:gd name="T41" fmla="*/ 1 h 90"/>
                <a:gd name="T42" fmla="*/ 57 w 145"/>
                <a:gd name="T43" fmla="*/ 0 h 90"/>
                <a:gd name="T44" fmla="*/ 48 w 145"/>
                <a:gd name="T45" fmla="*/ 2 h 90"/>
                <a:gd name="T46" fmla="*/ 40 w 145"/>
                <a:gd name="T47" fmla="*/ 2 h 90"/>
                <a:gd name="T48" fmla="*/ 31 w 145"/>
                <a:gd name="T49" fmla="*/ 3 h 90"/>
                <a:gd name="T50" fmla="*/ 23 w 145"/>
                <a:gd name="T51" fmla="*/ 4 h 90"/>
                <a:gd name="T52" fmla="*/ 15 w 145"/>
                <a:gd name="T53" fmla="*/ 5 h 90"/>
                <a:gd name="T54" fmla="*/ 19 w 145"/>
                <a:gd name="T55" fmla="*/ 12 h 90"/>
                <a:gd name="T56" fmla="*/ 26 w 145"/>
                <a:gd name="T57" fmla="*/ 19 h 90"/>
                <a:gd name="T58" fmla="*/ 26 w 145"/>
                <a:gd name="T59" fmla="*/ 26 h 90"/>
                <a:gd name="T60" fmla="*/ 19 w 145"/>
                <a:gd name="T61" fmla="*/ 31 h 90"/>
                <a:gd name="T62" fmla="*/ 14 w 145"/>
                <a:gd name="T63" fmla="*/ 40 h 90"/>
                <a:gd name="T64" fmla="*/ 14 w 145"/>
                <a:gd name="T65" fmla="*/ 44 h 90"/>
                <a:gd name="T66" fmla="*/ 11 w 145"/>
                <a:gd name="T67" fmla="*/ 49 h 90"/>
                <a:gd name="T68" fmla="*/ 7 w 145"/>
                <a:gd name="T69" fmla="*/ 54 h 90"/>
                <a:gd name="T70" fmla="*/ 4 w 145"/>
                <a:gd name="T71" fmla="*/ 62 h 90"/>
                <a:gd name="T72" fmla="*/ 2 w 145"/>
                <a:gd name="T73" fmla="*/ 68 h 90"/>
                <a:gd name="T74" fmla="*/ 11 w 145"/>
                <a:gd name="T75" fmla="*/ 69 h 90"/>
                <a:gd name="T76" fmla="*/ 19 w 145"/>
                <a:gd name="T77" fmla="*/ 72 h 90"/>
                <a:gd name="T78" fmla="*/ 27 w 145"/>
                <a:gd name="T79" fmla="*/ 77 h 90"/>
                <a:gd name="T80" fmla="*/ 32 w 145"/>
                <a:gd name="T81" fmla="*/ 85 h 90"/>
                <a:gd name="T82" fmla="*/ 40 w 145"/>
                <a:gd name="T83" fmla="*/ 90 h 90"/>
                <a:gd name="T84" fmla="*/ 48 w 145"/>
                <a:gd name="T85" fmla="*/ 86 h 90"/>
                <a:gd name="T86" fmla="*/ 56 w 145"/>
                <a:gd name="T87" fmla="*/ 80 h 90"/>
                <a:gd name="T88" fmla="*/ 65 w 145"/>
                <a:gd name="T89" fmla="*/ 81 h 90"/>
                <a:gd name="T90" fmla="*/ 73 w 145"/>
                <a:gd name="T91" fmla="*/ 79 h 90"/>
                <a:gd name="T92" fmla="*/ 74 w 145"/>
                <a:gd name="T93" fmla="*/ 71 h 90"/>
                <a:gd name="T94" fmla="*/ 78 w 145"/>
                <a:gd name="T95" fmla="*/ 63 h 90"/>
                <a:gd name="T96" fmla="*/ 80 w 145"/>
                <a:gd name="T97" fmla="*/ 61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45" h="90">
                  <a:moveTo>
                    <a:pt x="80" y="61"/>
                  </a:moveTo>
                  <a:lnTo>
                    <a:pt x="82" y="61"/>
                  </a:lnTo>
                  <a:lnTo>
                    <a:pt x="86" y="60"/>
                  </a:lnTo>
                  <a:lnTo>
                    <a:pt x="88" y="59"/>
                  </a:lnTo>
                  <a:lnTo>
                    <a:pt x="90" y="55"/>
                  </a:lnTo>
                  <a:lnTo>
                    <a:pt x="91" y="53"/>
                  </a:lnTo>
                  <a:lnTo>
                    <a:pt x="92" y="51"/>
                  </a:lnTo>
                  <a:lnTo>
                    <a:pt x="95" y="49"/>
                  </a:lnTo>
                  <a:lnTo>
                    <a:pt x="98" y="47"/>
                  </a:lnTo>
                  <a:lnTo>
                    <a:pt x="100" y="47"/>
                  </a:lnTo>
                  <a:lnTo>
                    <a:pt x="103" y="45"/>
                  </a:lnTo>
                  <a:lnTo>
                    <a:pt x="106" y="44"/>
                  </a:lnTo>
                  <a:lnTo>
                    <a:pt x="108" y="44"/>
                  </a:lnTo>
                  <a:lnTo>
                    <a:pt x="112" y="42"/>
                  </a:lnTo>
                  <a:lnTo>
                    <a:pt x="114" y="40"/>
                  </a:lnTo>
                  <a:lnTo>
                    <a:pt x="117" y="39"/>
                  </a:lnTo>
                  <a:lnTo>
                    <a:pt x="120" y="38"/>
                  </a:lnTo>
                  <a:lnTo>
                    <a:pt x="122" y="37"/>
                  </a:lnTo>
                  <a:lnTo>
                    <a:pt x="125" y="36"/>
                  </a:lnTo>
                  <a:lnTo>
                    <a:pt x="128" y="35"/>
                  </a:lnTo>
                  <a:lnTo>
                    <a:pt x="131" y="34"/>
                  </a:lnTo>
                  <a:lnTo>
                    <a:pt x="133" y="32"/>
                  </a:lnTo>
                  <a:lnTo>
                    <a:pt x="135" y="32"/>
                  </a:lnTo>
                  <a:lnTo>
                    <a:pt x="139" y="31"/>
                  </a:lnTo>
                  <a:lnTo>
                    <a:pt x="141" y="30"/>
                  </a:lnTo>
                  <a:lnTo>
                    <a:pt x="145" y="28"/>
                  </a:lnTo>
                  <a:lnTo>
                    <a:pt x="145" y="28"/>
                  </a:lnTo>
                  <a:lnTo>
                    <a:pt x="143" y="26"/>
                  </a:lnTo>
                  <a:lnTo>
                    <a:pt x="140" y="23"/>
                  </a:lnTo>
                  <a:lnTo>
                    <a:pt x="138" y="22"/>
                  </a:lnTo>
                  <a:lnTo>
                    <a:pt x="134" y="20"/>
                  </a:lnTo>
                  <a:lnTo>
                    <a:pt x="132" y="19"/>
                  </a:lnTo>
                  <a:lnTo>
                    <a:pt x="130" y="17"/>
                  </a:lnTo>
                  <a:lnTo>
                    <a:pt x="126" y="14"/>
                  </a:lnTo>
                  <a:lnTo>
                    <a:pt x="124" y="12"/>
                  </a:lnTo>
                  <a:lnTo>
                    <a:pt x="118" y="10"/>
                  </a:lnTo>
                  <a:lnTo>
                    <a:pt x="116" y="9"/>
                  </a:lnTo>
                  <a:lnTo>
                    <a:pt x="113" y="8"/>
                  </a:lnTo>
                  <a:lnTo>
                    <a:pt x="112" y="8"/>
                  </a:lnTo>
                  <a:lnTo>
                    <a:pt x="108" y="8"/>
                  </a:lnTo>
                  <a:lnTo>
                    <a:pt x="106" y="6"/>
                  </a:lnTo>
                  <a:lnTo>
                    <a:pt x="100" y="8"/>
                  </a:lnTo>
                  <a:lnTo>
                    <a:pt x="97" y="9"/>
                  </a:lnTo>
                  <a:lnTo>
                    <a:pt x="97" y="12"/>
                  </a:lnTo>
                  <a:lnTo>
                    <a:pt x="95" y="14"/>
                  </a:lnTo>
                  <a:lnTo>
                    <a:pt x="91" y="14"/>
                  </a:lnTo>
                  <a:lnTo>
                    <a:pt x="94" y="11"/>
                  </a:lnTo>
                  <a:lnTo>
                    <a:pt x="91" y="9"/>
                  </a:lnTo>
                  <a:lnTo>
                    <a:pt x="88" y="9"/>
                  </a:lnTo>
                  <a:lnTo>
                    <a:pt x="86" y="11"/>
                  </a:lnTo>
                  <a:lnTo>
                    <a:pt x="83" y="13"/>
                  </a:lnTo>
                  <a:lnTo>
                    <a:pt x="83" y="13"/>
                  </a:lnTo>
                  <a:lnTo>
                    <a:pt x="85" y="10"/>
                  </a:lnTo>
                  <a:lnTo>
                    <a:pt x="87" y="9"/>
                  </a:lnTo>
                  <a:lnTo>
                    <a:pt x="85" y="8"/>
                  </a:lnTo>
                  <a:lnTo>
                    <a:pt x="81" y="8"/>
                  </a:lnTo>
                  <a:lnTo>
                    <a:pt x="80" y="8"/>
                  </a:lnTo>
                  <a:lnTo>
                    <a:pt x="79" y="8"/>
                  </a:lnTo>
                  <a:lnTo>
                    <a:pt x="77" y="6"/>
                  </a:lnTo>
                  <a:lnTo>
                    <a:pt x="73" y="5"/>
                  </a:lnTo>
                  <a:lnTo>
                    <a:pt x="71" y="4"/>
                  </a:lnTo>
                  <a:lnTo>
                    <a:pt x="69" y="3"/>
                  </a:lnTo>
                  <a:lnTo>
                    <a:pt x="65" y="1"/>
                  </a:lnTo>
                  <a:lnTo>
                    <a:pt x="63" y="0"/>
                  </a:lnTo>
                  <a:lnTo>
                    <a:pt x="60" y="0"/>
                  </a:lnTo>
                  <a:lnTo>
                    <a:pt x="57" y="0"/>
                  </a:lnTo>
                  <a:lnTo>
                    <a:pt x="54" y="1"/>
                  </a:lnTo>
                  <a:lnTo>
                    <a:pt x="52" y="1"/>
                  </a:lnTo>
                  <a:lnTo>
                    <a:pt x="48" y="2"/>
                  </a:lnTo>
                  <a:lnTo>
                    <a:pt x="46" y="2"/>
                  </a:lnTo>
                  <a:lnTo>
                    <a:pt x="43" y="2"/>
                  </a:lnTo>
                  <a:lnTo>
                    <a:pt x="40" y="2"/>
                  </a:lnTo>
                  <a:lnTo>
                    <a:pt x="37" y="3"/>
                  </a:lnTo>
                  <a:lnTo>
                    <a:pt x="35" y="3"/>
                  </a:lnTo>
                  <a:lnTo>
                    <a:pt x="31" y="3"/>
                  </a:lnTo>
                  <a:lnTo>
                    <a:pt x="29" y="3"/>
                  </a:lnTo>
                  <a:lnTo>
                    <a:pt x="27" y="4"/>
                  </a:lnTo>
                  <a:lnTo>
                    <a:pt x="23" y="4"/>
                  </a:lnTo>
                  <a:lnTo>
                    <a:pt x="21" y="4"/>
                  </a:lnTo>
                  <a:lnTo>
                    <a:pt x="18" y="5"/>
                  </a:lnTo>
                  <a:lnTo>
                    <a:pt x="15" y="5"/>
                  </a:lnTo>
                  <a:lnTo>
                    <a:pt x="18" y="8"/>
                  </a:lnTo>
                  <a:lnTo>
                    <a:pt x="19" y="10"/>
                  </a:lnTo>
                  <a:lnTo>
                    <a:pt x="19" y="12"/>
                  </a:lnTo>
                  <a:lnTo>
                    <a:pt x="21" y="15"/>
                  </a:lnTo>
                  <a:lnTo>
                    <a:pt x="23" y="18"/>
                  </a:lnTo>
                  <a:lnTo>
                    <a:pt x="26" y="19"/>
                  </a:lnTo>
                  <a:lnTo>
                    <a:pt x="28" y="20"/>
                  </a:lnTo>
                  <a:lnTo>
                    <a:pt x="27" y="22"/>
                  </a:lnTo>
                  <a:lnTo>
                    <a:pt x="26" y="26"/>
                  </a:lnTo>
                  <a:lnTo>
                    <a:pt x="23" y="28"/>
                  </a:lnTo>
                  <a:lnTo>
                    <a:pt x="20" y="29"/>
                  </a:lnTo>
                  <a:lnTo>
                    <a:pt x="19" y="31"/>
                  </a:lnTo>
                  <a:lnTo>
                    <a:pt x="18" y="35"/>
                  </a:lnTo>
                  <a:lnTo>
                    <a:pt x="14" y="37"/>
                  </a:lnTo>
                  <a:lnTo>
                    <a:pt x="14" y="40"/>
                  </a:lnTo>
                  <a:lnTo>
                    <a:pt x="18" y="40"/>
                  </a:lnTo>
                  <a:lnTo>
                    <a:pt x="17" y="44"/>
                  </a:lnTo>
                  <a:lnTo>
                    <a:pt x="14" y="44"/>
                  </a:lnTo>
                  <a:lnTo>
                    <a:pt x="11" y="44"/>
                  </a:lnTo>
                  <a:lnTo>
                    <a:pt x="12" y="47"/>
                  </a:lnTo>
                  <a:lnTo>
                    <a:pt x="11" y="49"/>
                  </a:lnTo>
                  <a:lnTo>
                    <a:pt x="11" y="52"/>
                  </a:lnTo>
                  <a:lnTo>
                    <a:pt x="9" y="54"/>
                  </a:lnTo>
                  <a:lnTo>
                    <a:pt x="7" y="54"/>
                  </a:lnTo>
                  <a:lnTo>
                    <a:pt x="6" y="57"/>
                  </a:lnTo>
                  <a:lnTo>
                    <a:pt x="5" y="60"/>
                  </a:lnTo>
                  <a:lnTo>
                    <a:pt x="4" y="62"/>
                  </a:lnTo>
                  <a:lnTo>
                    <a:pt x="2" y="65"/>
                  </a:lnTo>
                  <a:lnTo>
                    <a:pt x="0" y="68"/>
                  </a:lnTo>
                  <a:lnTo>
                    <a:pt x="2" y="68"/>
                  </a:lnTo>
                  <a:lnTo>
                    <a:pt x="5" y="68"/>
                  </a:lnTo>
                  <a:lnTo>
                    <a:pt x="7" y="68"/>
                  </a:lnTo>
                  <a:lnTo>
                    <a:pt x="11" y="69"/>
                  </a:lnTo>
                  <a:lnTo>
                    <a:pt x="13" y="70"/>
                  </a:lnTo>
                  <a:lnTo>
                    <a:pt x="17" y="71"/>
                  </a:lnTo>
                  <a:lnTo>
                    <a:pt x="19" y="72"/>
                  </a:lnTo>
                  <a:lnTo>
                    <a:pt x="21" y="73"/>
                  </a:lnTo>
                  <a:lnTo>
                    <a:pt x="24" y="74"/>
                  </a:lnTo>
                  <a:lnTo>
                    <a:pt x="27" y="77"/>
                  </a:lnTo>
                  <a:lnTo>
                    <a:pt x="30" y="79"/>
                  </a:lnTo>
                  <a:lnTo>
                    <a:pt x="31" y="82"/>
                  </a:lnTo>
                  <a:lnTo>
                    <a:pt x="32" y="85"/>
                  </a:lnTo>
                  <a:lnTo>
                    <a:pt x="35" y="88"/>
                  </a:lnTo>
                  <a:lnTo>
                    <a:pt x="37" y="89"/>
                  </a:lnTo>
                  <a:lnTo>
                    <a:pt x="40" y="90"/>
                  </a:lnTo>
                  <a:lnTo>
                    <a:pt x="43" y="89"/>
                  </a:lnTo>
                  <a:lnTo>
                    <a:pt x="46" y="87"/>
                  </a:lnTo>
                  <a:lnTo>
                    <a:pt x="48" y="86"/>
                  </a:lnTo>
                  <a:lnTo>
                    <a:pt x="52" y="86"/>
                  </a:lnTo>
                  <a:lnTo>
                    <a:pt x="54" y="83"/>
                  </a:lnTo>
                  <a:lnTo>
                    <a:pt x="56" y="80"/>
                  </a:lnTo>
                  <a:lnTo>
                    <a:pt x="60" y="82"/>
                  </a:lnTo>
                  <a:lnTo>
                    <a:pt x="62" y="82"/>
                  </a:lnTo>
                  <a:lnTo>
                    <a:pt x="65" y="81"/>
                  </a:lnTo>
                  <a:lnTo>
                    <a:pt x="68" y="81"/>
                  </a:lnTo>
                  <a:lnTo>
                    <a:pt x="70" y="80"/>
                  </a:lnTo>
                  <a:lnTo>
                    <a:pt x="73" y="79"/>
                  </a:lnTo>
                  <a:lnTo>
                    <a:pt x="74" y="77"/>
                  </a:lnTo>
                  <a:lnTo>
                    <a:pt x="74" y="73"/>
                  </a:lnTo>
                  <a:lnTo>
                    <a:pt x="74" y="71"/>
                  </a:lnTo>
                  <a:lnTo>
                    <a:pt x="74" y="68"/>
                  </a:lnTo>
                  <a:lnTo>
                    <a:pt x="77" y="65"/>
                  </a:lnTo>
                  <a:lnTo>
                    <a:pt x="78" y="63"/>
                  </a:lnTo>
                  <a:lnTo>
                    <a:pt x="78" y="60"/>
                  </a:lnTo>
                  <a:lnTo>
                    <a:pt x="80" y="61"/>
                  </a:lnTo>
                  <a:lnTo>
                    <a:pt x="80" y="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38" name="Freeform 238">
              <a:extLst>
                <a:ext uri="{FF2B5EF4-FFF2-40B4-BE49-F238E27FC236}">
                  <a16:creationId xmlns:a16="http://schemas.microsoft.com/office/drawing/2014/main" id="{642C66A1-D290-4923-A155-792EE6DFA254}"/>
                </a:ext>
              </a:extLst>
            </p:cNvPr>
            <p:cNvSpPr>
              <a:spLocks/>
            </p:cNvSpPr>
            <p:nvPr/>
          </p:nvSpPr>
          <p:spPr bwMode="auto">
            <a:xfrm>
              <a:off x="8308975" y="4687888"/>
              <a:ext cx="879475" cy="661988"/>
            </a:xfrm>
            <a:custGeom>
              <a:avLst/>
              <a:gdLst>
                <a:gd name="T0" fmla="*/ 539 w 554"/>
                <a:gd name="T1" fmla="*/ 313 h 417"/>
                <a:gd name="T2" fmla="*/ 517 w 554"/>
                <a:gd name="T3" fmla="*/ 344 h 417"/>
                <a:gd name="T4" fmla="*/ 504 w 554"/>
                <a:gd name="T5" fmla="*/ 378 h 417"/>
                <a:gd name="T6" fmla="*/ 480 w 554"/>
                <a:gd name="T7" fmla="*/ 397 h 417"/>
                <a:gd name="T8" fmla="*/ 456 w 554"/>
                <a:gd name="T9" fmla="*/ 415 h 417"/>
                <a:gd name="T10" fmla="*/ 437 w 554"/>
                <a:gd name="T11" fmla="*/ 402 h 417"/>
                <a:gd name="T12" fmla="*/ 412 w 554"/>
                <a:gd name="T13" fmla="*/ 412 h 417"/>
                <a:gd name="T14" fmla="*/ 375 w 554"/>
                <a:gd name="T15" fmla="*/ 399 h 417"/>
                <a:gd name="T16" fmla="*/ 360 w 554"/>
                <a:gd name="T17" fmla="*/ 366 h 417"/>
                <a:gd name="T18" fmla="*/ 355 w 554"/>
                <a:gd name="T19" fmla="*/ 358 h 417"/>
                <a:gd name="T20" fmla="*/ 341 w 554"/>
                <a:gd name="T21" fmla="*/ 341 h 417"/>
                <a:gd name="T22" fmla="*/ 333 w 554"/>
                <a:gd name="T23" fmla="*/ 347 h 417"/>
                <a:gd name="T24" fmla="*/ 337 w 554"/>
                <a:gd name="T25" fmla="*/ 316 h 417"/>
                <a:gd name="T26" fmla="*/ 312 w 554"/>
                <a:gd name="T27" fmla="*/ 347 h 417"/>
                <a:gd name="T28" fmla="*/ 299 w 554"/>
                <a:gd name="T29" fmla="*/ 333 h 417"/>
                <a:gd name="T30" fmla="*/ 278 w 554"/>
                <a:gd name="T31" fmla="*/ 309 h 417"/>
                <a:gd name="T32" fmla="*/ 239 w 554"/>
                <a:gd name="T33" fmla="*/ 299 h 417"/>
                <a:gd name="T34" fmla="*/ 192 w 554"/>
                <a:gd name="T35" fmla="*/ 311 h 417"/>
                <a:gd name="T36" fmla="*/ 154 w 554"/>
                <a:gd name="T37" fmla="*/ 321 h 417"/>
                <a:gd name="T38" fmla="*/ 124 w 554"/>
                <a:gd name="T39" fmla="*/ 337 h 417"/>
                <a:gd name="T40" fmla="*/ 89 w 554"/>
                <a:gd name="T41" fmla="*/ 339 h 417"/>
                <a:gd name="T42" fmla="*/ 57 w 554"/>
                <a:gd name="T43" fmla="*/ 353 h 417"/>
                <a:gd name="T44" fmla="*/ 25 w 554"/>
                <a:gd name="T45" fmla="*/ 333 h 417"/>
                <a:gd name="T46" fmla="*/ 35 w 554"/>
                <a:gd name="T47" fmla="*/ 310 h 417"/>
                <a:gd name="T48" fmla="*/ 25 w 554"/>
                <a:gd name="T49" fmla="*/ 270 h 417"/>
                <a:gd name="T50" fmla="*/ 10 w 554"/>
                <a:gd name="T51" fmla="*/ 234 h 417"/>
                <a:gd name="T52" fmla="*/ 6 w 554"/>
                <a:gd name="T53" fmla="*/ 217 h 417"/>
                <a:gd name="T54" fmla="*/ 13 w 554"/>
                <a:gd name="T55" fmla="*/ 211 h 417"/>
                <a:gd name="T56" fmla="*/ 8 w 554"/>
                <a:gd name="T57" fmla="*/ 176 h 417"/>
                <a:gd name="T58" fmla="*/ 18 w 554"/>
                <a:gd name="T59" fmla="*/ 160 h 417"/>
                <a:gd name="T60" fmla="*/ 51 w 554"/>
                <a:gd name="T61" fmla="*/ 140 h 417"/>
                <a:gd name="T62" fmla="*/ 89 w 554"/>
                <a:gd name="T63" fmla="*/ 131 h 417"/>
                <a:gd name="T64" fmla="*/ 118 w 554"/>
                <a:gd name="T65" fmla="*/ 111 h 417"/>
                <a:gd name="T66" fmla="*/ 134 w 554"/>
                <a:gd name="T67" fmla="*/ 80 h 417"/>
                <a:gd name="T68" fmla="*/ 147 w 554"/>
                <a:gd name="T69" fmla="*/ 85 h 417"/>
                <a:gd name="T70" fmla="*/ 155 w 554"/>
                <a:gd name="T71" fmla="*/ 79 h 417"/>
                <a:gd name="T72" fmla="*/ 163 w 554"/>
                <a:gd name="T73" fmla="*/ 61 h 417"/>
                <a:gd name="T74" fmla="*/ 177 w 554"/>
                <a:gd name="T75" fmla="*/ 47 h 417"/>
                <a:gd name="T76" fmla="*/ 206 w 554"/>
                <a:gd name="T77" fmla="*/ 56 h 417"/>
                <a:gd name="T78" fmla="*/ 218 w 554"/>
                <a:gd name="T79" fmla="*/ 58 h 417"/>
                <a:gd name="T80" fmla="*/ 227 w 554"/>
                <a:gd name="T81" fmla="*/ 46 h 417"/>
                <a:gd name="T82" fmla="*/ 245 w 554"/>
                <a:gd name="T83" fmla="*/ 21 h 417"/>
                <a:gd name="T84" fmla="*/ 260 w 554"/>
                <a:gd name="T85" fmla="*/ 11 h 417"/>
                <a:gd name="T86" fmla="*/ 280 w 554"/>
                <a:gd name="T87" fmla="*/ 14 h 417"/>
                <a:gd name="T88" fmla="*/ 308 w 554"/>
                <a:gd name="T89" fmla="*/ 21 h 417"/>
                <a:gd name="T90" fmla="*/ 321 w 554"/>
                <a:gd name="T91" fmla="*/ 32 h 417"/>
                <a:gd name="T92" fmla="*/ 305 w 554"/>
                <a:gd name="T93" fmla="*/ 58 h 417"/>
                <a:gd name="T94" fmla="*/ 340 w 554"/>
                <a:gd name="T95" fmla="*/ 81 h 417"/>
                <a:gd name="T96" fmla="*/ 368 w 554"/>
                <a:gd name="T97" fmla="*/ 98 h 417"/>
                <a:gd name="T98" fmla="*/ 386 w 554"/>
                <a:gd name="T99" fmla="*/ 72 h 417"/>
                <a:gd name="T100" fmla="*/ 391 w 554"/>
                <a:gd name="T101" fmla="*/ 37 h 417"/>
                <a:gd name="T102" fmla="*/ 397 w 554"/>
                <a:gd name="T103" fmla="*/ 7 h 417"/>
                <a:gd name="T104" fmla="*/ 411 w 554"/>
                <a:gd name="T105" fmla="*/ 23 h 417"/>
                <a:gd name="T106" fmla="*/ 427 w 554"/>
                <a:gd name="T107" fmla="*/ 50 h 417"/>
                <a:gd name="T108" fmla="*/ 443 w 554"/>
                <a:gd name="T109" fmla="*/ 77 h 417"/>
                <a:gd name="T110" fmla="*/ 454 w 554"/>
                <a:gd name="T111" fmla="*/ 109 h 417"/>
                <a:gd name="T112" fmla="*/ 482 w 554"/>
                <a:gd name="T113" fmla="*/ 130 h 417"/>
                <a:gd name="T114" fmla="*/ 497 w 554"/>
                <a:gd name="T115" fmla="*/ 158 h 417"/>
                <a:gd name="T116" fmla="*/ 516 w 554"/>
                <a:gd name="T117" fmla="*/ 169 h 417"/>
                <a:gd name="T118" fmla="*/ 535 w 554"/>
                <a:gd name="T119" fmla="*/ 198 h 417"/>
                <a:gd name="T120" fmla="*/ 547 w 554"/>
                <a:gd name="T121" fmla="*/ 229 h 417"/>
                <a:gd name="T122" fmla="*/ 551 w 554"/>
                <a:gd name="T123" fmla="*/ 265 h 4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54" h="417">
                  <a:moveTo>
                    <a:pt x="548" y="276"/>
                  </a:moveTo>
                  <a:lnTo>
                    <a:pt x="548" y="278"/>
                  </a:lnTo>
                  <a:lnTo>
                    <a:pt x="547" y="280"/>
                  </a:lnTo>
                  <a:lnTo>
                    <a:pt x="546" y="284"/>
                  </a:lnTo>
                  <a:lnTo>
                    <a:pt x="546" y="286"/>
                  </a:lnTo>
                  <a:lnTo>
                    <a:pt x="546" y="288"/>
                  </a:lnTo>
                  <a:lnTo>
                    <a:pt x="546" y="292"/>
                  </a:lnTo>
                  <a:lnTo>
                    <a:pt x="546" y="294"/>
                  </a:lnTo>
                  <a:lnTo>
                    <a:pt x="545" y="296"/>
                  </a:lnTo>
                  <a:lnTo>
                    <a:pt x="544" y="299"/>
                  </a:lnTo>
                  <a:lnTo>
                    <a:pt x="543" y="302"/>
                  </a:lnTo>
                  <a:lnTo>
                    <a:pt x="542" y="305"/>
                  </a:lnTo>
                  <a:lnTo>
                    <a:pt x="539" y="307"/>
                  </a:lnTo>
                  <a:lnTo>
                    <a:pt x="539" y="313"/>
                  </a:lnTo>
                  <a:lnTo>
                    <a:pt x="539" y="313"/>
                  </a:lnTo>
                  <a:lnTo>
                    <a:pt x="537" y="314"/>
                  </a:lnTo>
                  <a:lnTo>
                    <a:pt x="535" y="318"/>
                  </a:lnTo>
                  <a:lnTo>
                    <a:pt x="533" y="319"/>
                  </a:lnTo>
                  <a:lnTo>
                    <a:pt x="529" y="320"/>
                  </a:lnTo>
                  <a:lnTo>
                    <a:pt x="528" y="323"/>
                  </a:lnTo>
                  <a:lnTo>
                    <a:pt x="526" y="325"/>
                  </a:lnTo>
                  <a:lnTo>
                    <a:pt x="525" y="328"/>
                  </a:lnTo>
                  <a:lnTo>
                    <a:pt x="522" y="331"/>
                  </a:lnTo>
                  <a:lnTo>
                    <a:pt x="522" y="333"/>
                  </a:lnTo>
                  <a:lnTo>
                    <a:pt x="521" y="336"/>
                  </a:lnTo>
                  <a:lnTo>
                    <a:pt x="520" y="339"/>
                  </a:lnTo>
                  <a:lnTo>
                    <a:pt x="518" y="341"/>
                  </a:lnTo>
                  <a:lnTo>
                    <a:pt x="517" y="344"/>
                  </a:lnTo>
                  <a:lnTo>
                    <a:pt x="517" y="347"/>
                  </a:lnTo>
                  <a:lnTo>
                    <a:pt x="516" y="349"/>
                  </a:lnTo>
                  <a:lnTo>
                    <a:pt x="516" y="352"/>
                  </a:lnTo>
                  <a:lnTo>
                    <a:pt x="516" y="353"/>
                  </a:lnTo>
                  <a:lnTo>
                    <a:pt x="514" y="355"/>
                  </a:lnTo>
                  <a:lnTo>
                    <a:pt x="511" y="357"/>
                  </a:lnTo>
                  <a:lnTo>
                    <a:pt x="510" y="359"/>
                  </a:lnTo>
                  <a:lnTo>
                    <a:pt x="509" y="362"/>
                  </a:lnTo>
                  <a:lnTo>
                    <a:pt x="508" y="365"/>
                  </a:lnTo>
                  <a:lnTo>
                    <a:pt x="506" y="367"/>
                  </a:lnTo>
                  <a:lnTo>
                    <a:pt x="506" y="370"/>
                  </a:lnTo>
                  <a:lnTo>
                    <a:pt x="506" y="373"/>
                  </a:lnTo>
                  <a:lnTo>
                    <a:pt x="505" y="375"/>
                  </a:lnTo>
                  <a:lnTo>
                    <a:pt x="504" y="378"/>
                  </a:lnTo>
                  <a:lnTo>
                    <a:pt x="504" y="380"/>
                  </a:lnTo>
                  <a:lnTo>
                    <a:pt x="503" y="383"/>
                  </a:lnTo>
                  <a:lnTo>
                    <a:pt x="504" y="386"/>
                  </a:lnTo>
                  <a:lnTo>
                    <a:pt x="504" y="388"/>
                  </a:lnTo>
                  <a:lnTo>
                    <a:pt x="504" y="389"/>
                  </a:lnTo>
                  <a:lnTo>
                    <a:pt x="504" y="391"/>
                  </a:lnTo>
                  <a:lnTo>
                    <a:pt x="503" y="392"/>
                  </a:lnTo>
                  <a:lnTo>
                    <a:pt x="501" y="393"/>
                  </a:lnTo>
                  <a:lnTo>
                    <a:pt x="499" y="396"/>
                  </a:lnTo>
                  <a:lnTo>
                    <a:pt x="495" y="396"/>
                  </a:lnTo>
                  <a:lnTo>
                    <a:pt x="488" y="396"/>
                  </a:lnTo>
                  <a:lnTo>
                    <a:pt x="486" y="396"/>
                  </a:lnTo>
                  <a:lnTo>
                    <a:pt x="483" y="396"/>
                  </a:lnTo>
                  <a:lnTo>
                    <a:pt x="480" y="397"/>
                  </a:lnTo>
                  <a:lnTo>
                    <a:pt x="477" y="398"/>
                  </a:lnTo>
                  <a:lnTo>
                    <a:pt x="475" y="399"/>
                  </a:lnTo>
                  <a:lnTo>
                    <a:pt x="473" y="400"/>
                  </a:lnTo>
                  <a:lnTo>
                    <a:pt x="469" y="402"/>
                  </a:lnTo>
                  <a:lnTo>
                    <a:pt x="467" y="405"/>
                  </a:lnTo>
                  <a:lnTo>
                    <a:pt x="465" y="408"/>
                  </a:lnTo>
                  <a:lnTo>
                    <a:pt x="461" y="410"/>
                  </a:lnTo>
                  <a:lnTo>
                    <a:pt x="461" y="409"/>
                  </a:lnTo>
                  <a:lnTo>
                    <a:pt x="459" y="410"/>
                  </a:lnTo>
                  <a:lnTo>
                    <a:pt x="456" y="410"/>
                  </a:lnTo>
                  <a:lnTo>
                    <a:pt x="453" y="410"/>
                  </a:lnTo>
                  <a:lnTo>
                    <a:pt x="453" y="413"/>
                  </a:lnTo>
                  <a:lnTo>
                    <a:pt x="457" y="412"/>
                  </a:lnTo>
                  <a:lnTo>
                    <a:pt x="456" y="415"/>
                  </a:lnTo>
                  <a:lnTo>
                    <a:pt x="456" y="417"/>
                  </a:lnTo>
                  <a:lnTo>
                    <a:pt x="453" y="415"/>
                  </a:lnTo>
                  <a:lnTo>
                    <a:pt x="451" y="413"/>
                  </a:lnTo>
                  <a:lnTo>
                    <a:pt x="449" y="413"/>
                  </a:lnTo>
                  <a:lnTo>
                    <a:pt x="445" y="409"/>
                  </a:lnTo>
                  <a:lnTo>
                    <a:pt x="443" y="408"/>
                  </a:lnTo>
                  <a:lnTo>
                    <a:pt x="443" y="406"/>
                  </a:lnTo>
                  <a:lnTo>
                    <a:pt x="443" y="402"/>
                  </a:lnTo>
                  <a:lnTo>
                    <a:pt x="440" y="404"/>
                  </a:lnTo>
                  <a:lnTo>
                    <a:pt x="440" y="406"/>
                  </a:lnTo>
                  <a:lnTo>
                    <a:pt x="436" y="407"/>
                  </a:lnTo>
                  <a:lnTo>
                    <a:pt x="434" y="405"/>
                  </a:lnTo>
                  <a:lnTo>
                    <a:pt x="437" y="402"/>
                  </a:lnTo>
                  <a:lnTo>
                    <a:pt x="437" y="402"/>
                  </a:lnTo>
                  <a:lnTo>
                    <a:pt x="437" y="400"/>
                  </a:lnTo>
                  <a:lnTo>
                    <a:pt x="435" y="397"/>
                  </a:lnTo>
                  <a:lnTo>
                    <a:pt x="433" y="399"/>
                  </a:lnTo>
                  <a:lnTo>
                    <a:pt x="431" y="400"/>
                  </a:lnTo>
                  <a:lnTo>
                    <a:pt x="427" y="401"/>
                  </a:lnTo>
                  <a:lnTo>
                    <a:pt x="431" y="404"/>
                  </a:lnTo>
                  <a:lnTo>
                    <a:pt x="427" y="404"/>
                  </a:lnTo>
                  <a:lnTo>
                    <a:pt x="427" y="405"/>
                  </a:lnTo>
                  <a:lnTo>
                    <a:pt x="424" y="407"/>
                  </a:lnTo>
                  <a:lnTo>
                    <a:pt x="422" y="408"/>
                  </a:lnTo>
                  <a:lnTo>
                    <a:pt x="419" y="410"/>
                  </a:lnTo>
                  <a:lnTo>
                    <a:pt x="416" y="413"/>
                  </a:lnTo>
                  <a:lnTo>
                    <a:pt x="416" y="413"/>
                  </a:lnTo>
                  <a:lnTo>
                    <a:pt x="412" y="412"/>
                  </a:lnTo>
                  <a:lnTo>
                    <a:pt x="410" y="409"/>
                  </a:lnTo>
                  <a:lnTo>
                    <a:pt x="408" y="408"/>
                  </a:lnTo>
                  <a:lnTo>
                    <a:pt x="405" y="407"/>
                  </a:lnTo>
                  <a:lnTo>
                    <a:pt x="402" y="405"/>
                  </a:lnTo>
                  <a:lnTo>
                    <a:pt x="400" y="405"/>
                  </a:lnTo>
                  <a:lnTo>
                    <a:pt x="397" y="405"/>
                  </a:lnTo>
                  <a:lnTo>
                    <a:pt x="394" y="404"/>
                  </a:lnTo>
                  <a:lnTo>
                    <a:pt x="391" y="404"/>
                  </a:lnTo>
                  <a:lnTo>
                    <a:pt x="389" y="406"/>
                  </a:lnTo>
                  <a:lnTo>
                    <a:pt x="386" y="404"/>
                  </a:lnTo>
                  <a:lnTo>
                    <a:pt x="383" y="401"/>
                  </a:lnTo>
                  <a:lnTo>
                    <a:pt x="381" y="400"/>
                  </a:lnTo>
                  <a:lnTo>
                    <a:pt x="378" y="400"/>
                  </a:lnTo>
                  <a:lnTo>
                    <a:pt x="375" y="399"/>
                  </a:lnTo>
                  <a:lnTo>
                    <a:pt x="373" y="398"/>
                  </a:lnTo>
                  <a:lnTo>
                    <a:pt x="372" y="395"/>
                  </a:lnTo>
                  <a:lnTo>
                    <a:pt x="369" y="392"/>
                  </a:lnTo>
                  <a:lnTo>
                    <a:pt x="368" y="391"/>
                  </a:lnTo>
                  <a:lnTo>
                    <a:pt x="366" y="389"/>
                  </a:lnTo>
                  <a:lnTo>
                    <a:pt x="365" y="387"/>
                  </a:lnTo>
                  <a:lnTo>
                    <a:pt x="364" y="383"/>
                  </a:lnTo>
                  <a:lnTo>
                    <a:pt x="366" y="381"/>
                  </a:lnTo>
                  <a:lnTo>
                    <a:pt x="366" y="380"/>
                  </a:lnTo>
                  <a:lnTo>
                    <a:pt x="366" y="378"/>
                  </a:lnTo>
                  <a:lnTo>
                    <a:pt x="365" y="374"/>
                  </a:lnTo>
                  <a:lnTo>
                    <a:pt x="364" y="372"/>
                  </a:lnTo>
                  <a:lnTo>
                    <a:pt x="363" y="370"/>
                  </a:lnTo>
                  <a:lnTo>
                    <a:pt x="360" y="366"/>
                  </a:lnTo>
                  <a:lnTo>
                    <a:pt x="357" y="364"/>
                  </a:lnTo>
                  <a:lnTo>
                    <a:pt x="355" y="362"/>
                  </a:lnTo>
                  <a:lnTo>
                    <a:pt x="357" y="364"/>
                  </a:lnTo>
                  <a:lnTo>
                    <a:pt x="360" y="366"/>
                  </a:lnTo>
                  <a:lnTo>
                    <a:pt x="362" y="369"/>
                  </a:lnTo>
                  <a:lnTo>
                    <a:pt x="364" y="371"/>
                  </a:lnTo>
                  <a:lnTo>
                    <a:pt x="362" y="367"/>
                  </a:lnTo>
                  <a:lnTo>
                    <a:pt x="359" y="365"/>
                  </a:lnTo>
                  <a:lnTo>
                    <a:pt x="357" y="363"/>
                  </a:lnTo>
                  <a:lnTo>
                    <a:pt x="356" y="361"/>
                  </a:lnTo>
                  <a:lnTo>
                    <a:pt x="358" y="361"/>
                  </a:lnTo>
                  <a:lnTo>
                    <a:pt x="359" y="358"/>
                  </a:lnTo>
                  <a:lnTo>
                    <a:pt x="357" y="357"/>
                  </a:lnTo>
                  <a:lnTo>
                    <a:pt x="355" y="358"/>
                  </a:lnTo>
                  <a:lnTo>
                    <a:pt x="352" y="361"/>
                  </a:lnTo>
                  <a:lnTo>
                    <a:pt x="350" y="361"/>
                  </a:lnTo>
                  <a:lnTo>
                    <a:pt x="347" y="362"/>
                  </a:lnTo>
                  <a:lnTo>
                    <a:pt x="345" y="362"/>
                  </a:lnTo>
                  <a:lnTo>
                    <a:pt x="342" y="363"/>
                  </a:lnTo>
                  <a:lnTo>
                    <a:pt x="343" y="359"/>
                  </a:lnTo>
                  <a:lnTo>
                    <a:pt x="347" y="357"/>
                  </a:lnTo>
                  <a:lnTo>
                    <a:pt x="347" y="355"/>
                  </a:lnTo>
                  <a:lnTo>
                    <a:pt x="347" y="352"/>
                  </a:lnTo>
                  <a:lnTo>
                    <a:pt x="347" y="349"/>
                  </a:lnTo>
                  <a:lnTo>
                    <a:pt x="347" y="347"/>
                  </a:lnTo>
                  <a:lnTo>
                    <a:pt x="345" y="344"/>
                  </a:lnTo>
                  <a:lnTo>
                    <a:pt x="343" y="341"/>
                  </a:lnTo>
                  <a:lnTo>
                    <a:pt x="341" y="341"/>
                  </a:lnTo>
                  <a:lnTo>
                    <a:pt x="339" y="344"/>
                  </a:lnTo>
                  <a:lnTo>
                    <a:pt x="339" y="346"/>
                  </a:lnTo>
                  <a:lnTo>
                    <a:pt x="339" y="347"/>
                  </a:lnTo>
                  <a:lnTo>
                    <a:pt x="339" y="349"/>
                  </a:lnTo>
                  <a:lnTo>
                    <a:pt x="338" y="352"/>
                  </a:lnTo>
                  <a:lnTo>
                    <a:pt x="335" y="355"/>
                  </a:lnTo>
                  <a:lnTo>
                    <a:pt x="333" y="354"/>
                  </a:lnTo>
                  <a:lnTo>
                    <a:pt x="330" y="355"/>
                  </a:lnTo>
                  <a:lnTo>
                    <a:pt x="325" y="356"/>
                  </a:lnTo>
                  <a:lnTo>
                    <a:pt x="326" y="354"/>
                  </a:lnTo>
                  <a:lnTo>
                    <a:pt x="328" y="350"/>
                  </a:lnTo>
                  <a:lnTo>
                    <a:pt x="330" y="350"/>
                  </a:lnTo>
                  <a:lnTo>
                    <a:pt x="333" y="349"/>
                  </a:lnTo>
                  <a:lnTo>
                    <a:pt x="333" y="347"/>
                  </a:lnTo>
                  <a:lnTo>
                    <a:pt x="333" y="344"/>
                  </a:lnTo>
                  <a:lnTo>
                    <a:pt x="333" y="344"/>
                  </a:lnTo>
                  <a:lnTo>
                    <a:pt x="333" y="340"/>
                  </a:lnTo>
                  <a:lnTo>
                    <a:pt x="334" y="338"/>
                  </a:lnTo>
                  <a:lnTo>
                    <a:pt x="335" y="335"/>
                  </a:lnTo>
                  <a:lnTo>
                    <a:pt x="337" y="332"/>
                  </a:lnTo>
                  <a:lnTo>
                    <a:pt x="340" y="330"/>
                  </a:lnTo>
                  <a:lnTo>
                    <a:pt x="339" y="327"/>
                  </a:lnTo>
                  <a:lnTo>
                    <a:pt x="339" y="324"/>
                  </a:lnTo>
                  <a:lnTo>
                    <a:pt x="341" y="323"/>
                  </a:lnTo>
                  <a:lnTo>
                    <a:pt x="340" y="320"/>
                  </a:lnTo>
                  <a:lnTo>
                    <a:pt x="339" y="318"/>
                  </a:lnTo>
                  <a:lnTo>
                    <a:pt x="338" y="315"/>
                  </a:lnTo>
                  <a:lnTo>
                    <a:pt x="337" y="316"/>
                  </a:lnTo>
                  <a:lnTo>
                    <a:pt x="338" y="319"/>
                  </a:lnTo>
                  <a:lnTo>
                    <a:pt x="337" y="321"/>
                  </a:lnTo>
                  <a:lnTo>
                    <a:pt x="334" y="323"/>
                  </a:lnTo>
                  <a:lnTo>
                    <a:pt x="332" y="325"/>
                  </a:lnTo>
                  <a:lnTo>
                    <a:pt x="332" y="328"/>
                  </a:lnTo>
                  <a:lnTo>
                    <a:pt x="330" y="331"/>
                  </a:lnTo>
                  <a:lnTo>
                    <a:pt x="328" y="332"/>
                  </a:lnTo>
                  <a:lnTo>
                    <a:pt x="325" y="333"/>
                  </a:lnTo>
                  <a:lnTo>
                    <a:pt x="322" y="335"/>
                  </a:lnTo>
                  <a:lnTo>
                    <a:pt x="320" y="337"/>
                  </a:lnTo>
                  <a:lnTo>
                    <a:pt x="317" y="339"/>
                  </a:lnTo>
                  <a:lnTo>
                    <a:pt x="316" y="341"/>
                  </a:lnTo>
                  <a:lnTo>
                    <a:pt x="314" y="344"/>
                  </a:lnTo>
                  <a:lnTo>
                    <a:pt x="312" y="347"/>
                  </a:lnTo>
                  <a:lnTo>
                    <a:pt x="311" y="349"/>
                  </a:lnTo>
                  <a:lnTo>
                    <a:pt x="313" y="349"/>
                  </a:lnTo>
                  <a:lnTo>
                    <a:pt x="313" y="353"/>
                  </a:lnTo>
                  <a:lnTo>
                    <a:pt x="311" y="350"/>
                  </a:lnTo>
                  <a:lnTo>
                    <a:pt x="308" y="352"/>
                  </a:lnTo>
                  <a:lnTo>
                    <a:pt x="306" y="348"/>
                  </a:lnTo>
                  <a:lnTo>
                    <a:pt x="304" y="346"/>
                  </a:lnTo>
                  <a:lnTo>
                    <a:pt x="303" y="344"/>
                  </a:lnTo>
                  <a:lnTo>
                    <a:pt x="305" y="344"/>
                  </a:lnTo>
                  <a:lnTo>
                    <a:pt x="304" y="341"/>
                  </a:lnTo>
                  <a:lnTo>
                    <a:pt x="303" y="339"/>
                  </a:lnTo>
                  <a:lnTo>
                    <a:pt x="303" y="336"/>
                  </a:lnTo>
                  <a:lnTo>
                    <a:pt x="303" y="336"/>
                  </a:lnTo>
                  <a:lnTo>
                    <a:pt x="299" y="333"/>
                  </a:lnTo>
                  <a:lnTo>
                    <a:pt x="297" y="330"/>
                  </a:lnTo>
                  <a:lnTo>
                    <a:pt x="297" y="328"/>
                  </a:lnTo>
                  <a:lnTo>
                    <a:pt x="295" y="325"/>
                  </a:lnTo>
                  <a:lnTo>
                    <a:pt x="291" y="323"/>
                  </a:lnTo>
                  <a:lnTo>
                    <a:pt x="289" y="323"/>
                  </a:lnTo>
                  <a:lnTo>
                    <a:pt x="287" y="320"/>
                  </a:lnTo>
                  <a:lnTo>
                    <a:pt x="289" y="318"/>
                  </a:lnTo>
                  <a:lnTo>
                    <a:pt x="289" y="318"/>
                  </a:lnTo>
                  <a:lnTo>
                    <a:pt x="289" y="314"/>
                  </a:lnTo>
                  <a:lnTo>
                    <a:pt x="287" y="313"/>
                  </a:lnTo>
                  <a:lnTo>
                    <a:pt x="283" y="313"/>
                  </a:lnTo>
                  <a:lnTo>
                    <a:pt x="283" y="311"/>
                  </a:lnTo>
                  <a:lnTo>
                    <a:pt x="281" y="307"/>
                  </a:lnTo>
                  <a:lnTo>
                    <a:pt x="278" y="309"/>
                  </a:lnTo>
                  <a:lnTo>
                    <a:pt x="275" y="310"/>
                  </a:lnTo>
                  <a:lnTo>
                    <a:pt x="270" y="306"/>
                  </a:lnTo>
                  <a:lnTo>
                    <a:pt x="269" y="305"/>
                  </a:lnTo>
                  <a:lnTo>
                    <a:pt x="266" y="305"/>
                  </a:lnTo>
                  <a:lnTo>
                    <a:pt x="263" y="306"/>
                  </a:lnTo>
                  <a:lnTo>
                    <a:pt x="261" y="306"/>
                  </a:lnTo>
                  <a:lnTo>
                    <a:pt x="258" y="304"/>
                  </a:lnTo>
                  <a:lnTo>
                    <a:pt x="255" y="302"/>
                  </a:lnTo>
                  <a:lnTo>
                    <a:pt x="253" y="301"/>
                  </a:lnTo>
                  <a:lnTo>
                    <a:pt x="249" y="299"/>
                  </a:lnTo>
                  <a:lnTo>
                    <a:pt x="247" y="298"/>
                  </a:lnTo>
                  <a:lnTo>
                    <a:pt x="245" y="299"/>
                  </a:lnTo>
                  <a:lnTo>
                    <a:pt x="241" y="301"/>
                  </a:lnTo>
                  <a:lnTo>
                    <a:pt x="239" y="299"/>
                  </a:lnTo>
                  <a:lnTo>
                    <a:pt x="236" y="299"/>
                  </a:lnTo>
                  <a:lnTo>
                    <a:pt x="234" y="299"/>
                  </a:lnTo>
                  <a:lnTo>
                    <a:pt x="228" y="301"/>
                  </a:lnTo>
                  <a:lnTo>
                    <a:pt x="226" y="301"/>
                  </a:lnTo>
                  <a:lnTo>
                    <a:pt x="223" y="301"/>
                  </a:lnTo>
                  <a:lnTo>
                    <a:pt x="220" y="301"/>
                  </a:lnTo>
                  <a:lnTo>
                    <a:pt x="218" y="302"/>
                  </a:lnTo>
                  <a:lnTo>
                    <a:pt x="214" y="303"/>
                  </a:lnTo>
                  <a:lnTo>
                    <a:pt x="209" y="305"/>
                  </a:lnTo>
                  <a:lnTo>
                    <a:pt x="204" y="307"/>
                  </a:lnTo>
                  <a:lnTo>
                    <a:pt x="201" y="309"/>
                  </a:lnTo>
                  <a:lnTo>
                    <a:pt x="198" y="309"/>
                  </a:lnTo>
                  <a:lnTo>
                    <a:pt x="195" y="310"/>
                  </a:lnTo>
                  <a:lnTo>
                    <a:pt x="192" y="311"/>
                  </a:lnTo>
                  <a:lnTo>
                    <a:pt x="189" y="311"/>
                  </a:lnTo>
                  <a:lnTo>
                    <a:pt x="186" y="311"/>
                  </a:lnTo>
                  <a:lnTo>
                    <a:pt x="184" y="311"/>
                  </a:lnTo>
                  <a:lnTo>
                    <a:pt x="180" y="311"/>
                  </a:lnTo>
                  <a:lnTo>
                    <a:pt x="178" y="310"/>
                  </a:lnTo>
                  <a:lnTo>
                    <a:pt x="176" y="311"/>
                  </a:lnTo>
                  <a:lnTo>
                    <a:pt x="173" y="312"/>
                  </a:lnTo>
                  <a:lnTo>
                    <a:pt x="171" y="313"/>
                  </a:lnTo>
                  <a:lnTo>
                    <a:pt x="168" y="315"/>
                  </a:lnTo>
                  <a:lnTo>
                    <a:pt x="166" y="316"/>
                  </a:lnTo>
                  <a:lnTo>
                    <a:pt x="163" y="318"/>
                  </a:lnTo>
                  <a:lnTo>
                    <a:pt x="160" y="319"/>
                  </a:lnTo>
                  <a:lnTo>
                    <a:pt x="158" y="320"/>
                  </a:lnTo>
                  <a:lnTo>
                    <a:pt x="154" y="321"/>
                  </a:lnTo>
                  <a:lnTo>
                    <a:pt x="152" y="322"/>
                  </a:lnTo>
                  <a:lnTo>
                    <a:pt x="150" y="324"/>
                  </a:lnTo>
                  <a:lnTo>
                    <a:pt x="149" y="328"/>
                  </a:lnTo>
                  <a:lnTo>
                    <a:pt x="149" y="330"/>
                  </a:lnTo>
                  <a:lnTo>
                    <a:pt x="145" y="332"/>
                  </a:lnTo>
                  <a:lnTo>
                    <a:pt x="145" y="332"/>
                  </a:lnTo>
                  <a:lnTo>
                    <a:pt x="143" y="335"/>
                  </a:lnTo>
                  <a:lnTo>
                    <a:pt x="139" y="335"/>
                  </a:lnTo>
                  <a:lnTo>
                    <a:pt x="137" y="337"/>
                  </a:lnTo>
                  <a:lnTo>
                    <a:pt x="134" y="335"/>
                  </a:lnTo>
                  <a:lnTo>
                    <a:pt x="132" y="335"/>
                  </a:lnTo>
                  <a:lnTo>
                    <a:pt x="129" y="336"/>
                  </a:lnTo>
                  <a:lnTo>
                    <a:pt x="126" y="336"/>
                  </a:lnTo>
                  <a:lnTo>
                    <a:pt x="124" y="337"/>
                  </a:lnTo>
                  <a:lnTo>
                    <a:pt x="121" y="335"/>
                  </a:lnTo>
                  <a:lnTo>
                    <a:pt x="119" y="335"/>
                  </a:lnTo>
                  <a:lnTo>
                    <a:pt x="117" y="335"/>
                  </a:lnTo>
                  <a:lnTo>
                    <a:pt x="115" y="335"/>
                  </a:lnTo>
                  <a:lnTo>
                    <a:pt x="112" y="335"/>
                  </a:lnTo>
                  <a:lnTo>
                    <a:pt x="109" y="335"/>
                  </a:lnTo>
                  <a:lnTo>
                    <a:pt x="107" y="335"/>
                  </a:lnTo>
                  <a:lnTo>
                    <a:pt x="104" y="335"/>
                  </a:lnTo>
                  <a:lnTo>
                    <a:pt x="101" y="336"/>
                  </a:lnTo>
                  <a:lnTo>
                    <a:pt x="99" y="336"/>
                  </a:lnTo>
                  <a:lnTo>
                    <a:pt x="95" y="336"/>
                  </a:lnTo>
                  <a:lnTo>
                    <a:pt x="94" y="336"/>
                  </a:lnTo>
                  <a:lnTo>
                    <a:pt x="91" y="337"/>
                  </a:lnTo>
                  <a:lnTo>
                    <a:pt x="89" y="339"/>
                  </a:lnTo>
                  <a:lnTo>
                    <a:pt x="86" y="341"/>
                  </a:lnTo>
                  <a:lnTo>
                    <a:pt x="85" y="344"/>
                  </a:lnTo>
                  <a:lnTo>
                    <a:pt x="83" y="345"/>
                  </a:lnTo>
                  <a:lnTo>
                    <a:pt x="79" y="344"/>
                  </a:lnTo>
                  <a:lnTo>
                    <a:pt x="77" y="345"/>
                  </a:lnTo>
                  <a:lnTo>
                    <a:pt x="74" y="347"/>
                  </a:lnTo>
                  <a:lnTo>
                    <a:pt x="72" y="350"/>
                  </a:lnTo>
                  <a:lnTo>
                    <a:pt x="69" y="352"/>
                  </a:lnTo>
                  <a:lnTo>
                    <a:pt x="67" y="353"/>
                  </a:lnTo>
                  <a:lnTo>
                    <a:pt x="65" y="353"/>
                  </a:lnTo>
                  <a:lnTo>
                    <a:pt x="65" y="354"/>
                  </a:lnTo>
                  <a:lnTo>
                    <a:pt x="61" y="353"/>
                  </a:lnTo>
                  <a:lnTo>
                    <a:pt x="59" y="354"/>
                  </a:lnTo>
                  <a:lnTo>
                    <a:pt x="57" y="353"/>
                  </a:lnTo>
                  <a:lnTo>
                    <a:pt x="53" y="353"/>
                  </a:lnTo>
                  <a:lnTo>
                    <a:pt x="51" y="353"/>
                  </a:lnTo>
                  <a:lnTo>
                    <a:pt x="48" y="353"/>
                  </a:lnTo>
                  <a:lnTo>
                    <a:pt x="45" y="352"/>
                  </a:lnTo>
                  <a:lnTo>
                    <a:pt x="43" y="350"/>
                  </a:lnTo>
                  <a:lnTo>
                    <a:pt x="40" y="349"/>
                  </a:lnTo>
                  <a:lnTo>
                    <a:pt x="38" y="347"/>
                  </a:lnTo>
                  <a:lnTo>
                    <a:pt x="35" y="345"/>
                  </a:lnTo>
                  <a:lnTo>
                    <a:pt x="32" y="342"/>
                  </a:lnTo>
                  <a:lnTo>
                    <a:pt x="30" y="341"/>
                  </a:lnTo>
                  <a:lnTo>
                    <a:pt x="26" y="341"/>
                  </a:lnTo>
                  <a:lnTo>
                    <a:pt x="25" y="339"/>
                  </a:lnTo>
                  <a:lnTo>
                    <a:pt x="25" y="337"/>
                  </a:lnTo>
                  <a:lnTo>
                    <a:pt x="25" y="333"/>
                  </a:lnTo>
                  <a:lnTo>
                    <a:pt x="25" y="331"/>
                  </a:lnTo>
                  <a:lnTo>
                    <a:pt x="28" y="331"/>
                  </a:lnTo>
                  <a:lnTo>
                    <a:pt x="28" y="331"/>
                  </a:lnTo>
                  <a:lnTo>
                    <a:pt x="31" y="330"/>
                  </a:lnTo>
                  <a:lnTo>
                    <a:pt x="33" y="328"/>
                  </a:lnTo>
                  <a:lnTo>
                    <a:pt x="35" y="325"/>
                  </a:lnTo>
                  <a:lnTo>
                    <a:pt x="34" y="322"/>
                  </a:lnTo>
                  <a:lnTo>
                    <a:pt x="34" y="320"/>
                  </a:lnTo>
                  <a:lnTo>
                    <a:pt x="34" y="318"/>
                  </a:lnTo>
                  <a:lnTo>
                    <a:pt x="34" y="314"/>
                  </a:lnTo>
                  <a:lnTo>
                    <a:pt x="34" y="318"/>
                  </a:lnTo>
                  <a:lnTo>
                    <a:pt x="35" y="314"/>
                  </a:lnTo>
                  <a:lnTo>
                    <a:pt x="35" y="312"/>
                  </a:lnTo>
                  <a:lnTo>
                    <a:pt x="35" y="310"/>
                  </a:lnTo>
                  <a:lnTo>
                    <a:pt x="35" y="306"/>
                  </a:lnTo>
                  <a:lnTo>
                    <a:pt x="35" y="304"/>
                  </a:lnTo>
                  <a:lnTo>
                    <a:pt x="35" y="301"/>
                  </a:lnTo>
                  <a:lnTo>
                    <a:pt x="33" y="298"/>
                  </a:lnTo>
                  <a:lnTo>
                    <a:pt x="32" y="296"/>
                  </a:lnTo>
                  <a:lnTo>
                    <a:pt x="31" y="293"/>
                  </a:lnTo>
                  <a:lnTo>
                    <a:pt x="30" y="290"/>
                  </a:lnTo>
                  <a:lnTo>
                    <a:pt x="27" y="287"/>
                  </a:lnTo>
                  <a:lnTo>
                    <a:pt x="26" y="285"/>
                  </a:lnTo>
                  <a:lnTo>
                    <a:pt x="26" y="282"/>
                  </a:lnTo>
                  <a:lnTo>
                    <a:pt x="25" y="279"/>
                  </a:lnTo>
                  <a:lnTo>
                    <a:pt x="25" y="277"/>
                  </a:lnTo>
                  <a:lnTo>
                    <a:pt x="25" y="276"/>
                  </a:lnTo>
                  <a:lnTo>
                    <a:pt x="25" y="270"/>
                  </a:lnTo>
                  <a:lnTo>
                    <a:pt x="25" y="268"/>
                  </a:lnTo>
                  <a:lnTo>
                    <a:pt x="24" y="265"/>
                  </a:lnTo>
                  <a:lnTo>
                    <a:pt x="23" y="262"/>
                  </a:lnTo>
                  <a:lnTo>
                    <a:pt x="21" y="260"/>
                  </a:lnTo>
                  <a:lnTo>
                    <a:pt x="19" y="258"/>
                  </a:lnTo>
                  <a:lnTo>
                    <a:pt x="19" y="255"/>
                  </a:lnTo>
                  <a:lnTo>
                    <a:pt x="17" y="252"/>
                  </a:lnTo>
                  <a:lnTo>
                    <a:pt x="16" y="250"/>
                  </a:lnTo>
                  <a:lnTo>
                    <a:pt x="14" y="247"/>
                  </a:lnTo>
                  <a:lnTo>
                    <a:pt x="13" y="244"/>
                  </a:lnTo>
                  <a:lnTo>
                    <a:pt x="14" y="242"/>
                  </a:lnTo>
                  <a:lnTo>
                    <a:pt x="13" y="239"/>
                  </a:lnTo>
                  <a:lnTo>
                    <a:pt x="13" y="236"/>
                  </a:lnTo>
                  <a:lnTo>
                    <a:pt x="10" y="234"/>
                  </a:lnTo>
                  <a:lnTo>
                    <a:pt x="9" y="230"/>
                  </a:lnTo>
                  <a:lnTo>
                    <a:pt x="7" y="228"/>
                  </a:lnTo>
                  <a:lnTo>
                    <a:pt x="5" y="226"/>
                  </a:lnTo>
                  <a:lnTo>
                    <a:pt x="5" y="225"/>
                  </a:lnTo>
                  <a:lnTo>
                    <a:pt x="2" y="222"/>
                  </a:lnTo>
                  <a:lnTo>
                    <a:pt x="0" y="219"/>
                  </a:lnTo>
                  <a:lnTo>
                    <a:pt x="4" y="222"/>
                  </a:lnTo>
                  <a:lnTo>
                    <a:pt x="4" y="219"/>
                  </a:lnTo>
                  <a:lnTo>
                    <a:pt x="5" y="222"/>
                  </a:lnTo>
                  <a:lnTo>
                    <a:pt x="6" y="225"/>
                  </a:lnTo>
                  <a:lnTo>
                    <a:pt x="8" y="226"/>
                  </a:lnTo>
                  <a:lnTo>
                    <a:pt x="10" y="222"/>
                  </a:lnTo>
                  <a:lnTo>
                    <a:pt x="8" y="220"/>
                  </a:lnTo>
                  <a:lnTo>
                    <a:pt x="6" y="217"/>
                  </a:lnTo>
                  <a:lnTo>
                    <a:pt x="5" y="215"/>
                  </a:lnTo>
                  <a:lnTo>
                    <a:pt x="4" y="212"/>
                  </a:lnTo>
                  <a:lnTo>
                    <a:pt x="6" y="212"/>
                  </a:lnTo>
                  <a:lnTo>
                    <a:pt x="8" y="216"/>
                  </a:lnTo>
                  <a:lnTo>
                    <a:pt x="8" y="218"/>
                  </a:lnTo>
                  <a:lnTo>
                    <a:pt x="8" y="219"/>
                  </a:lnTo>
                  <a:lnTo>
                    <a:pt x="10" y="217"/>
                  </a:lnTo>
                  <a:lnTo>
                    <a:pt x="10" y="219"/>
                  </a:lnTo>
                  <a:lnTo>
                    <a:pt x="11" y="221"/>
                  </a:lnTo>
                  <a:lnTo>
                    <a:pt x="15" y="222"/>
                  </a:lnTo>
                  <a:lnTo>
                    <a:pt x="14" y="219"/>
                  </a:lnTo>
                  <a:lnTo>
                    <a:pt x="15" y="217"/>
                  </a:lnTo>
                  <a:lnTo>
                    <a:pt x="15" y="215"/>
                  </a:lnTo>
                  <a:lnTo>
                    <a:pt x="13" y="211"/>
                  </a:lnTo>
                  <a:lnTo>
                    <a:pt x="11" y="209"/>
                  </a:lnTo>
                  <a:lnTo>
                    <a:pt x="9" y="207"/>
                  </a:lnTo>
                  <a:lnTo>
                    <a:pt x="8" y="203"/>
                  </a:lnTo>
                  <a:lnTo>
                    <a:pt x="7" y="201"/>
                  </a:lnTo>
                  <a:lnTo>
                    <a:pt x="7" y="201"/>
                  </a:lnTo>
                  <a:lnTo>
                    <a:pt x="6" y="198"/>
                  </a:lnTo>
                  <a:lnTo>
                    <a:pt x="4" y="195"/>
                  </a:lnTo>
                  <a:lnTo>
                    <a:pt x="4" y="192"/>
                  </a:lnTo>
                  <a:lnTo>
                    <a:pt x="4" y="190"/>
                  </a:lnTo>
                  <a:lnTo>
                    <a:pt x="5" y="187"/>
                  </a:lnTo>
                  <a:lnTo>
                    <a:pt x="5" y="184"/>
                  </a:lnTo>
                  <a:lnTo>
                    <a:pt x="7" y="182"/>
                  </a:lnTo>
                  <a:lnTo>
                    <a:pt x="8" y="179"/>
                  </a:lnTo>
                  <a:lnTo>
                    <a:pt x="8" y="176"/>
                  </a:lnTo>
                  <a:lnTo>
                    <a:pt x="9" y="174"/>
                  </a:lnTo>
                  <a:lnTo>
                    <a:pt x="8" y="170"/>
                  </a:lnTo>
                  <a:lnTo>
                    <a:pt x="7" y="168"/>
                  </a:lnTo>
                  <a:lnTo>
                    <a:pt x="8" y="167"/>
                  </a:lnTo>
                  <a:lnTo>
                    <a:pt x="9" y="164"/>
                  </a:lnTo>
                  <a:lnTo>
                    <a:pt x="10" y="161"/>
                  </a:lnTo>
                  <a:lnTo>
                    <a:pt x="10" y="158"/>
                  </a:lnTo>
                  <a:lnTo>
                    <a:pt x="14" y="156"/>
                  </a:lnTo>
                  <a:lnTo>
                    <a:pt x="14" y="159"/>
                  </a:lnTo>
                  <a:lnTo>
                    <a:pt x="13" y="161"/>
                  </a:lnTo>
                  <a:lnTo>
                    <a:pt x="14" y="165"/>
                  </a:lnTo>
                  <a:lnTo>
                    <a:pt x="16" y="166"/>
                  </a:lnTo>
                  <a:lnTo>
                    <a:pt x="17" y="164"/>
                  </a:lnTo>
                  <a:lnTo>
                    <a:pt x="18" y="160"/>
                  </a:lnTo>
                  <a:lnTo>
                    <a:pt x="19" y="159"/>
                  </a:lnTo>
                  <a:lnTo>
                    <a:pt x="21" y="157"/>
                  </a:lnTo>
                  <a:lnTo>
                    <a:pt x="23" y="156"/>
                  </a:lnTo>
                  <a:lnTo>
                    <a:pt x="24" y="154"/>
                  </a:lnTo>
                  <a:lnTo>
                    <a:pt x="27" y="153"/>
                  </a:lnTo>
                  <a:lnTo>
                    <a:pt x="30" y="152"/>
                  </a:lnTo>
                  <a:lnTo>
                    <a:pt x="33" y="151"/>
                  </a:lnTo>
                  <a:lnTo>
                    <a:pt x="35" y="149"/>
                  </a:lnTo>
                  <a:lnTo>
                    <a:pt x="38" y="145"/>
                  </a:lnTo>
                  <a:lnTo>
                    <a:pt x="40" y="144"/>
                  </a:lnTo>
                  <a:lnTo>
                    <a:pt x="43" y="142"/>
                  </a:lnTo>
                  <a:lnTo>
                    <a:pt x="45" y="142"/>
                  </a:lnTo>
                  <a:lnTo>
                    <a:pt x="49" y="140"/>
                  </a:lnTo>
                  <a:lnTo>
                    <a:pt x="51" y="140"/>
                  </a:lnTo>
                  <a:lnTo>
                    <a:pt x="55" y="139"/>
                  </a:lnTo>
                  <a:lnTo>
                    <a:pt x="57" y="141"/>
                  </a:lnTo>
                  <a:lnTo>
                    <a:pt x="59" y="140"/>
                  </a:lnTo>
                  <a:lnTo>
                    <a:pt x="62" y="140"/>
                  </a:lnTo>
                  <a:lnTo>
                    <a:pt x="65" y="139"/>
                  </a:lnTo>
                  <a:lnTo>
                    <a:pt x="67" y="136"/>
                  </a:lnTo>
                  <a:lnTo>
                    <a:pt x="69" y="135"/>
                  </a:lnTo>
                  <a:lnTo>
                    <a:pt x="73" y="135"/>
                  </a:lnTo>
                  <a:lnTo>
                    <a:pt x="74" y="134"/>
                  </a:lnTo>
                  <a:lnTo>
                    <a:pt x="77" y="134"/>
                  </a:lnTo>
                  <a:lnTo>
                    <a:pt x="79" y="132"/>
                  </a:lnTo>
                  <a:lnTo>
                    <a:pt x="82" y="130"/>
                  </a:lnTo>
                  <a:lnTo>
                    <a:pt x="86" y="130"/>
                  </a:lnTo>
                  <a:lnTo>
                    <a:pt x="89" y="131"/>
                  </a:lnTo>
                  <a:lnTo>
                    <a:pt x="91" y="130"/>
                  </a:lnTo>
                  <a:lnTo>
                    <a:pt x="93" y="130"/>
                  </a:lnTo>
                  <a:lnTo>
                    <a:pt x="94" y="130"/>
                  </a:lnTo>
                  <a:lnTo>
                    <a:pt x="96" y="128"/>
                  </a:lnTo>
                  <a:lnTo>
                    <a:pt x="99" y="128"/>
                  </a:lnTo>
                  <a:lnTo>
                    <a:pt x="102" y="127"/>
                  </a:lnTo>
                  <a:lnTo>
                    <a:pt x="104" y="126"/>
                  </a:lnTo>
                  <a:lnTo>
                    <a:pt x="108" y="125"/>
                  </a:lnTo>
                  <a:lnTo>
                    <a:pt x="110" y="123"/>
                  </a:lnTo>
                  <a:lnTo>
                    <a:pt x="112" y="121"/>
                  </a:lnTo>
                  <a:lnTo>
                    <a:pt x="115" y="117"/>
                  </a:lnTo>
                  <a:lnTo>
                    <a:pt x="116" y="115"/>
                  </a:lnTo>
                  <a:lnTo>
                    <a:pt x="116" y="111"/>
                  </a:lnTo>
                  <a:lnTo>
                    <a:pt x="118" y="111"/>
                  </a:lnTo>
                  <a:lnTo>
                    <a:pt x="119" y="108"/>
                  </a:lnTo>
                  <a:lnTo>
                    <a:pt x="121" y="108"/>
                  </a:lnTo>
                  <a:lnTo>
                    <a:pt x="124" y="105"/>
                  </a:lnTo>
                  <a:lnTo>
                    <a:pt x="126" y="102"/>
                  </a:lnTo>
                  <a:lnTo>
                    <a:pt x="124" y="101"/>
                  </a:lnTo>
                  <a:lnTo>
                    <a:pt x="124" y="99"/>
                  </a:lnTo>
                  <a:lnTo>
                    <a:pt x="124" y="96"/>
                  </a:lnTo>
                  <a:lnTo>
                    <a:pt x="124" y="93"/>
                  </a:lnTo>
                  <a:lnTo>
                    <a:pt x="125" y="90"/>
                  </a:lnTo>
                  <a:lnTo>
                    <a:pt x="126" y="88"/>
                  </a:lnTo>
                  <a:lnTo>
                    <a:pt x="128" y="87"/>
                  </a:lnTo>
                  <a:lnTo>
                    <a:pt x="130" y="84"/>
                  </a:lnTo>
                  <a:lnTo>
                    <a:pt x="132" y="82"/>
                  </a:lnTo>
                  <a:lnTo>
                    <a:pt x="134" y="80"/>
                  </a:lnTo>
                  <a:lnTo>
                    <a:pt x="135" y="82"/>
                  </a:lnTo>
                  <a:lnTo>
                    <a:pt x="136" y="84"/>
                  </a:lnTo>
                  <a:lnTo>
                    <a:pt x="138" y="88"/>
                  </a:lnTo>
                  <a:lnTo>
                    <a:pt x="139" y="90"/>
                  </a:lnTo>
                  <a:lnTo>
                    <a:pt x="141" y="92"/>
                  </a:lnTo>
                  <a:lnTo>
                    <a:pt x="143" y="96"/>
                  </a:lnTo>
                  <a:lnTo>
                    <a:pt x="143" y="96"/>
                  </a:lnTo>
                  <a:lnTo>
                    <a:pt x="143" y="93"/>
                  </a:lnTo>
                  <a:lnTo>
                    <a:pt x="143" y="90"/>
                  </a:lnTo>
                  <a:lnTo>
                    <a:pt x="143" y="88"/>
                  </a:lnTo>
                  <a:lnTo>
                    <a:pt x="146" y="90"/>
                  </a:lnTo>
                  <a:lnTo>
                    <a:pt x="147" y="90"/>
                  </a:lnTo>
                  <a:lnTo>
                    <a:pt x="146" y="88"/>
                  </a:lnTo>
                  <a:lnTo>
                    <a:pt x="147" y="85"/>
                  </a:lnTo>
                  <a:lnTo>
                    <a:pt x="145" y="85"/>
                  </a:lnTo>
                  <a:lnTo>
                    <a:pt x="143" y="83"/>
                  </a:lnTo>
                  <a:lnTo>
                    <a:pt x="142" y="81"/>
                  </a:lnTo>
                  <a:lnTo>
                    <a:pt x="144" y="80"/>
                  </a:lnTo>
                  <a:lnTo>
                    <a:pt x="145" y="79"/>
                  </a:lnTo>
                  <a:lnTo>
                    <a:pt x="143" y="76"/>
                  </a:lnTo>
                  <a:lnTo>
                    <a:pt x="145" y="76"/>
                  </a:lnTo>
                  <a:lnTo>
                    <a:pt x="147" y="79"/>
                  </a:lnTo>
                  <a:lnTo>
                    <a:pt x="150" y="77"/>
                  </a:lnTo>
                  <a:lnTo>
                    <a:pt x="152" y="79"/>
                  </a:lnTo>
                  <a:lnTo>
                    <a:pt x="159" y="79"/>
                  </a:lnTo>
                  <a:lnTo>
                    <a:pt x="161" y="80"/>
                  </a:lnTo>
                  <a:lnTo>
                    <a:pt x="159" y="79"/>
                  </a:lnTo>
                  <a:lnTo>
                    <a:pt x="155" y="79"/>
                  </a:lnTo>
                  <a:lnTo>
                    <a:pt x="154" y="75"/>
                  </a:lnTo>
                  <a:lnTo>
                    <a:pt x="156" y="73"/>
                  </a:lnTo>
                  <a:lnTo>
                    <a:pt x="154" y="72"/>
                  </a:lnTo>
                  <a:lnTo>
                    <a:pt x="154" y="68"/>
                  </a:lnTo>
                  <a:lnTo>
                    <a:pt x="154" y="68"/>
                  </a:lnTo>
                  <a:lnTo>
                    <a:pt x="156" y="66"/>
                  </a:lnTo>
                  <a:lnTo>
                    <a:pt x="159" y="64"/>
                  </a:lnTo>
                  <a:lnTo>
                    <a:pt x="161" y="65"/>
                  </a:lnTo>
                  <a:lnTo>
                    <a:pt x="163" y="66"/>
                  </a:lnTo>
                  <a:lnTo>
                    <a:pt x="164" y="67"/>
                  </a:lnTo>
                  <a:lnTo>
                    <a:pt x="164" y="64"/>
                  </a:lnTo>
                  <a:lnTo>
                    <a:pt x="161" y="64"/>
                  </a:lnTo>
                  <a:lnTo>
                    <a:pt x="160" y="62"/>
                  </a:lnTo>
                  <a:lnTo>
                    <a:pt x="163" y="61"/>
                  </a:lnTo>
                  <a:lnTo>
                    <a:pt x="166" y="61"/>
                  </a:lnTo>
                  <a:lnTo>
                    <a:pt x="167" y="62"/>
                  </a:lnTo>
                  <a:lnTo>
                    <a:pt x="164" y="58"/>
                  </a:lnTo>
                  <a:lnTo>
                    <a:pt x="164" y="56"/>
                  </a:lnTo>
                  <a:lnTo>
                    <a:pt x="167" y="54"/>
                  </a:lnTo>
                  <a:lnTo>
                    <a:pt x="169" y="53"/>
                  </a:lnTo>
                  <a:lnTo>
                    <a:pt x="170" y="53"/>
                  </a:lnTo>
                  <a:lnTo>
                    <a:pt x="170" y="50"/>
                  </a:lnTo>
                  <a:lnTo>
                    <a:pt x="171" y="53"/>
                  </a:lnTo>
                  <a:lnTo>
                    <a:pt x="175" y="54"/>
                  </a:lnTo>
                  <a:lnTo>
                    <a:pt x="177" y="51"/>
                  </a:lnTo>
                  <a:lnTo>
                    <a:pt x="177" y="49"/>
                  </a:lnTo>
                  <a:lnTo>
                    <a:pt x="178" y="47"/>
                  </a:lnTo>
                  <a:lnTo>
                    <a:pt x="177" y="47"/>
                  </a:lnTo>
                  <a:lnTo>
                    <a:pt x="178" y="46"/>
                  </a:lnTo>
                  <a:lnTo>
                    <a:pt x="179" y="48"/>
                  </a:lnTo>
                  <a:lnTo>
                    <a:pt x="181" y="46"/>
                  </a:lnTo>
                  <a:lnTo>
                    <a:pt x="183" y="47"/>
                  </a:lnTo>
                  <a:lnTo>
                    <a:pt x="186" y="47"/>
                  </a:lnTo>
                  <a:lnTo>
                    <a:pt x="188" y="45"/>
                  </a:lnTo>
                  <a:lnTo>
                    <a:pt x="188" y="42"/>
                  </a:lnTo>
                  <a:lnTo>
                    <a:pt x="189" y="41"/>
                  </a:lnTo>
                  <a:lnTo>
                    <a:pt x="190" y="45"/>
                  </a:lnTo>
                  <a:lnTo>
                    <a:pt x="194" y="45"/>
                  </a:lnTo>
                  <a:lnTo>
                    <a:pt x="200" y="48"/>
                  </a:lnTo>
                  <a:lnTo>
                    <a:pt x="201" y="51"/>
                  </a:lnTo>
                  <a:lnTo>
                    <a:pt x="204" y="54"/>
                  </a:lnTo>
                  <a:lnTo>
                    <a:pt x="206" y="56"/>
                  </a:lnTo>
                  <a:lnTo>
                    <a:pt x="206" y="57"/>
                  </a:lnTo>
                  <a:lnTo>
                    <a:pt x="205" y="59"/>
                  </a:lnTo>
                  <a:lnTo>
                    <a:pt x="204" y="62"/>
                  </a:lnTo>
                  <a:lnTo>
                    <a:pt x="204" y="65"/>
                  </a:lnTo>
                  <a:lnTo>
                    <a:pt x="204" y="66"/>
                  </a:lnTo>
                  <a:lnTo>
                    <a:pt x="205" y="64"/>
                  </a:lnTo>
                  <a:lnTo>
                    <a:pt x="207" y="65"/>
                  </a:lnTo>
                  <a:lnTo>
                    <a:pt x="206" y="63"/>
                  </a:lnTo>
                  <a:lnTo>
                    <a:pt x="206" y="61"/>
                  </a:lnTo>
                  <a:lnTo>
                    <a:pt x="209" y="61"/>
                  </a:lnTo>
                  <a:lnTo>
                    <a:pt x="210" y="57"/>
                  </a:lnTo>
                  <a:lnTo>
                    <a:pt x="212" y="56"/>
                  </a:lnTo>
                  <a:lnTo>
                    <a:pt x="215" y="57"/>
                  </a:lnTo>
                  <a:lnTo>
                    <a:pt x="218" y="58"/>
                  </a:lnTo>
                  <a:lnTo>
                    <a:pt x="220" y="61"/>
                  </a:lnTo>
                  <a:lnTo>
                    <a:pt x="220" y="58"/>
                  </a:lnTo>
                  <a:lnTo>
                    <a:pt x="223" y="58"/>
                  </a:lnTo>
                  <a:lnTo>
                    <a:pt x="226" y="61"/>
                  </a:lnTo>
                  <a:lnTo>
                    <a:pt x="227" y="63"/>
                  </a:lnTo>
                  <a:lnTo>
                    <a:pt x="227" y="62"/>
                  </a:lnTo>
                  <a:lnTo>
                    <a:pt x="226" y="58"/>
                  </a:lnTo>
                  <a:lnTo>
                    <a:pt x="229" y="57"/>
                  </a:lnTo>
                  <a:lnTo>
                    <a:pt x="226" y="55"/>
                  </a:lnTo>
                  <a:lnTo>
                    <a:pt x="223" y="53"/>
                  </a:lnTo>
                  <a:lnTo>
                    <a:pt x="222" y="50"/>
                  </a:lnTo>
                  <a:lnTo>
                    <a:pt x="224" y="47"/>
                  </a:lnTo>
                  <a:lnTo>
                    <a:pt x="224" y="47"/>
                  </a:lnTo>
                  <a:lnTo>
                    <a:pt x="227" y="46"/>
                  </a:lnTo>
                  <a:lnTo>
                    <a:pt x="228" y="40"/>
                  </a:lnTo>
                  <a:lnTo>
                    <a:pt x="231" y="39"/>
                  </a:lnTo>
                  <a:lnTo>
                    <a:pt x="234" y="37"/>
                  </a:lnTo>
                  <a:lnTo>
                    <a:pt x="236" y="37"/>
                  </a:lnTo>
                  <a:lnTo>
                    <a:pt x="232" y="34"/>
                  </a:lnTo>
                  <a:lnTo>
                    <a:pt x="232" y="31"/>
                  </a:lnTo>
                  <a:lnTo>
                    <a:pt x="235" y="31"/>
                  </a:lnTo>
                  <a:lnTo>
                    <a:pt x="236" y="29"/>
                  </a:lnTo>
                  <a:lnTo>
                    <a:pt x="238" y="27"/>
                  </a:lnTo>
                  <a:lnTo>
                    <a:pt x="239" y="24"/>
                  </a:lnTo>
                  <a:lnTo>
                    <a:pt x="241" y="25"/>
                  </a:lnTo>
                  <a:lnTo>
                    <a:pt x="243" y="24"/>
                  </a:lnTo>
                  <a:lnTo>
                    <a:pt x="245" y="23"/>
                  </a:lnTo>
                  <a:lnTo>
                    <a:pt x="245" y="21"/>
                  </a:lnTo>
                  <a:lnTo>
                    <a:pt x="247" y="21"/>
                  </a:lnTo>
                  <a:lnTo>
                    <a:pt x="250" y="21"/>
                  </a:lnTo>
                  <a:lnTo>
                    <a:pt x="253" y="22"/>
                  </a:lnTo>
                  <a:lnTo>
                    <a:pt x="255" y="21"/>
                  </a:lnTo>
                  <a:lnTo>
                    <a:pt x="258" y="22"/>
                  </a:lnTo>
                  <a:lnTo>
                    <a:pt x="261" y="21"/>
                  </a:lnTo>
                  <a:lnTo>
                    <a:pt x="263" y="21"/>
                  </a:lnTo>
                  <a:lnTo>
                    <a:pt x="264" y="21"/>
                  </a:lnTo>
                  <a:lnTo>
                    <a:pt x="266" y="19"/>
                  </a:lnTo>
                  <a:lnTo>
                    <a:pt x="267" y="16"/>
                  </a:lnTo>
                  <a:lnTo>
                    <a:pt x="267" y="14"/>
                  </a:lnTo>
                  <a:lnTo>
                    <a:pt x="265" y="11"/>
                  </a:lnTo>
                  <a:lnTo>
                    <a:pt x="263" y="10"/>
                  </a:lnTo>
                  <a:lnTo>
                    <a:pt x="260" y="11"/>
                  </a:lnTo>
                  <a:lnTo>
                    <a:pt x="257" y="8"/>
                  </a:lnTo>
                  <a:lnTo>
                    <a:pt x="256" y="8"/>
                  </a:lnTo>
                  <a:lnTo>
                    <a:pt x="258" y="6"/>
                  </a:lnTo>
                  <a:lnTo>
                    <a:pt x="261" y="8"/>
                  </a:lnTo>
                  <a:lnTo>
                    <a:pt x="261" y="6"/>
                  </a:lnTo>
                  <a:lnTo>
                    <a:pt x="263" y="6"/>
                  </a:lnTo>
                  <a:lnTo>
                    <a:pt x="265" y="8"/>
                  </a:lnTo>
                  <a:lnTo>
                    <a:pt x="266" y="8"/>
                  </a:lnTo>
                  <a:lnTo>
                    <a:pt x="269" y="11"/>
                  </a:lnTo>
                  <a:lnTo>
                    <a:pt x="271" y="8"/>
                  </a:lnTo>
                  <a:lnTo>
                    <a:pt x="273" y="11"/>
                  </a:lnTo>
                  <a:lnTo>
                    <a:pt x="274" y="13"/>
                  </a:lnTo>
                  <a:lnTo>
                    <a:pt x="277" y="13"/>
                  </a:lnTo>
                  <a:lnTo>
                    <a:pt x="280" y="14"/>
                  </a:lnTo>
                  <a:lnTo>
                    <a:pt x="282" y="14"/>
                  </a:lnTo>
                  <a:lnTo>
                    <a:pt x="284" y="14"/>
                  </a:lnTo>
                  <a:lnTo>
                    <a:pt x="288" y="16"/>
                  </a:lnTo>
                  <a:lnTo>
                    <a:pt x="290" y="17"/>
                  </a:lnTo>
                  <a:lnTo>
                    <a:pt x="292" y="19"/>
                  </a:lnTo>
                  <a:lnTo>
                    <a:pt x="295" y="17"/>
                  </a:lnTo>
                  <a:lnTo>
                    <a:pt x="298" y="20"/>
                  </a:lnTo>
                  <a:lnTo>
                    <a:pt x="300" y="21"/>
                  </a:lnTo>
                  <a:lnTo>
                    <a:pt x="303" y="21"/>
                  </a:lnTo>
                  <a:lnTo>
                    <a:pt x="306" y="20"/>
                  </a:lnTo>
                  <a:lnTo>
                    <a:pt x="308" y="19"/>
                  </a:lnTo>
                  <a:lnTo>
                    <a:pt x="311" y="15"/>
                  </a:lnTo>
                  <a:lnTo>
                    <a:pt x="311" y="19"/>
                  </a:lnTo>
                  <a:lnTo>
                    <a:pt x="308" y="21"/>
                  </a:lnTo>
                  <a:lnTo>
                    <a:pt x="312" y="20"/>
                  </a:lnTo>
                  <a:lnTo>
                    <a:pt x="313" y="22"/>
                  </a:lnTo>
                  <a:lnTo>
                    <a:pt x="315" y="24"/>
                  </a:lnTo>
                  <a:lnTo>
                    <a:pt x="317" y="23"/>
                  </a:lnTo>
                  <a:lnTo>
                    <a:pt x="317" y="21"/>
                  </a:lnTo>
                  <a:lnTo>
                    <a:pt x="318" y="17"/>
                  </a:lnTo>
                  <a:lnTo>
                    <a:pt x="321" y="16"/>
                  </a:lnTo>
                  <a:lnTo>
                    <a:pt x="321" y="20"/>
                  </a:lnTo>
                  <a:lnTo>
                    <a:pt x="324" y="20"/>
                  </a:lnTo>
                  <a:lnTo>
                    <a:pt x="326" y="23"/>
                  </a:lnTo>
                  <a:lnTo>
                    <a:pt x="324" y="25"/>
                  </a:lnTo>
                  <a:lnTo>
                    <a:pt x="321" y="28"/>
                  </a:lnTo>
                  <a:lnTo>
                    <a:pt x="320" y="30"/>
                  </a:lnTo>
                  <a:lnTo>
                    <a:pt x="321" y="32"/>
                  </a:lnTo>
                  <a:lnTo>
                    <a:pt x="320" y="34"/>
                  </a:lnTo>
                  <a:lnTo>
                    <a:pt x="317" y="34"/>
                  </a:lnTo>
                  <a:lnTo>
                    <a:pt x="314" y="34"/>
                  </a:lnTo>
                  <a:lnTo>
                    <a:pt x="312" y="37"/>
                  </a:lnTo>
                  <a:lnTo>
                    <a:pt x="312" y="39"/>
                  </a:lnTo>
                  <a:lnTo>
                    <a:pt x="312" y="41"/>
                  </a:lnTo>
                  <a:lnTo>
                    <a:pt x="314" y="41"/>
                  </a:lnTo>
                  <a:lnTo>
                    <a:pt x="313" y="44"/>
                  </a:lnTo>
                  <a:lnTo>
                    <a:pt x="312" y="47"/>
                  </a:lnTo>
                  <a:lnTo>
                    <a:pt x="311" y="49"/>
                  </a:lnTo>
                  <a:lnTo>
                    <a:pt x="308" y="51"/>
                  </a:lnTo>
                  <a:lnTo>
                    <a:pt x="307" y="55"/>
                  </a:lnTo>
                  <a:lnTo>
                    <a:pt x="305" y="56"/>
                  </a:lnTo>
                  <a:lnTo>
                    <a:pt x="305" y="58"/>
                  </a:lnTo>
                  <a:lnTo>
                    <a:pt x="308" y="61"/>
                  </a:lnTo>
                  <a:lnTo>
                    <a:pt x="311" y="62"/>
                  </a:lnTo>
                  <a:lnTo>
                    <a:pt x="314" y="64"/>
                  </a:lnTo>
                  <a:lnTo>
                    <a:pt x="316" y="65"/>
                  </a:lnTo>
                  <a:lnTo>
                    <a:pt x="317" y="68"/>
                  </a:lnTo>
                  <a:lnTo>
                    <a:pt x="321" y="70"/>
                  </a:lnTo>
                  <a:lnTo>
                    <a:pt x="322" y="70"/>
                  </a:lnTo>
                  <a:lnTo>
                    <a:pt x="324" y="73"/>
                  </a:lnTo>
                  <a:lnTo>
                    <a:pt x="326" y="72"/>
                  </a:lnTo>
                  <a:lnTo>
                    <a:pt x="330" y="73"/>
                  </a:lnTo>
                  <a:lnTo>
                    <a:pt x="332" y="75"/>
                  </a:lnTo>
                  <a:lnTo>
                    <a:pt x="334" y="76"/>
                  </a:lnTo>
                  <a:lnTo>
                    <a:pt x="338" y="79"/>
                  </a:lnTo>
                  <a:lnTo>
                    <a:pt x="340" y="81"/>
                  </a:lnTo>
                  <a:lnTo>
                    <a:pt x="340" y="81"/>
                  </a:lnTo>
                  <a:lnTo>
                    <a:pt x="343" y="83"/>
                  </a:lnTo>
                  <a:lnTo>
                    <a:pt x="346" y="84"/>
                  </a:lnTo>
                  <a:lnTo>
                    <a:pt x="349" y="84"/>
                  </a:lnTo>
                  <a:lnTo>
                    <a:pt x="351" y="85"/>
                  </a:lnTo>
                  <a:lnTo>
                    <a:pt x="355" y="87"/>
                  </a:lnTo>
                  <a:lnTo>
                    <a:pt x="356" y="89"/>
                  </a:lnTo>
                  <a:lnTo>
                    <a:pt x="357" y="91"/>
                  </a:lnTo>
                  <a:lnTo>
                    <a:pt x="358" y="92"/>
                  </a:lnTo>
                  <a:lnTo>
                    <a:pt x="360" y="93"/>
                  </a:lnTo>
                  <a:lnTo>
                    <a:pt x="364" y="96"/>
                  </a:lnTo>
                  <a:lnTo>
                    <a:pt x="365" y="96"/>
                  </a:lnTo>
                  <a:lnTo>
                    <a:pt x="367" y="97"/>
                  </a:lnTo>
                  <a:lnTo>
                    <a:pt x="368" y="98"/>
                  </a:lnTo>
                  <a:lnTo>
                    <a:pt x="371" y="98"/>
                  </a:lnTo>
                  <a:lnTo>
                    <a:pt x="373" y="97"/>
                  </a:lnTo>
                  <a:lnTo>
                    <a:pt x="376" y="96"/>
                  </a:lnTo>
                  <a:lnTo>
                    <a:pt x="377" y="94"/>
                  </a:lnTo>
                  <a:lnTo>
                    <a:pt x="380" y="92"/>
                  </a:lnTo>
                  <a:lnTo>
                    <a:pt x="381" y="90"/>
                  </a:lnTo>
                  <a:lnTo>
                    <a:pt x="382" y="87"/>
                  </a:lnTo>
                  <a:lnTo>
                    <a:pt x="383" y="84"/>
                  </a:lnTo>
                  <a:lnTo>
                    <a:pt x="384" y="83"/>
                  </a:lnTo>
                  <a:lnTo>
                    <a:pt x="385" y="81"/>
                  </a:lnTo>
                  <a:lnTo>
                    <a:pt x="386" y="77"/>
                  </a:lnTo>
                  <a:lnTo>
                    <a:pt x="388" y="75"/>
                  </a:lnTo>
                  <a:lnTo>
                    <a:pt x="388" y="74"/>
                  </a:lnTo>
                  <a:lnTo>
                    <a:pt x="386" y="72"/>
                  </a:lnTo>
                  <a:lnTo>
                    <a:pt x="388" y="70"/>
                  </a:lnTo>
                  <a:lnTo>
                    <a:pt x="388" y="66"/>
                  </a:lnTo>
                  <a:lnTo>
                    <a:pt x="389" y="64"/>
                  </a:lnTo>
                  <a:lnTo>
                    <a:pt x="390" y="63"/>
                  </a:lnTo>
                  <a:lnTo>
                    <a:pt x="391" y="59"/>
                  </a:lnTo>
                  <a:lnTo>
                    <a:pt x="390" y="57"/>
                  </a:lnTo>
                  <a:lnTo>
                    <a:pt x="389" y="55"/>
                  </a:lnTo>
                  <a:lnTo>
                    <a:pt x="389" y="51"/>
                  </a:lnTo>
                  <a:lnTo>
                    <a:pt x="390" y="49"/>
                  </a:lnTo>
                  <a:lnTo>
                    <a:pt x="390" y="47"/>
                  </a:lnTo>
                  <a:lnTo>
                    <a:pt x="388" y="44"/>
                  </a:lnTo>
                  <a:lnTo>
                    <a:pt x="389" y="41"/>
                  </a:lnTo>
                  <a:lnTo>
                    <a:pt x="390" y="38"/>
                  </a:lnTo>
                  <a:lnTo>
                    <a:pt x="391" y="37"/>
                  </a:lnTo>
                  <a:lnTo>
                    <a:pt x="391" y="37"/>
                  </a:lnTo>
                  <a:lnTo>
                    <a:pt x="390" y="33"/>
                  </a:lnTo>
                  <a:lnTo>
                    <a:pt x="390" y="31"/>
                  </a:lnTo>
                  <a:lnTo>
                    <a:pt x="392" y="29"/>
                  </a:lnTo>
                  <a:lnTo>
                    <a:pt x="395" y="28"/>
                  </a:lnTo>
                  <a:lnTo>
                    <a:pt x="392" y="25"/>
                  </a:lnTo>
                  <a:lnTo>
                    <a:pt x="390" y="25"/>
                  </a:lnTo>
                  <a:lnTo>
                    <a:pt x="391" y="22"/>
                  </a:lnTo>
                  <a:lnTo>
                    <a:pt x="392" y="20"/>
                  </a:lnTo>
                  <a:lnTo>
                    <a:pt x="395" y="19"/>
                  </a:lnTo>
                  <a:lnTo>
                    <a:pt x="394" y="15"/>
                  </a:lnTo>
                  <a:lnTo>
                    <a:pt x="395" y="13"/>
                  </a:lnTo>
                  <a:lnTo>
                    <a:pt x="397" y="11"/>
                  </a:lnTo>
                  <a:lnTo>
                    <a:pt x="397" y="7"/>
                  </a:lnTo>
                  <a:lnTo>
                    <a:pt x="398" y="5"/>
                  </a:lnTo>
                  <a:lnTo>
                    <a:pt x="400" y="3"/>
                  </a:lnTo>
                  <a:lnTo>
                    <a:pt x="401" y="0"/>
                  </a:lnTo>
                  <a:lnTo>
                    <a:pt x="403" y="0"/>
                  </a:lnTo>
                  <a:lnTo>
                    <a:pt x="402" y="3"/>
                  </a:lnTo>
                  <a:lnTo>
                    <a:pt x="405" y="4"/>
                  </a:lnTo>
                  <a:lnTo>
                    <a:pt x="407" y="6"/>
                  </a:lnTo>
                  <a:lnTo>
                    <a:pt x="407" y="8"/>
                  </a:lnTo>
                  <a:lnTo>
                    <a:pt x="407" y="12"/>
                  </a:lnTo>
                  <a:lnTo>
                    <a:pt x="407" y="14"/>
                  </a:lnTo>
                  <a:lnTo>
                    <a:pt x="410" y="16"/>
                  </a:lnTo>
                  <a:lnTo>
                    <a:pt x="412" y="17"/>
                  </a:lnTo>
                  <a:lnTo>
                    <a:pt x="410" y="20"/>
                  </a:lnTo>
                  <a:lnTo>
                    <a:pt x="411" y="23"/>
                  </a:lnTo>
                  <a:lnTo>
                    <a:pt x="414" y="25"/>
                  </a:lnTo>
                  <a:lnTo>
                    <a:pt x="414" y="28"/>
                  </a:lnTo>
                  <a:lnTo>
                    <a:pt x="416" y="31"/>
                  </a:lnTo>
                  <a:lnTo>
                    <a:pt x="416" y="33"/>
                  </a:lnTo>
                  <a:lnTo>
                    <a:pt x="416" y="37"/>
                  </a:lnTo>
                  <a:lnTo>
                    <a:pt x="417" y="39"/>
                  </a:lnTo>
                  <a:lnTo>
                    <a:pt x="416" y="41"/>
                  </a:lnTo>
                  <a:lnTo>
                    <a:pt x="417" y="45"/>
                  </a:lnTo>
                  <a:lnTo>
                    <a:pt x="417" y="45"/>
                  </a:lnTo>
                  <a:lnTo>
                    <a:pt x="418" y="47"/>
                  </a:lnTo>
                  <a:lnTo>
                    <a:pt x="419" y="50"/>
                  </a:lnTo>
                  <a:lnTo>
                    <a:pt x="422" y="53"/>
                  </a:lnTo>
                  <a:lnTo>
                    <a:pt x="425" y="51"/>
                  </a:lnTo>
                  <a:lnTo>
                    <a:pt x="427" y="50"/>
                  </a:lnTo>
                  <a:lnTo>
                    <a:pt x="429" y="48"/>
                  </a:lnTo>
                  <a:lnTo>
                    <a:pt x="431" y="50"/>
                  </a:lnTo>
                  <a:lnTo>
                    <a:pt x="432" y="54"/>
                  </a:lnTo>
                  <a:lnTo>
                    <a:pt x="434" y="54"/>
                  </a:lnTo>
                  <a:lnTo>
                    <a:pt x="436" y="57"/>
                  </a:lnTo>
                  <a:lnTo>
                    <a:pt x="440" y="58"/>
                  </a:lnTo>
                  <a:lnTo>
                    <a:pt x="441" y="58"/>
                  </a:lnTo>
                  <a:lnTo>
                    <a:pt x="440" y="62"/>
                  </a:lnTo>
                  <a:lnTo>
                    <a:pt x="440" y="64"/>
                  </a:lnTo>
                  <a:lnTo>
                    <a:pt x="440" y="67"/>
                  </a:lnTo>
                  <a:lnTo>
                    <a:pt x="441" y="70"/>
                  </a:lnTo>
                  <a:lnTo>
                    <a:pt x="441" y="72"/>
                  </a:lnTo>
                  <a:lnTo>
                    <a:pt x="443" y="75"/>
                  </a:lnTo>
                  <a:lnTo>
                    <a:pt x="443" y="77"/>
                  </a:lnTo>
                  <a:lnTo>
                    <a:pt x="442" y="80"/>
                  </a:lnTo>
                  <a:lnTo>
                    <a:pt x="444" y="83"/>
                  </a:lnTo>
                  <a:lnTo>
                    <a:pt x="446" y="85"/>
                  </a:lnTo>
                  <a:lnTo>
                    <a:pt x="446" y="87"/>
                  </a:lnTo>
                  <a:lnTo>
                    <a:pt x="450" y="87"/>
                  </a:lnTo>
                  <a:lnTo>
                    <a:pt x="449" y="89"/>
                  </a:lnTo>
                  <a:lnTo>
                    <a:pt x="450" y="91"/>
                  </a:lnTo>
                  <a:lnTo>
                    <a:pt x="451" y="94"/>
                  </a:lnTo>
                  <a:lnTo>
                    <a:pt x="452" y="97"/>
                  </a:lnTo>
                  <a:lnTo>
                    <a:pt x="451" y="99"/>
                  </a:lnTo>
                  <a:lnTo>
                    <a:pt x="451" y="102"/>
                  </a:lnTo>
                  <a:lnTo>
                    <a:pt x="450" y="105"/>
                  </a:lnTo>
                  <a:lnTo>
                    <a:pt x="452" y="108"/>
                  </a:lnTo>
                  <a:lnTo>
                    <a:pt x="454" y="109"/>
                  </a:lnTo>
                  <a:lnTo>
                    <a:pt x="454" y="113"/>
                  </a:lnTo>
                  <a:lnTo>
                    <a:pt x="454" y="115"/>
                  </a:lnTo>
                  <a:lnTo>
                    <a:pt x="457" y="117"/>
                  </a:lnTo>
                  <a:lnTo>
                    <a:pt x="462" y="121"/>
                  </a:lnTo>
                  <a:lnTo>
                    <a:pt x="465" y="121"/>
                  </a:lnTo>
                  <a:lnTo>
                    <a:pt x="468" y="122"/>
                  </a:lnTo>
                  <a:lnTo>
                    <a:pt x="470" y="122"/>
                  </a:lnTo>
                  <a:lnTo>
                    <a:pt x="471" y="125"/>
                  </a:lnTo>
                  <a:lnTo>
                    <a:pt x="471" y="125"/>
                  </a:lnTo>
                  <a:lnTo>
                    <a:pt x="473" y="127"/>
                  </a:lnTo>
                  <a:lnTo>
                    <a:pt x="475" y="126"/>
                  </a:lnTo>
                  <a:lnTo>
                    <a:pt x="476" y="128"/>
                  </a:lnTo>
                  <a:lnTo>
                    <a:pt x="479" y="130"/>
                  </a:lnTo>
                  <a:lnTo>
                    <a:pt x="482" y="130"/>
                  </a:lnTo>
                  <a:lnTo>
                    <a:pt x="483" y="133"/>
                  </a:lnTo>
                  <a:lnTo>
                    <a:pt x="486" y="133"/>
                  </a:lnTo>
                  <a:lnTo>
                    <a:pt x="488" y="134"/>
                  </a:lnTo>
                  <a:lnTo>
                    <a:pt x="490" y="136"/>
                  </a:lnTo>
                  <a:lnTo>
                    <a:pt x="487" y="139"/>
                  </a:lnTo>
                  <a:lnTo>
                    <a:pt x="488" y="141"/>
                  </a:lnTo>
                  <a:lnTo>
                    <a:pt x="491" y="143"/>
                  </a:lnTo>
                  <a:lnTo>
                    <a:pt x="493" y="144"/>
                  </a:lnTo>
                  <a:lnTo>
                    <a:pt x="494" y="148"/>
                  </a:lnTo>
                  <a:lnTo>
                    <a:pt x="495" y="148"/>
                  </a:lnTo>
                  <a:lnTo>
                    <a:pt x="495" y="151"/>
                  </a:lnTo>
                  <a:lnTo>
                    <a:pt x="497" y="152"/>
                  </a:lnTo>
                  <a:lnTo>
                    <a:pt x="497" y="154"/>
                  </a:lnTo>
                  <a:lnTo>
                    <a:pt x="497" y="158"/>
                  </a:lnTo>
                  <a:lnTo>
                    <a:pt x="499" y="160"/>
                  </a:lnTo>
                  <a:lnTo>
                    <a:pt x="500" y="162"/>
                  </a:lnTo>
                  <a:lnTo>
                    <a:pt x="501" y="166"/>
                  </a:lnTo>
                  <a:lnTo>
                    <a:pt x="503" y="165"/>
                  </a:lnTo>
                  <a:lnTo>
                    <a:pt x="504" y="167"/>
                  </a:lnTo>
                  <a:lnTo>
                    <a:pt x="504" y="166"/>
                  </a:lnTo>
                  <a:lnTo>
                    <a:pt x="503" y="164"/>
                  </a:lnTo>
                  <a:lnTo>
                    <a:pt x="504" y="161"/>
                  </a:lnTo>
                  <a:lnTo>
                    <a:pt x="508" y="164"/>
                  </a:lnTo>
                  <a:lnTo>
                    <a:pt x="512" y="167"/>
                  </a:lnTo>
                  <a:lnTo>
                    <a:pt x="512" y="165"/>
                  </a:lnTo>
                  <a:lnTo>
                    <a:pt x="514" y="165"/>
                  </a:lnTo>
                  <a:lnTo>
                    <a:pt x="514" y="167"/>
                  </a:lnTo>
                  <a:lnTo>
                    <a:pt x="516" y="169"/>
                  </a:lnTo>
                  <a:lnTo>
                    <a:pt x="514" y="173"/>
                  </a:lnTo>
                  <a:lnTo>
                    <a:pt x="516" y="175"/>
                  </a:lnTo>
                  <a:lnTo>
                    <a:pt x="516" y="177"/>
                  </a:lnTo>
                  <a:lnTo>
                    <a:pt x="517" y="181"/>
                  </a:lnTo>
                  <a:lnTo>
                    <a:pt x="516" y="181"/>
                  </a:lnTo>
                  <a:lnTo>
                    <a:pt x="519" y="182"/>
                  </a:lnTo>
                  <a:lnTo>
                    <a:pt x="520" y="184"/>
                  </a:lnTo>
                  <a:lnTo>
                    <a:pt x="523" y="186"/>
                  </a:lnTo>
                  <a:lnTo>
                    <a:pt x="525" y="187"/>
                  </a:lnTo>
                  <a:lnTo>
                    <a:pt x="528" y="187"/>
                  </a:lnTo>
                  <a:lnTo>
                    <a:pt x="530" y="190"/>
                  </a:lnTo>
                  <a:lnTo>
                    <a:pt x="531" y="192"/>
                  </a:lnTo>
                  <a:lnTo>
                    <a:pt x="533" y="194"/>
                  </a:lnTo>
                  <a:lnTo>
                    <a:pt x="535" y="198"/>
                  </a:lnTo>
                  <a:lnTo>
                    <a:pt x="538" y="199"/>
                  </a:lnTo>
                  <a:lnTo>
                    <a:pt x="539" y="201"/>
                  </a:lnTo>
                  <a:lnTo>
                    <a:pt x="539" y="203"/>
                  </a:lnTo>
                  <a:lnTo>
                    <a:pt x="542" y="205"/>
                  </a:lnTo>
                  <a:lnTo>
                    <a:pt x="545" y="208"/>
                  </a:lnTo>
                  <a:lnTo>
                    <a:pt x="544" y="211"/>
                  </a:lnTo>
                  <a:lnTo>
                    <a:pt x="545" y="213"/>
                  </a:lnTo>
                  <a:lnTo>
                    <a:pt x="546" y="215"/>
                  </a:lnTo>
                  <a:lnTo>
                    <a:pt x="548" y="216"/>
                  </a:lnTo>
                  <a:lnTo>
                    <a:pt x="547" y="218"/>
                  </a:lnTo>
                  <a:lnTo>
                    <a:pt x="547" y="221"/>
                  </a:lnTo>
                  <a:lnTo>
                    <a:pt x="547" y="224"/>
                  </a:lnTo>
                  <a:lnTo>
                    <a:pt x="547" y="227"/>
                  </a:lnTo>
                  <a:lnTo>
                    <a:pt x="547" y="229"/>
                  </a:lnTo>
                  <a:lnTo>
                    <a:pt x="548" y="232"/>
                  </a:lnTo>
                  <a:lnTo>
                    <a:pt x="547" y="235"/>
                  </a:lnTo>
                  <a:lnTo>
                    <a:pt x="548" y="237"/>
                  </a:lnTo>
                  <a:lnTo>
                    <a:pt x="550" y="241"/>
                  </a:lnTo>
                  <a:lnTo>
                    <a:pt x="552" y="243"/>
                  </a:lnTo>
                  <a:lnTo>
                    <a:pt x="552" y="245"/>
                  </a:lnTo>
                  <a:lnTo>
                    <a:pt x="553" y="248"/>
                  </a:lnTo>
                  <a:lnTo>
                    <a:pt x="554" y="248"/>
                  </a:lnTo>
                  <a:lnTo>
                    <a:pt x="554" y="252"/>
                  </a:lnTo>
                  <a:lnTo>
                    <a:pt x="554" y="254"/>
                  </a:lnTo>
                  <a:lnTo>
                    <a:pt x="554" y="256"/>
                  </a:lnTo>
                  <a:lnTo>
                    <a:pt x="554" y="260"/>
                  </a:lnTo>
                  <a:lnTo>
                    <a:pt x="552" y="262"/>
                  </a:lnTo>
                  <a:lnTo>
                    <a:pt x="551" y="265"/>
                  </a:lnTo>
                  <a:lnTo>
                    <a:pt x="551" y="268"/>
                  </a:lnTo>
                  <a:lnTo>
                    <a:pt x="551" y="270"/>
                  </a:lnTo>
                  <a:lnTo>
                    <a:pt x="550" y="273"/>
                  </a:lnTo>
                  <a:lnTo>
                    <a:pt x="548" y="276"/>
                  </a:lnTo>
                  <a:lnTo>
                    <a:pt x="548" y="2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39" name="Freeform 239">
              <a:extLst>
                <a:ext uri="{FF2B5EF4-FFF2-40B4-BE49-F238E27FC236}">
                  <a16:creationId xmlns:a16="http://schemas.microsoft.com/office/drawing/2014/main" id="{8E3946E9-0D04-4E55-AB01-7EAD2299588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75000" y="2281238"/>
              <a:ext cx="6811962" cy="2960688"/>
            </a:xfrm>
            <a:custGeom>
              <a:avLst/>
              <a:gdLst>
                <a:gd name="T0" fmla="*/ 4219 w 4291"/>
                <a:gd name="T1" fmla="*/ 276 h 1865"/>
                <a:gd name="T2" fmla="*/ 3874 w 4291"/>
                <a:gd name="T3" fmla="*/ 206 h 1865"/>
                <a:gd name="T4" fmla="*/ 3458 w 4291"/>
                <a:gd name="T5" fmla="*/ 175 h 1865"/>
                <a:gd name="T6" fmla="*/ 3144 w 4291"/>
                <a:gd name="T7" fmla="*/ 122 h 1865"/>
                <a:gd name="T8" fmla="*/ 3014 w 4291"/>
                <a:gd name="T9" fmla="*/ 50 h 1865"/>
                <a:gd name="T10" fmla="*/ 2764 w 4291"/>
                <a:gd name="T11" fmla="*/ 182 h 1865"/>
                <a:gd name="T12" fmla="*/ 2679 w 4291"/>
                <a:gd name="T13" fmla="*/ 213 h 1865"/>
                <a:gd name="T14" fmla="*/ 2405 w 4291"/>
                <a:gd name="T15" fmla="*/ 238 h 1865"/>
                <a:gd name="T16" fmla="*/ 2146 w 4291"/>
                <a:gd name="T17" fmla="*/ 293 h 1865"/>
                <a:gd name="T18" fmla="*/ 2066 w 4291"/>
                <a:gd name="T19" fmla="*/ 180 h 1865"/>
                <a:gd name="T20" fmla="*/ 1911 w 4291"/>
                <a:gd name="T21" fmla="*/ 248 h 1865"/>
                <a:gd name="T22" fmla="*/ 1822 w 4291"/>
                <a:gd name="T23" fmla="*/ 357 h 1865"/>
                <a:gd name="T24" fmla="*/ 1762 w 4291"/>
                <a:gd name="T25" fmla="*/ 416 h 1865"/>
                <a:gd name="T26" fmla="*/ 1905 w 4291"/>
                <a:gd name="T27" fmla="*/ 501 h 1865"/>
                <a:gd name="T28" fmla="*/ 1979 w 4291"/>
                <a:gd name="T29" fmla="*/ 392 h 1865"/>
                <a:gd name="T30" fmla="*/ 1877 w 4291"/>
                <a:gd name="T31" fmla="*/ 549 h 1865"/>
                <a:gd name="T32" fmla="*/ 1740 w 4291"/>
                <a:gd name="T33" fmla="*/ 592 h 1865"/>
                <a:gd name="T34" fmla="*/ 1565 w 4291"/>
                <a:gd name="T35" fmla="*/ 782 h 1865"/>
                <a:gd name="T36" fmla="*/ 1902 w 4291"/>
                <a:gd name="T37" fmla="*/ 811 h 1865"/>
                <a:gd name="T38" fmla="*/ 1982 w 4291"/>
                <a:gd name="T39" fmla="*/ 818 h 1865"/>
                <a:gd name="T40" fmla="*/ 2115 w 4291"/>
                <a:gd name="T41" fmla="*/ 677 h 1865"/>
                <a:gd name="T42" fmla="*/ 2071 w 4291"/>
                <a:gd name="T43" fmla="*/ 784 h 1865"/>
                <a:gd name="T44" fmla="*/ 2097 w 4291"/>
                <a:gd name="T45" fmla="*/ 925 h 1865"/>
                <a:gd name="T46" fmla="*/ 1563 w 4291"/>
                <a:gd name="T47" fmla="*/ 902 h 1865"/>
                <a:gd name="T48" fmla="*/ 1518 w 4291"/>
                <a:gd name="T49" fmla="*/ 1268 h 1865"/>
                <a:gd name="T50" fmla="*/ 1809 w 4291"/>
                <a:gd name="T51" fmla="*/ 1378 h 1865"/>
                <a:gd name="T52" fmla="*/ 2027 w 4291"/>
                <a:gd name="T53" fmla="*/ 1852 h 1865"/>
                <a:gd name="T54" fmla="*/ 2254 w 4291"/>
                <a:gd name="T55" fmla="*/ 1392 h 1865"/>
                <a:gd name="T56" fmla="*/ 2191 w 4291"/>
                <a:gd name="T57" fmla="*/ 1071 h 1865"/>
                <a:gd name="T58" fmla="*/ 2274 w 4291"/>
                <a:gd name="T59" fmla="*/ 1170 h 1865"/>
                <a:gd name="T60" fmla="*/ 2412 w 4291"/>
                <a:gd name="T61" fmla="*/ 1032 h 1865"/>
                <a:gd name="T62" fmla="*/ 2439 w 4291"/>
                <a:gd name="T63" fmla="*/ 996 h 1865"/>
                <a:gd name="T64" fmla="*/ 2683 w 4291"/>
                <a:gd name="T65" fmla="*/ 1097 h 1865"/>
                <a:gd name="T66" fmla="*/ 2798 w 4291"/>
                <a:gd name="T67" fmla="*/ 1143 h 1865"/>
                <a:gd name="T68" fmla="*/ 2926 w 4291"/>
                <a:gd name="T69" fmla="*/ 1048 h 1865"/>
                <a:gd name="T70" fmla="*/ 3035 w 4291"/>
                <a:gd name="T71" fmla="*/ 1197 h 1865"/>
                <a:gd name="T72" fmla="*/ 3044 w 4291"/>
                <a:gd name="T73" fmla="*/ 1223 h 1865"/>
                <a:gd name="T74" fmla="*/ 3166 w 4291"/>
                <a:gd name="T75" fmla="*/ 1219 h 1865"/>
                <a:gd name="T76" fmla="*/ 3197 w 4291"/>
                <a:gd name="T77" fmla="*/ 1074 h 1865"/>
                <a:gd name="T78" fmla="*/ 3350 w 4291"/>
                <a:gd name="T79" fmla="*/ 956 h 1865"/>
                <a:gd name="T80" fmla="*/ 3328 w 4291"/>
                <a:gd name="T81" fmla="*/ 789 h 1865"/>
                <a:gd name="T82" fmla="*/ 3457 w 4291"/>
                <a:gd name="T83" fmla="*/ 845 h 1865"/>
                <a:gd name="T84" fmla="*/ 3572 w 4291"/>
                <a:gd name="T85" fmla="*/ 549 h 1865"/>
                <a:gd name="T86" fmla="*/ 3865 w 4291"/>
                <a:gd name="T87" fmla="*/ 390 h 1865"/>
                <a:gd name="T88" fmla="*/ 3856 w 4291"/>
                <a:gd name="T89" fmla="*/ 565 h 1865"/>
                <a:gd name="T90" fmla="*/ 4091 w 4291"/>
                <a:gd name="T91" fmla="*/ 384 h 1865"/>
                <a:gd name="T92" fmla="*/ 4255 w 4291"/>
                <a:gd name="T93" fmla="*/ 324 h 1865"/>
                <a:gd name="T94" fmla="*/ 2431 w 4291"/>
                <a:gd name="T95" fmla="*/ 777 h 1865"/>
                <a:gd name="T96" fmla="*/ 2410 w 4291"/>
                <a:gd name="T97" fmla="*/ 792 h 1865"/>
                <a:gd name="T98" fmla="*/ 2419 w 4291"/>
                <a:gd name="T99" fmla="*/ 804 h 1865"/>
                <a:gd name="T100" fmla="*/ 2381 w 4291"/>
                <a:gd name="T101" fmla="*/ 842 h 1865"/>
                <a:gd name="T102" fmla="*/ 2361 w 4291"/>
                <a:gd name="T103" fmla="*/ 796 h 1865"/>
                <a:gd name="T104" fmla="*/ 2353 w 4291"/>
                <a:gd name="T105" fmla="*/ 763 h 1865"/>
                <a:gd name="T106" fmla="*/ 2326 w 4291"/>
                <a:gd name="T107" fmla="*/ 719 h 1865"/>
                <a:gd name="T108" fmla="*/ 2348 w 4291"/>
                <a:gd name="T109" fmla="*/ 693 h 1865"/>
                <a:gd name="T110" fmla="*/ 2372 w 4291"/>
                <a:gd name="T111" fmla="*/ 678 h 1865"/>
                <a:gd name="T112" fmla="*/ 2414 w 4291"/>
                <a:gd name="T113" fmla="*/ 691 h 1865"/>
                <a:gd name="T114" fmla="*/ 2397 w 4291"/>
                <a:gd name="T115" fmla="*/ 702 h 1865"/>
                <a:gd name="T116" fmla="*/ 2381 w 4291"/>
                <a:gd name="T117" fmla="*/ 722 h 1865"/>
                <a:gd name="T118" fmla="*/ 2405 w 4291"/>
                <a:gd name="T119" fmla="*/ 765 h 1865"/>
                <a:gd name="T120" fmla="*/ 2516 w 4291"/>
                <a:gd name="T121" fmla="*/ 714 h 1865"/>
                <a:gd name="T122" fmla="*/ 2504 w 4291"/>
                <a:gd name="T123" fmla="*/ 690 h 1865"/>
                <a:gd name="T124" fmla="*/ 2517 w 4291"/>
                <a:gd name="T125" fmla="*/ 682 h 18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291" h="1865">
                  <a:moveTo>
                    <a:pt x="98" y="9"/>
                  </a:moveTo>
                  <a:lnTo>
                    <a:pt x="95" y="8"/>
                  </a:lnTo>
                  <a:lnTo>
                    <a:pt x="92" y="6"/>
                  </a:lnTo>
                  <a:lnTo>
                    <a:pt x="89" y="5"/>
                  </a:lnTo>
                  <a:lnTo>
                    <a:pt x="86" y="6"/>
                  </a:lnTo>
                  <a:lnTo>
                    <a:pt x="83" y="6"/>
                  </a:lnTo>
                  <a:lnTo>
                    <a:pt x="81" y="8"/>
                  </a:lnTo>
                  <a:lnTo>
                    <a:pt x="83" y="9"/>
                  </a:lnTo>
                  <a:lnTo>
                    <a:pt x="86" y="9"/>
                  </a:lnTo>
                  <a:lnTo>
                    <a:pt x="84" y="12"/>
                  </a:lnTo>
                  <a:lnTo>
                    <a:pt x="81" y="10"/>
                  </a:lnTo>
                  <a:lnTo>
                    <a:pt x="78" y="13"/>
                  </a:lnTo>
                  <a:lnTo>
                    <a:pt x="75" y="12"/>
                  </a:lnTo>
                  <a:lnTo>
                    <a:pt x="73" y="12"/>
                  </a:lnTo>
                  <a:lnTo>
                    <a:pt x="69" y="10"/>
                  </a:lnTo>
                  <a:lnTo>
                    <a:pt x="67" y="10"/>
                  </a:lnTo>
                  <a:lnTo>
                    <a:pt x="64" y="10"/>
                  </a:lnTo>
                  <a:lnTo>
                    <a:pt x="58" y="12"/>
                  </a:lnTo>
                  <a:lnTo>
                    <a:pt x="56" y="12"/>
                  </a:lnTo>
                  <a:lnTo>
                    <a:pt x="52" y="12"/>
                  </a:lnTo>
                  <a:lnTo>
                    <a:pt x="50" y="15"/>
                  </a:lnTo>
                  <a:lnTo>
                    <a:pt x="48" y="17"/>
                  </a:lnTo>
                  <a:lnTo>
                    <a:pt x="44" y="18"/>
                  </a:lnTo>
                  <a:lnTo>
                    <a:pt x="42" y="21"/>
                  </a:lnTo>
                  <a:lnTo>
                    <a:pt x="41" y="21"/>
                  </a:lnTo>
                  <a:lnTo>
                    <a:pt x="39" y="24"/>
                  </a:lnTo>
                  <a:lnTo>
                    <a:pt x="36" y="25"/>
                  </a:lnTo>
                  <a:lnTo>
                    <a:pt x="35" y="27"/>
                  </a:lnTo>
                  <a:lnTo>
                    <a:pt x="33" y="28"/>
                  </a:lnTo>
                  <a:lnTo>
                    <a:pt x="30" y="30"/>
                  </a:lnTo>
                  <a:lnTo>
                    <a:pt x="26" y="31"/>
                  </a:lnTo>
                  <a:lnTo>
                    <a:pt x="24" y="32"/>
                  </a:lnTo>
                  <a:lnTo>
                    <a:pt x="22" y="35"/>
                  </a:lnTo>
                  <a:lnTo>
                    <a:pt x="19" y="38"/>
                  </a:lnTo>
                  <a:lnTo>
                    <a:pt x="16" y="38"/>
                  </a:lnTo>
                  <a:lnTo>
                    <a:pt x="14" y="38"/>
                  </a:lnTo>
                  <a:lnTo>
                    <a:pt x="10" y="38"/>
                  </a:lnTo>
                  <a:lnTo>
                    <a:pt x="8" y="39"/>
                  </a:lnTo>
                  <a:lnTo>
                    <a:pt x="5" y="41"/>
                  </a:lnTo>
                  <a:lnTo>
                    <a:pt x="2" y="43"/>
                  </a:lnTo>
                  <a:lnTo>
                    <a:pt x="0" y="45"/>
                  </a:lnTo>
                  <a:lnTo>
                    <a:pt x="6" y="44"/>
                  </a:lnTo>
                  <a:lnTo>
                    <a:pt x="7" y="48"/>
                  </a:lnTo>
                  <a:lnTo>
                    <a:pt x="5" y="50"/>
                  </a:lnTo>
                  <a:lnTo>
                    <a:pt x="7" y="52"/>
                  </a:lnTo>
                  <a:lnTo>
                    <a:pt x="10" y="51"/>
                  </a:lnTo>
                  <a:lnTo>
                    <a:pt x="13" y="49"/>
                  </a:lnTo>
                  <a:lnTo>
                    <a:pt x="16" y="48"/>
                  </a:lnTo>
                  <a:lnTo>
                    <a:pt x="18" y="49"/>
                  </a:lnTo>
                  <a:lnTo>
                    <a:pt x="22" y="50"/>
                  </a:lnTo>
                  <a:lnTo>
                    <a:pt x="24" y="51"/>
                  </a:lnTo>
                  <a:lnTo>
                    <a:pt x="26" y="50"/>
                  </a:lnTo>
                  <a:lnTo>
                    <a:pt x="27" y="47"/>
                  </a:lnTo>
                  <a:lnTo>
                    <a:pt x="29" y="44"/>
                  </a:lnTo>
                  <a:lnTo>
                    <a:pt x="32" y="45"/>
                  </a:lnTo>
                  <a:lnTo>
                    <a:pt x="31" y="48"/>
                  </a:lnTo>
                  <a:lnTo>
                    <a:pt x="34" y="50"/>
                  </a:lnTo>
                  <a:lnTo>
                    <a:pt x="35" y="52"/>
                  </a:lnTo>
                  <a:lnTo>
                    <a:pt x="35" y="55"/>
                  </a:lnTo>
                  <a:lnTo>
                    <a:pt x="39" y="53"/>
                  </a:lnTo>
                  <a:lnTo>
                    <a:pt x="41" y="55"/>
                  </a:lnTo>
                  <a:lnTo>
                    <a:pt x="41" y="53"/>
                  </a:lnTo>
                  <a:lnTo>
                    <a:pt x="44" y="53"/>
                  </a:lnTo>
                  <a:lnTo>
                    <a:pt x="46" y="50"/>
                  </a:lnTo>
                  <a:lnTo>
                    <a:pt x="47" y="48"/>
                  </a:lnTo>
                  <a:lnTo>
                    <a:pt x="44" y="47"/>
                  </a:lnTo>
                  <a:lnTo>
                    <a:pt x="47" y="47"/>
                  </a:lnTo>
                  <a:lnTo>
                    <a:pt x="47" y="43"/>
                  </a:lnTo>
                  <a:lnTo>
                    <a:pt x="47" y="41"/>
                  </a:lnTo>
                  <a:lnTo>
                    <a:pt x="49" y="42"/>
                  </a:lnTo>
                  <a:lnTo>
                    <a:pt x="51" y="45"/>
                  </a:lnTo>
                  <a:lnTo>
                    <a:pt x="53" y="48"/>
                  </a:lnTo>
                  <a:lnTo>
                    <a:pt x="57" y="44"/>
                  </a:lnTo>
                  <a:lnTo>
                    <a:pt x="57" y="42"/>
                  </a:lnTo>
                  <a:lnTo>
                    <a:pt x="59" y="42"/>
                  </a:lnTo>
                  <a:lnTo>
                    <a:pt x="60" y="39"/>
                  </a:lnTo>
                  <a:lnTo>
                    <a:pt x="58" y="36"/>
                  </a:lnTo>
                  <a:lnTo>
                    <a:pt x="57" y="34"/>
                  </a:lnTo>
                  <a:lnTo>
                    <a:pt x="60" y="35"/>
                  </a:lnTo>
                  <a:lnTo>
                    <a:pt x="63" y="34"/>
                  </a:lnTo>
                  <a:lnTo>
                    <a:pt x="64" y="31"/>
                  </a:lnTo>
                  <a:lnTo>
                    <a:pt x="65" y="28"/>
                  </a:lnTo>
                  <a:lnTo>
                    <a:pt x="67" y="28"/>
                  </a:lnTo>
                  <a:lnTo>
                    <a:pt x="70" y="26"/>
                  </a:lnTo>
                  <a:lnTo>
                    <a:pt x="70" y="30"/>
                  </a:lnTo>
                  <a:lnTo>
                    <a:pt x="69" y="32"/>
                  </a:lnTo>
                  <a:lnTo>
                    <a:pt x="69" y="35"/>
                  </a:lnTo>
                  <a:lnTo>
                    <a:pt x="68" y="38"/>
                  </a:lnTo>
                  <a:lnTo>
                    <a:pt x="70" y="40"/>
                  </a:lnTo>
                  <a:lnTo>
                    <a:pt x="74" y="42"/>
                  </a:lnTo>
                  <a:lnTo>
                    <a:pt x="77" y="42"/>
                  </a:lnTo>
                  <a:lnTo>
                    <a:pt x="79" y="42"/>
                  </a:lnTo>
                  <a:lnTo>
                    <a:pt x="82" y="40"/>
                  </a:lnTo>
                  <a:lnTo>
                    <a:pt x="82" y="38"/>
                  </a:lnTo>
                  <a:lnTo>
                    <a:pt x="82" y="35"/>
                  </a:lnTo>
                  <a:lnTo>
                    <a:pt x="84" y="34"/>
                  </a:lnTo>
                  <a:lnTo>
                    <a:pt x="87" y="33"/>
                  </a:lnTo>
                  <a:lnTo>
                    <a:pt x="90" y="33"/>
                  </a:lnTo>
                  <a:lnTo>
                    <a:pt x="93" y="33"/>
                  </a:lnTo>
                  <a:lnTo>
                    <a:pt x="95" y="31"/>
                  </a:lnTo>
                  <a:lnTo>
                    <a:pt x="96" y="28"/>
                  </a:lnTo>
                  <a:lnTo>
                    <a:pt x="94" y="26"/>
                  </a:lnTo>
                  <a:lnTo>
                    <a:pt x="92" y="24"/>
                  </a:lnTo>
                  <a:lnTo>
                    <a:pt x="94" y="24"/>
                  </a:lnTo>
                  <a:lnTo>
                    <a:pt x="98" y="24"/>
                  </a:lnTo>
                  <a:lnTo>
                    <a:pt x="98" y="22"/>
                  </a:lnTo>
                  <a:lnTo>
                    <a:pt x="94" y="21"/>
                  </a:lnTo>
                  <a:lnTo>
                    <a:pt x="92" y="18"/>
                  </a:lnTo>
                  <a:lnTo>
                    <a:pt x="95" y="16"/>
                  </a:lnTo>
                  <a:lnTo>
                    <a:pt x="98" y="15"/>
                  </a:lnTo>
                  <a:lnTo>
                    <a:pt x="101" y="14"/>
                  </a:lnTo>
                  <a:lnTo>
                    <a:pt x="103" y="13"/>
                  </a:lnTo>
                  <a:lnTo>
                    <a:pt x="101" y="9"/>
                  </a:lnTo>
                  <a:lnTo>
                    <a:pt x="98" y="9"/>
                  </a:lnTo>
                  <a:close/>
                  <a:moveTo>
                    <a:pt x="4288" y="297"/>
                  </a:moveTo>
                  <a:lnTo>
                    <a:pt x="4286" y="297"/>
                  </a:lnTo>
                  <a:lnTo>
                    <a:pt x="4286" y="297"/>
                  </a:lnTo>
                  <a:lnTo>
                    <a:pt x="4284" y="298"/>
                  </a:lnTo>
                  <a:lnTo>
                    <a:pt x="4283" y="295"/>
                  </a:lnTo>
                  <a:lnTo>
                    <a:pt x="4281" y="293"/>
                  </a:lnTo>
                  <a:lnTo>
                    <a:pt x="4279" y="296"/>
                  </a:lnTo>
                  <a:lnTo>
                    <a:pt x="4281" y="293"/>
                  </a:lnTo>
                  <a:lnTo>
                    <a:pt x="4279" y="292"/>
                  </a:lnTo>
                  <a:lnTo>
                    <a:pt x="4275" y="290"/>
                  </a:lnTo>
                  <a:lnTo>
                    <a:pt x="4273" y="288"/>
                  </a:lnTo>
                  <a:lnTo>
                    <a:pt x="4269" y="287"/>
                  </a:lnTo>
                  <a:lnTo>
                    <a:pt x="4267" y="284"/>
                  </a:lnTo>
                  <a:lnTo>
                    <a:pt x="4264" y="282"/>
                  </a:lnTo>
                  <a:lnTo>
                    <a:pt x="4264" y="280"/>
                  </a:lnTo>
                  <a:lnTo>
                    <a:pt x="4260" y="279"/>
                  </a:lnTo>
                  <a:lnTo>
                    <a:pt x="4258" y="279"/>
                  </a:lnTo>
                  <a:lnTo>
                    <a:pt x="4255" y="279"/>
                  </a:lnTo>
                  <a:lnTo>
                    <a:pt x="4250" y="278"/>
                  </a:lnTo>
                  <a:lnTo>
                    <a:pt x="4252" y="278"/>
                  </a:lnTo>
                  <a:lnTo>
                    <a:pt x="4250" y="278"/>
                  </a:lnTo>
                  <a:lnTo>
                    <a:pt x="4248" y="276"/>
                  </a:lnTo>
                  <a:lnTo>
                    <a:pt x="4245" y="276"/>
                  </a:lnTo>
                  <a:lnTo>
                    <a:pt x="4248" y="278"/>
                  </a:lnTo>
                  <a:lnTo>
                    <a:pt x="4250" y="279"/>
                  </a:lnTo>
                  <a:lnTo>
                    <a:pt x="4248" y="280"/>
                  </a:lnTo>
                  <a:lnTo>
                    <a:pt x="4246" y="280"/>
                  </a:lnTo>
                  <a:lnTo>
                    <a:pt x="4242" y="279"/>
                  </a:lnTo>
                  <a:lnTo>
                    <a:pt x="4243" y="281"/>
                  </a:lnTo>
                  <a:lnTo>
                    <a:pt x="4241" y="282"/>
                  </a:lnTo>
                  <a:lnTo>
                    <a:pt x="4241" y="279"/>
                  </a:lnTo>
                  <a:lnTo>
                    <a:pt x="4243" y="276"/>
                  </a:lnTo>
                  <a:lnTo>
                    <a:pt x="4241" y="276"/>
                  </a:lnTo>
                  <a:lnTo>
                    <a:pt x="4238" y="275"/>
                  </a:lnTo>
                  <a:lnTo>
                    <a:pt x="4235" y="275"/>
                  </a:lnTo>
                  <a:lnTo>
                    <a:pt x="4232" y="275"/>
                  </a:lnTo>
                  <a:lnTo>
                    <a:pt x="4230" y="275"/>
                  </a:lnTo>
                  <a:lnTo>
                    <a:pt x="4226" y="275"/>
                  </a:lnTo>
                  <a:lnTo>
                    <a:pt x="4224" y="275"/>
                  </a:lnTo>
                  <a:lnTo>
                    <a:pt x="4226" y="276"/>
                  </a:lnTo>
                  <a:lnTo>
                    <a:pt x="4230" y="278"/>
                  </a:lnTo>
                  <a:lnTo>
                    <a:pt x="4231" y="281"/>
                  </a:lnTo>
                  <a:lnTo>
                    <a:pt x="4232" y="283"/>
                  </a:lnTo>
                  <a:lnTo>
                    <a:pt x="4230" y="287"/>
                  </a:lnTo>
                  <a:lnTo>
                    <a:pt x="4228" y="288"/>
                  </a:lnTo>
                  <a:lnTo>
                    <a:pt x="4230" y="288"/>
                  </a:lnTo>
                  <a:lnTo>
                    <a:pt x="4233" y="289"/>
                  </a:lnTo>
                  <a:lnTo>
                    <a:pt x="4234" y="291"/>
                  </a:lnTo>
                  <a:lnTo>
                    <a:pt x="4232" y="295"/>
                  </a:lnTo>
                  <a:lnTo>
                    <a:pt x="4231" y="296"/>
                  </a:lnTo>
                  <a:lnTo>
                    <a:pt x="4231" y="293"/>
                  </a:lnTo>
                  <a:lnTo>
                    <a:pt x="4232" y="291"/>
                  </a:lnTo>
                  <a:lnTo>
                    <a:pt x="4229" y="290"/>
                  </a:lnTo>
                  <a:lnTo>
                    <a:pt x="4226" y="292"/>
                  </a:lnTo>
                  <a:lnTo>
                    <a:pt x="4225" y="290"/>
                  </a:lnTo>
                  <a:lnTo>
                    <a:pt x="4223" y="288"/>
                  </a:lnTo>
                  <a:lnTo>
                    <a:pt x="4220" y="287"/>
                  </a:lnTo>
                  <a:lnTo>
                    <a:pt x="4220" y="284"/>
                  </a:lnTo>
                  <a:lnTo>
                    <a:pt x="4221" y="281"/>
                  </a:lnTo>
                  <a:lnTo>
                    <a:pt x="4219" y="276"/>
                  </a:lnTo>
                  <a:lnTo>
                    <a:pt x="4220" y="273"/>
                  </a:lnTo>
                  <a:lnTo>
                    <a:pt x="4221" y="271"/>
                  </a:lnTo>
                  <a:lnTo>
                    <a:pt x="4219" y="267"/>
                  </a:lnTo>
                  <a:lnTo>
                    <a:pt x="4216" y="270"/>
                  </a:lnTo>
                  <a:lnTo>
                    <a:pt x="4213" y="270"/>
                  </a:lnTo>
                  <a:lnTo>
                    <a:pt x="4215" y="267"/>
                  </a:lnTo>
                  <a:lnTo>
                    <a:pt x="4214" y="265"/>
                  </a:lnTo>
                  <a:lnTo>
                    <a:pt x="4214" y="263"/>
                  </a:lnTo>
                  <a:lnTo>
                    <a:pt x="4212" y="262"/>
                  </a:lnTo>
                  <a:lnTo>
                    <a:pt x="4209" y="261"/>
                  </a:lnTo>
                  <a:lnTo>
                    <a:pt x="4207" y="260"/>
                  </a:lnTo>
                  <a:lnTo>
                    <a:pt x="4204" y="257"/>
                  </a:lnTo>
                  <a:lnTo>
                    <a:pt x="4202" y="256"/>
                  </a:lnTo>
                  <a:lnTo>
                    <a:pt x="4196" y="254"/>
                  </a:lnTo>
                  <a:lnTo>
                    <a:pt x="4192" y="253"/>
                  </a:lnTo>
                  <a:lnTo>
                    <a:pt x="4188" y="249"/>
                  </a:lnTo>
                  <a:lnTo>
                    <a:pt x="4185" y="248"/>
                  </a:lnTo>
                  <a:lnTo>
                    <a:pt x="4182" y="250"/>
                  </a:lnTo>
                  <a:lnTo>
                    <a:pt x="4181" y="248"/>
                  </a:lnTo>
                  <a:lnTo>
                    <a:pt x="4183" y="248"/>
                  </a:lnTo>
                  <a:lnTo>
                    <a:pt x="4181" y="246"/>
                  </a:lnTo>
                  <a:lnTo>
                    <a:pt x="4178" y="245"/>
                  </a:lnTo>
                  <a:lnTo>
                    <a:pt x="4175" y="244"/>
                  </a:lnTo>
                  <a:lnTo>
                    <a:pt x="4173" y="243"/>
                  </a:lnTo>
                  <a:lnTo>
                    <a:pt x="4175" y="244"/>
                  </a:lnTo>
                  <a:lnTo>
                    <a:pt x="4178" y="245"/>
                  </a:lnTo>
                  <a:lnTo>
                    <a:pt x="4181" y="247"/>
                  </a:lnTo>
                  <a:lnTo>
                    <a:pt x="4178" y="248"/>
                  </a:lnTo>
                  <a:lnTo>
                    <a:pt x="4177" y="245"/>
                  </a:lnTo>
                  <a:lnTo>
                    <a:pt x="4174" y="244"/>
                  </a:lnTo>
                  <a:lnTo>
                    <a:pt x="4171" y="243"/>
                  </a:lnTo>
                  <a:lnTo>
                    <a:pt x="4169" y="243"/>
                  </a:lnTo>
                  <a:lnTo>
                    <a:pt x="4166" y="239"/>
                  </a:lnTo>
                  <a:lnTo>
                    <a:pt x="4170" y="240"/>
                  </a:lnTo>
                  <a:lnTo>
                    <a:pt x="4168" y="238"/>
                  </a:lnTo>
                  <a:lnTo>
                    <a:pt x="4164" y="237"/>
                  </a:lnTo>
                  <a:lnTo>
                    <a:pt x="4162" y="236"/>
                  </a:lnTo>
                  <a:lnTo>
                    <a:pt x="4158" y="236"/>
                  </a:lnTo>
                  <a:lnTo>
                    <a:pt x="4157" y="232"/>
                  </a:lnTo>
                  <a:lnTo>
                    <a:pt x="4154" y="233"/>
                  </a:lnTo>
                  <a:lnTo>
                    <a:pt x="4152" y="232"/>
                  </a:lnTo>
                  <a:lnTo>
                    <a:pt x="4149" y="231"/>
                  </a:lnTo>
                  <a:lnTo>
                    <a:pt x="4147" y="231"/>
                  </a:lnTo>
                  <a:lnTo>
                    <a:pt x="4144" y="229"/>
                  </a:lnTo>
                  <a:lnTo>
                    <a:pt x="4147" y="230"/>
                  </a:lnTo>
                  <a:lnTo>
                    <a:pt x="4144" y="228"/>
                  </a:lnTo>
                  <a:lnTo>
                    <a:pt x="4141" y="226"/>
                  </a:lnTo>
                  <a:lnTo>
                    <a:pt x="4138" y="224"/>
                  </a:lnTo>
                  <a:lnTo>
                    <a:pt x="4136" y="224"/>
                  </a:lnTo>
                  <a:lnTo>
                    <a:pt x="4132" y="224"/>
                  </a:lnTo>
                  <a:lnTo>
                    <a:pt x="4136" y="223"/>
                  </a:lnTo>
                  <a:lnTo>
                    <a:pt x="4132" y="221"/>
                  </a:lnTo>
                  <a:lnTo>
                    <a:pt x="4130" y="220"/>
                  </a:lnTo>
                  <a:lnTo>
                    <a:pt x="4127" y="220"/>
                  </a:lnTo>
                  <a:lnTo>
                    <a:pt x="4124" y="220"/>
                  </a:lnTo>
                  <a:lnTo>
                    <a:pt x="4121" y="219"/>
                  </a:lnTo>
                  <a:lnTo>
                    <a:pt x="4119" y="218"/>
                  </a:lnTo>
                  <a:lnTo>
                    <a:pt x="4117" y="216"/>
                  </a:lnTo>
                  <a:lnTo>
                    <a:pt x="4113" y="216"/>
                  </a:lnTo>
                  <a:lnTo>
                    <a:pt x="4107" y="215"/>
                  </a:lnTo>
                  <a:lnTo>
                    <a:pt x="4105" y="214"/>
                  </a:lnTo>
                  <a:lnTo>
                    <a:pt x="4102" y="213"/>
                  </a:lnTo>
                  <a:lnTo>
                    <a:pt x="4100" y="212"/>
                  </a:lnTo>
                  <a:lnTo>
                    <a:pt x="4097" y="210"/>
                  </a:lnTo>
                  <a:lnTo>
                    <a:pt x="4094" y="209"/>
                  </a:lnTo>
                  <a:lnTo>
                    <a:pt x="4092" y="209"/>
                  </a:lnTo>
                  <a:lnTo>
                    <a:pt x="4088" y="210"/>
                  </a:lnTo>
                  <a:lnTo>
                    <a:pt x="4086" y="211"/>
                  </a:lnTo>
                  <a:lnTo>
                    <a:pt x="4083" y="210"/>
                  </a:lnTo>
                  <a:lnTo>
                    <a:pt x="4074" y="210"/>
                  </a:lnTo>
                  <a:lnTo>
                    <a:pt x="4071" y="210"/>
                  </a:lnTo>
                  <a:lnTo>
                    <a:pt x="4069" y="210"/>
                  </a:lnTo>
                  <a:lnTo>
                    <a:pt x="4066" y="210"/>
                  </a:lnTo>
                  <a:lnTo>
                    <a:pt x="4063" y="209"/>
                  </a:lnTo>
                  <a:lnTo>
                    <a:pt x="4060" y="207"/>
                  </a:lnTo>
                  <a:lnTo>
                    <a:pt x="4058" y="209"/>
                  </a:lnTo>
                  <a:lnTo>
                    <a:pt x="4060" y="211"/>
                  </a:lnTo>
                  <a:lnTo>
                    <a:pt x="4058" y="212"/>
                  </a:lnTo>
                  <a:lnTo>
                    <a:pt x="4057" y="212"/>
                  </a:lnTo>
                  <a:lnTo>
                    <a:pt x="4054" y="210"/>
                  </a:lnTo>
                  <a:lnTo>
                    <a:pt x="4051" y="209"/>
                  </a:lnTo>
                  <a:lnTo>
                    <a:pt x="4049" y="207"/>
                  </a:lnTo>
                  <a:lnTo>
                    <a:pt x="4046" y="207"/>
                  </a:lnTo>
                  <a:lnTo>
                    <a:pt x="4043" y="207"/>
                  </a:lnTo>
                  <a:lnTo>
                    <a:pt x="4041" y="206"/>
                  </a:lnTo>
                  <a:lnTo>
                    <a:pt x="4038" y="206"/>
                  </a:lnTo>
                  <a:lnTo>
                    <a:pt x="4036" y="206"/>
                  </a:lnTo>
                  <a:lnTo>
                    <a:pt x="4034" y="205"/>
                  </a:lnTo>
                  <a:lnTo>
                    <a:pt x="4030" y="205"/>
                  </a:lnTo>
                  <a:lnTo>
                    <a:pt x="4028" y="205"/>
                  </a:lnTo>
                  <a:lnTo>
                    <a:pt x="4025" y="204"/>
                  </a:lnTo>
                  <a:lnTo>
                    <a:pt x="4023" y="204"/>
                  </a:lnTo>
                  <a:lnTo>
                    <a:pt x="4019" y="203"/>
                  </a:lnTo>
                  <a:lnTo>
                    <a:pt x="4020" y="206"/>
                  </a:lnTo>
                  <a:lnTo>
                    <a:pt x="4020" y="206"/>
                  </a:lnTo>
                  <a:lnTo>
                    <a:pt x="4020" y="210"/>
                  </a:lnTo>
                  <a:lnTo>
                    <a:pt x="4020" y="212"/>
                  </a:lnTo>
                  <a:lnTo>
                    <a:pt x="4018" y="213"/>
                  </a:lnTo>
                  <a:lnTo>
                    <a:pt x="4015" y="214"/>
                  </a:lnTo>
                  <a:lnTo>
                    <a:pt x="4018" y="216"/>
                  </a:lnTo>
                  <a:lnTo>
                    <a:pt x="4020" y="216"/>
                  </a:lnTo>
                  <a:lnTo>
                    <a:pt x="4021" y="219"/>
                  </a:lnTo>
                  <a:lnTo>
                    <a:pt x="4024" y="222"/>
                  </a:lnTo>
                  <a:lnTo>
                    <a:pt x="4026" y="224"/>
                  </a:lnTo>
                  <a:lnTo>
                    <a:pt x="4026" y="228"/>
                  </a:lnTo>
                  <a:lnTo>
                    <a:pt x="4028" y="230"/>
                  </a:lnTo>
                  <a:lnTo>
                    <a:pt x="4026" y="231"/>
                  </a:lnTo>
                  <a:lnTo>
                    <a:pt x="4023" y="232"/>
                  </a:lnTo>
                  <a:lnTo>
                    <a:pt x="4023" y="235"/>
                  </a:lnTo>
                  <a:lnTo>
                    <a:pt x="4023" y="236"/>
                  </a:lnTo>
                  <a:lnTo>
                    <a:pt x="4019" y="233"/>
                  </a:lnTo>
                  <a:lnTo>
                    <a:pt x="4020" y="237"/>
                  </a:lnTo>
                  <a:lnTo>
                    <a:pt x="4021" y="237"/>
                  </a:lnTo>
                  <a:lnTo>
                    <a:pt x="4018" y="236"/>
                  </a:lnTo>
                  <a:lnTo>
                    <a:pt x="4016" y="236"/>
                  </a:lnTo>
                  <a:lnTo>
                    <a:pt x="4012" y="236"/>
                  </a:lnTo>
                  <a:lnTo>
                    <a:pt x="4012" y="236"/>
                  </a:lnTo>
                  <a:lnTo>
                    <a:pt x="4010" y="236"/>
                  </a:lnTo>
                  <a:lnTo>
                    <a:pt x="4007" y="236"/>
                  </a:lnTo>
                  <a:lnTo>
                    <a:pt x="4004" y="233"/>
                  </a:lnTo>
                  <a:lnTo>
                    <a:pt x="4004" y="230"/>
                  </a:lnTo>
                  <a:lnTo>
                    <a:pt x="4002" y="229"/>
                  </a:lnTo>
                  <a:lnTo>
                    <a:pt x="3999" y="228"/>
                  </a:lnTo>
                  <a:lnTo>
                    <a:pt x="3996" y="227"/>
                  </a:lnTo>
                  <a:lnTo>
                    <a:pt x="3993" y="226"/>
                  </a:lnTo>
                  <a:lnTo>
                    <a:pt x="3991" y="226"/>
                  </a:lnTo>
                  <a:lnTo>
                    <a:pt x="3989" y="223"/>
                  </a:lnTo>
                  <a:lnTo>
                    <a:pt x="3989" y="218"/>
                  </a:lnTo>
                  <a:lnTo>
                    <a:pt x="3985" y="216"/>
                  </a:lnTo>
                  <a:lnTo>
                    <a:pt x="3984" y="213"/>
                  </a:lnTo>
                  <a:lnTo>
                    <a:pt x="3981" y="212"/>
                  </a:lnTo>
                  <a:lnTo>
                    <a:pt x="3978" y="214"/>
                  </a:lnTo>
                  <a:lnTo>
                    <a:pt x="3975" y="216"/>
                  </a:lnTo>
                  <a:lnTo>
                    <a:pt x="3973" y="218"/>
                  </a:lnTo>
                  <a:lnTo>
                    <a:pt x="3969" y="219"/>
                  </a:lnTo>
                  <a:lnTo>
                    <a:pt x="3967" y="219"/>
                  </a:lnTo>
                  <a:lnTo>
                    <a:pt x="3959" y="219"/>
                  </a:lnTo>
                  <a:lnTo>
                    <a:pt x="3956" y="218"/>
                  </a:lnTo>
                  <a:lnTo>
                    <a:pt x="3953" y="216"/>
                  </a:lnTo>
                  <a:lnTo>
                    <a:pt x="3950" y="216"/>
                  </a:lnTo>
                  <a:lnTo>
                    <a:pt x="3949" y="216"/>
                  </a:lnTo>
                  <a:lnTo>
                    <a:pt x="3947" y="216"/>
                  </a:lnTo>
                  <a:lnTo>
                    <a:pt x="3943" y="216"/>
                  </a:lnTo>
                  <a:lnTo>
                    <a:pt x="3938" y="216"/>
                  </a:lnTo>
                  <a:lnTo>
                    <a:pt x="3935" y="215"/>
                  </a:lnTo>
                  <a:lnTo>
                    <a:pt x="3932" y="213"/>
                  </a:lnTo>
                  <a:lnTo>
                    <a:pt x="3930" y="213"/>
                  </a:lnTo>
                  <a:lnTo>
                    <a:pt x="3926" y="214"/>
                  </a:lnTo>
                  <a:lnTo>
                    <a:pt x="3924" y="214"/>
                  </a:lnTo>
                  <a:lnTo>
                    <a:pt x="3922" y="213"/>
                  </a:lnTo>
                  <a:lnTo>
                    <a:pt x="3918" y="214"/>
                  </a:lnTo>
                  <a:lnTo>
                    <a:pt x="3916" y="214"/>
                  </a:lnTo>
                  <a:lnTo>
                    <a:pt x="3913" y="215"/>
                  </a:lnTo>
                  <a:lnTo>
                    <a:pt x="3910" y="214"/>
                  </a:lnTo>
                  <a:lnTo>
                    <a:pt x="3909" y="214"/>
                  </a:lnTo>
                  <a:lnTo>
                    <a:pt x="3906" y="215"/>
                  </a:lnTo>
                  <a:lnTo>
                    <a:pt x="3905" y="215"/>
                  </a:lnTo>
                  <a:lnTo>
                    <a:pt x="3902" y="215"/>
                  </a:lnTo>
                  <a:lnTo>
                    <a:pt x="3900" y="215"/>
                  </a:lnTo>
                  <a:lnTo>
                    <a:pt x="3897" y="215"/>
                  </a:lnTo>
                  <a:lnTo>
                    <a:pt x="3895" y="216"/>
                  </a:lnTo>
                  <a:lnTo>
                    <a:pt x="3891" y="218"/>
                  </a:lnTo>
                  <a:lnTo>
                    <a:pt x="3887" y="215"/>
                  </a:lnTo>
                  <a:lnTo>
                    <a:pt x="3884" y="214"/>
                  </a:lnTo>
                  <a:lnTo>
                    <a:pt x="3881" y="214"/>
                  </a:lnTo>
                  <a:lnTo>
                    <a:pt x="3880" y="215"/>
                  </a:lnTo>
                  <a:lnTo>
                    <a:pt x="3878" y="213"/>
                  </a:lnTo>
                  <a:lnTo>
                    <a:pt x="3875" y="213"/>
                  </a:lnTo>
                  <a:lnTo>
                    <a:pt x="3873" y="212"/>
                  </a:lnTo>
                  <a:lnTo>
                    <a:pt x="3872" y="210"/>
                  </a:lnTo>
                  <a:lnTo>
                    <a:pt x="3873" y="209"/>
                  </a:lnTo>
                  <a:lnTo>
                    <a:pt x="3873" y="207"/>
                  </a:lnTo>
                  <a:lnTo>
                    <a:pt x="3874" y="206"/>
                  </a:lnTo>
                  <a:lnTo>
                    <a:pt x="3874" y="206"/>
                  </a:lnTo>
                  <a:lnTo>
                    <a:pt x="3874" y="206"/>
                  </a:lnTo>
                  <a:lnTo>
                    <a:pt x="3874" y="205"/>
                  </a:lnTo>
                  <a:lnTo>
                    <a:pt x="3873" y="204"/>
                  </a:lnTo>
                  <a:lnTo>
                    <a:pt x="3875" y="202"/>
                  </a:lnTo>
                  <a:lnTo>
                    <a:pt x="3878" y="199"/>
                  </a:lnTo>
                  <a:lnTo>
                    <a:pt x="3876" y="196"/>
                  </a:lnTo>
                  <a:lnTo>
                    <a:pt x="3874" y="194"/>
                  </a:lnTo>
                  <a:lnTo>
                    <a:pt x="3872" y="190"/>
                  </a:lnTo>
                  <a:lnTo>
                    <a:pt x="3867" y="187"/>
                  </a:lnTo>
                  <a:lnTo>
                    <a:pt x="3856" y="182"/>
                  </a:lnTo>
                  <a:lnTo>
                    <a:pt x="3847" y="180"/>
                  </a:lnTo>
                  <a:lnTo>
                    <a:pt x="3839" y="180"/>
                  </a:lnTo>
                  <a:lnTo>
                    <a:pt x="3820" y="179"/>
                  </a:lnTo>
                  <a:lnTo>
                    <a:pt x="3797" y="182"/>
                  </a:lnTo>
                  <a:lnTo>
                    <a:pt x="3789" y="186"/>
                  </a:lnTo>
                  <a:lnTo>
                    <a:pt x="3786" y="185"/>
                  </a:lnTo>
                  <a:lnTo>
                    <a:pt x="3776" y="186"/>
                  </a:lnTo>
                  <a:lnTo>
                    <a:pt x="3770" y="185"/>
                  </a:lnTo>
                  <a:lnTo>
                    <a:pt x="3761" y="182"/>
                  </a:lnTo>
                  <a:lnTo>
                    <a:pt x="3767" y="182"/>
                  </a:lnTo>
                  <a:lnTo>
                    <a:pt x="3768" y="180"/>
                  </a:lnTo>
                  <a:lnTo>
                    <a:pt x="3762" y="176"/>
                  </a:lnTo>
                  <a:lnTo>
                    <a:pt x="3759" y="173"/>
                  </a:lnTo>
                  <a:lnTo>
                    <a:pt x="3756" y="173"/>
                  </a:lnTo>
                  <a:lnTo>
                    <a:pt x="3753" y="172"/>
                  </a:lnTo>
                  <a:lnTo>
                    <a:pt x="3751" y="172"/>
                  </a:lnTo>
                  <a:lnTo>
                    <a:pt x="3748" y="175"/>
                  </a:lnTo>
                  <a:lnTo>
                    <a:pt x="3745" y="175"/>
                  </a:lnTo>
                  <a:lnTo>
                    <a:pt x="3743" y="175"/>
                  </a:lnTo>
                  <a:lnTo>
                    <a:pt x="3739" y="177"/>
                  </a:lnTo>
                  <a:lnTo>
                    <a:pt x="3742" y="175"/>
                  </a:lnTo>
                  <a:lnTo>
                    <a:pt x="3745" y="173"/>
                  </a:lnTo>
                  <a:lnTo>
                    <a:pt x="3747" y="171"/>
                  </a:lnTo>
                  <a:lnTo>
                    <a:pt x="3744" y="169"/>
                  </a:lnTo>
                  <a:lnTo>
                    <a:pt x="3742" y="169"/>
                  </a:lnTo>
                  <a:lnTo>
                    <a:pt x="3737" y="170"/>
                  </a:lnTo>
                  <a:lnTo>
                    <a:pt x="3738" y="168"/>
                  </a:lnTo>
                  <a:lnTo>
                    <a:pt x="3735" y="166"/>
                  </a:lnTo>
                  <a:lnTo>
                    <a:pt x="3727" y="164"/>
                  </a:lnTo>
                  <a:lnTo>
                    <a:pt x="3724" y="166"/>
                  </a:lnTo>
                  <a:lnTo>
                    <a:pt x="3724" y="162"/>
                  </a:lnTo>
                  <a:lnTo>
                    <a:pt x="3726" y="162"/>
                  </a:lnTo>
                  <a:lnTo>
                    <a:pt x="3729" y="161"/>
                  </a:lnTo>
                  <a:lnTo>
                    <a:pt x="3731" y="160"/>
                  </a:lnTo>
                  <a:lnTo>
                    <a:pt x="3735" y="162"/>
                  </a:lnTo>
                  <a:lnTo>
                    <a:pt x="3737" y="161"/>
                  </a:lnTo>
                  <a:lnTo>
                    <a:pt x="3739" y="159"/>
                  </a:lnTo>
                  <a:lnTo>
                    <a:pt x="3734" y="153"/>
                  </a:lnTo>
                  <a:lnTo>
                    <a:pt x="3726" y="151"/>
                  </a:lnTo>
                  <a:lnTo>
                    <a:pt x="3718" y="149"/>
                  </a:lnTo>
                  <a:lnTo>
                    <a:pt x="3712" y="149"/>
                  </a:lnTo>
                  <a:lnTo>
                    <a:pt x="3701" y="149"/>
                  </a:lnTo>
                  <a:lnTo>
                    <a:pt x="3693" y="155"/>
                  </a:lnTo>
                  <a:lnTo>
                    <a:pt x="3688" y="160"/>
                  </a:lnTo>
                  <a:lnTo>
                    <a:pt x="3686" y="161"/>
                  </a:lnTo>
                  <a:lnTo>
                    <a:pt x="3680" y="163"/>
                  </a:lnTo>
                  <a:lnTo>
                    <a:pt x="3677" y="163"/>
                  </a:lnTo>
                  <a:lnTo>
                    <a:pt x="3675" y="166"/>
                  </a:lnTo>
                  <a:lnTo>
                    <a:pt x="3673" y="164"/>
                  </a:lnTo>
                  <a:lnTo>
                    <a:pt x="3669" y="164"/>
                  </a:lnTo>
                  <a:lnTo>
                    <a:pt x="3673" y="162"/>
                  </a:lnTo>
                  <a:lnTo>
                    <a:pt x="3670" y="159"/>
                  </a:lnTo>
                  <a:lnTo>
                    <a:pt x="3673" y="159"/>
                  </a:lnTo>
                  <a:lnTo>
                    <a:pt x="3676" y="160"/>
                  </a:lnTo>
                  <a:lnTo>
                    <a:pt x="3682" y="159"/>
                  </a:lnTo>
                  <a:lnTo>
                    <a:pt x="3679" y="151"/>
                  </a:lnTo>
                  <a:lnTo>
                    <a:pt x="3682" y="151"/>
                  </a:lnTo>
                  <a:lnTo>
                    <a:pt x="3684" y="153"/>
                  </a:lnTo>
                  <a:lnTo>
                    <a:pt x="3686" y="153"/>
                  </a:lnTo>
                  <a:lnTo>
                    <a:pt x="3686" y="155"/>
                  </a:lnTo>
                  <a:lnTo>
                    <a:pt x="3684" y="158"/>
                  </a:lnTo>
                  <a:lnTo>
                    <a:pt x="3684" y="161"/>
                  </a:lnTo>
                  <a:lnTo>
                    <a:pt x="3688" y="156"/>
                  </a:lnTo>
                  <a:lnTo>
                    <a:pt x="3696" y="149"/>
                  </a:lnTo>
                  <a:lnTo>
                    <a:pt x="3688" y="149"/>
                  </a:lnTo>
                  <a:lnTo>
                    <a:pt x="3671" y="150"/>
                  </a:lnTo>
                  <a:lnTo>
                    <a:pt x="3666" y="151"/>
                  </a:lnTo>
                  <a:lnTo>
                    <a:pt x="3663" y="152"/>
                  </a:lnTo>
                  <a:lnTo>
                    <a:pt x="3660" y="152"/>
                  </a:lnTo>
                  <a:lnTo>
                    <a:pt x="3659" y="151"/>
                  </a:lnTo>
                  <a:lnTo>
                    <a:pt x="3659" y="150"/>
                  </a:lnTo>
                  <a:lnTo>
                    <a:pt x="3665" y="150"/>
                  </a:lnTo>
                  <a:lnTo>
                    <a:pt x="3667" y="146"/>
                  </a:lnTo>
                  <a:lnTo>
                    <a:pt x="3670" y="142"/>
                  </a:lnTo>
                  <a:lnTo>
                    <a:pt x="3665" y="141"/>
                  </a:lnTo>
                  <a:lnTo>
                    <a:pt x="3661" y="141"/>
                  </a:lnTo>
                  <a:lnTo>
                    <a:pt x="3653" y="139"/>
                  </a:lnTo>
                  <a:lnTo>
                    <a:pt x="3651" y="139"/>
                  </a:lnTo>
                  <a:lnTo>
                    <a:pt x="3634" y="138"/>
                  </a:lnTo>
                  <a:lnTo>
                    <a:pt x="3628" y="138"/>
                  </a:lnTo>
                  <a:lnTo>
                    <a:pt x="3623" y="136"/>
                  </a:lnTo>
                  <a:lnTo>
                    <a:pt x="3619" y="135"/>
                  </a:lnTo>
                  <a:lnTo>
                    <a:pt x="3611" y="134"/>
                  </a:lnTo>
                  <a:lnTo>
                    <a:pt x="3611" y="136"/>
                  </a:lnTo>
                  <a:lnTo>
                    <a:pt x="3615" y="138"/>
                  </a:lnTo>
                  <a:lnTo>
                    <a:pt x="3615" y="141"/>
                  </a:lnTo>
                  <a:lnTo>
                    <a:pt x="3612" y="143"/>
                  </a:lnTo>
                  <a:lnTo>
                    <a:pt x="3607" y="144"/>
                  </a:lnTo>
                  <a:lnTo>
                    <a:pt x="3602" y="144"/>
                  </a:lnTo>
                  <a:lnTo>
                    <a:pt x="3599" y="144"/>
                  </a:lnTo>
                  <a:lnTo>
                    <a:pt x="3597" y="144"/>
                  </a:lnTo>
                  <a:lnTo>
                    <a:pt x="3591" y="147"/>
                  </a:lnTo>
                  <a:lnTo>
                    <a:pt x="3590" y="151"/>
                  </a:lnTo>
                  <a:lnTo>
                    <a:pt x="3592" y="153"/>
                  </a:lnTo>
                  <a:lnTo>
                    <a:pt x="3594" y="153"/>
                  </a:lnTo>
                  <a:lnTo>
                    <a:pt x="3598" y="151"/>
                  </a:lnTo>
                  <a:lnTo>
                    <a:pt x="3602" y="151"/>
                  </a:lnTo>
                  <a:lnTo>
                    <a:pt x="3605" y="152"/>
                  </a:lnTo>
                  <a:lnTo>
                    <a:pt x="3599" y="153"/>
                  </a:lnTo>
                  <a:lnTo>
                    <a:pt x="3598" y="156"/>
                  </a:lnTo>
                  <a:lnTo>
                    <a:pt x="3594" y="158"/>
                  </a:lnTo>
                  <a:lnTo>
                    <a:pt x="3598" y="160"/>
                  </a:lnTo>
                  <a:lnTo>
                    <a:pt x="3598" y="162"/>
                  </a:lnTo>
                  <a:lnTo>
                    <a:pt x="3599" y="166"/>
                  </a:lnTo>
                  <a:lnTo>
                    <a:pt x="3601" y="168"/>
                  </a:lnTo>
                  <a:lnTo>
                    <a:pt x="3602" y="170"/>
                  </a:lnTo>
                  <a:lnTo>
                    <a:pt x="3601" y="170"/>
                  </a:lnTo>
                  <a:lnTo>
                    <a:pt x="3599" y="170"/>
                  </a:lnTo>
                  <a:lnTo>
                    <a:pt x="3596" y="170"/>
                  </a:lnTo>
                  <a:lnTo>
                    <a:pt x="3593" y="171"/>
                  </a:lnTo>
                  <a:lnTo>
                    <a:pt x="3590" y="170"/>
                  </a:lnTo>
                  <a:lnTo>
                    <a:pt x="3589" y="168"/>
                  </a:lnTo>
                  <a:lnTo>
                    <a:pt x="3586" y="167"/>
                  </a:lnTo>
                  <a:lnTo>
                    <a:pt x="3583" y="166"/>
                  </a:lnTo>
                  <a:lnTo>
                    <a:pt x="3577" y="167"/>
                  </a:lnTo>
                  <a:lnTo>
                    <a:pt x="3575" y="168"/>
                  </a:lnTo>
                  <a:lnTo>
                    <a:pt x="3574" y="173"/>
                  </a:lnTo>
                  <a:lnTo>
                    <a:pt x="3580" y="175"/>
                  </a:lnTo>
                  <a:lnTo>
                    <a:pt x="3576" y="176"/>
                  </a:lnTo>
                  <a:lnTo>
                    <a:pt x="3571" y="177"/>
                  </a:lnTo>
                  <a:lnTo>
                    <a:pt x="3574" y="178"/>
                  </a:lnTo>
                  <a:lnTo>
                    <a:pt x="3568" y="177"/>
                  </a:lnTo>
                  <a:lnTo>
                    <a:pt x="3571" y="176"/>
                  </a:lnTo>
                  <a:lnTo>
                    <a:pt x="3568" y="176"/>
                  </a:lnTo>
                  <a:lnTo>
                    <a:pt x="3565" y="173"/>
                  </a:lnTo>
                  <a:lnTo>
                    <a:pt x="3559" y="170"/>
                  </a:lnTo>
                  <a:lnTo>
                    <a:pt x="3557" y="169"/>
                  </a:lnTo>
                  <a:lnTo>
                    <a:pt x="3555" y="169"/>
                  </a:lnTo>
                  <a:lnTo>
                    <a:pt x="3552" y="168"/>
                  </a:lnTo>
                  <a:lnTo>
                    <a:pt x="3547" y="166"/>
                  </a:lnTo>
                  <a:lnTo>
                    <a:pt x="3543" y="166"/>
                  </a:lnTo>
                  <a:lnTo>
                    <a:pt x="3541" y="167"/>
                  </a:lnTo>
                  <a:lnTo>
                    <a:pt x="3539" y="169"/>
                  </a:lnTo>
                  <a:lnTo>
                    <a:pt x="3535" y="168"/>
                  </a:lnTo>
                  <a:lnTo>
                    <a:pt x="3533" y="169"/>
                  </a:lnTo>
                  <a:lnTo>
                    <a:pt x="3530" y="171"/>
                  </a:lnTo>
                  <a:lnTo>
                    <a:pt x="3530" y="172"/>
                  </a:lnTo>
                  <a:lnTo>
                    <a:pt x="3529" y="176"/>
                  </a:lnTo>
                  <a:lnTo>
                    <a:pt x="3530" y="172"/>
                  </a:lnTo>
                  <a:lnTo>
                    <a:pt x="3521" y="172"/>
                  </a:lnTo>
                  <a:lnTo>
                    <a:pt x="3516" y="171"/>
                  </a:lnTo>
                  <a:lnTo>
                    <a:pt x="3511" y="169"/>
                  </a:lnTo>
                  <a:lnTo>
                    <a:pt x="3507" y="167"/>
                  </a:lnTo>
                  <a:lnTo>
                    <a:pt x="3503" y="161"/>
                  </a:lnTo>
                  <a:lnTo>
                    <a:pt x="3503" y="158"/>
                  </a:lnTo>
                  <a:lnTo>
                    <a:pt x="3499" y="160"/>
                  </a:lnTo>
                  <a:lnTo>
                    <a:pt x="3496" y="166"/>
                  </a:lnTo>
                  <a:lnTo>
                    <a:pt x="3494" y="171"/>
                  </a:lnTo>
                  <a:lnTo>
                    <a:pt x="3492" y="173"/>
                  </a:lnTo>
                  <a:lnTo>
                    <a:pt x="3494" y="177"/>
                  </a:lnTo>
                  <a:lnTo>
                    <a:pt x="3490" y="178"/>
                  </a:lnTo>
                  <a:lnTo>
                    <a:pt x="3488" y="180"/>
                  </a:lnTo>
                  <a:lnTo>
                    <a:pt x="3488" y="182"/>
                  </a:lnTo>
                  <a:lnTo>
                    <a:pt x="3486" y="186"/>
                  </a:lnTo>
                  <a:lnTo>
                    <a:pt x="3482" y="187"/>
                  </a:lnTo>
                  <a:lnTo>
                    <a:pt x="3480" y="188"/>
                  </a:lnTo>
                  <a:lnTo>
                    <a:pt x="3478" y="186"/>
                  </a:lnTo>
                  <a:lnTo>
                    <a:pt x="3477" y="184"/>
                  </a:lnTo>
                  <a:lnTo>
                    <a:pt x="3473" y="185"/>
                  </a:lnTo>
                  <a:lnTo>
                    <a:pt x="3471" y="184"/>
                  </a:lnTo>
                  <a:lnTo>
                    <a:pt x="3465" y="180"/>
                  </a:lnTo>
                  <a:lnTo>
                    <a:pt x="3462" y="179"/>
                  </a:lnTo>
                  <a:lnTo>
                    <a:pt x="3461" y="177"/>
                  </a:lnTo>
                  <a:lnTo>
                    <a:pt x="3458" y="175"/>
                  </a:lnTo>
                  <a:lnTo>
                    <a:pt x="3456" y="172"/>
                  </a:lnTo>
                  <a:lnTo>
                    <a:pt x="3455" y="169"/>
                  </a:lnTo>
                  <a:lnTo>
                    <a:pt x="3452" y="167"/>
                  </a:lnTo>
                  <a:lnTo>
                    <a:pt x="3449" y="167"/>
                  </a:lnTo>
                  <a:lnTo>
                    <a:pt x="3451" y="164"/>
                  </a:lnTo>
                  <a:lnTo>
                    <a:pt x="3453" y="164"/>
                  </a:lnTo>
                  <a:lnTo>
                    <a:pt x="3455" y="163"/>
                  </a:lnTo>
                  <a:lnTo>
                    <a:pt x="3458" y="164"/>
                  </a:lnTo>
                  <a:lnTo>
                    <a:pt x="3455" y="162"/>
                  </a:lnTo>
                  <a:lnTo>
                    <a:pt x="3454" y="159"/>
                  </a:lnTo>
                  <a:lnTo>
                    <a:pt x="3452" y="156"/>
                  </a:lnTo>
                  <a:lnTo>
                    <a:pt x="3452" y="156"/>
                  </a:lnTo>
                  <a:lnTo>
                    <a:pt x="3453" y="160"/>
                  </a:lnTo>
                  <a:lnTo>
                    <a:pt x="3453" y="162"/>
                  </a:lnTo>
                  <a:lnTo>
                    <a:pt x="3451" y="163"/>
                  </a:lnTo>
                  <a:lnTo>
                    <a:pt x="3448" y="162"/>
                  </a:lnTo>
                  <a:lnTo>
                    <a:pt x="3446" y="160"/>
                  </a:lnTo>
                  <a:lnTo>
                    <a:pt x="3444" y="158"/>
                  </a:lnTo>
                  <a:lnTo>
                    <a:pt x="3440" y="152"/>
                  </a:lnTo>
                  <a:lnTo>
                    <a:pt x="3440" y="151"/>
                  </a:lnTo>
                  <a:lnTo>
                    <a:pt x="3445" y="152"/>
                  </a:lnTo>
                  <a:lnTo>
                    <a:pt x="3446" y="154"/>
                  </a:lnTo>
                  <a:lnTo>
                    <a:pt x="3452" y="155"/>
                  </a:lnTo>
                  <a:lnTo>
                    <a:pt x="3455" y="154"/>
                  </a:lnTo>
                  <a:lnTo>
                    <a:pt x="3457" y="153"/>
                  </a:lnTo>
                  <a:lnTo>
                    <a:pt x="3455" y="153"/>
                  </a:lnTo>
                  <a:lnTo>
                    <a:pt x="3458" y="151"/>
                  </a:lnTo>
                  <a:lnTo>
                    <a:pt x="3456" y="150"/>
                  </a:lnTo>
                  <a:lnTo>
                    <a:pt x="3457" y="147"/>
                  </a:lnTo>
                  <a:lnTo>
                    <a:pt x="3457" y="147"/>
                  </a:lnTo>
                  <a:lnTo>
                    <a:pt x="3455" y="146"/>
                  </a:lnTo>
                  <a:lnTo>
                    <a:pt x="3454" y="144"/>
                  </a:lnTo>
                  <a:lnTo>
                    <a:pt x="3448" y="145"/>
                  </a:lnTo>
                  <a:lnTo>
                    <a:pt x="3445" y="144"/>
                  </a:lnTo>
                  <a:lnTo>
                    <a:pt x="3443" y="143"/>
                  </a:lnTo>
                  <a:lnTo>
                    <a:pt x="3443" y="143"/>
                  </a:lnTo>
                  <a:lnTo>
                    <a:pt x="3448" y="143"/>
                  </a:lnTo>
                  <a:lnTo>
                    <a:pt x="3451" y="139"/>
                  </a:lnTo>
                  <a:lnTo>
                    <a:pt x="3454" y="139"/>
                  </a:lnTo>
                  <a:lnTo>
                    <a:pt x="3454" y="138"/>
                  </a:lnTo>
                  <a:lnTo>
                    <a:pt x="3448" y="137"/>
                  </a:lnTo>
                  <a:lnTo>
                    <a:pt x="3449" y="136"/>
                  </a:lnTo>
                  <a:lnTo>
                    <a:pt x="3452" y="136"/>
                  </a:lnTo>
                  <a:lnTo>
                    <a:pt x="3455" y="136"/>
                  </a:lnTo>
                  <a:lnTo>
                    <a:pt x="3452" y="135"/>
                  </a:lnTo>
                  <a:lnTo>
                    <a:pt x="3444" y="134"/>
                  </a:lnTo>
                  <a:lnTo>
                    <a:pt x="3444" y="133"/>
                  </a:lnTo>
                  <a:lnTo>
                    <a:pt x="3446" y="133"/>
                  </a:lnTo>
                  <a:lnTo>
                    <a:pt x="3449" y="132"/>
                  </a:lnTo>
                  <a:lnTo>
                    <a:pt x="3452" y="130"/>
                  </a:lnTo>
                  <a:lnTo>
                    <a:pt x="3451" y="128"/>
                  </a:lnTo>
                  <a:lnTo>
                    <a:pt x="3448" y="129"/>
                  </a:lnTo>
                  <a:lnTo>
                    <a:pt x="3449" y="128"/>
                  </a:lnTo>
                  <a:lnTo>
                    <a:pt x="3449" y="125"/>
                  </a:lnTo>
                  <a:lnTo>
                    <a:pt x="3446" y="124"/>
                  </a:lnTo>
                  <a:lnTo>
                    <a:pt x="3444" y="125"/>
                  </a:lnTo>
                  <a:lnTo>
                    <a:pt x="3440" y="124"/>
                  </a:lnTo>
                  <a:lnTo>
                    <a:pt x="3441" y="121"/>
                  </a:lnTo>
                  <a:lnTo>
                    <a:pt x="3439" y="121"/>
                  </a:lnTo>
                  <a:lnTo>
                    <a:pt x="3436" y="119"/>
                  </a:lnTo>
                  <a:lnTo>
                    <a:pt x="3436" y="118"/>
                  </a:lnTo>
                  <a:lnTo>
                    <a:pt x="3430" y="118"/>
                  </a:lnTo>
                  <a:lnTo>
                    <a:pt x="3426" y="117"/>
                  </a:lnTo>
                  <a:lnTo>
                    <a:pt x="3422" y="117"/>
                  </a:lnTo>
                  <a:lnTo>
                    <a:pt x="3420" y="119"/>
                  </a:lnTo>
                  <a:lnTo>
                    <a:pt x="3418" y="121"/>
                  </a:lnTo>
                  <a:lnTo>
                    <a:pt x="3415" y="121"/>
                  </a:lnTo>
                  <a:lnTo>
                    <a:pt x="3415" y="120"/>
                  </a:lnTo>
                  <a:lnTo>
                    <a:pt x="3412" y="119"/>
                  </a:lnTo>
                  <a:lnTo>
                    <a:pt x="3415" y="119"/>
                  </a:lnTo>
                  <a:lnTo>
                    <a:pt x="3414" y="117"/>
                  </a:lnTo>
                  <a:lnTo>
                    <a:pt x="3412" y="117"/>
                  </a:lnTo>
                  <a:lnTo>
                    <a:pt x="3409" y="119"/>
                  </a:lnTo>
                  <a:lnTo>
                    <a:pt x="3410" y="117"/>
                  </a:lnTo>
                  <a:lnTo>
                    <a:pt x="3407" y="118"/>
                  </a:lnTo>
                  <a:lnTo>
                    <a:pt x="3404" y="119"/>
                  </a:lnTo>
                  <a:lnTo>
                    <a:pt x="3405" y="117"/>
                  </a:lnTo>
                  <a:lnTo>
                    <a:pt x="3402" y="116"/>
                  </a:lnTo>
                  <a:lnTo>
                    <a:pt x="3400" y="117"/>
                  </a:lnTo>
                  <a:lnTo>
                    <a:pt x="3400" y="113"/>
                  </a:lnTo>
                  <a:lnTo>
                    <a:pt x="3388" y="110"/>
                  </a:lnTo>
                  <a:lnTo>
                    <a:pt x="3385" y="112"/>
                  </a:lnTo>
                  <a:lnTo>
                    <a:pt x="3383" y="110"/>
                  </a:lnTo>
                  <a:lnTo>
                    <a:pt x="3381" y="113"/>
                  </a:lnTo>
                  <a:lnTo>
                    <a:pt x="3379" y="115"/>
                  </a:lnTo>
                  <a:lnTo>
                    <a:pt x="3377" y="112"/>
                  </a:lnTo>
                  <a:lnTo>
                    <a:pt x="3375" y="113"/>
                  </a:lnTo>
                  <a:lnTo>
                    <a:pt x="3373" y="116"/>
                  </a:lnTo>
                  <a:lnTo>
                    <a:pt x="3375" y="118"/>
                  </a:lnTo>
                  <a:lnTo>
                    <a:pt x="3373" y="121"/>
                  </a:lnTo>
                  <a:lnTo>
                    <a:pt x="3376" y="124"/>
                  </a:lnTo>
                  <a:lnTo>
                    <a:pt x="3377" y="127"/>
                  </a:lnTo>
                  <a:lnTo>
                    <a:pt x="3375" y="127"/>
                  </a:lnTo>
                  <a:lnTo>
                    <a:pt x="3373" y="129"/>
                  </a:lnTo>
                  <a:lnTo>
                    <a:pt x="3372" y="133"/>
                  </a:lnTo>
                  <a:lnTo>
                    <a:pt x="3369" y="133"/>
                  </a:lnTo>
                  <a:lnTo>
                    <a:pt x="3367" y="130"/>
                  </a:lnTo>
                  <a:lnTo>
                    <a:pt x="3363" y="130"/>
                  </a:lnTo>
                  <a:lnTo>
                    <a:pt x="3361" y="132"/>
                  </a:lnTo>
                  <a:lnTo>
                    <a:pt x="3359" y="132"/>
                  </a:lnTo>
                  <a:lnTo>
                    <a:pt x="3346" y="132"/>
                  </a:lnTo>
                  <a:lnTo>
                    <a:pt x="3343" y="133"/>
                  </a:lnTo>
                  <a:lnTo>
                    <a:pt x="3341" y="133"/>
                  </a:lnTo>
                  <a:lnTo>
                    <a:pt x="3335" y="132"/>
                  </a:lnTo>
                  <a:lnTo>
                    <a:pt x="3329" y="130"/>
                  </a:lnTo>
                  <a:lnTo>
                    <a:pt x="3325" y="130"/>
                  </a:lnTo>
                  <a:lnTo>
                    <a:pt x="3324" y="130"/>
                  </a:lnTo>
                  <a:lnTo>
                    <a:pt x="3320" y="129"/>
                  </a:lnTo>
                  <a:lnTo>
                    <a:pt x="3316" y="128"/>
                  </a:lnTo>
                  <a:lnTo>
                    <a:pt x="3307" y="126"/>
                  </a:lnTo>
                  <a:lnTo>
                    <a:pt x="3306" y="122"/>
                  </a:lnTo>
                  <a:lnTo>
                    <a:pt x="3306" y="120"/>
                  </a:lnTo>
                  <a:lnTo>
                    <a:pt x="3308" y="118"/>
                  </a:lnTo>
                  <a:lnTo>
                    <a:pt x="3311" y="119"/>
                  </a:lnTo>
                  <a:lnTo>
                    <a:pt x="3313" y="119"/>
                  </a:lnTo>
                  <a:lnTo>
                    <a:pt x="3310" y="116"/>
                  </a:lnTo>
                  <a:lnTo>
                    <a:pt x="3308" y="116"/>
                  </a:lnTo>
                  <a:lnTo>
                    <a:pt x="3294" y="116"/>
                  </a:lnTo>
                  <a:lnTo>
                    <a:pt x="3279" y="113"/>
                  </a:lnTo>
                  <a:lnTo>
                    <a:pt x="3277" y="113"/>
                  </a:lnTo>
                  <a:lnTo>
                    <a:pt x="3272" y="112"/>
                  </a:lnTo>
                  <a:lnTo>
                    <a:pt x="3262" y="112"/>
                  </a:lnTo>
                  <a:lnTo>
                    <a:pt x="3257" y="115"/>
                  </a:lnTo>
                  <a:lnTo>
                    <a:pt x="3247" y="116"/>
                  </a:lnTo>
                  <a:lnTo>
                    <a:pt x="3241" y="117"/>
                  </a:lnTo>
                  <a:lnTo>
                    <a:pt x="3240" y="120"/>
                  </a:lnTo>
                  <a:lnTo>
                    <a:pt x="3243" y="121"/>
                  </a:lnTo>
                  <a:lnTo>
                    <a:pt x="3245" y="121"/>
                  </a:lnTo>
                  <a:lnTo>
                    <a:pt x="3240" y="125"/>
                  </a:lnTo>
                  <a:lnTo>
                    <a:pt x="3239" y="125"/>
                  </a:lnTo>
                  <a:lnTo>
                    <a:pt x="3238" y="121"/>
                  </a:lnTo>
                  <a:lnTo>
                    <a:pt x="3235" y="118"/>
                  </a:lnTo>
                  <a:lnTo>
                    <a:pt x="3238" y="113"/>
                  </a:lnTo>
                  <a:lnTo>
                    <a:pt x="3234" y="108"/>
                  </a:lnTo>
                  <a:lnTo>
                    <a:pt x="3231" y="105"/>
                  </a:lnTo>
                  <a:lnTo>
                    <a:pt x="3231" y="111"/>
                  </a:lnTo>
                  <a:lnTo>
                    <a:pt x="3228" y="112"/>
                  </a:lnTo>
                  <a:lnTo>
                    <a:pt x="3222" y="112"/>
                  </a:lnTo>
                  <a:lnTo>
                    <a:pt x="3219" y="112"/>
                  </a:lnTo>
                  <a:lnTo>
                    <a:pt x="3213" y="111"/>
                  </a:lnTo>
                  <a:lnTo>
                    <a:pt x="3209" y="109"/>
                  </a:lnTo>
                  <a:lnTo>
                    <a:pt x="3208" y="108"/>
                  </a:lnTo>
                  <a:lnTo>
                    <a:pt x="3202" y="111"/>
                  </a:lnTo>
                  <a:lnTo>
                    <a:pt x="3204" y="112"/>
                  </a:lnTo>
                  <a:lnTo>
                    <a:pt x="3198" y="113"/>
                  </a:lnTo>
                  <a:lnTo>
                    <a:pt x="3195" y="116"/>
                  </a:lnTo>
                  <a:lnTo>
                    <a:pt x="3192" y="116"/>
                  </a:lnTo>
                  <a:lnTo>
                    <a:pt x="3190" y="118"/>
                  </a:lnTo>
                  <a:lnTo>
                    <a:pt x="3188" y="119"/>
                  </a:lnTo>
                  <a:lnTo>
                    <a:pt x="3185" y="119"/>
                  </a:lnTo>
                  <a:lnTo>
                    <a:pt x="3182" y="118"/>
                  </a:lnTo>
                  <a:lnTo>
                    <a:pt x="3180" y="117"/>
                  </a:lnTo>
                  <a:lnTo>
                    <a:pt x="3182" y="119"/>
                  </a:lnTo>
                  <a:lnTo>
                    <a:pt x="3180" y="118"/>
                  </a:lnTo>
                  <a:lnTo>
                    <a:pt x="3178" y="121"/>
                  </a:lnTo>
                  <a:lnTo>
                    <a:pt x="3175" y="121"/>
                  </a:lnTo>
                  <a:lnTo>
                    <a:pt x="3167" y="122"/>
                  </a:lnTo>
                  <a:lnTo>
                    <a:pt x="3162" y="126"/>
                  </a:lnTo>
                  <a:lnTo>
                    <a:pt x="3158" y="126"/>
                  </a:lnTo>
                  <a:lnTo>
                    <a:pt x="3153" y="127"/>
                  </a:lnTo>
                  <a:lnTo>
                    <a:pt x="3150" y="126"/>
                  </a:lnTo>
                  <a:lnTo>
                    <a:pt x="3147" y="127"/>
                  </a:lnTo>
                  <a:lnTo>
                    <a:pt x="3142" y="126"/>
                  </a:lnTo>
                  <a:lnTo>
                    <a:pt x="3139" y="127"/>
                  </a:lnTo>
                  <a:lnTo>
                    <a:pt x="3137" y="133"/>
                  </a:lnTo>
                  <a:lnTo>
                    <a:pt x="3129" y="137"/>
                  </a:lnTo>
                  <a:lnTo>
                    <a:pt x="3122" y="137"/>
                  </a:lnTo>
                  <a:lnTo>
                    <a:pt x="3122" y="136"/>
                  </a:lnTo>
                  <a:lnTo>
                    <a:pt x="3124" y="136"/>
                  </a:lnTo>
                  <a:lnTo>
                    <a:pt x="3130" y="134"/>
                  </a:lnTo>
                  <a:lnTo>
                    <a:pt x="3132" y="130"/>
                  </a:lnTo>
                  <a:lnTo>
                    <a:pt x="3133" y="128"/>
                  </a:lnTo>
                  <a:lnTo>
                    <a:pt x="3138" y="122"/>
                  </a:lnTo>
                  <a:lnTo>
                    <a:pt x="3144" y="122"/>
                  </a:lnTo>
                  <a:lnTo>
                    <a:pt x="3146" y="121"/>
                  </a:lnTo>
                  <a:lnTo>
                    <a:pt x="3148" y="119"/>
                  </a:lnTo>
                  <a:lnTo>
                    <a:pt x="3154" y="115"/>
                  </a:lnTo>
                  <a:lnTo>
                    <a:pt x="3159" y="115"/>
                  </a:lnTo>
                  <a:lnTo>
                    <a:pt x="3162" y="113"/>
                  </a:lnTo>
                  <a:lnTo>
                    <a:pt x="3165" y="113"/>
                  </a:lnTo>
                  <a:lnTo>
                    <a:pt x="3170" y="110"/>
                  </a:lnTo>
                  <a:lnTo>
                    <a:pt x="3173" y="107"/>
                  </a:lnTo>
                  <a:lnTo>
                    <a:pt x="3179" y="103"/>
                  </a:lnTo>
                  <a:lnTo>
                    <a:pt x="3184" y="102"/>
                  </a:lnTo>
                  <a:lnTo>
                    <a:pt x="3190" y="99"/>
                  </a:lnTo>
                  <a:lnTo>
                    <a:pt x="3187" y="96"/>
                  </a:lnTo>
                  <a:lnTo>
                    <a:pt x="3190" y="94"/>
                  </a:lnTo>
                  <a:lnTo>
                    <a:pt x="3193" y="94"/>
                  </a:lnTo>
                  <a:lnTo>
                    <a:pt x="3196" y="92"/>
                  </a:lnTo>
                  <a:lnTo>
                    <a:pt x="3198" y="92"/>
                  </a:lnTo>
                  <a:lnTo>
                    <a:pt x="3201" y="91"/>
                  </a:lnTo>
                  <a:lnTo>
                    <a:pt x="3204" y="90"/>
                  </a:lnTo>
                  <a:lnTo>
                    <a:pt x="3209" y="86"/>
                  </a:lnTo>
                  <a:lnTo>
                    <a:pt x="3213" y="86"/>
                  </a:lnTo>
                  <a:lnTo>
                    <a:pt x="3215" y="86"/>
                  </a:lnTo>
                  <a:lnTo>
                    <a:pt x="3219" y="81"/>
                  </a:lnTo>
                  <a:lnTo>
                    <a:pt x="3228" y="78"/>
                  </a:lnTo>
                  <a:lnTo>
                    <a:pt x="3231" y="77"/>
                  </a:lnTo>
                  <a:lnTo>
                    <a:pt x="3239" y="70"/>
                  </a:lnTo>
                  <a:lnTo>
                    <a:pt x="3241" y="68"/>
                  </a:lnTo>
                  <a:lnTo>
                    <a:pt x="3242" y="65"/>
                  </a:lnTo>
                  <a:lnTo>
                    <a:pt x="3236" y="62"/>
                  </a:lnTo>
                  <a:lnTo>
                    <a:pt x="3236" y="59"/>
                  </a:lnTo>
                  <a:lnTo>
                    <a:pt x="3233" y="60"/>
                  </a:lnTo>
                  <a:lnTo>
                    <a:pt x="3231" y="62"/>
                  </a:lnTo>
                  <a:lnTo>
                    <a:pt x="3230" y="57"/>
                  </a:lnTo>
                  <a:lnTo>
                    <a:pt x="3226" y="57"/>
                  </a:lnTo>
                  <a:lnTo>
                    <a:pt x="3224" y="55"/>
                  </a:lnTo>
                  <a:lnTo>
                    <a:pt x="3226" y="55"/>
                  </a:lnTo>
                  <a:lnTo>
                    <a:pt x="3235" y="58"/>
                  </a:lnTo>
                  <a:lnTo>
                    <a:pt x="3238" y="59"/>
                  </a:lnTo>
                  <a:lnTo>
                    <a:pt x="3240" y="60"/>
                  </a:lnTo>
                  <a:lnTo>
                    <a:pt x="3242" y="58"/>
                  </a:lnTo>
                  <a:lnTo>
                    <a:pt x="3243" y="55"/>
                  </a:lnTo>
                  <a:lnTo>
                    <a:pt x="3243" y="52"/>
                  </a:lnTo>
                  <a:lnTo>
                    <a:pt x="3238" y="51"/>
                  </a:lnTo>
                  <a:lnTo>
                    <a:pt x="3239" y="49"/>
                  </a:lnTo>
                  <a:lnTo>
                    <a:pt x="3239" y="45"/>
                  </a:lnTo>
                  <a:lnTo>
                    <a:pt x="3235" y="43"/>
                  </a:lnTo>
                  <a:lnTo>
                    <a:pt x="3233" y="42"/>
                  </a:lnTo>
                  <a:lnTo>
                    <a:pt x="3235" y="44"/>
                  </a:lnTo>
                  <a:lnTo>
                    <a:pt x="3233" y="45"/>
                  </a:lnTo>
                  <a:lnTo>
                    <a:pt x="3231" y="48"/>
                  </a:lnTo>
                  <a:lnTo>
                    <a:pt x="3228" y="48"/>
                  </a:lnTo>
                  <a:lnTo>
                    <a:pt x="3230" y="45"/>
                  </a:lnTo>
                  <a:lnTo>
                    <a:pt x="3227" y="44"/>
                  </a:lnTo>
                  <a:lnTo>
                    <a:pt x="3228" y="42"/>
                  </a:lnTo>
                  <a:lnTo>
                    <a:pt x="3226" y="39"/>
                  </a:lnTo>
                  <a:lnTo>
                    <a:pt x="3223" y="38"/>
                  </a:lnTo>
                  <a:lnTo>
                    <a:pt x="3221" y="38"/>
                  </a:lnTo>
                  <a:lnTo>
                    <a:pt x="3217" y="39"/>
                  </a:lnTo>
                  <a:lnTo>
                    <a:pt x="3221" y="36"/>
                  </a:lnTo>
                  <a:lnTo>
                    <a:pt x="3215" y="32"/>
                  </a:lnTo>
                  <a:lnTo>
                    <a:pt x="3212" y="32"/>
                  </a:lnTo>
                  <a:lnTo>
                    <a:pt x="3209" y="30"/>
                  </a:lnTo>
                  <a:lnTo>
                    <a:pt x="3206" y="31"/>
                  </a:lnTo>
                  <a:lnTo>
                    <a:pt x="3204" y="28"/>
                  </a:lnTo>
                  <a:lnTo>
                    <a:pt x="3200" y="30"/>
                  </a:lnTo>
                  <a:lnTo>
                    <a:pt x="3198" y="28"/>
                  </a:lnTo>
                  <a:lnTo>
                    <a:pt x="3195" y="28"/>
                  </a:lnTo>
                  <a:lnTo>
                    <a:pt x="3192" y="30"/>
                  </a:lnTo>
                  <a:lnTo>
                    <a:pt x="3188" y="30"/>
                  </a:lnTo>
                  <a:lnTo>
                    <a:pt x="3185" y="28"/>
                  </a:lnTo>
                  <a:lnTo>
                    <a:pt x="3182" y="28"/>
                  </a:lnTo>
                  <a:lnTo>
                    <a:pt x="3174" y="30"/>
                  </a:lnTo>
                  <a:lnTo>
                    <a:pt x="3168" y="30"/>
                  </a:lnTo>
                  <a:lnTo>
                    <a:pt x="3163" y="28"/>
                  </a:lnTo>
                  <a:lnTo>
                    <a:pt x="3163" y="32"/>
                  </a:lnTo>
                  <a:lnTo>
                    <a:pt x="3161" y="34"/>
                  </a:lnTo>
                  <a:lnTo>
                    <a:pt x="3158" y="35"/>
                  </a:lnTo>
                  <a:lnTo>
                    <a:pt x="3153" y="35"/>
                  </a:lnTo>
                  <a:lnTo>
                    <a:pt x="3145" y="35"/>
                  </a:lnTo>
                  <a:lnTo>
                    <a:pt x="3141" y="35"/>
                  </a:lnTo>
                  <a:lnTo>
                    <a:pt x="3140" y="35"/>
                  </a:lnTo>
                  <a:lnTo>
                    <a:pt x="3144" y="34"/>
                  </a:lnTo>
                  <a:lnTo>
                    <a:pt x="3146" y="31"/>
                  </a:lnTo>
                  <a:lnTo>
                    <a:pt x="3148" y="30"/>
                  </a:lnTo>
                  <a:lnTo>
                    <a:pt x="3150" y="27"/>
                  </a:lnTo>
                  <a:lnTo>
                    <a:pt x="3154" y="25"/>
                  </a:lnTo>
                  <a:lnTo>
                    <a:pt x="3154" y="23"/>
                  </a:lnTo>
                  <a:lnTo>
                    <a:pt x="3150" y="21"/>
                  </a:lnTo>
                  <a:lnTo>
                    <a:pt x="3148" y="21"/>
                  </a:lnTo>
                  <a:lnTo>
                    <a:pt x="3145" y="21"/>
                  </a:lnTo>
                  <a:lnTo>
                    <a:pt x="3142" y="21"/>
                  </a:lnTo>
                  <a:lnTo>
                    <a:pt x="3140" y="19"/>
                  </a:lnTo>
                  <a:lnTo>
                    <a:pt x="3137" y="19"/>
                  </a:lnTo>
                  <a:lnTo>
                    <a:pt x="3134" y="22"/>
                  </a:lnTo>
                  <a:lnTo>
                    <a:pt x="3129" y="22"/>
                  </a:lnTo>
                  <a:lnTo>
                    <a:pt x="3131" y="21"/>
                  </a:lnTo>
                  <a:lnTo>
                    <a:pt x="3133" y="17"/>
                  </a:lnTo>
                  <a:lnTo>
                    <a:pt x="3125" y="18"/>
                  </a:lnTo>
                  <a:lnTo>
                    <a:pt x="3123" y="18"/>
                  </a:lnTo>
                  <a:lnTo>
                    <a:pt x="3120" y="18"/>
                  </a:lnTo>
                  <a:lnTo>
                    <a:pt x="3117" y="17"/>
                  </a:lnTo>
                  <a:lnTo>
                    <a:pt x="3111" y="19"/>
                  </a:lnTo>
                  <a:lnTo>
                    <a:pt x="3108" y="18"/>
                  </a:lnTo>
                  <a:lnTo>
                    <a:pt x="3111" y="17"/>
                  </a:lnTo>
                  <a:lnTo>
                    <a:pt x="3114" y="17"/>
                  </a:lnTo>
                  <a:lnTo>
                    <a:pt x="3116" y="16"/>
                  </a:lnTo>
                  <a:lnTo>
                    <a:pt x="3122" y="16"/>
                  </a:lnTo>
                  <a:lnTo>
                    <a:pt x="3125" y="15"/>
                  </a:lnTo>
                  <a:lnTo>
                    <a:pt x="3128" y="14"/>
                  </a:lnTo>
                  <a:lnTo>
                    <a:pt x="3131" y="12"/>
                  </a:lnTo>
                  <a:lnTo>
                    <a:pt x="3133" y="10"/>
                  </a:lnTo>
                  <a:lnTo>
                    <a:pt x="3137" y="12"/>
                  </a:lnTo>
                  <a:lnTo>
                    <a:pt x="3134" y="8"/>
                  </a:lnTo>
                  <a:lnTo>
                    <a:pt x="3132" y="6"/>
                  </a:lnTo>
                  <a:lnTo>
                    <a:pt x="3130" y="5"/>
                  </a:lnTo>
                  <a:lnTo>
                    <a:pt x="3127" y="6"/>
                  </a:lnTo>
                  <a:lnTo>
                    <a:pt x="3124" y="5"/>
                  </a:lnTo>
                  <a:lnTo>
                    <a:pt x="3119" y="4"/>
                  </a:lnTo>
                  <a:lnTo>
                    <a:pt x="3115" y="1"/>
                  </a:lnTo>
                  <a:lnTo>
                    <a:pt x="3113" y="1"/>
                  </a:lnTo>
                  <a:lnTo>
                    <a:pt x="3110" y="0"/>
                  </a:lnTo>
                  <a:lnTo>
                    <a:pt x="3107" y="0"/>
                  </a:lnTo>
                  <a:lnTo>
                    <a:pt x="3098" y="4"/>
                  </a:lnTo>
                  <a:lnTo>
                    <a:pt x="3096" y="2"/>
                  </a:lnTo>
                  <a:lnTo>
                    <a:pt x="3093" y="4"/>
                  </a:lnTo>
                  <a:lnTo>
                    <a:pt x="3090" y="6"/>
                  </a:lnTo>
                  <a:lnTo>
                    <a:pt x="3087" y="7"/>
                  </a:lnTo>
                  <a:lnTo>
                    <a:pt x="3085" y="8"/>
                  </a:lnTo>
                  <a:lnTo>
                    <a:pt x="3081" y="10"/>
                  </a:lnTo>
                  <a:lnTo>
                    <a:pt x="3079" y="10"/>
                  </a:lnTo>
                  <a:lnTo>
                    <a:pt x="3079" y="13"/>
                  </a:lnTo>
                  <a:lnTo>
                    <a:pt x="3077" y="14"/>
                  </a:lnTo>
                  <a:lnTo>
                    <a:pt x="3072" y="17"/>
                  </a:lnTo>
                  <a:lnTo>
                    <a:pt x="3071" y="21"/>
                  </a:lnTo>
                  <a:lnTo>
                    <a:pt x="3068" y="22"/>
                  </a:lnTo>
                  <a:lnTo>
                    <a:pt x="3065" y="24"/>
                  </a:lnTo>
                  <a:lnTo>
                    <a:pt x="3068" y="27"/>
                  </a:lnTo>
                  <a:lnTo>
                    <a:pt x="3070" y="27"/>
                  </a:lnTo>
                  <a:lnTo>
                    <a:pt x="3069" y="31"/>
                  </a:lnTo>
                  <a:lnTo>
                    <a:pt x="3069" y="33"/>
                  </a:lnTo>
                  <a:lnTo>
                    <a:pt x="3072" y="35"/>
                  </a:lnTo>
                  <a:lnTo>
                    <a:pt x="3084" y="38"/>
                  </a:lnTo>
                  <a:lnTo>
                    <a:pt x="3081" y="39"/>
                  </a:lnTo>
                  <a:lnTo>
                    <a:pt x="3078" y="36"/>
                  </a:lnTo>
                  <a:lnTo>
                    <a:pt x="3074" y="36"/>
                  </a:lnTo>
                  <a:lnTo>
                    <a:pt x="3072" y="36"/>
                  </a:lnTo>
                  <a:lnTo>
                    <a:pt x="3069" y="36"/>
                  </a:lnTo>
                  <a:lnTo>
                    <a:pt x="3067" y="35"/>
                  </a:lnTo>
                  <a:lnTo>
                    <a:pt x="3057" y="36"/>
                  </a:lnTo>
                  <a:lnTo>
                    <a:pt x="3054" y="35"/>
                  </a:lnTo>
                  <a:lnTo>
                    <a:pt x="3046" y="36"/>
                  </a:lnTo>
                  <a:lnTo>
                    <a:pt x="3043" y="35"/>
                  </a:lnTo>
                  <a:lnTo>
                    <a:pt x="3040" y="35"/>
                  </a:lnTo>
                  <a:lnTo>
                    <a:pt x="3040" y="38"/>
                  </a:lnTo>
                  <a:lnTo>
                    <a:pt x="3046" y="42"/>
                  </a:lnTo>
                  <a:lnTo>
                    <a:pt x="3048" y="42"/>
                  </a:lnTo>
                  <a:lnTo>
                    <a:pt x="3052" y="48"/>
                  </a:lnTo>
                  <a:lnTo>
                    <a:pt x="3052" y="48"/>
                  </a:lnTo>
                  <a:lnTo>
                    <a:pt x="3048" y="48"/>
                  </a:lnTo>
                  <a:lnTo>
                    <a:pt x="3048" y="45"/>
                  </a:lnTo>
                  <a:lnTo>
                    <a:pt x="3043" y="47"/>
                  </a:lnTo>
                  <a:lnTo>
                    <a:pt x="3040" y="43"/>
                  </a:lnTo>
                  <a:lnTo>
                    <a:pt x="3038" y="44"/>
                  </a:lnTo>
                  <a:lnTo>
                    <a:pt x="3036" y="43"/>
                  </a:lnTo>
                  <a:lnTo>
                    <a:pt x="3033" y="44"/>
                  </a:lnTo>
                  <a:lnTo>
                    <a:pt x="3027" y="45"/>
                  </a:lnTo>
                  <a:lnTo>
                    <a:pt x="3029" y="47"/>
                  </a:lnTo>
                  <a:lnTo>
                    <a:pt x="3027" y="48"/>
                  </a:lnTo>
                  <a:lnTo>
                    <a:pt x="3025" y="48"/>
                  </a:lnTo>
                  <a:lnTo>
                    <a:pt x="3021" y="48"/>
                  </a:lnTo>
                  <a:lnTo>
                    <a:pt x="3025" y="49"/>
                  </a:lnTo>
                  <a:lnTo>
                    <a:pt x="3019" y="50"/>
                  </a:lnTo>
                  <a:lnTo>
                    <a:pt x="3016" y="51"/>
                  </a:lnTo>
                  <a:lnTo>
                    <a:pt x="3018" y="49"/>
                  </a:lnTo>
                  <a:lnTo>
                    <a:pt x="3014" y="50"/>
                  </a:lnTo>
                  <a:lnTo>
                    <a:pt x="3012" y="51"/>
                  </a:lnTo>
                  <a:lnTo>
                    <a:pt x="3006" y="53"/>
                  </a:lnTo>
                  <a:lnTo>
                    <a:pt x="3009" y="50"/>
                  </a:lnTo>
                  <a:lnTo>
                    <a:pt x="3005" y="49"/>
                  </a:lnTo>
                  <a:lnTo>
                    <a:pt x="3003" y="51"/>
                  </a:lnTo>
                  <a:lnTo>
                    <a:pt x="3000" y="51"/>
                  </a:lnTo>
                  <a:lnTo>
                    <a:pt x="2994" y="53"/>
                  </a:lnTo>
                  <a:lnTo>
                    <a:pt x="3000" y="48"/>
                  </a:lnTo>
                  <a:lnTo>
                    <a:pt x="2997" y="45"/>
                  </a:lnTo>
                  <a:lnTo>
                    <a:pt x="2992" y="45"/>
                  </a:lnTo>
                  <a:lnTo>
                    <a:pt x="2989" y="47"/>
                  </a:lnTo>
                  <a:lnTo>
                    <a:pt x="2986" y="47"/>
                  </a:lnTo>
                  <a:lnTo>
                    <a:pt x="2980" y="45"/>
                  </a:lnTo>
                  <a:lnTo>
                    <a:pt x="2980" y="48"/>
                  </a:lnTo>
                  <a:lnTo>
                    <a:pt x="2977" y="47"/>
                  </a:lnTo>
                  <a:lnTo>
                    <a:pt x="2968" y="47"/>
                  </a:lnTo>
                  <a:lnTo>
                    <a:pt x="2971" y="48"/>
                  </a:lnTo>
                  <a:lnTo>
                    <a:pt x="2969" y="49"/>
                  </a:lnTo>
                  <a:lnTo>
                    <a:pt x="2963" y="48"/>
                  </a:lnTo>
                  <a:lnTo>
                    <a:pt x="2960" y="47"/>
                  </a:lnTo>
                  <a:lnTo>
                    <a:pt x="2958" y="48"/>
                  </a:lnTo>
                  <a:lnTo>
                    <a:pt x="2956" y="51"/>
                  </a:lnTo>
                  <a:lnTo>
                    <a:pt x="2959" y="52"/>
                  </a:lnTo>
                  <a:lnTo>
                    <a:pt x="2962" y="50"/>
                  </a:lnTo>
                  <a:lnTo>
                    <a:pt x="2963" y="53"/>
                  </a:lnTo>
                  <a:lnTo>
                    <a:pt x="2965" y="51"/>
                  </a:lnTo>
                  <a:lnTo>
                    <a:pt x="2968" y="52"/>
                  </a:lnTo>
                  <a:lnTo>
                    <a:pt x="2974" y="51"/>
                  </a:lnTo>
                  <a:lnTo>
                    <a:pt x="2971" y="52"/>
                  </a:lnTo>
                  <a:lnTo>
                    <a:pt x="2962" y="55"/>
                  </a:lnTo>
                  <a:lnTo>
                    <a:pt x="2946" y="57"/>
                  </a:lnTo>
                  <a:lnTo>
                    <a:pt x="2941" y="57"/>
                  </a:lnTo>
                  <a:lnTo>
                    <a:pt x="2939" y="60"/>
                  </a:lnTo>
                  <a:lnTo>
                    <a:pt x="2936" y="59"/>
                  </a:lnTo>
                  <a:lnTo>
                    <a:pt x="2931" y="60"/>
                  </a:lnTo>
                  <a:lnTo>
                    <a:pt x="2928" y="59"/>
                  </a:lnTo>
                  <a:lnTo>
                    <a:pt x="2925" y="60"/>
                  </a:lnTo>
                  <a:lnTo>
                    <a:pt x="2917" y="61"/>
                  </a:lnTo>
                  <a:lnTo>
                    <a:pt x="2917" y="64"/>
                  </a:lnTo>
                  <a:lnTo>
                    <a:pt x="2915" y="64"/>
                  </a:lnTo>
                  <a:lnTo>
                    <a:pt x="2911" y="65"/>
                  </a:lnTo>
                  <a:lnTo>
                    <a:pt x="2906" y="65"/>
                  </a:lnTo>
                  <a:lnTo>
                    <a:pt x="2903" y="65"/>
                  </a:lnTo>
                  <a:lnTo>
                    <a:pt x="2898" y="69"/>
                  </a:lnTo>
                  <a:lnTo>
                    <a:pt x="2894" y="70"/>
                  </a:lnTo>
                  <a:lnTo>
                    <a:pt x="2892" y="74"/>
                  </a:lnTo>
                  <a:lnTo>
                    <a:pt x="2889" y="75"/>
                  </a:lnTo>
                  <a:lnTo>
                    <a:pt x="2883" y="74"/>
                  </a:lnTo>
                  <a:lnTo>
                    <a:pt x="2877" y="73"/>
                  </a:lnTo>
                  <a:lnTo>
                    <a:pt x="2875" y="74"/>
                  </a:lnTo>
                  <a:lnTo>
                    <a:pt x="2876" y="75"/>
                  </a:lnTo>
                  <a:lnTo>
                    <a:pt x="2882" y="76"/>
                  </a:lnTo>
                  <a:lnTo>
                    <a:pt x="2885" y="76"/>
                  </a:lnTo>
                  <a:lnTo>
                    <a:pt x="2884" y="79"/>
                  </a:lnTo>
                  <a:lnTo>
                    <a:pt x="2881" y="77"/>
                  </a:lnTo>
                  <a:lnTo>
                    <a:pt x="2878" y="77"/>
                  </a:lnTo>
                  <a:lnTo>
                    <a:pt x="2881" y="78"/>
                  </a:lnTo>
                  <a:lnTo>
                    <a:pt x="2878" y="81"/>
                  </a:lnTo>
                  <a:lnTo>
                    <a:pt x="2877" y="83"/>
                  </a:lnTo>
                  <a:lnTo>
                    <a:pt x="2874" y="84"/>
                  </a:lnTo>
                  <a:lnTo>
                    <a:pt x="2875" y="87"/>
                  </a:lnTo>
                  <a:lnTo>
                    <a:pt x="2872" y="87"/>
                  </a:lnTo>
                  <a:lnTo>
                    <a:pt x="2869" y="85"/>
                  </a:lnTo>
                  <a:lnTo>
                    <a:pt x="2867" y="85"/>
                  </a:lnTo>
                  <a:lnTo>
                    <a:pt x="2865" y="83"/>
                  </a:lnTo>
                  <a:lnTo>
                    <a:pt x="2863" y="85"/>
                  </a:lnTo>
                  <a:lnTo>
                    <a:pt x="2860" y="86"/>
                  </a:lnTo>
                  <a:lnTo>
                    <a:pt x="2863" y="87"/>
                  </a:lnTo>
                  <a:lnTo>
                    <a:pt x="2872" y="90"/>
                  </a:lnTo>
                  <a:lnTo>
                    <a:pt x="2872" y="92"/>
                  </a:lnTo>
                  <a:lnTo>
                    <a:pt x="2875" y="93"/>
                  </a:lnTo>
                  <a:lnTo>
                    <a:pt x="2877" y="94"/>
                  </a:lnTo>
                  <a:lnTo>
                    <a:pt x="2876" y="96"/>
                  </a:lnTo>
                  <a:lnTo>
                    <a:pt x="2874" y="96"/>
                  </a:lnTo>
                  <a:lnTo>
                    <a:pt x="2872" y="94"/>
                  </a:lnTo>
                  <a:lnTo>
                    <a:pt x="2868" y="92"/>
                  </a:lnTo>
                  <a:lnTo>
                    <a:pt x="2866" y="93"/>
                  </a:lnTo>
                  <a:lnTo>
                    <a:pt x="2863" y="93"/>
                  </a:lnTo>
                  <a:lnTo>
                    <a:pt x="2866" y="94"/>
                  </a:lnTo>
                  <a:lnTo>
                    <a:pt x="2863" y="95"/>
                  </a:lnTo>
                  <a:lnTo>
                    <a:pt x="2865" y="98"/>
                  </a:lnTo>
                  <a:lnTo>
                    <a:pt x="2871" y="98"/>
                  </a:lnTo>
                  <a:lnTo>
                    <a:pt x="2873" y="100"/>
                  </a:lnTo>
                  <a:lnTo>
                    <a:pt x="2874" y="102"/>
                  </a:lnTo>
                  <a:lnTo>
                    <a:pt x="2880" y="103"/>
                  </a:lnTo>
                  <a:lnTo>
                    <a:pt x="2876" y="103"/>
                  </a:lnTo>
                  <a:lnTo>
                    <a:pt x="2878" y="108"/>
                  </a:lnTo>
                  <a:lnTo>
                    <a:pt x="2877" y="108"/>
                  </a:lnTo>
                  <a:lnTo>
                    <a:pt x="2876" y="108"/>
                  </a:lnTo>
                  <a:lnTo>
                    <a:pt x="2874" y="108"/>
                  </a:lnTo>
                  <a:lnTo>
                    <a:pt x="2863" y="108"/>
                  </a:lnTo>
                  <a:lnTo>
                    <a:pt x="2859" y="109"/>
                  </a:lnTo>
                  <a:lnTo>
                    <a:pt x="2857" y="109"/>
                  </a:lnTo>
                  <a:lnTo>
                    <a:pt x="2855" y="112"/>
                  </a:lnTo>
                  <a:lnTo>
                    <a:pt x="2851" y="112"/>
                  </a:lnTo>
                  <a:lnTo>
                    <a:pt x="2849" y="112"/>
                  </a:lnTo>
                  <a:lnTo>
                    <a:pt x="2847" y="111"/>
                  </a:lnTo>
                  <a:lnTo>
                    <a:pt x="2843" y="111"/>
                  </a:lnTo>
                  <a:lnTo>
                    <a:pt x="2838" y="112"/>
                  </a:lnTo>
                  <a:lnTo>
                    <a:pt x="2832" y="112"/>
                  </a:lnTo>
                  <a:lnTo>
                    <a:pt x="2826" y="113"/>
                  </a:lnTo>
                  <a:lnTo>
                    <a:pt x="2815" y="113"/>
                  </a:lnTo>
                  <a:lnTo>
                    <a:pt x="2806" y="113"/>
                  </a:lnTo>
                  <a:lnTo>
                    <a:pt x="2800" y="113"/>
                  </a:lnTo>
                  <a:lnTo>
                    <a:pt x="2798" y="115"/>
                  </a:lnTo>
                  <a:lnTo>
                    <a:pt x="2795" y="115"/>
                  </a:lnTo>
                  <a:lnTo>
                    <a:pt x="2792" y="116"/>
                  </a:lnTo>
                  <a:lnTo>
                    <a:pt x="2789" y="118"/>
                  </a:lnTo>
                  <a:lnTo>
                    <a:pt x="2787" y="120"/>
                  </a:lnTo>
                  <a:lnTo>
                    <a:pt x="2784" y="124"/>
                  </a:lnTo>
                  <a:lnTo>
                    <a:pt x="2788" y="125"/>
                  </a:lnTo>
                  <a:lnTo>
                    <a:pt x="2784" y="126"/>
                  </a:lnTo>
                  <a:lnTo>
                    <a:pt x="2788" y="129"/>
                  </a:lnTo>
                  <a:lnTo>
                    <a:pt x="2790" y="130"/>
                  </a:lnTo>
                  <a:lnTo>
                    <a:pt x="2791" y="133"/>
                  </a:lnTo>
                  <a:lnTo>
                    <a:pt x="2790" y="136"/>
                  </a:lnTo>
                  <a:lnTo>
                    <a:pt x="2789" y="138"/>
                  </a:lnTo>
                  <a:lnTo>
                    <a:pt x="2791" y="141"/>
                  </a:lnTo>
                  <a:lnTo>
                    <a:pt x="2791" y="144"/>
                  </a:lnTo>
                  <a:lnTo>
                    <a:pt x="2797" y="147"/>
                  </a:lnTo>
                  <a:lnTo>
                    <a:pt x="2805" y="149"/>
                  </a:lnTo>
                  <a:lnTo>
                    <a:pt x="2807" y="150"/>
                  </a:lnTo>
                  <a:lnTo>
                    <a:pt x="2811" y="150"/>
                  </a:lnTo>
                  <a:lnTo>
                    <a:pt x="2812" y="153"/>
                  </a:lnTo>
                  <a:lnTo>
                    <a:pt x="2812" y="155"/>
                  </a:lnTo>
                  <a:lnTo>
                    <a:pt x="2815" y="156"/>
                  </a:lnTo>
                  <a:lnTo>
                    <a:pt x="2817" y="161"/>
                  </a:lnTo>
                  <a:lnTo>
                    <a:pt x="2817" y="162"/>
                  </a:lnTo>
                  <a:lnTo>
                    <a:pt x="2809" y="164"/>
                  </a:lnTo>
                  <a:lnTo>
                    <a:pt x="2804" y="164"/>
                  </a:lnTo>
                  <a:lnTo>
                    <a:pt x="2798" y="162"/>
                  </a:lnTo>
                  <a:lnTo>
                    <a:pt x="2796" y="160"/>
                  </a:lnTo>
                  <a:lnTo>
                    <a:pt x="2791" y="156"/>
                  </a:lnTo>
                  <a:lnTo>
                    <a:pt x="2789" y="154"/>
                  </a:lnTo>
                  <a:lnTo>
                    <a:pt x="2787" y="153"/>
                  </a:lnTo>
                  <a:lnTo>
                    <a:pt x="2781" y="152"/>
                  </a:lnTo>
                  <a:lnTo>
                    <a:pt x="2778" y="150"/>
                  </a:lnTo>
                  <a:lnTo>
                    <a:pt x="2775" y="149"/>
                  </a:lnTo>
                  <a:lnTo>
                    <a:pt x="2772" y="147"/>
                  </a:lnTo>
                  <a:lnTo>
                    <a:pt x="2766" y="147"/>
                  </a:lnTo>
                  <a:lnTo>
                    <a:pt x="2760" y="146"/>
                  </a:lnTo>
                  <a:lnTo>
                    <a:pt x="2760" y="147"/>
                  </a:lnTo>
                  <a:lnTo>
                    <a:pt x="2754" y="147"/>
                  </a:lnTo>
                  <a:lnTo>
                    <a:pt x="2752" y="149"/>
                  </a:lnTo>
                  <a:lnTo>
                    <a:pt x="2749" y="152"/>
                  </a:lnTo>
                  <a:lnTo>
                    <a:pt x="2746" y="151"/>
                  </a:lnTo>
                  <a:lnTo>
                    <a:pt x="2745" y="154"/>
                  </a:lnTo>
                  <a:lnTo>
                    <a:pt x="2747" y="154"/>
                  </a:lnTo>
                  <a:lnTo>
                    <a:pt x="2750" y="154"/>
                  </a:lnTo>
                  <a:lnTo>
                    <a:pt x="2753" y="154"/>
                  </a:lnTo>
                  <a:lnTo>
                    <a:pt x="2755" y="156"/>
                  </a:lnTo>
                  <a:lnTo>
                    <a:pt x="2755" y="159"/>
                  </a:lnTo>
                  <a:lnTo>
                    <a:pt x="2749" y="161"/>
                  </a:lnTo>
                  <a:lnTo>
                    <a:pt x="2747" y="161"/>
                  </a:lnTo>
                  <a:lnTo>
                    <a:pt x="2741" y="158"/>
                  </a:lnTo>
                  <a:lnTo>
                    <a:pt x="2737" y="155"/>
                  </a:lnTo>
                  <a:lnTo>
                    <a:pt x="2735" y="155"/>
                  </a:lnTo>
                  <a:lnTo>
                    <a:pt x="2729" y="158"/>
                  </a:lnTo>
                  <a:lnTo>
                    <a:pt x="2727" y="159"/>
                  </a:lnTo>
                  <a:lnTo>
                    <a:pt x="2727" y="161"/>
                  </a:lnTo>
                  <a:lnTo>
                    <a:pt x="2729" y="167"/>
                  </a:lnTo>
                  <a:lnTo>
                    <a:pt x="2735" y="170"/>
                  </a:lnTo>
                  <a:lnTo>
                    <a:pt x="2737" y="171"/>
                  </a:lnTo>
                  <a:lnTo>
                    <a:pt x="2740" y="171"/>
                  </a:lnTo>
                  <a:lnTo>
                    <a:pt x="2746" y="175"/>
                  </a:lnTo>
                  <a:lnTo>
                    <a:pt x="2748" y="175"/>
                  </a:lnTo>
                  <a:lnTo>
                    <a:pt x="2752" y="173"/>
                  </a:lnTo>
                  <a:lnTo>
                    <a:pt x="2754" y="175"/>
                  </a:lnTo>
                  <a:lnTo>
                    <a:pt x="2757" y="176"/>
                  </a:lnTo>
                  <a:lnTo>
                    <a:pt x="2756" y="178"/>
                  </a:lnTo>
                  <a:lnTo>
                    <a:pt x="2760" y="181"/>
                  </a:lnTo>
                  <a:lnTo>
                    <a:pt x="2758" y="184"/>
                  </a:lnTo>
                  <a:lnTo>
                    <a:pt x="2762" y="182"/>
                  </a:lnTo>
                  <a:lnTo>
                    <a:pt x="2764" y="182"/>
                  </a:lnTo>
                  <a:lnTo>
                    <a:pt x="2767" y="181"/>
                  </a:lnTo>
                  <a:lnTo>
                    <a:pt x="2764" y="184"/>
                  </a:lnTo>
                  <a:lnTo>
                    <a:pt x="2758" y="185"/>
                  </a:lnTo>
                  <a:lnTo>
                    <a:pt x="2756" y="184"/>
                  </a:lnTo>
                  <a:lnTo>
                    <a:pt x="2753" y="182"/>
                  </a:lnTo>
                  <a:lnTo>
                    <a:pt x="2752" y="180"/>
                  </a:lnTo>
                  <a:lnTo>
                    <a:pt x="2748" y="178"/>
                  </a:lnTo>
                  <a:lnTo>
                    <a:pt x="2739" y="177"/>
                  </a:lnTo>
                  <a:lnTo>
                    <a:pt x="2738" y="180"/>
                  </a:lnTo>
                  <a:lnTo>
                    <a:pt x="2738" y="178"/>
                  </a:lnTo>
                  <a:lnTo>
                    <a:pt x="2735" y="177"/>
                  </a:lnTo>
                  <a:lnTo>
                    <a:pt x="2727" y="177"/>
                  </a:lnTo>
                  <a:lnTo>
                    <a:pt x="2723" y="176"/>
                  </a:lnTo>
                  <a:lnTo>
                    <a:pt x="2719" y="175"/>
                  </a:lnTo>
                  <a:lnTo>
                    <a:pt x="2715" y="173"/>
                  </a:lnTo>
                  <a:lnTo>
                    <a:pt x="2715" y="170"/>
                  </a:lnTo>
                  <a:lnTo>
                    <a:pt x="2719" y="169"/>
                  </a:lnTo>
                  <a:lnTo>
                    <a:pt x="2718" y="166"/>
                  </a:lnTo>
                  <a:lnTo>
                    <a:pt x="2715" y="163"/>
                  </a:lnTo>
                  <a:lnTo>
                    <a:pt x="2715" y="161"/>
                  </a:lnTo>
                  <a:lnTo>
                    <a:pt x="2715" y="158"/>
                  </a:lnTo>
                  <a:lnTo>
                    <a:pt x="2718" y="156"/>
                  </a:lnTo>
                  <a:lnTo>
                    <a:pt x="2721" y="149"/>
                  </a:lnTo>
                  <a:lnTo>
                    <a:pt x="2719" y="141"/>
                  </a:lnTo>
                  <a:lnTo>
                    <a:pt x="2719" y="137"/>
                  </a:lnTo>
                  <a:lnTo>
                    <a:pt x="2715" y="135"/>
                  </a:lnTo>
                  <a:lnTo>
                    <a:pt x="2713" y="135"/>
                  </a:lnTo>
                  <a:lnTo>
                    <a:pt x="2711" y="135"/>
                  </a:lnTo>
                  <a:lnTo>
                    <a:pt x="2710" y="137"/>
                  </a:lnTo>
                  <a:lnTo>
                    <a:pt x="2712" y="139"/>
                  </a:lnTo>
                  <a:lnTo>
                    <a:pt x="2713" y="149"/>
                  </a:lnTo>
                  <a:lnTo>
                    <a:pt x="2713" y="151"/>
                  </a:lnTo>
                  <a:lnTo>
                    <a:pt x="2711" y="153"/>
                  </a:lnTo>
                  <a:lnTo>
                    <a:pt x="2709" y="155"/>
                  </a:lnTo>
                  <a:lnTo>
                    <a:pt x="2705" y="156"/>
                  </a:lnTo>
                  <a:lnTo>
                    <a:pt x="2694" y="160"/>
                  </a:lnTo>
                  <a:lnTo>
                    <a:pt x="2692" y="161"/>
                  </a:lnTo>
                  <a:lnTo>
                    <a:pt x="2692" y="164"/>
                  </a:lnTo>
                  <a:lnTo>
                    <a:pt x="2689" y="167"/>
                  </a:lnTo>
                  <a:lnTo>
                    <a:pt x="2687" y="169"/>
                  </a:lnTo>
                  <a:lnTo>
                    <a:pt x="2685" y="172"/>
                  </a:lnTo>
                  <a:lnTo>
                    <a:pt x="2690" y="175"/>
                  </a:lnTo>
                  <a:lnTo>
                    <a:pt x="2693" y="178"/>
                  </a:lnTo>
                  <a:lnTo>
                    <a:pt x="2694" y="180"/>
                  </a:lnTo>
                  <a:lnTo>
                    <a:pt x="2697" y="182"/>
                  </a:lnTo>
                  <a:lnTo>
                    <a:pt x="2697" y="186"/>
                  </a:lnTo>
                  <a:lnTo>
                    <a:pt x="2702" y="190"/>
                  </a:lnTo>
                  <a:lnTo>
                    <a:pt x="2703" y="193"/>
                  </a:lnTo>
                  <a:lnTo>
                    <a:pt x="2698" y="198"/>
                  </a:lnTo>
                  <a:lnTo>
                    <a:pt x="2696" y="201"/>
                  </a:lnTo>
                  <a:lnTo>
                    <a:pt x="2694" y="206"/>
                  </a:lnTo>
                  <a:lnTo>
                    <a:pt x="2694" y="207"/>
                  </a:lnTo>
                  <a:lnTo>
                    <a:pt x="2693" y="210"/>
                  </a:lnTo>
                  <a:lnTo>
                    <a:pt x="2692" y="213"/>
                  </a:lnTo>
                  <a:lnTo>
                    <a:pt x="2693" y="215"/>
                  </a:lnTo>
                  <a:lnTo>
                    <a:pt x="2695" y="218"/>
                  </a:lnTo>
                  <a:lnTo>
                    <a:pt x="2696" y="221"/>
                  </a:lnTo>
                  <a:lnTo>
                    <a:pt x="2696" y="223"/>
                  </a:lnTo>
                  <a:lnTo>
                    <a:pt x="2695" y="227"/>
                  </a:lnTo>
                  <a:lnTo>
                    <a:pt x="2697" y="229"/>
                  </a:lnTo>
                  <a:lnTo>
                    <a:pt x="2702" y="228"/>
                  </a:lnTo>
                  <a:lnTo>
                    <a:pt x="2705" y="228"/>
                  </a:lnTo>
                  <a:lnTo>
                    <a:pt x="2707" y="229"/>
                  </a:lnTo>
                  <a:lnTo>
                    <a:pt x="2711" y="229"/>
                  </a:lnTo>
                  <a:lnTo>
                    <a:pt x="2717" y="226"/>
                  </a:lnTo>
                  <a:lnTo>
                    <a:pt x="2720" y="224"/>
                  </a:lnTo>
                  <a:lnTo>
                    <a:pt x="2722" y="226"/>
                  </a:lnTo>
                  <a:lnTo>
                    <a:pt x="2724" y="226"/>
                  </a:lnTo>
                  <a:lnTo>
                    <a:pt x="2730" y="227"/>
                  </a:lnTo>
                  <a:lnTo>
                    <a:pt x="2736" y="228"/>
                  </a:lnTo>
                  <a:lnTo>
                    <a:pt x="2738" y="230"/>
                  </a:lnTo>
                  <a:lnTo>
                    <a:pt x="2746" y="232"/>
                  </a:lnTo>
                  <a:lnTo>
                    <a:pt x="2748" y="236"/>
                  </a:lnTo>
                  <a:lnTo>
                    <a:pt x="2749" y="238"/>
                  </a:lnTo>
                  <a:lnTo>
                    <a:pt x="2749" y="240"/>
                  </a:lnTo>
                  <a:lnTo>
                    <a:pt x="2752" y="244"/>
                  </a:lnTo>
                  <a:lnTo>
                    <a:pt x="2754" y="246"/>
                  </a:lnTo>
                  <a:lnTo>
                    <a:pt x="2754" y="248"/>
                  </a:lnTo>
                  <a:lnTo>
                    <a:pt x="2748" y="249"/>
                  </a:lnTo>
                  <a:lnTo>
                    <a:pt x="2746" y="253"/>
                  </a:lnTo>
                  <a:lnTo>
                    <a:pt x="2746" y="258"/>
                  </a:lnTo>
                  <a:lnTo>
                    <a:pt x="2746" y="261"/>
                  </a:lnTo>
                  <a:lnTo>
                    <a:pt x="2752" y="261"/>
                  </a:lnTo>
                  <a:lnTo>
                    <a:pt x="2753" y="262"/>
                  </a:lnTo>
                  <a:lnTo>
                    <a:pt x="2761" y="264"/>
                  </a:lnTo>
                  <a:lnTo>
                    <a:pt x="2763" y="263"/>
                  </a:lnTo>
                  <a:lnTo>
                    <a:pt x="2766" y="265"/>
                  </a:lnTo>
                  <a:lnTo>
                    <a:pt x="2763" y="264"/>
                  </a:lnTo>
                  <a:lnTo>
                    <a:pt x="2761" y="265"/>
                  </a:lnTo>
                  <a:lnTo>
                    <a:pt x="2760" y="265"/>
                  </a:lnTo>
                  <a:lnTo>
                    <a:pt x="2757" y="265"/>
                  </a:lnTo>
                  <a:lnTo>
                    <a:pt x="2754" y="265"/>
                  </a:lnTo>
                  <a:lnTo>
                    <a:pt x="2750" y="265"/>
                  </a:lnTo>
                  <a:lnTo>
                    <a:pt x="2741" y="261"/>
                  </a:lnTo>
                  <a:lnTo>
                    <a:pt x="2743" y="258"/>
                  </a:lnTo>
                  <a:lnTo>
                    <a:pt x="2741" y="255"/>
                  </a:lnTo>
                  <a:lnTo>
                    <a:pt x="2741" y="253"/>
                  </a:lnTo>
                  <a:lnTo>
                    <a:pt x="2744" y="249"/>
                  </a:lnTo>
                  <a:lnTo>
                    <a:pt x="2741" y="247"/>
                  </a:lnTo>
                  <a:lnTo>
                    <a:pt x="2743" y="245"/>
                  </a:lnTo>
                  <a:lnTo>
                    <a:pt x="2743" y="241"/>
                  </a:lnTo>
                  <a:lnTo>
                    <a:pt x="2740" y="241"/>
                  </a:lnTo>
                  <a:lnTo>
                    <a:pt x="2737" y="238"/>
                  </a:lnTo>
                  <a:lnTo>
                    <a:pt x="2735" y="237"/>
                  </a:lnTo>
                  <a:lnTo>
                    <a:pt x="2735" y="235"/>
                  </a:lnTo>
                  <a:lnTo>
                    <a:pt x="2732" y="231"/>
                  </a:lnTo>
                  <a:lnTo>
                    <a:pt x="2728" y="231"/>
                  </a:lnTo>
                  <a:lnTo>
                    <a:pt x="2715" y="233"/>
                  </a:lnTo>
                  <a:lnTo>
                    <a:pt x="2705" y="237"/>
                  </a:lnTo>
                  <a:lnTo>
                    <a:pt x="2704" y="240"/>
                  </a:lnTo>
                  <a:lnTo>
                    <a:pt x="2704" y="243"/>
                  </a:lnTo>
                  <a:lnTo>
                    <a:pt x="2703" y="246"/>
                  </a:lnTo>
                  <a:lnTo>
                    <a:pt x="2707" y="250"/>
                  </a:lnTo>
                  <a:lnTo>
                    <a:pt x="2710" y="256"/>
                  </a:lnTo>
                  <a:lnTo>
                    <a:pt x="2709" y="260"/>
                  </a:lnTo>
                  <a:lnTo>
                    <a:pt x="2707" y="262"/>
                  </a:lnTo>
                  <a:lnTo>
                    <a:pt x="2703" y="266"/>
                  </a:lnTo>
                  <a:lnTo>
                    <a:pt x="2700" y="267"/>
                  </a:lnTo>
                  <a:lnTo>
                    <a:pt x="2697" y="271"/>
                  </a:lnTo>
                  <a:lnTo>
                    <a:pt x="2697" y="275"/>
                  </a:lnTo>
                  <a:lnTo>
                    <a:pt x="2695" y="279"/>
                  </a:lnTo>
                  <a:lnTo>
                    <a:pt x="2693" y="280"/>
                  </a:lnTo>
                  <a:lnTo>
                    <a:pt x="2690" y="282"/>
                  </a:lnTo>
                  <a:lnTo>
                    <a:pt x="2685" y="284"/>
                  </a:lnTo>
                  <a:lnTo>
                    <a:pt x="2681" y="287"/>
                  </a:lnTo>
                  <a:lnTo>
                    <a:pt x="2679" y="287"/>
                  </a:lnTo>
                  <a:lnTo>
                    <a:pt x="2676" y="288"/>
                  </a:lnTo>
                  <a:lnTo>
                    <a:pt x="2676" y="293"/>
                  </a:lnTo>
                  <a:lnTo>
                    <a:pt x="2671" y="296"/>
                  </a:lnTo>
                  <a:lnTo>
                    <a:pt x="2668" y="296"/>
                  </a:lnTo>
                  <a:lnTo>
                    <a:pt x="2666" y="293"/>
                  </a:lnTo>
                  <a:lnTo>
                    <a:pt x="2662" y="292"/>
                  </a:lnTo>
                  <a:lnTo>
                    <a:pt x="2656" y="292"/>
                  </a:lnTo>
                  <a:lnTo>
                    <a:pt x="2649" y="293"/>
                  </a:lnTo>
                  <a:lnTo>
                    <a:pt x="2641" y="290"/>
                  </a:lnTo>
                  <a:lnTo>
                    <a:pt x="2635" y="289"/>
                  </a:lnTo>
                  <a:lnTo>
                    <a:pt x="2633" y="288"/>
                  </a:lnTo>
                  <a:lnTo>
                    <a:pt x="2632" y="284"/>
                  </a:lnTo>
                  <a:lnTo>
                    <a:pt x="2629" y="282"/>
                  </a:lnTo>
                  <a:lnTo>
                    <a:pt x="2635" y="282"/>
                  </a:lnTo>
                  <a:lnTo>
                    <a:pt x="2637" y="283"/>
                  </a:lnTo>
                  <a:lnTo>
                    <a:pt x="2643" y="282"/>
                  </a:lnTo>
                  <a:lnTo>
                    <a:pt x="2643" y="283"/>
                  </a:lnTo>
                  <a:lnTo>
                    <a:pt x="2646" y="284"/>
                  </a:lnTo>
                  <a:lnTo>
                    <a:pt x="2649" y="286"/>
                  </a:lnTo>
                  <a:lnTo>
                    <a:pt x="2654" y="283"/>
                  </a:lnTo>
                  <a:lnTo>
                    <a:pt x="2654" y="283"/>
                  </a:lnTo>
                  <a:lnTo>
                    <a:pt x="2656" y="282"/>
                  </a:lnTo>
                  <a:lnTo>
                    <a:pt x="2660" y="281"/>
                  </a:lnTo>
                  <a:lnTo>
                    <a:pt x="2668" y="279"/>
                  </a:lnTo>
                  <a:lnTo>
                    <a:pt x="2671" y="276"/>
                  </a:lnTo>
                  <a:lnTo>
                    <a:pt x="2672" y="274"/>
                  </a:lnTo>
                  <a:lnTo>
                    <a:pt x="2671" y="271"/>
                  </a:lnTo>
                  <a:lnTo>
                    <a:pt x="2673" y="271"/>
                  </a:lnTo>
                  <a:lnTo>
                    <a:pt x="2677" y="270"/>
                  </a:lnTo>
                  <a:lnTo>
                    <a:pt x="2677" y="266"/>
                  </a:lnTo>
                  <a:lnTo>
                    <a:pt x="2680" y="263"/>
                  </a:lnTo>
                  <a:lnTo>
                    <a:pt x="2686" y="261"/>
                  </a:lnTo>
                  <a:lnTo>
                    <a:pt x="2686" y="258"/>
                  </a:lnTo>
                  <a:lnTo>
                    <a:pt x="2687" y="256"/>
                  </a:lnTo>
                  <a:lnTo>
                    <a:pt x="2686" y="253"/>
                  </a:lnTo>
                  <a:lnTo>
                    <a:pt x="2686" y="250"/>
                  </a:lnTo>
                  <a:lnTo>
                    <a:pt x="2690" y="245"/>
                  </a:lnTo>
                  <a:lnTo>
                    <a:pt x="2693" y="244"/>
                  </a:lnTo>
                  <a:lnTo>
                    <a:pt x="2693" y="241"/>
                  </a:lnTo>
                  <a:lnTo>
                    <a:pt x="2687" y="238"/>
                  </a:lnTo>
                  <a:lnTo>
                    <a:pt x="2681" y="235"/>
                  </a:lnTo>
                  <a:lnTo>
                    <a:pt x="2679" y="232"/>
                  </a:lnTo>
                  <a:lnTo>
                    <a:pt x="2677" y="227"/>
                  </a:lnTo>
                  <a:lnTo>
                    <a:pt x="2679" y="224"/>
                  </a:lnTo>
                  <a:lnTo>
                    <a:pt x="2678" y="222"/>
                  </a:lnTo>
                  <a:lnTo>
                    <a:pt x="2679" y="219"/>
                  </a:lnTo>
                  <a:lnTo>
                    <a:pt x="2678" y="216"/>
                  </a:lnTo>
                  <a:lnTo>
                    <a:pt x="2679" y="213"/>
                  </a:lnTo>
                  <a:lnTo>
                    <a:pt x="2680" y="211"/>
                  </a:lnTo>
                  <a:lnTo>
                    <a:pt x="2678" y="206"/>
                  </a:lnTo>
                  <a:lnTo>
                    <a:pt x="2678" y="204"/>
                  </a:lnTo>
                  <a:lnTo>
                    <a:pt x="2678" y="202"/>
                  </a:lnTo>
                  <a:lnTo>
                    <a:pt x="2678" y="198"/>
                  </a:lnTo>
                  <a:lnTo>
                    <a:pt x="2680" y="196"/>
                  </a:lnTo>
                  <a:lnTo>
                    <a:pt x="2681" y="194"/>
                  </a:lnTo>
                  <a:lnTo>
                    <a:pt x="2680" y="192"/>
                  </a:lnTo>
                  <a:lnTo>
                    <a:pt x="2683" y="186"/>
                  </a:lnTo>
                  <a:lnTo>
                    <a:pt x="2680" y="182"/>
                  </a:lnTo>
                  <a:lnTo>
                    <a:pt x="2679" y="180"/>
                  </a:lnTo>
                  <a:lnTo>
                    <a:pt x="2677" y="178"/>
                  </a:lnTo>
                  <a:lnTo>
                    <a:pt x="2671" y="175"/>
                  </a:lnTo>
                  <a:lnTo>
                    <a:pt x="2669" y="171"/>
                  </a:lnTo>
                  <a:lnTo>
                    <a:pt x="2668" y="169"/>
                  </a:lnTo>
                  <a:lnTo>
                    <a:pt x="2673" y="166"/>
                  </a:lnTo>
                  <a:lnTo>
                    <a:pt x="2676" y="163"/>
                  </a:lnTo>
                  <a:lnTo>
                    <a:pt x="2676" y="161"/>
                  </a:lnTo>
                  <a:lnTo>
                    <a:pt x="2678" y="159"/>
                  </a:lnTo>
                  <a:lnTo>
                    <a:pt x="2678" y="156"/>
                  </a:lnTo>
                  <a:lnTo>
                    <a:pt x="2680" y="154"/>
                  </a:lnTo>
                  <a:lnTo>
                    <a:pt x="2683" y="149"/>
                  </a:lnTo>
                  <a:lnTo>
                    <a:pt x="2681" y="145"/>
                  </a:lnTo>
                  <a:lnTo>
                    <a:pt x="2681" y="141"/>
                  </a:lnTo>
                  <a:lnTo>
                    <a:pt x="2680" y="137"/>
                  </a:lnTo>
                  <a:lnTo>
                    <a:pt x="2671" y="135"/>
                  </a:lnTo>
                  <a:lnTo>
                    <a:pt x="2669" y="136"/>
                  </a:lnTo>
                  <a:lnTo>
                    <a:pt x="2666" y="134"/>
                  </a:lnTo>
                  <a:lnTo>
                    <a:pt x="2663" y="133"/>
                  </a:lnTo>
                  <a:lnTo>
                    <a:pt x="2660" y="134"/>
                  </a:lnTo>
                  <a:lnTo>
                    <a:pt x="2646" y="134"/>
                  </a:lnTo>
                  <a:lnTo>
                    <a:pt x="2637" y="134"/>
                  </a:lnTo>
                  <a:lnTo>
                    <a:pt x="2641" y="133"/>
                  </a:lnTo>
                  <a:lnTo>
                    <a:pt x="2637" y="132"/>
                  </a:lnTo>
                  <a:lnTo>
                    <a:pt x="2635" y="132"/>
                  </a:lnTo>
                  <a:lnTo>
                    <a:pt x="2634" y="135"/>
                  </a:lnTo>
                  <a:lnTo>
                    <a:pt x="2630" y="137"/>
                  </a:lnTo>
                  <a:lnTo>
                    <a:pt x="2629" y="141"/>
                  </a:lnTo>
                  <a:lnTo>
                    <a:pt x="2628" y="143"/>
                  </a:lnTo>
                  <a:lnTo>
                    <a:pt x="2627" y="149"/>
                  </a:lnTo>
                  <a:lnTo>
                    <a:pt x="2624" y="159"/>
                  </a:lnTo>
                  <a:lnTo>
                    <a:pt x="2620" y="164"/>
                  </a:lnTo>
                  <a:lnTo>
                    <a:pt x="2611" y="170"/>
                  </a:lnTo>
                  <a:lnTo>
                    <a:pt x="2603" y="175"/>
                  </a:lnTo>
                  <a:lnTo>
                    <a:pt x="2600" y="176"/>
                  </a:lnTo>
                  <a:lnTo>
                    <a:pt x="2598" y="181"/>
                  </a:lnTo>
                  <a:lnTo>
                    <a:pt x="2600" y="179"/>
                  </a:lnTo>
                  <a:lnTo>
                    <a:pt x="2600" y="182"/>
                  </a:lnTo>
                  <a:lnTo>
                    <a:pt x="2596" y="185"/>
                  </a:lnTo>
                  <a:lnTo>
                    <a:pt x="2599" y="187"/>
                  </a:lnTo>
                  <a:lnTo>
                    <a:pt x="2604" y="186"/>
                  </a:lnTo>
                  <a:lnTo>
                    <a:pt x="2607" y="187"/>
                  </a:lnTo>
                  <a:lnTo>
                    <a:pt x="2605" y="193"/>
                  </a:lnTo>
                  <a:lnTo>
                    <a:pt x="2605" y="196"/>
                  </a:lnTo>
                  <a:lnTo>
                    <a:pt x="2603" y="201"/>
                  </a:lnTo>
                  <a:lnTo>
                    <a:pt x="2607" y="204"/>
                  </a:lnTo>
                  <a:lnTo>
                    <a:pt x="2605" y="206"/>
                  </a:lnTo>
                  <a:lnTo>
                    <a:pt x="2602" y="206"/>
                  </a:lnTo>
                  <a:lnTo>
                    <a:pt x="2600" y="207"/>
                  </a:lnTo>
                  <a:lnTo>
                    <a:pt x="2599" y="213"/>
                  </a:lnTo>
                  <a:lnTo>
                    <a:pt x="2599" y="215"/>
                  </a:lnTo>
                  <a:lnTo>
                    <a:pt x="2602" y="218"/>
                  </a:lnTo>
                  <a:lnTo>
                    <a:pt x="2601" y="215"/>
                  </a:lnTo>
                  <a:lnTo>
                    <a:pt x="2603" y="214"/>
                  </a:lnTo>
                  <a:lnTo>
                    <a:pt x="2605" y="215"/>
                  </a:lnTo>
                  <a:lnTo>
                    <a:pt x="2609" y="215"/>
                  </a:lnTo>
                  <a:lnTo>
                    <a:pt x="2611" y="218"/>
                  </a:lnTo>
                  <a:lnTo>
                    <a:pt x="2615" y="219"/>
                  </a:lnTo>
                  <a:lnTo>
                    <a:pt x="2617" y="219"/>
                  </a:lnTo>
                  <a:lnTo>
                    <a:pt x="2617" y="221"/>
                  </a:lnTo>
                  <a:lnTo>
                    <a:pt x="2617" y="223"/>
                  </a:lnTo>
                  <a:lnTo>
                    <a:pt x="2618" y="227"/>
                  </a:lnTo>
                  <a:lnTo>
                    <a:pt x="2624" y="232"/>
                  </a:lnTo>
                  <a:lnTo>
                    <a:pt x="2626" y="233"/>
                  </a:lnTo>
                  <a:lnTo>
                    <a:pt x="2629" y="232"/>
                  </a:lnTo>
                  <a:lnTo>
                    <a:pt x="2632" y="232"/>
                  </a:lnTo>
                  <a:lnTo>
                    <a:pt x="2629" y="233"/>
                  </a:lnTo>
                  <a:lnTo>
                    <a:pt x="2629" y="237"/>
                  </a:lnTo>
                  <a:lnTo>
                    <a:pt x="2627" y="241"/>
                  </a:lnTo>
                  <a:lnTo>
                    <a:pt x="2625" y="245"/>
                  </a:lnTo>
                  <a:lnTo>
                    <a:pt x="2625" y="247"/>
                  </a:lnTo>
                  <a:lnTo>
                    <a:pt x="2624" y="247"/>
                  </a:lnTo>
                  <a:lnTo>
                    <a:pt x="2621" y="249"/>
                  </a:lnTo>
                  <a:lnTo>
                    <a:pt x="2619" y="248"/>
                  </a:lnTo>
                  <a:lnTo>
                    <a:pt x="2618" y="245"/>
                  </a:lnTo>
                  <a:lnTo>
                    <a:pt x="2612" y="243"/>
                  </a:lnTo>
                  <a:lnTo>
                    <a:pt x="2604" y="237"/>
                  </a:lnTo>
                  <a:lnTo>
                    <a:pt x="2603" y="235"/>
                  </a:lnTo>
                  <a:lnTo>
                    <a:pt x="2598" y="233"/>
                  </a:lnTo>
                  <a:lnTo>
                    <a:pt x="2592" y="231"/>
                  </a:lnTo>
                  <a:lnTo>
                    <a:pt x="2586" y="229"/>
                  </a:lnTo>
                  <a:lnTo>
                    <a:pt x="2584" y="228"/>
                  </a:lnTo>
                  <a:lnTo>
                    <a:pt x="2586" y="228"/>
                  </a:lnTo>
                  <a:lnTo>
                    <a:pt x="2581" y="227"/>
                  </a:lnTo>
                  <a:lnTo>
                    <a:pt x="2575" y="224"/>
                  </a:lnTo>
                  <a:lnTo>
                    <a:pt x="2574" y="227"/>
                  </a:lnTo>
                  <a:lnTo>
                    <a:pt x="2573" y="227"/>
                  </a:lnTo>
                  <a:lnTo>
                    <a:pt x="2572" y="226"/>
                  </a:lnTo>
                  <a:lnTo>
                    <a:pt x="2573" y="222"/>
                  </a:lnTo>
                  <a:lnTo>
                    <a:pt x="2565" y="219"/>
                  </a:lnTo>
                  <a:lnTo>
                    <a:pt x="2550" y="214"/>
                  </a:lnTo>
                  <a:lnTo>
                    <a:pt x="2539" y="213"/>
                  </a:lnTo>
                  <a:lnTo>
                    <a:pt x="2533" y="213"/>
                  </a:lnTo>
                  <a:lnTo>
                    <a:pt x="2527" y="212"/>
                  </a:lnTo>
                  <a:lnTo>
                    <a:pt x="2519" y="210"/>
                  </a:lnTo>
                  <a:lnTo>
                    <a:pt x="2516" y="211"/>
                  </a:lnTo>
                  <a:lnTo>
                    <a:pt x="2516" y="213"/>
                  </a:lnTo>
                  <a:lnTo>
                    <a:pt x="2513" y="214"/>
                  </a:lnTo>
                  <a:lnTo>
                    <a:pt x="2510" y="214"/>
                  </a:lnTo>
                  <a:lnTo>
                    <a:pt x="2509" y="218"/>
                  </a:lnTo>
                  <a:lnTo>
                    <a:pt x="2510" y="220"/>
                  </a:lnTo>
                  <a:lnTo>
                    <a:pt x="2514" y="223"/>
                  </a:lnTo>
                  <a:lnTo>
                    <a:pt x="2516" y="229"/>
                  </a:lnTo>
                  <a:lnTo>
                    <a:pt x="2519" y="228"/>
                  </a:lnTo>
                  <a:lnTo>
                    <a:pt x="2519" y="231"/>
                  </a:lnTo>
                  <a:lnTo>
                    <a:pt x="2517" y="233"/>
                  </a:lnTo>
                  <a:lnTo>
                    <a:pt x="2515" y="237"/>
                  </a:lnTo>
                  <a:lnTo>
                    <a:pt x="2511" y="238"/>
                  </a:lnTo>
                  <a:lnTo>
                    <a:pt x="2509" y="238"/>
                  </a:lnTo>
                  <a:lnTo>
                    <a:pt x="2506" y="238"/>
                  </a:lnTo>
                  <a:lnTo>
                    <a:pt x="2502" y="239"/>
                  </a:lnTo>
                  <a:lnTo>
                    <a:pt x="2506" y="243"/>
                  </a:lnTo>
                  <a:lnTo>
                    <a:pt x="2505" y="245"/>
                  </a:lnTo>
                  <a:lnTo>
                    <a:pt x="2502" y="247"/>
                  </a:lnTo>
                  <a:lnTo>
                    <a:pt x="2499" y="246"/>
                  </a:lnTo>
                  <a:lnTo>
                    <a:pt x="2497" y="246"/>
                  </a:lnTo>
                  <a:lnTo>
                    <a:pt x="2493" y="244"/>
                  </a:lnTo>
                  <a:lnTo>
                    <a:pt x="2493" y="240"/>
                  </a:lnTo>
                  <a:lnTo>
                    <a:pt x="2496" y="238"/>
                  </a:lnTo>
                  <a:lnTo>
                    <a:pt x="2498" y="238"/>
                  </a:lnTo>
                  <a:lnTo>
                    <a:pt x="2497" y="235"/>
                  </a:lnTo>
                  <a:lnTo>
                    <a:pt x="2493" y="233"/>
                  </a:lnTo>
                  <a:lnTo>
                    <a:pt x="2491" y="232"/>
                  </a:lnTo>
                  <a:lnTo>
                    <a:pt x="2493" y="231"/>
                  </a:lnTo>
                  <a:lnTo>
                    <a:pt x="2491" y="231"/>
                  </a:lnTo>
                  <a:lnTo>
                    <a:pt x="2489" y="231"/>
                  </a:lnTo>
                  <a:lnTo>
                    <a:pt x="2485" y="232"/>
                  </a:lnTo>
                  <a:lnTo>
                    <a:pt x="2483" y="233"/>
                  </a:lnTo>
                  <a:lnTo>
                    <a:pt x="2483" y="237"/>
                  </a:lnTo>
                  <a:lnTo>
                    <a:pt x="2481" y="233"/>
                  </a:lnTo>
                  <a:lnTo>
                    <a:pt x="2479" y="237"/>
                  </a:lnTo>
                  <a:lnTo>
                    <a:pt x="2473" y="238"/>
                  </a:lnTo>
                  <a:lnTo>
                    <a:pt x="2471" y="240"/>
                  </a:lnTo>
                  <a:lnTo>
                    <a:pt x="2468" y="241"/>
                  </a:lnTo>
                  <a:lnTo>
                    <a:pt x="2465" y="241"/>
                  </a:lnTo>
                  <a:lnTo>
                    <a:pt x="2459" y="239"/>
                  </a:lnTo>
                  <a:lnTo>
                    <a:pt x="2455" y="240"/>
                  </a:lnTo>
                  <a:lnTo>
                    <a:pt x="2451" y="239"/>
                  </a:lnTo>
                  <a:lnTo>
                    <a:pt x="2449" y="240"/>
                  </a:lnTo>
                  <a:lnTo>
                    <a:pt x="2444" y="241"/>
                  </a:lnTo>
                  <a:lnTo>
                    <a:pt x="2438" y="245"/>
                  </a:lnTo>
                  <a:lnTo>
                    <a:pt x="2437" y="245"/>
                  </a:lnTo>
                  <a:lnTo>
                    <a:pt x="2437" y="248"/>
                  </a:lnTo>
                  <a:lnTo>
                    <a:pt x="2436" y="250"/>
                  </a:lnTo>
                  <a:lnTo>
                    <a:pt x="2430" y="248"/>
                  </a:lnTo>
                  <a:lnTo>
                    <a:pt x="2428" y="249"/>
                  </a:lnTo>
                  <a:lnTo>
                    <a:pt x="2425" y="248"/>
                  </a:lnTo>
                  <a:lnTo>
                    <a:pt x="2423" y="249"/>
                  </a:lnTo>
                  <a:lnTo>
                    <a:pt x="2422" y="249"/>
                  </a:lnTo>
                  <a:lnTo>
                    <a:pt x="2420" y="248"/>
                  </a:lnTo>
                  <a:lnTo>
                    <a:pt x="2414" y="248"/>
                  </a:lnTo>
                  <a:lnTo>
                    <a:pt x="2415" y="246"/>
                  </a:lnTo>
                  <a:lnTo>
                    <a:pt x="2421" y="246"/>
                  </a:lnTo>
                  <a:lnTo>
                    <a:pt x="2423" y="245"/>
                  </a:lnTo>
                  <a:lnTo>
                    <a:pt x="2422" y="243"/>
                  </a:lnTo>
                  <a:lnTo>
                    <a:pt x="2420" y="239"/>
                  </a:lnTo>
                  <a:lnTo>
                    <a:pt x="2423" y="233"/>
                  </a:lnTo>
                  <a:lnTo>
                    <a:pt x="2421" y="232"/>
                  </a:lnTo>
                  <a:lnTo>
                    <a:pt x="2427" y="232"/>
                  </a:lnTo>
                  <a:lnTo>
                    <a:pt x="2429" y="231"/>
                  </a:lnTo>
                  <a:lnTo>
                    <a:pt x="2427" y="231"/>
                  </a:lnTo>
                  <a:lnTo>
                    <a:pt x="2421" y="231"/>
                  </a:lnTo>
                  <a:lnTo>
                    <a:pt x="2415" y="233"/>
                  </a:lnTo>
                  <a:lnTo>
                    <a:pt x="2405" y="238"/>
                  </a:lnTo>
                  <a:lnTo>
                    <a:pt x="2403" y="240"/>
                  </a:lnTo>
                  <a:lnTo>
                    <a:pt x="2406" y="239"/>
                  </a:lnTo>
                  <a:lnTo>
                    <a:pt x="2405" y="245"/>
                  </a:lnTo>
                  <a:lnTo>
                    <a:pt x="2402" y="247"/>
                  </a:lnTo>
                  <a:lnTo>
                    <a:pt x="2399" y="247"/>
                  </a:lnTo>
                  <a:lnTo>
                    <a:pt x="2400" y="244"/>
                  </a:lnTo>
                  <a:lnTo>
                    <a:pt x="2399" y="241"/>
                  </a:lnTo>
                  <a:lnTo>
                    <a:pt x="2394" y="243"/>
                  </a:lnTo>
                  <a:lnTo>
                    <a:pt x="2391" y="244"/>
                  </a:lnTo>
                  <a:lnTo>
                    <a:pt x="2386" y="246"/>
                  </a:lnTo>
                  <a:lnTo>
                    <a:pt x="2383" y="246"/>
                  </a:lnTo>
                  <a:lnTo>
                    <a:pt x="2380" y="246"/>
                  </a:lnTo>
                  <a:lnTo>
                    <a:pt x="2378" y="248"/>
                  </a:lnTo>
                  <a:lnTo>
                    <a:pt x="2372" y="250"/>
                  </a:lnTo>
                  <a:lnTo>
                    <a:pt x="2370" y="254"/>
                  </a:lnTo>
                  <a:lnTo>
                    <a:pt x="2369" y="253"/>
                  </a:lnTo>
                  <a:lnTo>
                    <a:pt x="2364" y="255"/>
                  </a:lnTo>
                  <a:lnTo>
                    <a:pt x="2359" y="257"/>
                  </a:lnTo>
                  <a:lnTo>
                    <a:pt x="2353" y="258"/>
                  </a:lnTo>
                  <a:lnTo>
                    <a:pt x="2354" y="261"/>
                  </a:lnTo>
                  <a:lnTo>
                    <a:pt x="2356" y="263"/>
                  </a:lnTo>
                  <a:lnTo>
                    <a:pt x="2354" y="262"/>
                  </a:lnTo>
                  <a:lnTo>
                    <a:pt x="2351" y="262"/>
                  </a:lnTo>
                  <a:lnTo>
                    <a:pt x="2348" y="263"/>
                  </a:lnTo>
                  <a:lnTo>
                    <a:pt x="2345" y="262"/>
                  </a:lnTo>
                  <a:lnTo>
                    <a:pt x="2343" y="263"/>
                  </a:lnTo>
                  <a:lnTo>
                    <a:pt x="2340" y="264"/>
                  </a:lnTo>
                  <a:lnTo>
                    <a:pt x="2340" y="266"/>
                  </a:lnTo>
                  <a:lnTo>
                    <a:pt x="2339" y="270"/>
                  </a:lnTo>
                  <a:lnTo>
                    <a:pt x="2339" y="272"/>
                  </a:lnTo>
                  <a:lnTo>
                    <a:pt x="2338" y="278"/>
                  </a:lnTo>
                  <a:lnTo>
                    <a:pt x="2336" y="281"/>
                  </a:lnTo>
                  <a:lnTo>
                    <a:pt x="2334" y="280"/>
                  </a:lnTo>
                  <a:lnTo>
                    <a:pt x="2322" y="282"/>
                  </a:lnTo>
                  <a:lnTo>
                    <a:pt x="2320" y="283"/>
                  </a:lnTo>
                  <a:lnTo>
                    <a:pt x="2321" y="281"/>
                  </a:lnTo>
                  <a:lnTo>
                    <a:pt x="2316" y="282"/>
                  </a:lnTo>
                  <a:lnTo>
                    <a:pt x="2312" y="280"/>
                  </a:lnTo>
                  <a:lnTo>
                    <a:pt x="2310" y="276"/>
                  </a:lnTo>
                  <a:lnTo>
                    <a:pt x="2310" y="274"/>
                  </a:lnTo>
                  <a:lnTo>
                    <a:pt x="2301" y="271"/>
                  </a:lnTo>
                  <a:lnTo>
                    <a:pt x="2300" y="269"/>
                  </a:lnTo>
                  <a:lnTo>
                    <a:pt x="2301" y="266"/>
                  </a:lnTo>
                  <a:lnTo>
                    <a:pt x="2302" y="265"/>
                  </a:lnTo>
                  <a:lnTo>
                    <a:pt x="2305" y="264"/>
                  </a:lnTo>
                  <a:lnTo>
                    <a:pt x="2305" y="262"/>
                  </a:lnTo>
                  <a:lnTo>
                    <a:pt x="2308" y="261"/>
                  </a:lnTo>
                  <a:lnTo>
                    <a:pt x="2319" y="258"/>
                  </a:lnTo>
                  <a:lnTo>
                    <a:pt x="2325" y="258"/>
                  </a:lnTo>
                  <a:lnTo>
                    <a:pt x="2322" y="253"/>
                  </a:lnTo>
                  <a:lnTo>
                    <a:pt x="2320" y="250"/>
                  </a:lnTo>
                  <a:lnTo>
                    <a:pt x="2318" y="249"/>
                  </a:lnTo>
                  <a:lnTo>
                    <a:pt x="2314" y="247"/>
                  </a:lnTo>
                  <a:lnTo>
                    <a:pt x="2314" y="244"/>
                  </a:lnTo>
                  <a:lnTo>
                    <a:pt x="2306" y="241"/>
                  </a:lnTo>
                  <a:lnTo>
                    <a:pt x="2301" y="241"/>
                  </a:lnTo>
                  <a:lnTo>
                    <a:pt x="2289" y="243"/>
                  </a:lnTo>
                  <a:lnTo>
                    <a:pt x="2286" y="241"/>
                  </a:lnTo>
                  <a:lnTo>
                    <a:pt x="2284" y="240"/>
                  </a:lnTo>
                  <a:lnTo>
                    <a:pt x="2282" y="239"/>
                  </a:lnTo>
                  <a:lnTo>
                    <a:pt x="2278" y="240"/>
                  </a:lnTo>
                  <a:lnTo>
                    <a:pt x="2284" y="244"/>
                  </a:lnTo>
                  <a:lnTo>
                    <a:pt x="2286" y="245"/>
                  </a:lnTo>
                  <a:lnTo>
                    <a:pt x="2289" y="247"/>
                  </a:lnTo>
                  <a:lnTo>
                    <a:pt x="2291" y="248"/>
                  </a:lnTo>
                  <a:lnTo>
                    <a:pt x="2289" y="252"/>
                  </a:lnTo>
                  <a:lnTo>
                    <a:pt x="2291" y="254"/>
                  </a:lnTo>
                  <a:lnTo>
                    <a:pt x="2291" y="256"/>
                  </a:lnTo>
                  <a:lnTo>
                    <a:pt x="2289" y="260"/>
                  </a:lnTo>
                  <a:lnTo>
                    <a:pt x="2288" y="262"/>
                  </a:lnTo>
                  <a:lnTo>
                    <a:pt x="2285" y="267"/>
                  </a:lnTo>
                  <a:lnTo>
                    <a:pt x="2284" y="270"/>
                  </a:lnTo>
                  <a:lnTo>
                    <a:pt x="2284" y="273"/>
                  </a:lnTo>
                  <a:lnTo>
                    <a:pt x="2289" y="274"/>
                  </a:lnTo>
                  <a:lnTo>
                    <a:pt x="2292" y="275"/>
                  </a:lnTo>
                  <a:lnTo>
                    <a:pt x="2293" y="279"/>
                  </a:lnTo>
                  <a:lnTo>
                    <a:pt x="2294" y="281"/>
                  </a:lnTo>
                  <a:lnTo>
                    <a:pt x="2293" y="284"/>
                  </a:lnTo>
                  <a:lnTo>
                    <a:pt x="2292" y="290"/>
                  </a:lnTo>
                  <a:lnTo>
                    <a:pt x="2289" y="293"/>
                  </a:lnTo>
                  <a:lnTo>
                    <a:pt x="2288" y="296"/>
                  </a:lnTo>
                  <a:lnTo>
                    <a:pt x="2289" y="298"/>
                  </a:lnTo>
                  <a:lnTo>
                    <a:pt x="2289" y="301"/>
                  </a:lnTo>
                  <a:lnTo>
                    <a:pt x="2289" y="304"/>
                  </a:lnTo>
                  <a:lnTo>
                    <a:pt x="2288" y="301"/>
                  </a:lnTo>
                  <a:lnTo>
                    <a:pt x="2287" y="298"/>
                  </a:lnTo>
                  <a:lnTo>
                    <a:pt x="2284" y="297"/>
                  </a:lnTo>
                  <a:lnTo>
                    <a:pt x="2282" y="297"/>
                  </a:lnTo>
                  <a:lnTo>
                    <a:pt x="2278" y="300"/>
                  </a:lnTo>
                  <a:lnTo>
                    <a:pt x="2279" y="297"/>
                  </a:lnTo>
                  <a:lnTo>
                    <a:pt x="2283" y="296"/>
                  </a:lnTo>
                  <a:lnTo>
                    <a:pt x="2280" y="293"/>
                  </a:lnTo>
                  <a:lnTo>
                    <a:pt x="2276" y="291"/>
                  </a:lnTo>
                  <a:lnTo>
                    <a:pt x="2270" y="291"/>
                  </a:lnTo>
                  <a:lnTo>
                    <a:pt x="2267" y="290"/>
                  </a:lnTo>
                  <a:lnTo>
                    <a:pt x="2265" y="289"/>
                  </a:lnTo>
                  <a:lnTo>
                    <a:pt x="2261" y="289"/>
                  </a:lnTo>
                  <a:lnTo>
                    <a:pt x="2257" y="295"/>
                  </a:lnTo>
                  <a:lnTo>
                    <a:pt x="2251" y="299"/>
                  </a:lnTo>
                  <a:lnTo>
                    <a:pt x="2249" y="300"/>
                  </a:lnTo>
                  <a:lnTo>
                    <a:pt x="2246" y="300"/>
                  </a:lnTo>
                  <a:lnTo>
                    <a:pt x="2243" y="301"/>
                  </a:lnTo>
                  <a:lnTo>
                    <a:pt x="2237" y="306"/>
                  </a:lnTo>
                  <a:lnTo>
                    <a:pt x="2232" y="309"/>
                  </a:lnTo>
                  <a:lnTo>
                    <a:pt x="2229" y="312"/>
                  </a:lnTo>
                  <a:lnTo>
                    <a:pt x="2228" y="314"/>
                  </a:lnTo>
                  <a:lnTo>
                    <a:pt x="2234" y="322"/>
                  </a:lnTo>
                  <a:lnTo>
                    <a:pt x="2236" y="323"/>
                  </a:lnTo>
                  <a:lnTo>
                    <a:pt x="2237" y="325"/>
                  </a:lnTo>
                  <a:lnTo>
                    <a:pt x="2238" y="327"/>
                  </a:lnTo>
                  <a:lnTo>
                    <a:pt x="2238" y="330"/>
                  </a:lnTo>
                  <a:lnTo>
                    <a:pt x="2240" y="333"/>
                  </a:lnTo>
                  <a:lnTo>
                    <a:pt x="2240" y="333"/>
                  </a:lnTo>
                  <a:lnTo>
                    <a:pt x="2235" y="333"/>
                  </a:lnTo>
                  <a:lnTo>
                    <a:pt x="2233" y="331"/>
                  </a:lnTo>
                  <a:lnTo>
                    <a:pt x="2228" y="333"/>
                  </a:lnTo>
                  <a:lnTo>
                    <a:pt x="2225" y="332"/>
                  </a:lnTo>
                  <a:lnTo>
                    <a:pt x="2223" y="331"/>
                  </a:lnTo>
                  <a:lnTo>
                    <a:pt x="2217" y="329"/>
                  </a:lnTo>
                  <a:lnTo>
                    <a:pt x="2215" y="329"/>
                  </a:lnTo>
                  <a:lnTo>
                    <a:pt x="2211" y="329"/>
                  </a:lnTo>
                  <a:lnTo>
                    <a:pt x="2209" y="330"/>
                  </a:lnTo>
                  <a:lnTo>
                    <a:pt x="2206" y="331"/>
                  </a:lnTo>
                  <a:lnTo>
                    <a:pt x="2207" y="329"/>
                  </a:lnTo>
                  <a:lnTo>
                    <a:pt x="2210" y="326"/>
                  </a:lnTo>
                  <a:lnTo>
                    <a:pt x="2207" y="326"/>
                  </a:lnTo>
                  <a:lnTo>
                    <a:pt x="2205" y="326"/>
                  </a:lnTo>
                  <a:lnTo>
                    <a:pt x="2200" y="322"/>
                  </a:lnTo>
                  <a:lnTo>
                    <a:pt x="2192" y="318"/>
                  </a:lnTo>
                  <a:lnTo>
                    <a:pt x="2190" y="321"/>
                  </a:lnTo>
                  <a:lnTo>
                    <a:pt x="2189" y="323"/>
                  </a:lnTo>
                  <a:lnTo>
                    <a:pt x="2184" y="326"/>
                  </a:lnTo>
                  <a:lnTo>
                    <a:pt x="2186" y="329"/>
                  </a:lnTo>
                  <a:lnTo>
                    <a:pt x="2194" y="337"/>
                  </a:lnTo>
                  <a:lnTo>
                    <a:pt x="2197" y="338"/>
                  </a:lnTo>
                  <a:lnTo>
                    <a:pt x="2202" y="337"/>
                  </a:lnTo>
                  <a:lnTo>
                    <a:pt x="2206" y="339"/>
                  </a:lnTo>
                  <a:lnTo>
                    <a:pt x="2205" y="341"/>
                  </a:lnTo>
                  <a:lnTo>
                    <a:pt x="2206" y="344"/>
                  </a:lnTo>
                  <a:lnTo>
                    <a:pt x="2205" y="347"/>
                  </a:lnTo>
                  <a:lnTo>
                    <a:pt x="2201" y="347"/>
                  </a:lnTo>
                  <a:lnTo>
                    <a:pt x="2199" y="349"/>
                  </a:lnTo>
                  <a:lnTo>
                    <a:pt x="2197" y="349"/>
                  </a:lnTo>
                  <a:lnTo>
                    <a:pt x="2193" y="348"/>
                  </a:lnTo>
                  <a:lnTo>
                    <a:pt x="2190" y="347"/>
                  </a:lnTo>
                  <a:lnTo>
                    <a:pt x="2188" y="347"/>
                  </a:lnTo>
                  <a:lnTo>
                    <a:pt x="2184" y="346"/>
                  </a:lnTo>
                  <a:lnTo>
                    <a:pt x="2181" y="343"/>
                  </a:lnTo>
                  <a:lnTo>
                    <a:pt x="2180" y="341"/>
                  </a:lnTo>
                  <a:lnTo>
                    <a:pt x="2177" y="340"/>
                  </a:lnTo>
                  <a:lnTo>
                    <a:pt x="2175" y="338"/>
                  </a:lnTo>
                  <a:lnTo>
                    <a:pt x="2169" y="339"/>
                  </a:lnTo>
                  <a:lnTo>
                    <a:pt x="2164" y="335"/>
                  </a:lnTo>
                  <a:lnTo>
                    <a:pt x="2161" y="333"/>
                  </a:lnTo>
                  <a:lnTo>
                    <a:pt x="2163" y="331"/>
                  </a:lnTo>
                  <a:lnTo>
                    <a:pt x="2164" y="329"/>
                  </a:lnTo>
                  <a:lnTo>
                    <a:pt x="2161" y="329"/>
                  </a:lnTo>
                  <a:lnTo>
                    <a:pt x="2163" y="326"/>
                  </a:lnTo>
                  <a:lnTo>
                    <a:pt x="2160" y="324"/>
                  </a:lnTo>
                  <a:lnTo>
                    <a:pt x="2160" y="323"/>
                  </a:lnTo>
                  <a:lnTo>
                    <a:pt x="2158" y="317"/>
                  </a:lnTo>
                  <a:lnTo>
                    <a:pt x="2156" y="315"/>
                  </a:lnTo>
                  <a:lnTo>
                    <a:pt x="2158" y="314"/>
                  </a:lnTo>
                  <a:lnTo>
                    <a:pt x="2160" y="310"/>
                  </a:lnTo>
                  <a:lnTo>
                    <a:pt x="2159" y="305"/>
                  </a:lnTo>
                  <a:lnTo>
                    <a:pt x="2163" y="307"/>
                  </a:lnTo>
                  <a:lnTo>
                    <a:pt x="2163" y="305"/>
                  </a:lnTo>
                  <a:lnTo>
                    <a:pt x="2159" y="303"/>
                  </a:lnTo>
                  <a:lnTo>
                    <a:pt x="2159" y="300"/>
                  </a:lnTo>
                  <a:lnTo>
                    <a:pt x="2157" y="298"/>
                  </a:lnTo>
                  <a:lnTo>
                    <a:pt x="2154" y="297"/>
                  </a:lnTo>
                  <a:lnTo>
                    <a:pt x="2151" y="296"/>
                  </a:lnTo>
                  <a:lnTo>
                    <a:pt x="2149" y="296"/>
                  </a:lnTo>
                  <a:lnTo>
                    <a:pt x="2146" y="293"/>
                  </a:lnTo>
                  <a:lnTo>
                    <a:pt x="2141" y="293"/>
                  </a:lnTo>
                  <a:lnTo>
                    <a:pt x="2143" y="292"/>
                  </a:lnTo>
                  <a:lnTo>
                    <a:pt x="2146" y="292"/>
                  </a:lnTo>
                  <a:lnTo>
                    <a:pt x="2140" y="289"/>
                  </a:lnTo>
                  <a:lnTo>
                    <a:pt x="2137" y="289"/>
                  </a:lnTo>
                  <a:lnTo>
                    <a:pt x="2139" y="288"/>
                  </a:lnTo>
                  <a:lnTo>
                    <a:pt x="2142" y="289"/>
                  </a:lnTo>
                  <a:lnTo>
                    <a:pt x="2139" y="288"/>
                  </a:lnTo>
                  <a:lnTo>
                    <a:pt x="2138" y="288"/>
                  </a:lnTo>
                  <a:lnTo>
                    <a:pt x="2134" y="288"/>
                  </a:lnTo>
                  <a:lnTo>
                    <a:pt x="2140" y="287"/>
                  </a:lnTo>
                  <a:lnTo>
                    <a:pt x="2138" y="286"/>
                  </a:lnTo>
                  <a:lnTo>
                    <a:pt x="2134" y="284"/>
                  </a:lnTo>
                  <a:lnTo>
                    <a:pt x="2132" y="282"/>
                  </a:lnTo>
                  <a:lnTo>
                    <a:pt x="2130" y="281"/>
                  </a:lnTo>
                  <a:lnTo>
                    <a:pt x="2131" y="278"/>
                  </a:lnTo>
                  <a:lnTo>
                    <a:pt x="2127" y="276"/>
                  </a:lnTo>
                  <a:lnTo>
                    <a:pt x="2125" y="275"/>
                  </a:lnTo>
                  <a:lnTo>
                    <a:pt x="2122" y="275"/>
                  </a:lnTo>
                  <a:lnTo>
                    <a:pt x="2125" y="274"/>
                  </a:lnTo>
                  <a:lnTo>
                    <a:pt x="2132" y="275"/>
                  </a:lnTo>
                  <a:lnTo>
                    <a:pt x="2134" y="275"/>
                  </a:lnTo>
                  <a:lnTo>
                    <a:pt x="2134" y="279"/>
                  </a:lnTo>
                  <a:lnTo>
                    <a:pt x="2140" y="283"/>
                  </a:lnTo>
                  <a:lnTo>
                    <a:pt x="2142" y="284"/>
                  </a:lnTo>
                  <a:lnTo>
                    <a:pt x="2146" y="282"/>
                  </a:lnTo>
                  <a:lnTo>
                    <a:pt x="2148" y="284"/>
                  </a:lnTo>
                  <a:lnTo>
                    <a:pt x="2154" y="286"/>
                  </a:lnTo>
                  <a:lnTo>
                    <a:pt x="2157" y="287"/>
                  </a:lnTo>
                  <a:lnTo>
                    <a:pt x="2159" y="288"/>
                  </a:lnTo>
                  <a:lnTo>
                    <a:pt x="2163" y="287"/>
                  </a:lnTo>
                  <a:lnTo>
                    <a:pt x="2169" y="291"/>
                  </a:lnTo>
                  <a:lnTo>
                    <a:pt x="2183" y="293"/>
                  </a:lnTo>
                  <a:lnTo>
                    <a:pt x="2193" y="295"/>
                  </a:lnTo>
                  <a:lnTo>
                    <a:pt x="2195" y="296"/>
                  </a:lnTo>
                  <a:lnTo>
                    <a:pt x="2198" y="297"/>
                  </a:lnTo>
                  <a:lnTo>
                    <a:pt x="2205" y="299"/>
                  </a:lnTo>
                  <a:lnTo>
                    <a:pt x="2212" y="300"/>
                  </a:lnTo>
                  <a:lnTo>
                    <a:pt x="2218" y="298"/>
                  </a:lnTo>
                  <a:lnTo>
                    <a:pt x="2220" y="298"/>
                  </a:lnTo>
                  <a:lnTo>
                    <a:pt x="2224" y="298"/>
                  </a:lnTo>
                  <a:lnTo>
                    <a:pt x="2226" y="296"/>
                  </a:lnTo>
                  <a:lnTo>
                    <a:pt x="2233" y="295"/>
                  </a:lnTo>
                  <a:lnTo>
                    <a:pt x="2235" y="292"/>
                  </a:lnTo>
                  <a:lnTo>
                    <a:pt x="2237" y="291"/>
                  </a:lnTo>
                  <a:lnTo>
                    <a:pt x="2249" y="282"/>
                  </a:lnTo>
                  <a:lnTo>
                    <a:pt x="2250" y="279"/>
                  </a:lnTo>
                  <a:lnTo>
                    <a:pt x="2250" y="278"/>
                  </a:lnTo>
                  <a:lnTo>
                    <a:pt x="2251" y="275"/>
                  </a:lnTo>
                  <a:lnTo>
                    <a:pt x="2250" y="273"/>
                  </a:lnTo>
                  <a:lnTo>
                    <a:pt x="2248" y="270"/>
                  </a:lnTo>
                  <a:lnTo>
                    <a:pt x="2246" y="267"/>
                  </a:lnTo>
                  <a:lnTo>
                    <a:pt x="2246" y="262"/>
                  </a:lnTo>
                  <a:lnTo>
                    <a:pt x="2243" y="261"/>
                  </a:lnTo>
                  <a:lnTo>
                    <a:pt x="2241" y="260"/>
                  </a:lnTo>
                  <a:lnTo>
                    <a:pt x="2237" y="260"/>
                  </a:lnTo>
                  <a:lnTo>
                    <a:pt x="2236" y="257"/>
                  </a:lnTo>
                  <a:lnTo>
                    <a:pt x="2233" y="254"/>
                  </a:lnTo>
                  <a:lnTo>
                    <a:pt x="2231" y="252"/>
                  </a:lnTo>
                  <a:lnTo>
                    <a:pt x="2227" y="253"/>
                  </a:lnTo>
                  <a:lnTo>
                    <a:pt x="2225" y="253"/>
                  </a:lnTo>
                  <a:lnTo>
                    <a:pt x="2214" y="246"/>
                  </a:lnTo>
                  <a:lnTo>
                    <a:pt x="2211" y="246"/>
                  </a:lnTo>
                  <a:lnTo>
                    <a:pt x="2202" y="239"/>
                  </a:lnTo>
                  <a:lnTo>
                    <a:pt x="2200" y="238"/>
                  </a:lnTo>
                  <a:lnTo>
                    <a:pt x="2194" y="236"/>
                  </a:lnTo>
                  <a:lnTo>
                    <a:pt x="2186" y="230"/>
                  </a:lnTo>
                  <a:lnTo>
                    <a:pt x="2184" y="230"/>
                  </a:lnTo>
                  <a:lnTo>
                    <a:pt x="2181" y="228"/>
                  </a:lnTo>
                  <a:lnTo>
                    <a:pt x="2178" y="228"/>
                  </a:lnTo>
                  <a:lnTo>
                    <a:pt x="2175" y="227"/>
                  </a:lnTo>
                  <a:lnTo>
                    <a:pt x="2169" y="224"/>
                  </a:lnTo>
                  <a:lnTo>
                    <a:pt x="2167" y="224"/>
                  </a:lnTo>
                  <a:lnTo>
                    <a:pt x="2164" y="226"/>
                  </a:lnTo>
                  <a:lnTo>
                    <a:pt x="2161" y="226"/>
                  </a:lnTo>
                  <a:lnTo>
                    <a:pt x="2156" y="223"/>
                  </a:lnTo>
                  <a:lnTo>
                    <a:pt x="2150" y="223"/>
                  </a:lnTo>
                  <a:lnTo>
                    <a:pt x="2144" y="223"/>
                  </a:lnTo>
                  <a:lnTo>
                    <a:pt x="2144" y="227"/>
                  </a:lnTo>
                  <a:lnTo>
                    <a:pt x="2141" y="229"/>
                  </a:lnTo>
                  <a:lnTo>
                    <a:pt x="2139" y="229"/>
                  </a:lnTo>
                  <a:lnTo>
                    <a:pt x="2137" y="232"/>
                  </a:lnTo>
                  <a:lnTo>
                    <a:pt x="2137" y="229"/>
                  </a:lnTo>
                  <a:lnTo>
                    <a:pt x="2140" y="229"/>
                  </a:lnTo>
                  <a:lnTo>
                    <a:pt x="2142" y="227"/>
                  </a:lnTo>
                  <a:lnTo>
                    <a:pt x="2143" y="224"/>
                  </a:lnTo>
                  <a:lnTo>
                    <a:pt x="2140" y="224"/>
                  </a:lnTo>
                  <a:lnTo>
                    <a:pt x="2143" y="222"/>
                  </a:lnTo>
                  <a:lnTo>
                    <a:pt x="2140" y="221"/>
                  </a:lnTo>
                  <a:lnTo>
                    <a:pt x="2138" y="221"/>
                  </a:lnTo>
                  <a:lnTo>
                    <a:pt x="2135" y="223"/>
                  </a:lnTo>
                  <a:lnTo>
                    <a:pt x="2137" y="221"/>
                  </a:lnTo>
                  <a:lnTo>
                    <a:pt x="2133" y="221"/>
                  </a:lnTo>
                  <a:lnTo>
                    <a:pt x="2131" y="219"/>
                  </a:lnTo>
                  <a:lnTo>
                    <a:pt x="2127" y="220"/>
                  </a:lnTo>
                  <a:lnTo>
                    <a:pt x="2129" y="218"/>
                  </a:lnTo>
                  <a:lnTo>
                    <a:pt x="2123" y="215"/>
                  </a:lnTo>
                  <a:lnTo>
                    <a:pt x="2124" y="213"/>
                  </a:lnTo>
                  <a:lnTo>
                    <a:pt x="2127" y="215"/>
                  </a:lnTo>
                  <a:lnTo>
                    <a:pt x="2135" y="216"/>
                  </a:lnTo>
                  <a:lnTo>
                    <a:pt x="2138" y="214"/>
                  </a:lnTo>
                  <a:lnTo>
                    <a:pt x="2135" y="212"/>
                  </a:lnTo>
                  <a:lnTo>
                    <a:pt x="2130" y="212"/>
                  </a:lnTo>
                  <a:lnTo>
                    <a:pt x="2127" y="210"/>
                  </a:lnTo>
                  <a:lnTo>
                    <a:pt x="2124" y="209"/>
                  </a:lnTo>
                  <a:lnTo>
                    <a:pt x="2122" y="209"/>
                  </a:lnTo>
                  <a:lnTo>
                    <a:pt x="2124" y="211"/>
                  </a:lnTo>
                  <a:lnTo>
                    <a:pt x="2121" y="211"/>
                  </a:lnTo>
                  <a:lnTo>
                    <a:pt x="2118" y="213"/>
                  </a:lnTo>
                  <a:lnTo>
                    <a:pt x="2116" y="214"/>
                  </a:lnTo>
                  <a:lnTo>
                    <a:pt x="2113" y="216"/>
                  </a:lnTo>
                  <a:lnTo>
                    <a:pt x="2115" y="213"/>
                  </a:lnTo>
                  <a:lnTo>
                    <a:pt x="2107" y="212"/>
                  </a:lnTo>
                  <a:lnTo>
                    <a:pt x="2105" y="211"/>
                  </a:lnTo>
                  <a:lnTo>
                    <a:pt x="2103" y="214"/>
                  </a:lnTo>
                  <a:lnTo>
                    <a:pt x="2101" y="211"/>
                  </a:lnTo>
                  <a:lnTo>
                    <a:pt x="2099" y="210"/>
                  </a:lnTo>
                  <a:lnTo>
                    <a:pt x="2099" y="212"/>
                  </a:lnTo>
                  <a:lnTo>
                    <a:pt x="2098" y="214"/>
                  </a:lnTo>
                  <a:lnTo>
                    <a:pt x="2096" y="214"/>
                  </a:lnTo>
                  <a:lnTo>
                    <a:pt x="2096" y="213"/>
                  </a:lnTo>
                  <a:lnTo>
                    <a:pt x="2092" y="213"/>
                  </a:lnTo>
                  <a:lnTo>
                    <a:pt x="2089" y="213"/>
                  </a:lnTo>
                  <a:lnTo>
                    <a:pt x="2092" y="212"/>
                  </a:lnTo>
                  <a:lnTo>
                    <a:pt x="2091" y="209"/>
                  </a:lnTo>
                  <a:lnTo>
                    <a:pt x="2088" y="210"/>
                  </a:lnTo>
                  <a:lnTo>
                    <a:pt x="2089" y="206"/>
                  </a:lnTo>
                  <a:lnTo>
                    <a:pt x="2087" y="206"/>
                  </a:lnTo>
                  <a:lnTo>
                    <a:pt x="2083" y="205"/>
                  </a:lnTo>
                  <a:lnTo>
                    <a:pt x="2078" y="204"/>
                  </a:lnTo>
                  <a:lnTo>
                    <a:pt x="2081" y="203"/>
                  </a:lnTo>
                  <a:lnTo>
                    <a:pt x="2092" y="205"/>
                  </a:lnTo>
                  <a:lnTo>
                    <a:pt x="2098" y="205"/>
                  </a:lnTo>
                  <a:lnTo>
                    <a:pt x="2101" y="203"/>
                  </a:lnTo>
                  <a:lnTo>
                    <a:pt x="2104" y="201"/>
                  </a:lnTo>
                  <a:lnTo>
                    <a:pt x="2109" y="199"/>
                  </a:lnTo>
                  <a:lnTo>
                    <a:pt x="2110" y="197"/>
                  </a:lnTo>
                  <a:lnTo>
                    <a:pt x="2101" y="193"/>
                  </a:lnTo>
                  <a:lnTo>
                    <a:pt x="2099" y="194"/>
                  </a:lnTo>
                  <a:lnTo>
                    <a:pt x="2097" y="194"/>
                  </a:lnTo>
                  <a:lnTo>
                    <a:pt x="2099" y="193"/>
                  </a:lnTo>
                  <a:lnTo>
                    <a:pt x="2099" y="190"/>
                  </a:lnTo>
                  <a:lnTo>
                    <a:pt x="2096" y="189"/>
                  </a:lnTo>
                  <a:lnTo>
                    <a:pt x="2092" y="192"/>
                  </a:lnTo>
                  <a:lnTo>
                    <a:pt x="2092" y="188"/>
                  </a:lnTo>
                  <a:lnTo>
                    <a:pt x="2089" y="189"/>
                  </a:lnTo>
                  <a:lnTo>
                    <a:pt x="2087" y="190"/>
                  </a:lnTo>
                  <a:lnTo>
                    <a:pt x="2088" y="187"/>
                  </a:lnTo>
                  <a:lnTo>
                    <a:pt x="2084" y="186"/>
                  </a:lnTo>
                  <a:lnTo>
                    <a:pt x="2082" y="185"/>
                  </a:lnTo>
                  <a:lnTo>
                    <a:pt x="2079" y="186"/>
                  </a:lnTo>
                  <a:lnTo>
                    <a:pt x="2077" y="188"/>
                  </a:lnTo>
                  <a:lnTo>
                    <a:pt x="2075" y="190"/>
                  </a:lnTo>
                  <a:lnTo>
                    <a:pt x="2075" y="194"/>
                  </a:lnTo>
                  <a:lnTo>
                    <a:pt x="2072" y="196"/>
                  </a:lnTo>
                  <a:lnTo>
                    <a:pt x="2071" y="199"/>
                  </a:lnTo>
                  <a:lnTo>
                    <a:pt x="2071" y="196"/>
                  </a:lnTo>
                  <a:lnTo>
                    <a:pt x="2073" y="194"/>
                  </a:lnTo>
                  <a:lnTo>
                    <a:pt x="2069" y="195"/>
                  </a:lnTo>
                  <a:lnTo>
                    <a:pt x="2071" y="192"/>
                  </a:lnTo>
                  <a:lnTo>
                    <a:pt x="2073" y="189"/>
                  </a:lnTo>
                  <a:lnTo>
                    <a:pt x="2066" y="192"/>
                  </a:lnTo>
                  <a:lnTo>
                    <a:pt x="2064" y="192"/>
                  </a:lnTo>
                  <a:lnTo>
                    <a:pt x="2066" y="190"/>
                  </a:lnTo>
                  <a:lnTo>
                    <a:pt x="2070" y="189"/>
                  </a:lnTo>
                  <a:lnTo>
                    <a:pt x="2066" y="188"/>
                  </a:lnTo>
                  <a:lnTo>
                    <a:pt x="2069" y="186"/>
                  </a:lnTo>
                  <a:lnTo>
                    <a:pt x="2071" y="187"/>
                  </a:lnTo>
                  <a:lnTo>
                    <a:pt x="2075" y="185"/>
                  </a:lnTo>
                  <a:lnTo>
                    <a:pt x="2074" y="181"/>
                  </a:lnTo>
                  <a:lnTo>
                    <a:pt x="2071" y="182"/>
                  </a:lnTo>
                  <a:lnTo>
                    <a:pt x="2072" y="180"/>
                  </a:lnTo>
                  <a:lnTo>
                    <a:pt x="2069" y="180"/>
                  </a:lnTo>
                  <a:lnTo>
                    <a:pt x="2066" y="180"/>
                  </a:lnTo>
                  <a:lnTo>
                    <a:pt x="2064" y="179"/>
                  </a:lnTo>
                  <a:lnTo>
                    <a:pt x="2061" y="181"/>
                  </a:lnTo>
                  <a:lnTo>
                    <a:pt x="2058" y="181"/>
                  </a:lnTo>
                  <a:lnTo>
                    <a:pt x="2058" y="185"/>
                  </a:lnTo>
                  <a:lnTo>
                    <a:pt x="2062" y="187"/>
                  </a:lnTo>
                  <a:lnTo>
                    <a:pt x="2058" y="188"/>
                  </a:lnTo>
                  <a:lnTo>
                    <a:pt x="2056" y="189"/>
                  </a:lnTo>
                  <a:lnTo>
                    <a:pt x="2057" y="192"/>
                  </a:lnTo>
                  <a:lnTo>
                    <a:pt x="2055" y="192"/>
                  </a:lnTo>
                  <a:lnTo>
                    <a:pt x="2056" y="195"/>
                  </a:lnTo>
                  <a:lnTo>
                    <a:pt x="2054" y="195"/>
                  </a:lnTo>
                  <a:lnTo>
                    <a:pt x="2048" y="197"/>
                  </a:lnTo>
                  <a:lnTo>
                    <a:pt x="2049" y="195"/>
                  </a:lnTo>
                  <a:lnTo>
                    <a:pt x="2049" y="193"/>
                  </a:lnTo>
                  <a:lnTo>
                    <a:pt x="2048" y="189"/>
                  </a:lnTo>
                  <a:lnTo>
                    <a:pt x="2050" y="188"/>
                  </a:lnTo>
                  <a:lnTo>
                    <a:pt x="2049" y="182"/>
                  </a:lnTo>
                  <a:lnTo>
                    <a:pt x="2047" y="185"/>
                  </a:lnTo>
                  <a:lnTo>
                    <a:pt x="2041" y="189"/>
                  </a:lnTo>
                  <a:lnTo>
                    <a:pt x="2040" y="192"/>
                  </a:lnTo>
                  <a:lnTo>
                    <a:pt x="2038" y="194"/>
                  </a:lnTo>
                  <a:lnTo>
                    <a:pt x="2036" y="196"/>
                  </a:lnTo>
                  <a:lnTo>
                    <a:pt x="2035" y="199"/>
                  </a:lnTo>
                  <a:lnTo>
                    <a:pt x="2032" y="202"/>
                  </a:lnTo>
                  <a:lnTo>
                    <a:pt x="2029" y="203"/>
                  </a:lnTo>
                  <a:lnTo>
                    <a:pt x="2027" y="203"/>
                  </a:lnTo>
                  <a:lnTo>
                    <a:pt x="2028" y="201"/>
                  </a:lnTo>
                  <a:lnTo>
                    <a:pt x="2029" y="197"/>
                  </a:lnTo>
                  <a:lnTo>
                    <a:pt x="2031" y="195"/>
                  </a:lnTo>
                  <a:lnTo>
                    <a:pt x="2029" y="195"/>
                  </a:lnTo>
                  <a:lnTo>
                    <a:pt x="2030" y="193"/>
                  </a:lnTo>
                  <a:lnTo>
                    <a:pt x="2038" y="187"/>
                  </a:lnTo>
                  <a:lnTo>
                    <a:pt x="2038" y="185"/>
                  </a:lnTo>
                  <a:lnTo>
                    <a:pt x="2036" y="185"/>
                  </a:lnTo>
                  <a:lnTo>
                    <a:pt x="2032" y="184"/>
                  </a:lnTo>
                  <a:lnTo>
                    <a:pt x="2031" y="187"/>
                  </a:lnTo>
                  <a:lnTo>
                    <a:pt x="2029" y="184"/>
                  </a:lnTo>
                  <a:lnTo>
                    <a:pt x="2027" y="184"/>
                  </a:lnTo>
                  <a:lnTo>
                    <a:pt x="2024" y="182"/>
                  </a:lnTo>
                  <a:lnTo>
                    <a:pt x="2021" y="182"/>
                  </a:lnTo>
                  <a:lnTo>
                    <a:pt x="2023" y="185"/>
                  </a:lnTo>
                  <a:lnTo>
                    <a:pt x="2020" y="186"/>
                  </a:lnTo>
                  <a:lnTo>
                    <a:pt x="2018" y="187"/>
                  </a:lnTo>
                  <a:lnTo>
                    <a:pt x="2020" y="188"/>
                  </a:lnTo>
                  <a:lnTo>
                    <a:pt x="2023" y="190"/>
                  </a:lnTo>
                  <a:lnTo>
                    <a:pt x="2018" y="190"/>
                  </a:lnTo>
                  <a:lnTo>
                    <a:pt x="2015" y="193"/>
                  </a:lnTo>
                  <a:lnTo>
                    <a:pt x="2019" y="195"/>
                  </a:lnTo>
                  <a:lnTo>
                    <a:pt x="2014" y="194"/>
                  </a:lnTo>
                  <a:lnTo>
                    <a:pt x="2011" y="195"/>
                  </a:lnTo>
                  <a:lnTo>
                    <a:pt x="2009" y="196"/>
                  </a:lnTo>
                  <a:lnTo>
                    <a:pt x="2007" y="199"/>
                  </a:lnTo>
                  <a:lnTo>
                    <a:pt x="2005" y="199"/>
                  </a:lnTo>
                  <a:lnTo>
                    <a:pt x="2004" y="203"/>
                  </a:lnTo>
                  <a:lnTo>
                    <a:pt x="2003" y="205"/>
                  </a:lnTo>
                  <a:lnTo>
                    <a:pt x="2006" y="206"/>
                  </a:lnTo>
                  <a:lnTo>
                    <a:pt x="2006" y="206"/>
                  </a:lnTo>
                  <a:lnTo>
                    <a:pt x="2003" y="207"/>
                  </a:lnTo>
                  <a:lnTo>
                    <a:pt x="2002" y="206"/>
                  </a:lnTo>
                  <a:lnTo>
                    <a:pt x="2001" y="206"/>
                  </a:lnTo>
                  <a:lnTo>
                    <a:pt x="1999" y="203"/>
                  </a:lnTo>
                  <a:lnTo>
                    <a:pt x="1997" y="204"/>
                  </a:lnTo>
                  <a:lnTo>
                    <a:pt x="1992" y="205"/>
                  </a:lnTo>
                  <a:lnTo>
                    <a:pt x="1996" y="204"/>
                  </a:lnTo>
                  <a:lnTo>
                    <a:pt x="1999" y="202"/>
                  </a:lnTo>
                  <a:lnTo>
                    <a:pt x="1993" y="201"/>
                  </a:lnTo>
                  <a:lnTo>
                    <a:pt x="1990" y="201"/>
                  </a:lnTo>
                  <a:lnTo>
                    <a:pt x="1993" y="203"/>
                  </a:lnTo>
                  <a:lnTo>
                    <a:pt x="1989" y="202"/>
                  </a:lnTo>
                  <a:lnTo>
                    <a:pt x="1988" y="199"/>
                  </a:lnTo>
                  <a:lnTo>
                    <a:pt x="1985" y="198"/>
                  </a:lnTo>
                  <a:lnTo>
                    <a:pt x="1984" y="202"/>
                  </a:lnTo>
                  <a:lnTo>
                    <a:pt x="1980" y="198"/>
                  </a:lnTo>
                  <a:lnTo>
                    <a:pt x="1976" y="201"/>
                  </a:lnTo>
                  <a:lnTo>
                    <a:pt x="1978" y="203"/>
                  </a:lnTo>
                  <a:lnTo>
                    <a:pt x="1981" y="205"/>
                  </a:lnTo>
                  <a:lnTo>
                    <a:pt x="1984" y="205"/>
                  </a:lnTo>
                  <a:lnTo>
                    <a:pt x="1987" y="204"/>
                  </a:lnTo>
                  <a:lnTo>
                    <a:pt x="1984" y="205"/>
                  </a:lnTo>
                  <a:lnTo>
                    <a:pt x="1987" y="206"/>
                  </a:lnTo>
                  <a:lnTo>
                    <a:pt x="1987" y="206"/>
                  </a:lnTo>
                  <a:lnTo>
                    <a:pt x="1985" y="207"/>
                  </a:lnTo>
                  <a:lnTo>
                    <a:pt x="1985" y="211"/>
                  </a:lnTo>
                  <a:lnTo>
                    <a:pt x="1986" y="213"/>
                  </a:lnTo>
                  <a:lnTo>
                    <a:pt x="1985" y="211"/>
                  </a:lnTo>
                  <a:lnTo>
                    <a:pt x="1982" y="209"/>
                  </a:lnTo>
                  <a:lnTo>
                    <a:pt x="1979" y="206"/>
                  </a:lnTo>
                  <a:lnTo>
                    <a:pt x="1976" y="206"/>
                  </a:lnTo>
                  <a:lnTo>
                    <a:pt x="1976" y="211"/>
                  </a:lnTo>
                  <a:lnTo>
                    <a:pt x="1973" y="212"/>
                  </a:lnTo>
                  <a:lnTo>
                    <a:pt x="1971" y="210"/>
                  </a:lnTo>
                  <a:lnTo>
                    <a:pt x="1973" y="207"/>
                  </a:lnTo>
                  <a:lnTo>
                    <a:pt x="1971" y="209"/>
                  </a:lnTo>
                  <a:lnTo>
                    <a:pt x="1969" y="212"/>
                  </a:lnTo>
                  <a:lnTo>
                    <a:pt x="1967" y="213"/>
                  </a:lnTo>
                  <a:lnTo>
                    <a:pt x="1967" y="216"/>
                  </a:lnTo>
                  <a:lnTo>
                    <a:pt x="1970" y="219"/>
                  </a:lnTo>
                  <a:lnTo>
                    <a:pt x="1967" y="218"/>
                  </a:lnTo>
                  <a:lnTo>
                    <a:pt x="1964" y="219"/>
                  </a:lnTo>
                  <a:lnTo>
                    <a:pt x="1962" y="222"/>
                  </a:lnTo>
                  <a:lnTo>
                    <a:pt x="1959" y="224"/>
                  </a:lnTo>
                  <a:lnTo>
                    <a:pt x="1959" y="223"/>
                  </a:lnTo>
                  <a:lnTo>
                    <a:pt x="1961" y="221"/>
                  </a:lnTo>
                  <a:lnTo>
                    <a:pt x="1964" y="215"/>
                  </a:lnTo>
                  <a:lnTo>
                    <a:pt x="1963" y="213"/>
                  </a:lnTo>
                  <a:lnTo>
                    <a:pt x="1964" y="210"/>
                  </a:lnTo>
                  <a:lnTo>
                    <a:pt x="1963" y="207"/>
                  </a:lnTo>
                  <a:lnTo>
                    <a:pt x="1962" y="210"/>
                  </a:lnTo>
                  <a:lnTo>
                    <a:pt x="1959" y="212"/>
                  </a:lnTo>
                  <a:lnTo>
                    <a:pt x="1959" y="211"/>
                  </a:lnTo>
                  <a:lnTo>
                    <a:pt x="1956" y="213"/>
                  </a:lnTo>
                  <a:lnTo>
                    <a:pt x="1958" y="216"/>
                  </a:lnTo>
                  <a:lnTo>
                    <a:pt x="1959" y="216"/>
                  </a:lnTo>
                  <a:lnTo>
                    <a:pt x="1955" y="216"/>
                  </a:lnTo>
                  <a:lnTo>
                    <a:pt x="1955" y="219"/>
                  </a:lnTo>
                  <a:lnTo>
                    <a:pt x="1953" y="221"/>
                  </a:lnTo>
                  <a:lnTo>
                    <a:pt x="1955" y="215"/>
                  </a:lnTo>
                  <a:lnTo>
                    <a:pt x="1955" y="213"/>
                  </a:lnTo>
                  <a:lnTo>
                    <a:pt x="1953" y="212"/>
                  </a:lnTo>
                  <a:lnTo>
                    <a:pt x="1950" y="212"/>
                  </a:lnTo>
                  <a:lnTo>
                    <a:pt x="1947" y="213"/>
                  </a:lnTo>
                  <a:lnTo>
                    <a:pt x="1945" y="215"/>
                  </a:lnTo>
                  <a:lnTo>
                    <a:pt x="1945" y="218"/>
                  </a:lnTo>
                  <a:lnTo>
                    <a:pt x="1949" y="218"/>
                  </a:lnTo>
                  <a:lnTo>
                    <a:pt x="1945" y="219"/>
                  </a:lnTo>
                  <a:lnTo>
                    <a:pt x="1946" y="222"/>
                  </a:lnTo>
                  <a:lnTo>
                    <a:pt x="1950" y="222"/>
                  </a:lnTo>
                  <a:lnTo>
                    <a:pt x="1951" y="224"/>
                  </a:lnTo>
                  <a:lnTo>
                    <a:pt x="1949" y="222"/>
                  </a:lnTo>
                  <a:lnTo>
                    <a:pt x="1945" y="222"/>
                  </a:lnTo>
                  <a:lnTo>
                    <a:pt x="1944" y="219"/>
                  </a:lnTo>
                  <a:lnTo>
                    <a:pt x="1941" y="218"/>
                  </a:lnTo>
                  <a:lnTo>
                    <a:pt x="1938" y="219"/>
                  </a:lnTo>
                  <a:lnTo>
                    <a:pt x="1939" y="221"/>
                  </a:lnTo>
                  <a:lnTo>
                    <a:pt x="1945" y="224"/>
                  </a:lnTo>
                  <a:lnTo>
                    <a:pt x="1943" y="223"/>
                  </a:lnTo>
                  <a:lnTo>
                    <a:pt x="1939" y="223"/>
                  </a:lnTo>
                  <a:lnTo>
                    <a:pt x="1938" y="226"/>
                  </a:lnTo>
                  <a:lnTo>
                    <a:pt x="1938" y="224"/>
                  </a:lnTo>
                  <a:lnTo>
                    <a:pt x="1937" y="221"/>
                  </a:lnTo>
                  <a:lnTo>
                    <a:pt x="1935" y="220"/>
                  </a:lnTo>
                  <a:lnTo>
                    <a:pt x="1932" y="226"/>
                  </a:lnTo>
                  <a:lnTo>
                    <a:pt x="1933" y="228"/>
                  </a:lnTo>
                  <a:lnTo>
                    <a:pt x="1928" y="228"/>
                  </a:lnTo>
                  <a:lnTo>
                    <a:pt x="1925" y="230"/>
                  </a:lnTo>
                  <a:lnTo>
                    <a:pt x="1925" y="233"/>
                  </a:lnTo>
                  <a:lnTo>
                    <a:pt x="1927" y="233"/>
                  </a:lnTo>
                  <a:lnTo>
                    <a:pt x="1927" y="236"/>
                  </a:lnTo>
                  <a:lnTo>
                    <a:pt x="1924" y="236"/>
                  </a:lnTo>
                  <a:lnTo>
                    <a:pt x="1922" y="236"/>
                  </a:lnTo>
                  <a:lnTo>
                    <a:pt x="1927" y="239"/>
                  </a:lnTo>
                  <a:lnTo>
                    <a:pt x="1921" y="237"/>
                  </a:lnTo>
                  <a:lnTo>
                    <a:pt x="1918" y="238"/>
                  </a:lnTo>
                  <a:lnTo>
                    <a:pt x="1912" y="239"/>
                  </a:lnTo>
                  <a:lnTo>
                    <a:pt x="1912" y="241"/>
                  </a:lnTo>
                  <a:lnTo>
                    <a:pt x="1913" y="244"/>
                  </a:lnTo>
                  <a:lnTo>
                    <a:pt x="1919" y="244"/>
                  </a:lnTo>
                  <a:lnTo>
                    <a:pt x="1922" y="244"/>
                  </a:lnTo>
                  <a:lnTo>
                    <a:pt x="1928" y="244"/>
                  </a:lnTo>
                  <a:lnTo>
                    <a:pt x="1924" y="245"/>
                  </a:lnTo>
                  <a:lnTo>
                    <a:pt x="1921" y="246"/>
                  </a:lnTo>
                  <a:lnTo>
                    <a:pt x="1921" y="247"/>
                  </a:lnTo>
                  <a:lnTo>
                    <a:pt x="1924" y="249"/>
                  </a:lnTo>
                  <a:lnTo>
                    <a:pt x="1921" y="247"/>
                  </a:lnTo>
                  <a:lnTo>
                    <a:pt x="1921" y="246"/>
                  </a:lnTo>
                  <a:lnTo>
                    <a:pt x="1919" y="246"/>
                  </a:lnTo>
                  <a:lnTo>
                    <a:pt x="1916" y="247"/>
                  </a:lnTo>
                  <a:lnTo>
                    <a:pt x="1913" y="245"/>
                  </a:lnTo>
                  <a:lnTo>
                    <a:pt x="1910" y="245"/>
                  </a:lnTo>
                  <a:lnTo>
                    <a:pt x="1911" y="248"/>
                  </a:lnTo>
                  <a:lnTo>
                    <a:pt x="1915" y="250"/>
                  </a:lnTo>
                  <a:lnTo>
                    <a:pt x="1911" y="248"/>
                  </a:lnTo>
                  <a:lnTo>
                    <a:pt x="1908" y="247"/>
                  </a:lnTo>
                  <a:lnTo>
                    <a:pt x="1911" y="248"/>
                  </a:lnTo>
                  <a:lnTo>
                    <a:pt x="1910" y="250"/>
                  </a:lnTo>
                  <a:lnTo>
                    <a:pt x="1913" y="253"/>
                  </a:lnTo>
                  <a:lnTo>
                    <a:pt x="1910" y="253"/>
                  </a:lnTo>
                  <a:lnTo>
                    <a:pt x="1911" y="255"/>
                  </a:lnTo>
                  <a:lnTo>
                    <a:pt x="1909" y="254"/>
                  </a:lnTo>
                  <a:lnTo>
                    <a:pt x="1910" y="257"/>
                  </a:lnTo>
                  <a:lnTo>
                    <a:pt x="1908" y="254"/>
                  </a:lnTo>
                  <a:lnTo>
                    <a:pt x="1908" y="257"/>
                  </a:lnTo>
                  <a:lnTo>
                    <a:pt x="1910" y="258"/>
                  </a:lnTo>
                  <a:lnTo>
                    <a:pt x="1908" y="257"/>
                  </a:lnTo>
                  <a:lnTo>
                    <a:pt x="1908" y="257"/>
                  </a:lnTo>
                  <a:lnTo>
                    <a:pt x="1907" y="255"/>
                  </a:lnTo>
                  <a:lnTo>
                    <a:pt x="1905" y="249"/>
                  </a:lnTo>
                  <a:lnTo>
                    <a:pt x="1902" y="249"/>
                  </a:lnTo>
                  <a:lnTo>
                    <a:pt x="1901" y="253"/>
                  </a:lnTo>
                  <a:lnTo>
                    <a:pt x="1899" y="252"/>
                  </a:lnTo>
                  <a:lnTo>
                    <a:pt x="1896" y="252"/>
                  </a:lnTo>
                  <a:lnTo>
                    <a:pt x="1895" y="254"/>
                  </a:lnTo>
                  <a:lnTo>
                    <a:pt x="1899" y="253"/>
                  </a:lnTo>
                  <a:lnTo>
                    <a:pt x="1901" y="254"/>
                  </a:lnTo>
                  <a:lnTo>
                    <a:pt x="1901" y="254"/>
                  </a:lnTo>
                  <a:lnTo>
                    <a:pt x="1901" y="254"/>
                  </a:lnTo>
                  <a:lnTo>
                    <a:pt x="1903" y="255"/>
                  </a:lnTo>
                  <a:lnTo>
                    <a:pt x="1901" y="255"/>
                  </a:lnTo>
                  <a:lnTo>
                    <a:pt x="1893" y="257"/>
                  </a:lnTo>
                  <a:lnTo>
                    <a:pt x="1890" y="257"/>
                  </a:lnTo>
                  <a:lnTo>
                    <a:pt x="1890" y="261"/>
                  </a:lnTo>
                  <a:lnTo>
                    <a:pt x="1887" y="262"/>
                  </a:lnTo>
                  <a:lnTo>
                    <a:pt x="1890" y="263"/>
                  </a:lnTo>
                  <a:lnTo>
                    <a:pt x="1896" y="258"/>
                  </a:lnTo>
                  <a:lnTo>
                    <a:pt x="1899" y="260"/>
                  </a:lnTo>
                  <a:lnTo>
                    <a:pt x="1901" y="262"/>
                  </a:lnTo>
                  <a:lnTo>
                    <a:pt x="1899" y="261"/>
                  </a:lnTo>
                  <a:lnTo>
                    <a:pt x="1896" y="261"/>
                  </a:lnTo>
                  <a:lnTo>
                    <a:pt x="1899" y="262"/>
                  </a:lnTo>
                  <a:lnTo>
                    <a:pt x="1896" y="262"/>
                  </a:lnTo>
                  <a:lnTo>
                    <a:pt x="1893" y="263"/>
                  </a:lnTo>
                  <a:lnTo>
                    <a:pt x="1896" y="265"/>
                  </a:lnTo>
                  <a:lnTo>
                    <a:pt x="1901" y="265"/>
                  </a:lnTo>
                  <a:lnTo>
                    <a:pt x="1899" y="266"/>
                  </a:lnTo>
                  <a:lnTo>
                    <a:pt x="1900" y="269"/>
                  </a:lnTo>
                  <a:lnTo>
                    <a:pt x="1898" y="269"/>
                  </a:lnTo>
                  <a:lnTo>
                    <a:pt x="1895" y="266"/>
                  </a:lnTo>
                  <a:lnTo>
                    <a:pt x="1893" y="265"/>
                  </a:lnTo>
                  <a:lnTo>
                    <a:pt x="1890" y="266"/>
                  </a:lnTo>
                  <a:lnTo>
                    <a:pt x="1893" y="265"/>
                  </a:lnTo>
                  <a:lnTo>
                    <a:pt x="1890" y="264"/>
                  </a:lnTo>
                  <a:lnTo>
                    <a:pt x="1887" y="266"/>
                  </a:lnTo>
                  <a:lnTo>
                    <a:pt x="1890" y="267"/>
                  </a:lnTo>
                  <a:lnTo>
                    <a:pt x="1890" y="267"/>
                  </a:lnTo>
                  <a:lnTo>
                    <a:pt x="1887" y="267"/>
                  </a:lnTo>
                  <a:lnTo>
                    <a:pt x="1882" y="272"/>
                  </a:lnTo>
                  <a:lnTo>
                    <a:pt x="1887" y="271"/>
                  </a:lnTo>
                  <a:lnTo>
                    <a:pt x="1887" y="272"/>
                  </a:lnTo>
                  <a:lnTo>
                    <a:pt x="1893" y="270"/>
                  </a:lnTo>
                  <a:lnTo>
                    <a:pt x="1895" y="272"/>
                  </a:lnTo>
                  <a:lnTo>
                    <a:pt x="1900" y="272"/>
                  </a:lnTo>
                  <a:lnTo>
                    <a:pt x="1898" y="272"/>
                  </a:lnTo>
                  <a:lnTo>
                    <a:pt x="1896" y="275"/>
                  </a:lnTo>
                  <a:lnTo>
                    <a:pt x="1894" y="273"/>
                  </a:lnTo>
                  <a:lnTo>
                    <a:pt x="1891" y="273"/>
                  </a:lnTo>
                  <a:lnTo>
                    <a:pt x="1890" y="273"/>
                  </a:lnTo>
                  <a:lnTo>
                    <a:pt x="1890" y="272"/>
                  </a:lnTo>
                  <a:lnTo>
                    <a:pt x="1884" y="274"/>
                  </a:lnTo>
                  <a:lnTo>
                    <a:pt x="1882" y="275"/>
                  </a:lnTo>
                  <a:lnTo>
                    <a:pt x="1884" y="276"/>
                  </a:lnTo>
                  <a:lnTo>
                    <a:pt x="1882" y="276"/>
                  </a:lnTo>
                  <a:lnTo>
                    <a:pt x="1879" y="278"/>
                  </a:lnTo>
                  <a:lnTo>
                    <a:pt x="1876" y="278"/>
                  </a:lnTo>
                  <a:lnTo>
                    <a:pt x="1874" y="279"/>
                  </a:lnTo>
                  <a:lnTo>
                    <a:pt x="1870" y="280"/>
                  </a:lnTo>
                  <a:lnTo>
                    <a:pt x="1876" y="282"/>
                  </a:lnTo>
                  <a:lnTo>
                    <a:pt x="1874" y="282"/>
                  </a:lnTo>
                  <a:lnTo>
                    <a:pt x="1870" y="283"/>
                  </a:lnTo>
                  <a:lnTo>
                    <a:pt x="1874" y="283"/>
                  </a:lnTo>
                  <a:lnTo>
                    <a:pt x="1870" y="283"/>
                  </a:lnTo>
                  <a:lnTo>
                    <a:pt x="1871" y="284"/>
                  </a:lnTo>
                  <a:lnTo>
                    <a:pt x="1874" y="284"/>
                  </a:lnTo>
                  <a:lnTo>
                    <a:pt x="1871" y="284"/>
                  </a:lnTo>
                  <a:lnTo>
                    <a:pt x="1868" y="284"/>
                  </a:lnTo>
                  <a:lnTo>
                    <a:pt x="1869" y="286"/>
                  </a:lnTo>
                  <a:lnTo>
                    <a:pt x="1866" y="286"/>
                  </a:lnTo>
                  <a:lnTo>
                    <a:pt x="1867" y="288"/>
                  </a:lnTo>
                  <a:lnTo>
                    <a:pt x="1869" y="288"/>
                  </a:lnTo>
                  <a:lnTo>
                    <a:pt x="1873" y="289"/>
                  </a:lnTo>
                  <a:lnTo>
                    <a:pt x="1869" y="288"/>
                  </a:lnTo>
                  <a:lnTo>
                    <a:pt x="1867" y="290"/>
                  </a:lnTo>
                  <a:lnTo>
                    <a:pt x="1864" y="288"/>
                  </a:lnTo>
                  <a:lnTo>
                    <a:pt x="1865" y="291"/>
                  </a:lnTo>
                  <a:lnTo>
                    <a:pt x="1865" y="293"/>
                  </a:lnTo>
                  <a:lnTo>
                    <a:pt x="1870" y="293"/>
                  </a:lnTo>
                  <a:lnTo>
                    <a:pt x="1868" y="293"/>
                  </a:lnTo>
                  <a:lnTo>
                    <a:pt x="1865" y="296"/>
                  </a:lnTo>
                  <a:lnTo>
                    <a:pt x="1868" y="295"/>
                  </a:lnTo>
                  <a:lnTo>
                    <a:pt x="1870" y="295"/>
                  </a:lnTo>
                  <a:lnTo>
                    <a:pt x="1874" y="295"/>
                  </a:lnTo>
                  <a:lnTo>
                    <a:pt x="1879" y="293"/>
                  </a:lnTo>
                  <a:lnTo>
                    <a:pt x="1875" y="296"/>
                  </a:lnTo>
                  <a:lnTo>
                    <a:pt x="1871" y="297"/>
                  </a:lnTo>
                  <a:lnTo>
                    <a:pt x="1873" y="297"/>
                  </a:lnTo>
                  <a:lnTo>
                    <a:pt x="1874" y="297"/>
                  </a:lnTo>
                  <a:lnTo>
                    <a:pt x="1875" y="297"/>
                  </a:lnTo>
                  <a:lnTo>
                    <a:pt x="1873" y="297"/>
                  </a:lnTo>
                  <a:lnTo>
                    <a:pt x="1870" y="298"/>
                  </a:lnTo>
                  <a:lnTo>
                    <a:pt x="1869" y="296"/>
                  </a:lnTo>
                  <a:lnTo>
                    <a:pt x="1864" y="297"/>
                  </a:lnTo>
                  <a:lnTo>
                    <a:pt x="1861" y="298"/>
                  </a:lnTo>
                  <a:lnTo>
                    <a:pt x="1859" y="300"/>
                  </a:lnTo>
                  <a:lnTo>
                    <a:pt x="1864" y="299"/>
                  </a:lnTo>
                  <a:lnTo>
                    <a:pt x="1862" y="301"/>
                  </a:lnTo>
                  <a:lnTo>
                    <a:pt x="1864" y="303"/>
                  </a:lnTo>
                  <a:lnTo>
                    <a:pt x="1861" y="301"/>
                  </a:lnTo>
                  <a:lnTo>
                    <a:pt x="1859" y="303"/>
                  </a:lnTo>
                  <a:lnTo>
                    <a:pt x="1858" y="308"/>
                  </a:lnTo>
                  <a:lnTo>
                    <a:pt x="1856" y="308"/>
                  </a:lnTo>
                  <a:lnTo>
                    <a:pt x="1854" y="310"/>
                  </a:lnTo>
                  <a:lnTo>
                    <a:pt x="1858" y="310"/>
                  </a:lnTo>
                  <a:lnTo>
                    <a:pt x="1858" y="314"/>
                  </a:lnTo>
                  <a:lnTo>
                    <a:pt x="1856" y="313"/>
                  </a:lnTo>
                  <a:lnTo>
                    <a:pt x="1853" y="310"/>
                  </a:lnTo>
                  <a:lnTo>
                    <a:pt x="1854" y="313"/>
                  </a:lnTo>
                  <a:lnTo>
                    <a:pt x="1851" y="315"/>
                  </a:lnTo>
                  <a:lnTo>
                    <a:pt x="1852" y="318"/>
                  </a:lnTo>
                  <a:lnTo>
                    <a:pt x="1854" y="316"/>
                  </a:lnTo>
                  <a:lnTo>
                    <a:pt x="1854" y="320"/>
                  </a:lnTo>
                  <a:lnTo>
                    <a:pt x="1857" y="320"/>
                  </a:lnTo>
                  <a:lnTo>
                    <a:pt x="1862" y="316"/>
                  </a:lnTo>
                  <a:lnTo>
                    <a:pt x="1859" y="318"/>
                  </a:lnTo>
                  <a:lnTo>
                    <a:pt x="1853" y="322"/>
                  </a:lnTo>
                  <a:lnTo>
                    <a:pt x="1851" y="322"/>
                  </a:lnTo>
                  <a:lnTo>
                    <a:pt x="1854" y="321"/>
                  </a:lnTo>
                  <a:lnTo>
                    <a:pt x="1849" y="320"/>
                  </a:lnTo>
                  <a:lnTo>
                    <a:pt x="1847" y="323"/>
                  </a:lnTo>
                  <a:lnTo>
                    <a:pt x="1849" y="322"/>
                  </a:lnTo>
                  <a:lnTo>
                    <a:pt x="1847" y="323"/>
                  </a:lnTo>
                  <a:lnTo>
                    <a:pt x="1844" y="323"/>
                  </a:lnTo>
                  <a:lnTo>
                    <a:pt x="1842" y="325"/>
                  </a:lnTo>
                  <a:lnTo>
                    <a:pt x="1844" y="325"/>
                  </a:lnTo>
                  <a:lnTo>
                    <a:pt x="1840" y="326"/>
                  </a:lnTo>
                  <a:lnTo>
                    <a:pt x="1842" y="327"/>
                  </a:lnTo>
                  <a:lnTo>
                    <a:pt x="1844" y="326"/>
                  </a:lnTo>
                  <a:lnTo>
                    <a:pt x="1850" y="324"/>
                  </a:lnTo>
                  <a:lnTo>
                    <a:pt x="1852" y="324"/>
                  </a:lnTo>
                  <a:lnTo>
                    <a:pt x="1849" y="324"/>
                  </a:lnTo>
                  <a:lnTo>
                    <a:pt x="1847" y="325"/>
                  </a:lnTo>
                  <a:lnTo>
                    <a:pt x="1844" y="327"/>
                  </a:lnTo>
                  <a:lnTo>
                    <a:pt x="1847" y="327"/>
                  </a:lnTo>
                  <a:lnTo>
                    <a:pt x="1841" y="330"/>
                  </a:lnTo>
                  <a:lnTo>
                    <a:pt x="1842" y="332"/>
                  </a:lnTo>
                  <a:lnTo>
                    <a:pt x="1845" y="332"/>
                  </a:lnTo>
                  <a:lnTo>
                    <a:pt x="1843" y="335"/>
                  </a:lnTo>
                  <a:lnTo>
                    <a:pt x="1844" y="335"/>
                  </a:lnTo>
                  <a:lnTo>
                    <a:pt x="1843" y="335"/>
                  </a:lnTo>
                  <a:lnTo>
                    <a:pt x="1840" y="338"/>
                  </a:lnTo>
                  <a:lnTo>
                    <a:pt x="1838" y="334"/>
                  </a:lnTo>
                  <a:lnTo>
                    <a:pt x="1832" y="334"/>
                  </a:lnTo>
                  <a:lnTo>
                    <a:pt x="1833" y="337"/>
                  </a:lnTo>
                  <a:lnTo>
                    <a:pt x="1831" y="337"/>
                  </a:lnTo>
                  <a:lnTo>
                    <a:pt x="1827" y="339"/>
                  </a:lnTo>
                  <a:lnTo>
                    <a:pt x="1827" y="341"/>
                  </a:lnTo>
                  <a:lnTo>
                    <a:pt x="1824" y="341"/>
                  </a:lnTo>
                  <a:lnTo>
                    <a:pt x="1823" y="344"/>
                  </a:lnTo>
                  <a:lnTo>
                    <a:pt x="1822" y="347"/>
                  </a:lnTo>
                  <a:lnTo>
                    <a:pt x="1824" y="346"/>
                  </a:lnTo>
                  <a:lnTo>
                    <a:pt x="1822" y="347"/>
                  </a:lnTo>
                  <a:lnTo>
                    <a:pt x="1822" y="348"/>
                  </a:lnTo>
                  <a:lnTo>
                    <a:pt x="1824" y="347"/>
                  </a:lnTo>
                  <a:lnTo>
                    <a:pt x="1816" y="350"/>
                  </a:lnTo>
                  <a:lnTo>
                    <a:pt x="1819" y="350"/>
                  </a:lnTo>
                  <a:lnTo>
                    <a:pt x="1816" y="352"/>
                  </a:lnTo>
                  <a:lnTo>
                    <a:pt x="1822" y="351"/>
                  </a:lnTo>
                  <a:lnTo>
                    <a:pt x="1822" y="351"/>
                  </a:lnTo>
                  <a:lnTo>
                    <a:pt x="1819" y="353"/>
                  </a:lnTo>
                  <a:lnTo>
                    <a:pt x="1822" y="357"/>
                  </a:lnTo>
                  <a:lnTo>
                    <a:pt x="1828" y="355"/>
                  </a:lnTo>
                  <a:lnTo>
                    <a:pt x="1831" y="352"/>
                  </a:lnTo>
                  <a:lnTo>
                    <a:pt x="1834" y="351"/>
                  </a:lnTo>
                  <a:lnTo>
                    <a:pt x="1836" y="349"/>
                  </a:lnTo>
                  <a:lnTo>
                    <a:pt x="1834" y="348"/>
                  </a:lnTo>
                  <a:lnTo>
                    <a:pt x="1832" y="349"/>
                  </a:lnTo>
                  <a:lnTo>
                    <a:pt x="1840" y="344"/>
                  </a:lnTo>
                  <a:lnTo>
                    <a:pt x="1843" y="344"/>
                  </a:lnTo>
                  <a:lnTo>
                    <a:pt x="1842" y="346"/>
                  </a:lnTo>
                  <a:lnTo>
                    <a:pt x="1840" y="346"/>
                  </a:lnTo>
                  <a:lnTo>
                    <a:pt x="1838" y="349"/>
                  </a:lnTo>
                  <a:lnTo>
                    <a:pt x="1840" y="350"/>
                  </a:lnTo>
                  <a:lnTo>
                    <a:pt x="1838" y="351"/>
                  </a:lnTo>
                  <a:lnTo>
                    <a:pt x="1834" y="352"/>
                  </a:lnTo>
                  <a:lnTo>
                    <a:pt x="1832" y="355"/>
                  </a:lnTo>
                  <a:lnTo>
                    <a:pt x="1835" y="355"/>
                  </a:lnTo>
                  <a:lnTo>
                    <a:pt x="1834" y="357"/>
                  </a:lnTo>
                  <a:lnTo>
                    <a:pt x="1824" y="357"/>
                  </a:lnTo>
                  <a:lnTo>
                    <a:pt x="1824" y="360"/>
                  </a:lnTo>
                  <a:lnTo>
                    <a:pt x="1822" y="359"/>
                  </a:lnTo>
                  <a:lnTo>
                    <a:pt x="1819" y="360"/>
                  </a:lnTo>
                  <a:lnTo>
                    <a:pt x="1822" y="358"/>
                  </a:lnTo>
                  <a:lnTo>
                    <a:pt x="1822" y="357"/>
                  </a:lnTo>
                  <a:lnTo>
                    <a:pt x="1817" y="353"/>
                  </a:lnTo>
                  <a:lnTo>
                    <a:pt x="1815" y="356"/>
                  </a:lnTo>
                  <a:lnTo>
                    <a:pt x="1811" y="357"/>
                  </a:lnTo>
                  <a:lnTo>
                    <a:pt x="1815" y="357"/>
                  </a:lnTo>
                  <a:lnTo>
                    <a:pt x="1811" y="359"/>
                  </a:lnTo>
                  <a:lnTo>
                    <a:pt x="1815" y="359"/>
                  </a:lnTo>
                  <a:lnTo>
                    <a:pt x="1811" y="359"/>
                  </a:lnTo>
                  <a:lnTo>
                    <a:pt x="1809" y="361"/>
                  </a:lnTo>
                  <a:lnTo>
                    <a:pt x="1810" y="358"/>
                  </a:lnTo>
                  <a:lnTo>
                    <a:pt x="1805" y="358"/>
                  </a:lnTo>
                  <a:lnTo>
                    <a:pt x="1804" y="360"/>
                  </a:lnTo>
                  <a:lnTo>
                    <a:pt x="1804" y="363"/>
                  </a:lnTo>
                  <a:lnTo>
                    <a:pt x="1806" y="363"/>
                  </a:lnTo>
                  <a:lnTo>
                    <a:pt x="1801" y="364"/>
                  </a:lnTo>
                  <a:lnTo>
                    <a:pt x="1797" y="365"/>
                  </a:lnTo>
                  <a:lnTo>
                    <a:pt x="1800" y="366"/>
                  </a:lnTo>
                  <a:lnTo>
                    <a:pt x="1802" y="366"/>
                  </a:lnTo>
                  <a:lnTo>
                    <a:pt x="1801" y="369"/>
                  </a:lnTo>
                  <a:lnTo>
                    <a:pt x="1805" y="370"/>
                  </a:lnTo>
                  <a:lnTo>
                    <a:pt x="1801" y="369"/>
                  </a:lnTo>
                  <a:lnTo>
                    <a:pt x="1799" y="367"/>
                  </a:lnTo>
                  <a:lnTo>
                    <a:pt x="1797" y="365"/>
                  </a:lnTo>
                  <a:lnTo>
                    <a:pt x="1794" y="365"/>
                  </a:lnTo>
                  <a:lnTo>
                    <a:pt x="1798" y="370"/>
                  </a:lnTo>
                  <a:lnTo>
                    <a:pt x="1800" y="372"/>
                  </a:lnTo>
                  <a:lnTo>
                    <a:pt x="1801" y="373"/>
                  </a:lnTo>
                  <a:lnTo>
                    <a:pt x="1802" y="373"/>
                  </a:lnTo>
                  <a:lnTo>
                    <a:pt x="1802" y="374"/>
                  </a:lnTo>
                  <a:lnTo>
                    <a:pt x="1801" y="373"/>
                  </a:lnTo>
                  <a:lnTo>
                    <a:pt x="1797" y="370"/>
                  </a:lnTo>
                  <a:lnTo>
                    <a:pt x="1794" y="367"/>
                  </a:lnTo>
                  <a:lnTo>
                    <a:pt x="1792" y="368"/>
                  </a:lnTo>
                  <a:lnTo>
                    <a:pt x="1788" y="367"/>
                  </a:lnTo>
                  <a:lnTo>
                    <a:pt x="1787" y="367"/>
                  </a:lnTo>
                  <a:lnTo>
                    <a:pt x="1784" y="367"/>
                  </a:lnTo>
                  <a:lnTo>
                    <a:pt x="1781" y="368"/>
                  </a:lnTo>
                  <a:lnTo>
                    <a:pt x="1784" y="370"/>
                  </a:lnTo>
                  <a:lnTo>
                    <a:pt x="1781" y="370"/>
                  </a:lnTo>
                  <a:lnTo>
                    <a:pt x="1784" y="373"/>
                  </a:lnTo>
                  <a:lnTo>
                    <a:pt x="1789" y="372"/>
                  </a:lnTo>
                  <a:lnTo>
                    <a:pt x="1787" y="373"/>
                  </a:lnTo>
                  <a:lnTo>
                    <a:pt x="1790" y="373"/>
                  </a:lnTo>
                  <a:lnTo>
                    <a:pt x="1794" y="372"/>
                  </a:lnTo>
                  <a:lnTo>
                    <a:pt x="1789" y="374"/>
                  </a:lnTo>
                  <a:lnTo>
                    <a:pt x="1791" y="376"/>
                  </a:lnTo>
                  <a:lnTo>
                    <a:pt x="1791" y="376"/>
                  </a:lnTo>
                  <a:lnTo>
                    <a:pt x="1788" y="376"/>
                  </a:lnTo>
                  <a:lnTo>
                    <a:pt x="1785" y="375"/>
                  </a:lnTo>
                  <a:lnTo>
                    <a:pt x="1782" y="375"/>
                  </a:lnTo>
                  <a:lnTo>
                    <a:pt x="1780" y="375"/>
                  </a:lnTo>
                  <a:lnTo>
                    <a:pt x="1776" y="375"/>
                  </a:lnTo>
                  <a:lnTo>
                    <a:pt x="1771" y="375"/>
                  </a:lnTo>
                  <a:lnTo>
                    <a:pt x="1774" y="376"/>
                  </a:lnTo>
                  <a:lnTo>
                    <a:pt x="1771" y="378"/>
                  </a:lnTo>
                  <a:lnTo>
                    <a:pt x="1775" y="378"/>
                  </a:lnTo>
                  <a:lnTo>
                    <a:pt x="1777" y="378"/>
                  </a:lnTo>
                  <a:lnTo>
                    <a:pt x="1780" y="380"/>
                  </a:lnTo>
                  <a:lnTo>
                    <a:pt x="1782" y="382"/>
                  </a:lnTo>
                  <a:lnTo>
                    <a:pt x="1785" y="382"/>
                  </a:lnTo>
                  <a:lnTo>
                    <a:pt x="1782" y="382"/>
                  </a:lnTo>
                  <a:lnTo>
                    <a:pt x="1781" y="385"/>
                  </a:lnTo>
                  <a:lnTo>
                    <a:pt x="1784" y="385"/>
                  </a:lnTo>
                  <a:lnTo>
                    <a:pt x="1781" y="386"/>
                  </a:lnTo>
                  <a:lnTo>
                    <a:pt x="1781" y="385"/>
                  </a:lnTo>
                  <a:lnTo>
                    <a:pt x="1781" y="383"/>
                  </a:lnTo>
                  <a:lnTo>
                    <a:pt x="1780" y="381"/>
                  </a:lnTo>
                  <a:lnTo>
                    <a:pt x="1777" y="378"/>
                  </a:lnTo>
                  <a:lnTo>
                    <a:pt x="1774" y="380"/>
                  </a:lnTo>
                  <a:lnTo>
                    <a:pt x="1774" y="382"/>
                  </a:lnTo>
                  <a:lnTo>
                    <a:pt x="1775" y="384"/>
                  </a:lnTo>
                  <a:lnTo>
                    <a:pt x="1773" y="381"/>
                  </a:lnTo>
                  <a:lnTo>
                    <a:pt x="1770" y="381"/>
                  </a:lnTo>
                  <a:lnTo>
                    <a:pt x="1767" y="383"/>
                  </a:lnTo>
                  <a:lnTo>
                    <a:pt x="1768" y="385"/>
                  </a:lnTo>
                  <a:lnTo>
                    <a:pt x="1772" y="386"/>
                  </a:lnTo>
                  <a:lnTo>
                    <a:pt x="1766" y="386"/>
                  </a:lnTo>
                  <a:lnTo>
                    <a:pt x="1765" y="384"/>
                  </a:lnTo>
                  <a:lnTo>
                    <a:pt x="1759" y="385"/>
                  </a:lnTo>
                  <a:lnTo>
                    <a:pt x="1760" y="387"/>
                  </a:lnTo>
                  <a:lnTo>
                    <a:pt x="1758" y="385"/>
                  </a:lnTo>
                  <a:lnTo>
                    <a:pt x="1756" y="386"/>
                  </a:lnTo>
                  <a:lnTo>
                    <a:pt x="1758" y="387"/>
                  </a:lnTo>
                  <a:lnTo>
                    <a:pt x="1756" y="390"/>
                  </a:lnTo>
                  <a:lnTo>
                    <a:pt x="1758" y="390"/>
                  </a:lnTo>
                  <a:lnTo>
                    <a:pt x="1764" y="390"/>
                  </a:lnTo>
                  <a:lnTo>
                    <a:pt x="1770" y="391"/>
                  </a:lnTo>
                  <a:lnTo>
                    <a:pt x="1775" y="391"/>
                  </a:lnTo>
                  <a:lnTo>
                    <a:pt x="1777" y="391"/>
                  </a:lnTo>
                  <a:lnTo>
                    <a:pt x="1775" y="392"/>
                  </a:lnTo>
                  <a:lnTo>
                    <a:pt x="1772" y="392"/>
                  </a:lnTo>
                  <a:lnTo>
                    <a:pt x="1766" y="393"/>
                  </a:lnTo>
                  <a:lnTo>
                    <a:pt x="1764" y="392"/>
                  </a:lnTo>
                  <a:lnTo>
                    <a:pt x="1760" y="390"/>
                  </a:lnTo>
                  <a:lnTo>
                    <a:pt x="1758" y="391"/>
                  </a:lnTo>
                  <a:lnTo>
                    <a:pt x="1756" y="392"/>
                  </a:lnTo>
                  <a:lnTo>
                    <a:pt x="1754" y="395"/>
                  </a:lnTo>
                  <a:lnTo>
                    <a:pt x="1756" y="397"/>
                  </a:lnTo>
                  <a:lnTo>
                    <a:pt x="1759" y="395"/>
                  </a:lnTo>
                  <a:lnTo>
                    <a:pt x="1754" y="397"/>
                  </a:lnTo>
                  <a:lnTo>
                    <a:pt x="1756" y="397"/>
                  </a:lnTo>
                  <a:lnTo>
                    <a:pt x="1759" y="397"/>
                  </a:lnTo>
                  <a:lnTo>
                    <a:pt x="1756" y="397"/>
                  </a:lnTo>
                  <a:lnTo>
                    <a:pt x="1759" y="398"/>
                  </a:lnTo>
                  <a:lnTo>
                    <a:pt x="1757" y="399"/>
                  </a:lnTo>
                  <a:lnTo>
                    <a:pt x="1762" y="400"/>
                  </a:lnTo>
                  <a:lnTo>
                    <a:pt x="1765" y="400"/>
                  </a:lnTo>
                  <a:lnTo>
                    <a:pt x="1762" y="400"/>
                  </a:lnTo>
                  <a:lnTo>
                    <a:pt x="1759" y="399"/>
                  </a:lnTo>
                  <a:lnTo>
                    <a:pt x="1754" y="401"/>
                  </a:lnTo>
                  <a:lnTo>
                    <a:pt x="1756" y="401"/>
                  </a:lnTo>
                  <a:lnTo>
                    <a:pt x="1762" y="401"/>
                  </a:lnTo>
                  <a:lnTo>
                    <a:pt x="1757" y="402"/>
                  </a:lnTo>
                  <a:lnTo>
                    <a:pt x="1754" y="403"/>
                  </a:lnTo>
                  <a:lnTo>
                    <a:pt x="1756" y="404"/>
                  </a:lnTo>
                  <a:lnTo>
                    <a:pt x="1759" y="408"/>
                  </a:lnTo>
                  <a:lnTo>
                    <a:pt x="1765" y="404"/>
                  </a:lnTo>
                  <a:lnTo>
                    <a:pt x="1771" y="404"/>
                  </a:lnTo>
                  <a:lnTo>
                    <a:pt x="1773" y="407"/>
                  </a:lnTo>
                  <a:lnTo>
                    <a:pt x="1776" y="402"/>
                  </a:lnTo>
                  <a:lnTo>
                    <a:pt x="1775" y="404"/>
                  </a:lnTo>
                  <a:lnTo>
                    <a:pt x="1776" y="404"/>
                  </a:lnTo>
                  <a:lnTo>
                    <a:pt x="1782" y="404"/>
                  </a:lnTo>
                  <a:lnTo>
                    <a:pt x="1780" y="406"/>
                  </a:lnTo>
                  <a:lnTo>
                    <a:pt x="1783" y="406"/>
                  </a:lnTo>
                  <a:lnTo>
                    <a:pt x="1785" y="406"/>
                  </a:lnTo>
                  <a:lnTo>
                    <a:pt x="1784" y="403"/>
                  </a:lnTo>
                  <a:lnTo>
                    <a:pt x="1787" y="401"/>
                  </a:lnTo>
                  <a:lnTo>
                    <a:pt x="1785" y="403"/>
                  </a:lnTo>
                  <a:lnTo>
                    <a:pt x="1787" y="404"/>
                  </a:lnTo>
                  <a:lnTo>
                    <a:pt x="1788" y="404"/>
                  </a:lnTo>
                  <a:lnTo>
                    <a:pt x="1790" y="404"/>
                  </a:lnTo>
                  <a:lnTo>
                    <a:pt x="1788" y="407"/>
                  </a:lnTo>
                  <a:lnTo>
                    <a:pt x="1784" y="406"/>
                  </a:lnTo>
                  <a:lnTo>
                    <a:pt x="1781" y="408"/>
                  </a:lnTo>
                  <a:lnTo>
                    <a:pt x="1782" y="410"/>
                  </a:lnTo>
                  <a:lnTo>
                    <a:pt x="1780" y="410"/>
                  </a:lnTo>
                  <a:lnTo>
                    <a:pt x="1780" y="408"/>
                  </a:lnTo>
                  <a:lnTo>
                    <a:pt x="1777" y="406"/>
                  </a:lnTo>
                  <a:lnTo>
                    <a:pt x="1774" y="407"/>
                  </a:lnTo>
                  <a:lnTo>
                    <a:pt x="1764" y="407"/>
                  </a:lnTo>
                  <a:lnTo>
                    <a:pt x="1756" y="409"/>
                  </a:lnTo>
                  <a:lnTo>
                    <a:pt x="1755" y="412"/>
                  </a:lnTo>
                  <a:lnTo>
                    <a:pt x="1757" y="412"/>
                  </a:lnTo>
                  <a:lnTo>
                    <a:pt x="1760" y="412"/>
                  </a:lnTo>
                  <a:lnTo>
                    <a:pt x="1758" y="414"/>
                  </a:lnTo>
                  <a:lnTo>
                    <a:pt x="1759" y="416"/>
                  </a:lnTo>
                  <a:lnTo>
                    <a:pt x="1757" y="415"/>
                  </a:lnTo>
                  <a:lnTo>
                    <a:pt x="1754" y="414"/>
                  </a:lnTo>
                  <a:lnTo>
                    <a:pt x="1756" y="416"/>
                  </a:lnTo>
                  <a:lnTo>
                    <a:pt x="1757" y="418"/>
                  </a:lnTo>
                  <a:lnTo>
                    <a:pt x="1762" y="416"/>
                  </a:lnTo>
                  <a:lnTo>
                    <a:pt x="1764" y="416"/>
                  </a:lnTo>
                  <a:lnTo>
                    <a:pt x="1764" y="418"/>
                  </a:lnTo>
                  <a:lnTo>
                    <a:pt x="1763" y="419"/>
                  </a:lnTo>
                  <a:lnTo>
                    <a:pt x="1763" y="419"/>
                  </a:lnTo>
                  <a:lnTo>
                    <a:pt x="1762" y="420"/>
                  </a:lnTo>
                  <a:lnTo>
                    <a:pt x="1762" y="420"/>
                  </a:lnTo>
                  <a:lnTo>
                    <a:pt x="1762" y="420"/>
                  </a:lnTo>
                  <a:lnTo>
                    <a:pt x="1758" y="419"/>
                  </a:lnTo>
                  <a:lnTo>
                    <a:pt x="1756" y="421"/>
                  </a:lnTo>
                  <a:lnTo>
                    <a:pt x="1757" y="425"/>
                  </a:lnTo>
                  <a:lnTo>
                    <a:pt x="1759" y="426"/>
                  </a:lnTo>
                  <a:lnTo>
                    <a:pt x="1762" y="424"/>
                  </a:lnTo>
                  <a:lnTo>
                    <a:pt x="1762" y="426"/>
                  </a:lnTo>
                  <a:lnTo>
                    <a:pt x="1764" y="426"/>
                  </a:lnTo>
                  <a:lnTo>
                    <a:pt x="1764" y="429"/>
                  </a:lnTo>
                  <a:lnTo>
                    <a:pt x="1765" y="429"/>
                  </a:lnTo>
                  <a:lnTo>
                    <a:pt x="1767" y="425"/>
                  </a:lnTo>
                  <a:lnTo>
                    <a:pt x="1770" y="424"/>
                  </a:lnTo>
                  <a:lnTo>
                    <a:pt x="1772" y="421"/>
                  </a:lnTo>
                  <a:lnTo>
                    <a:pt x="1774" y="420"/>
                  </a:lnTo>
                  <a:lnTo>
                    <a:pt x="1780" y="420"/>
                  </a:lnTo>
                  <a:lnTo>
                    <a:pt x="1777" y="421"/>
                  </a:lnTo>
                  <a:lnTo>
                    <a:pt x="1775" y="426"/>
                  </a:lnTo>
                  <a:lnTo>
                    <a:pt x="1775" y="424"/>
                  </a:lnTo>
                  <a:lnTo>
                    <a:pt x="1775" y="421"/>
                  </a:lnTo>
                  <a:lnTo>
                    <a:pt x="1773" y="423"/>
                  </a:lnTo>
                  <a:lnTo>
                    <a:pt x="1770" y="425"/>
                  </a:lnTo>
                  <a:lnTo>
                    <a:pt x="1770" y="427"/>
                  </a:lnTo>
                  <a:lnTo>
                    <a:pt x="1766" y="429"/>
                  </a:lnTo>
                  <a:lnTo>
                    <a:pt x="1767" y="430"/>
                  </a:lnTo>
                  <a:lnTo>
                    <a:pt x="1764" y="432"/>
                  </a:lnTo>
                  <a:lnTo>
                    <a:pt x="1763" y="433"/>
                  </a:lnTo>
                  <a:lnTo>
                    <a:pt x="1766" y="434"/>
                  </a:lnTo>
                  <a:lnTo>
                    <a:pt x="1768" y="435"/>
                  </a:lnTo>
                  <a:lnTo>
                    <a:pt x="1771" y="433"/>
                  </a:lnTo>
                  <a:lnTo>
                    <a:pt x="1768" y="435"/>
                  </a:lnTo>
                  <a:lnTo>
                    <a:pt x="1766" y="435"/>
                  </a:lnTo>
                  <a:lnTo>
                    <a:pt x="1765" y="437"/>
                  </a:lnTo>
                  <a:lnTo>
                    <a:pt x="1762" y="436"/>
                  </a:lnTo>
                  <a:lnTo>
                    <a:pt x="1762" y="438"/>
                  </a:lnTo>
                  <a:lnTo>
                    <a:pt x="1758" y="440"/>
                  </a:lnTo>
                  <a:lnTo>
                    <a:pt x="1760" y="437"/>
                  </a:lnTo>
                  <a:lnTo>
                    <a:pt x="1758" y="437"/>
                  </a:lnTo>
                  <a:lnTo>
                    <a:pt x="1757" y="440"/>
                  </a:lnTo>
                  <a:lnTo>
                    <a:pt x="1758" y="443"/>
                  </a:lnTo>
                  <a:lnTo>
                    <a:pt x="1759" y="444"/>
                  </a:lnTo>
                  <a:lnTo>
                    <a:pt x="1762" y="442"/>
                  </a:lnTo>
                  <a:lnTo>
                    <a:pt x="1763" y="444"/>
                  </a:lnTo>
                  <a:lnTo>
                    <a:pt x="1765" y="443"/>
                  </a:lnTo>
                  <a:lnTo>
                    <a:pt x="1764" y="441"/>
                  </a:lnTo>
                  <a:lnTo>
                    <a:pt x="1770" y="441"/>
                  </a:lnTo>
                  <a:lnTo>
                    <a:pt x="1766" y="441"/>
                  </a:lnTo>
                  <a:lnTo>
                    <a:pt x="1770" y="442"/>
                  </a:lnTo>
                  <a:lnTo>
                    <a:pt x="1771" y="440"/>
                  </a:lnTo>
                  <a:lnTo>
                    <a:pt x="1771" y="437"/>
                  </a:lnTo>
                  <a:lnTo>
                    <a:pt x="1774" y="438"/>
                  </a:lnTo>
                  <a:lnTo>
                    <a:pt x="1771" y="440"/>
                  </a:lnTo>
                  <a:lnTo>
                    <a:pt x="1770" y="442"/>
                  </a:lnTo>
                  <a:lnTo>
                    <a:pt x="1768" y="442"/>
                  </a:lnTo>
                  <a:lnTo>
                    <a:pt x="1771" y="443"/>
                  </a:lnTo>
                  <a:lnTo>
                    <a:pt x="1770" y="444"/>
                  </a:lnTo>
                  <a:lnTo>
                    <a:pt x="1772" y="444"/>
                  </a:lnTo>
                  <a:lnTo>
                    <a:pt x="1770" y="445"/>
                  </a:lnTo>
                  <a:lnTo>
                    <a:pt x="1766" y="447"/>
                  </a:lnTo>
                  <a:lnTo>
                    <a:pt x="1767" y="450"/>
                  </a:lnTo>
                  <a:lnTo>
                    <a:pt x="1768" y="452"/>
                  </a:lnTo>
                  <a:lnTo>
                    <a:pt x="1771" y="450"/>
                  </a:lnTo>
                  <a:lnTo>
                    <a:pt x="1774" y="449"/>
                  </a:lnTo>
                  <a:lnTo>
                    <a:pt x="1771" y="450"/>
                  </a:lnTo>
                  <a:lnTo>
                    <a:pt x="1770" y="453"/>
                  </a:lnTo>
                  <a:lnTo>
                    <a:pt x="1767" y="452"/>
                  </a:lnTo>
                  <a:lnTo>
                    <a:pt x="1765" y="452"/>
                  </a:lnTo>
                  <a:lnTo>
                    <a:pt x="1763" y="450"/>
                  </a:lnTo>
                  <a:lnTo>
                    <a:pt x="1762" y="452"/>
                  </a:lnTo>
                  <a:lnTo>
                    <a:pt x="1760" y="455"/>
                  </a:lnTo>
                  <a:lnTo>
                    <a:pt x="1760" y="457"/>
                  </a:lnTo>
                  <a:lnTo>
                    <a:pt x="1763" y="460"/>
                  </a:lnTo>
                  <a:lnTo>
                    <a:pt x="1766" y="461"/>
                  </a:lnTo>
                  <a:lnTo>
                    <a:pt x="1768" y="463"/>
                  </a:lnTo>
                  <a:lnTo>
                    <a:pt x="1772" y="463"/>
                  </a:lnTo>
                  <a:lnTo>
                    <a:pt x="1772" y="464"/>
                  </a:lnTo>
                  <a:lnTo>
                    <a:pt x="1779" y="466"/>
                  </a:lnTo>
                  <a:lnTo>
                    <a:pt x="1780" y="464"/>
                  </a:lnTo>
                  <a:lnTo>
                    <a:pt x="1777" y="466"/>
                  </a:lnTo>
                  <a:lnTo>
                    <a:pt x="1775" y="469"/>
                  </a:lnTo>
                  <a:lnTo>
                    <a:pt x="1781" y="468"/>
                  </a:lnTo>
                  <a:lnTo>
                    <a:pt x="1784" y="469"/>
                  </a:lnTo>
                  <a:lnTo>
                    <a:pt x="1788" y="470"/>
                  </a:lnTo>
                  <a:lnTo>
                    <a:pt x="1789" y="470"/>
                  </a:lnTo>
                  <a:lnTo>
                    <a:pt x="1794" y="468"/>
                  </a:lnTo>
                  <a:lnTo>
                    <a:pt x="1796" y="467"/>
                  </a:lnTo>
                  <a:lnTo>
                    <a:pt x="1797" y="467"/>
                  </a:lnTo>
                  <a:lnTo>
                    <a:pt x="1802" y="464"/>
                  </a:lnTo>
                  <a:lnTo>
                    <a:pt x="1805" y="461"/>
                  </a:lnTo>
                  <a:lnTo>
                    <a:pt x="1814" y="454"/>
                  </a:lnTo>
                  <a:lnTo>
                    <a:pt x="1815" y="452"/>
                  </a:lnTo>
                  <a:lnTo>
                    <a:pt x="1817" y="451"/>
                  </a:lnTo>
                  <a:lnTo>
                    <a:pt x="1817" y="449"/>
                  </a:lnTo>
                  <a:lnTo>
                    <a:pt x="1817" y="447"/>
                  </a:lnTo>
                  <a:lnTo>
                    <a:pt x="1817" y="449"/>
                  </a:lnTo>
                  <a:lnTo>
                    <a:pt x="1819" y="450"/>
                  </a:lnTo>
                  <a:lnTo>
                    <a:pt x="1822" y="451"/>
                  </a:lnTo>
                  <a:lnTo>
                    <a:pt x="1823" y="449"/>
                  </a:lnTo>
                  <a:lnTo>
                    <a:pt x="1825" y="447"/>
                  </a:lnTo>
                  <a:lnTo>
                    <a:pt x="1827" y="445"/>
                  </a:lnTo>
                  <a:lnTo>
                    <a:pt x="1828" y="442"/>
                  </a:lnTo>
                  <a:lnTo>
                    <a:pt x="1826" y="440"/>
                  </a:lnTo>
                  <a:lnTo>
                    <a:pt x="1827" y="437"/>
                  </a:lnTo>
                  <a:lnTo>
                    <a:pt x="1831" y="438"/>
                  </a:lnTo>
                  <a:lnTo>
                    <a:pt x="1830" y="436"/>
                  </a:lnTo>
                  <a:lnTo>
                    <a:pt x="1828" y="434"/>
                  </a:lnTo>
                  <a:lnTo>
                    <a:pt x="1831" y="432"/>
                  </a:lnTo>
                  <a:lnTo>
                    <a:pt x="1833" y="433"/>
                  </a:lnTo>
                  <a:lnTo>
                    <a:pt x="1831" y="436"/>
                  </a:lnTo>
                  <a:lnTo>
                    <a:pt x="1832" y="440"/>
                  </a:lnTo>
                  <a:lnTo>
                    <a:pt x="1832" y="443"/>
                  </a:lnTo>
                  <a:lnTo>
                    <a:pt x="1832" y="445"/>
                  </a:lnTo>
                  <a:lnTo>
                    <a:pt x="1834" y="445"/>
                  </a:lnTo>
                  <a:lnTo>
                    <a:pt x="1838" y="446"/>
                  </a:lnTo>
                  <a:lnTo>
                    <a:pt x="1839" y="449"/>
                  </a:lnTo>
                  <a:lnTo>
                    <a:pt x="1838" y="451"/>
                  </a:lnTo>
                  <a:lnTo>
                    <a:pt x="1839" y="453"/>
                  </a:lnTo>
                  <a:lnTo>
                    <a:pt x="1839" y="457"/>
                  </a:lnTo>
                  <a:lnTo>
                    <a:pt x="1840" y="461"/>
                  </a:lnTo>
                  <a:lnTo>
                    <a:pt x="1842" y="464"/>
                  </a:lnTo>
                  <a:lnTo>
                    <a:pt x="1843" y="461"/>
                  </a:lnTo>
                  <a:lnTo>
                    <a:pt x="1843" y="464"/>
                  </a:lnTo>
                  <a:lnTo>
                    <a:pt x="1845" y="463"/>
                  </a:lnTo>
                  <a:lnTo>
                    <a:pt x="1847" y="466"/>
                  </a:lnTo>
                  <a:lnTo>
                    <a:pt x="1847" y="466"/>
                  </a:lnTo>
                  <a:lnTo>
                    <a:pt x="1847" y="466"/>
                  </a:lnTo>
                  <a:lnTo>
                    <a:pt x="1848" y="467"/>
                  </a:lnTo>
                  <a:lnTo>
                    <a:pt x="1847" y="469"/>
                  </a:lnTo>
                  <a:lnTo>
                    <a:pt x="1845" y="474"/>
                  </a:lnTo>
                  <a:lnTo>
                    <a:pt x="1848" y="474"/>
                  </a:lnTo>
                  <a:lnTo>
                    <a:pt x="1848" y="477"/>
                  </a:lnTo>
                  <a:lnTo>
                    <a:pt x="1849" y="478"/>
                  </a:lnTo>
                  <a:lnTo>
                    <a:pt x="1848" y="481"/>
                  </a:lnTo>
                  <a:lnTo>
                    <a:pt x="1851" y="481"/>
                  </a:lnTo>
                  <a:lnTo>
                    <a:pt x="1852" y="487"/>
                  </a:lnTo>
                  <a:lnTo>
                    <a:pt x="1853" y="489"/>
                  </a:lnTo>
                  <a:lnTo>
                    <a:pt x="1856" y="492"/>
                  </a:lnTo>
                  <a:lnTo>
                    <a:pt x="1856" y="492"/>
                  </a:lnTo>
                  <a:lnTo>
                    <a:pt x="1857" y="493"/>
                  </a:lnTo>
                  <a:lnTo>
                    <a:pt x="1859" y="496"/>
                  </a:lnTo>
                  <a:lnTo>
                    <a:pt x="1861" y="496"/>
                  </a:lnTo>
                  <a:lnTo>
                    <a:pt x="1862" y="498"/>
                  </a:lnTo>
                  <a:lnTo>
                    <a:pt x="1861" y="501"/>
                  </a:lnTo>
                  <a:lnTo>
                    <a:pt x="1859" y="500"/>
                  </a:lnTo>
                  <a:lnTo>
                    <a:pt x="1860" y="505"/>
                  </a:lnTo>
                  <a:lnTo>
                    <a:pt x="1858" y="504"/>
                  </a:lnTo>
                  <a:lnTo>
                    <a:pt x="1858" y="506"/>
                  </a:lnTo>
                  <a:lnTo>
                    <a:pt x="1859" y="509"/>
                  </a:lnTo>
                  <a:lnTo>
                    <a:pt x="1861" y="514"/>
                  </a:lnTo>
                  <a:lnTo>
                    <a:pt x="1862" y="517"/>
                  </a:lnTo>
                  <a:lnTo>
                    <a:pt x="1862" y="519"/>
                  </a:lnTo>
                  <a:lnTo>
                    <a:pt x="1865" y="521"/>
                  </a:lnTo>
                  <a:lnTo>
                    <a:pt x="1868" y="522"/>
                  </a:lnTo>
                  <a:lnTo>
                    <a:pt x="1874" y="520"/>
                  </a:lnTo>
                  <a:lnTo>
                    <a:pt x="1879" y="521"/>
                  </a:lnTo>
                  <a:lnTo>
                    <a:pt x="1882" y="518"/>
                  </a:lnTo>
                  <a:lnTo>
                    <a:pt x="1879" y="515"/>
                  </a:lnTo>
                  <a:lnTo>
                    <a:pt x="1879" y="512"/>
                  </a:lnTo>
                  <a:lnTo>
                    <a:pt x="1882" y="511"/>
                  </a:lnTo>
                  <a:lnTo>
                    <a:pt x="1884" y="509"/>
                  </a:lnTo>
                  <a:lnTo>
                    <a:pt x="1886" y="510"/>
                  </a:lnTo>
                  <a:lnTo>
                    <a:pt x="1886" y="506"/>
                  </a:lnTo>
                  <a:lnTo>
                    <a:pt x="1890" y="506"/>
                  </a:lnTo>
                  <a:lnTo>
                    <a:pt x="1895" y="506"/>
                  </a:lnTo>
                  <a:lnTo>
                    <a:pt x="1899" y="505"/>
                  </a:lnTo>
                  <a:lnTo>
                    <a:pt x="1900" y="505"/>
                  </a:lnTo>
                  <a:lnTo>
                    <a:pt x="1902" y="508"/>
                  </a:lnTo>
                  <a:lnTo>
                    <a:pt x="1904" y="505"/>
                  </a:lnTo>
                  <a:lnTo>
                    <a:pt x="1905" y="501"/>
                  </a:lnTo>
                  <a:lnTo>
                    <a:pt x="1909" y="496"/>
                  </a:lnTo>
                  <a:lnTo>
                    <a:pt x="1910" y="491"/>
                  </a:lnTo>
                  <a:lnTo>
                    <a:pt x="1910" y="491"/>
                  </a:lnTo>
                  <a:lnTo>
                    <a:pt x="1911" y="487"/>
                  </a:lnTo>
                  <a:lnTo>
                    <a:pt x="1911" y="487"/>
                  </a:lnTo>
                  <a:lnTo>
                    <a:pt x="1910" y="485"/>
                  </a:lnTo>
                  <a:lnTo>
                    <a:pt x="1912" y="483"/>
                  </a:lnTo>
                  <a:lnTo>
                    <a:pt x="1913" y="475"/>
                  </a:lnTo>
                  <a:lnTo>
                    <a:pt x="1911" y="472"/>
                  </a:lnTo>
                  <a:lnTo>
                    <a:pt x="1915" y="472"/>
                  </a:lnTo>
                  <a:lnTo>
                    <a:pt x="1913" y="470"/>
                  </a:lnTo>
                  <a:lnTo>
                    <a:pt x="1915" y="462"/>
                  </a:lnTo>
                  <a:lnTo>
                    <a:pt x="1910" y="461"/>
                  </a:lnTo>
                  <a:lnTo>
                    <a:pt x="1912" y="461"/>
                  </a:lnTo>
                  <a:lnTo>
                    <a:pt x="1916" y="461"/>
                  </a:lnTo>
                  <a:lnTo>
                    <a:pt x="1915" y="459"/>
                  </a:lnTo>
                  <a:lnTo>
                    <a:pt x="1912" y="458"/>
                  </a:lnTo>
                  <a:lnTo>
                    <a:pt x="1912" y="458"/>
                  </a:lnTo>
                  <a:lnTo>
                    <a:pt x="1918" y="458"/>
                  </a:lnTo>
                  <a:lnTo>
                    <a:pt x="1919" y="455"/>
                  </a:lnTo>
                  <a:lnTo>
                    <a:pt x="1921" y="455"/>
                  </a:lnTo>
                  <a:lnTo>
                    <a:pt x="1925" y="454"/>
                  </a:lnTo>
                  <a:lnTo>
                    <a:pt x="1927" y="452"/>
                  </a:lnTo>
                  <a:lnTo>
                    <a:pt x="1926" y="451"/>
                  </a:lnTo>
                  <a:lnTo>
                    <a:pt x="1927" y="449"/>
                  </a:lnTo>
                  <a:lnTo>
                    <a:pt x="1929" y="454"/>
                  </a:lnTo>
                  <a:lnTo>
                    <a:pt x="1930" y="451"/>
                  </a:lnTo>
                  <a:lnTo>
                    <a:pt x="1935" y="447"/>
                  </a:lnTo>
                  <a:lnTo>
                    <a:pt x="1937" y="447"/>
                  </a:lnTo>
                  <a:lnTo>
                    <a:pt x="1936" y="444"/>
                  </a:lnTo>
                  <a:lnTo>
                    <a:pt x="1938" y="446"/>
                  </a:lnTo>
                  <a:lnTo>
                    <a:pt x="1939" y="445"/>
                  </a:lnTo>
                  <a:lnTo>
                    <a:pt x="1938" y="443"/>
                  </a:lnTo>
                  <a:lnTo>
                    <a:pt x="1936" y="443"/>
                  </a:lnTo>
                  <a:lnTo>
                    <a:pt x="1934" y="444"/>
                  </a:lnTo>
                  <a:lnTo>
                    <a:pt x="1933" y="441"/>
                  </a:lnTo>
                  <a:lnTo>
                    <a:pt x="1936" y="443"/>
                  </a:lnTo>
                  <a:lnTo>
                    <a:pt x="1938" y="440"/>
                  </a:lnTo>
                  <a:lnTo>
                    <a:pt x="1941" y="438"/>
                  </a:lnTo>
                  <a:lnTo>
                    <a:pt x="1942" y="436"/>
                  </a:lnTo>
                  <a:lnTo>
                    <a:pt x="1944" y="435"/>
                  </a:lnTo>
                  <a:lnTo>
                    <a:pt x="1945" y="433"/>
                  </a:lnTo>
                  <a:lnTo>
                    <a:pt x="1943" y="429"/>
                  </a:lnTo>
                  <a:lnTo>
                    <a:pt x="1941" y="427"/>
                  </a:lnTo>
                  <a:lnTo>
                    <a:pt x="1939" y="427"/>
                  </a:lnTo>
                  <a:lnTo>
                    <a:pt x="1938" y="426"/>
                  </a:lnTo>
                  <a:lnTo>
                    <a:pt x="1937" y="423"/>
                  </a:lnTo>
                  <a:lnTo>
                    <a:pt x="1935" y="423"/>
                  </a:lnTo>
                  <a:lnTo>
                    <a:pt x="1929" y="418"/>
                  </a:lnTo>
                  <a:lnTo>
                    <a:pt x="1927" y="418"/>
                  </a:lnTo>
                  <a:lnTo>
                    <a:pt x="1924" y="417"/>
                  </a:lnTo>
                  <a:lnTo>
                    <a:pt x="1920" y="416"/>
                  </a:lnTo>
                  <a:lnTo>
                    <a:pt x="1921" y="414"/>
                  </a:lnTo>
                  <a:lnTo>
                    <a:pt x="1919" y="410"/>
                  </a:lnTo>
                  <a:lnTo>
                    <a:pt x="1920" y="408"/>
                  </a:lnTo>
                  <a:lnTo>
                    <a:pt x="1920" y="403"/>
                  </a:lnTo>
                  <a:lnTo>
                    <a:pt x="1919" y="401"/>
                  </a:lnTo>
                  <a:lnTo>
                    <a:pt x="1920" y="398"/>
                  </a:lnTo>
                  <a:lnTo>
                    <a:pt x="1921" y="397"/>
                  </a:lnTo>
                  <a:lnTo>
                    <a:pt x="1920" y="394"/>
                  </a:lnTo>
                  <a:lnTo>
                    <a:pt x="1922" y="393"/>
                  </a:lnTo>
                  <a:lnTo>
                    <a:pt x="1922" y="391"/>
                  </a:lnTo>
                  <a:lnTo>
                    <a:pt x="1926" y="383"/>
                  </a:lnTo>
                  <a:lnTo>
                    <a:pt x="1924" y="382"/>
                  </a:lnTo>
                  <a:lnTo>
                    <a:pt x="1924" y="377"/>
                  </a:lnTo>
                  <a:lnTo>
                    <a:pt x="1925" y="378"/>
                  </a:lnTo>
                  <a:lnTo>
                    <a:pt x="1927" y="377"/>
                  </a:lnTo>
                  <a:lnTo>
                    <a:pt x="1930" y="376"/>
                  </a:lnTo>
                  <a:lnTo>
                    <a:pt x="1932" y="373"/>
                  </a:lnTo>
                  <a:lnTo>
                    <a:pt x="1929" y="369"/>
                  </a:lnTo>
                  <a:lnTo>
                    <a:pt x="1928" y="368"/>
                  </a:lnTo>
                  <a:lnTo>
                    <a:pt x="1928" y="365"/>
                  </a:lnTo>
                  <a:lnTo>
                    <a:pt x="1930" y="369"/>
                  </a:lnTo>
                  <a:lnTo>
                    <a:pt x="1933" y="370"/>
                  </a:lnTo>
                  <a:lnTo>
                    <a:pt x="1937" y="368"/>
                  </a:lnTo>
                  <a:lnTo>
                    <a:pt x="1937" y="366"/>
                  </a:lnTo>
                  <a:lnTo>
                    <a:pt x="1939" y="365"/>
                  </a:lnTo>
                  <a:lnTo>
                    <a:pt x="1941" y="361"/>
                  </a:lnTo>
                  <a:lnTo>
                    <a:pt x="1944" y="361"/>
                  </a:lnTo>
                  <a:lnTo>
                    <a:pt x="1943" y="360"/>
                  </a:lnTo>
                  <a:lnTo>
                    <a:pt x="1946" y="361"/>
                  </a:lnTo>
                  <a:lnTo>
                    <a:pt x="1949" y="359"/>
                  </a:lnTo>
                  <a:lnTo>
                    <a:pt x="1950" y="357"/>
                  </a:lnTo>
                  <a:lnTo>
                    <a:pt x="1951" y="357"/>
                  </a:lnTo>
                  <a:lnTo>
                    <a:pt x="1953" y="356"/>
                  </a:lnTo>
                  <a:lnTo>
                    <a:pt x="1955" y="356"/>
                  </a:lnTo>
                  <a:lnTo>
                    <a:pt x="1961" y="352"/>
                  </a:lnTo>
                  <a:lnTo>
                    <a:pt x="1963" y="350"/>
                  </a:lnTo>
                  <a:lnTo>
                    <a:pt x="1967" y="350"/>
                  </a:lnTo>
                  <a:lnTo>
                    <a:pt x="1969" y="349"/>
                  </a:lnTo>
                  <a:lnTo>
                    <a:pt x="1972" y="343"/>
                  </a:lnTo>
                  <a:lnTo>
                    <a:pt x="1975" y="341"/>
                  </a:lnTo>
                  <a:lnTo>
                    <a:pt x="1979" y="337"/>
                  </a:lnTo>
                  <a:lnTo>
                    <a:pt x="1980" y="333"/>
                  </a:lnTo>
                  <a:lnTo>
                    <a:pt x="1978" y="332"/>
                  </a:lnTo>
                  <a:lnTo>
                    <a:pt x="1975" y="330"/>
                  </a:lnTo>
                  <a:lnTo>
                    <a:pt x="1977" y="331"/>
                  </a:lnTo>
                  <a:lnTo>
                    <a:pt x="1976" y="327"/>
                  </a:lnTo>
                  <a:lnTo>
                    <a:pt x="1973" y="326"/>
                  </a:lnTo>
                  <a:lnTo>
                    <a:pt x="1976" y="326"/>
                  </a:lnTo>
                  <a:lnTo>
                    <a:pt x="1978" y="323"/>
                  </a:lnTo>
                  <a:lnTo>
                    <a:pt x="1980" y="322"/>
                  </a:lnTo>
                  <a:lnTo>
                    <a:pt x="1980" y="318"/>
                  </a:lnTo>
                  <a:lnTo>
                    <a:pt x="1982" y="316"/>
                  </a:lnTo>
                  <a:lnTo>
                    <a:pt x="1979" y="316"/>
                  </a:lnTo>
                  <a:lnTo>
                    <a:pt x="1980" y="314"/>
                  </a:lnTo>
                  <a:lnTo>
                    <a:pt x="1984" y="314"/>
                  </a:lnTo>
                  <a:lnTo>
                    <a:pt x="1986" y="314"/>
                  </a:lnTo>
                  <a:lnTo>
                    <a:pt x="1985" y="312"/>
                  </a:lnTo>
                  <a:lnTo>
                    <a:pt x="1987" y="310"/>
                  </a:lnTo>
                  <a:lnTo>
                    <a:pt x="1989" y="310"/>
                  </a:lnTo>
                  <a:lnTo>
                    <a:pt x="1992" y="309"/>
                  </a:lnTo>
                  <a:lnTo>
                    <a:pt x="1990" y="305"/>
                  </a:lnTo>
                  <a:lnTo>
                    <a:pt x="1996" y="306"/>
                  </a:lnTo>
                  <a:lnTo>
                    <a:pt x="1996" y="304"/>
                  </a:lnTo>
                  <a:lnTo>
                    <a:pt x="1998" y="306"/>
                  </a:lnTo>
                  <a:lnTo>
                    <a:pt x="2002" y="307"/>
                  </a:lnTo>
                  <a:lnTo>
                    <a:pt x="2004" y="307"/>
                  </a:lnTo>
                  <a:lnTo>
                    <a:pt x="2002" y="305"/>
                  </a:lnTo>
                  <a:lnTo>
                    <a:pt x="2005" y="306"/>
                  </a:lnTo>
                  <a:lnTo>
                    <a:pt x="2011" y="305"/>
                  </a:lnTo>
                  <a:lnTo>
                    <a:pt x="2015" y="305"/>
                  </a:lnTo>
                  <a:lnTo>
                    <a:pt x="2016" y="306"/>
                  </a:lnTo>
                  <a:lnTo>
                    <a:pt x="2021" y="306"/>
                  </a:lnTo>
                  <a:lnTo>
                    <a:pt x="2021" y="306"/>
                  </a:lnTo>
                  <a:lnTo>
                    <a:pt x="2022" y="307"/>
                  </a:lnTo>
                  <a:lnTo>
                    <a:pt x="2024" y="309"/>
                  </a:lnTo>
                  <a:lnTo>
                    <a:pt x="2027" y="309"/>
                  </a:lnTo>
                  <a:lnTo>
                    <a:pt x="2031" y="314"/>
                  </a:lnTo>
                  <a:lnTo>
                    <a:pt x="2031" y="316"/>
                  </a:lnTo>
                  <a:lnTo>
                    <a:pt x="2031" y="318"/>
                  </a:lnTo>
                  <a:lnTo>
                    <a:pt x="2030" y="321"/>
                  </a:lnTo>
                  <a:lnTo>
                    <a:pt x="2033" y="323"/>
                  </a:lnTo>
                  <a:lnTo>
                    <a:pt x="2033" y="323"/>
                  </a:lnTo>
                  <a:lnTo>
                    <a:pt x="2032" y="324"/>
                  </a:lnTo>
                  <a:lnTo>
                    <a:pt x="2030" y="324"/>
                  </a:lnTo>
                  <a:lnTo>
                    <a:pt x="2032" y="326"/>
                  </a:lnTo>
                  <a:lnTo>
                    <a:pt x="2030" y="325"/>
                  </a:lnTo>
                  <a:lnTo>
                    <a:pt x="2027" y="325"/>
                  </a:lnTo>
                  <a:lnTo>
                    <a:pt x="2023" y="326"/>
                  </a:lnTo>
                  <a:lnTo>
                    <a:pt x="2021" y="329"/>
                  </a:lnTo>
                  <a:lnTo>
                    <a:pt x="2016" y="335"/>
                  </a:lnTo>
                  <a:lnTo>
                    <a:pt x="2014" y="337"/>
                  </a:lnTo>
                  <a:lnTo>
                    <a:pt x="2013" y="340"/>
                  </a:lnTo>
                  <a:lnTo>
                    <a:pt x="2010" y="341"/>
                  </a:lnTo>
                  <a:lnTo>
                    <a:pt x="2007" y="344"/>
                  </a:lnTo>
                  <a:lnTo>
                    <a:pt x="2005" y="344"/>
                  </a:lnTo>
                  <a:lnTo>
                    <a:pt x="2005" y="347"/>
                  </a:lnTo>
                  <a:lnTo>
                    <a:pt x="2002" y="348"/>
                  </a:lnTo>
                  <a:lnTo>
                    <a:pt x="2002" y="348"/>
                  </a:lnTo>
                  <a:lnTo>
                    <a:pt x="1998" y="353"/>
                  </a:lnTo>
                  <a:lnTo>
                    <a:pt x="1995" y="351"/>
                  </a:lnTo>
                  <a:lnTo>
                    <a:pt x="1993" y="355"/>
                  </a:lnTo>
                  <a:lnTo>
                    <a:pt x="1992" y="357"/>
                  </a:lnTo>
                  <a:lnTo>
                    <a:pt x="1992" y="360"/>
                  </a:lnTo>
                  <a:lnTo>
                    <a:pt x="1992" y="361"/>
                  </a:lnTo>
                  <a:lnTo>
                    <a:pt x="1986" y="363"/>
                  </a:lnTo>
                  <a:lnTo>
                    <a:pt x="1986" y="361"/>
                  </a:lnTo>
                  <a:lnTo>
                    <a:pt x="1984" y="363"/>
                  </a:lnTo>
                  <a:lnTo>
                    <a:pt x="1980" y="360"/>
                  </a:lnTo>
                  <a:lnTo>
                    <a:pt x="1980" y="363"/>
                  </a:lnTo>
                  <a:lnTo>
                    <a:pt x="1980" y="365"/>
                  </a:lnTo>
                  <a:lnTo>
                    <a:pt x="1979" y="368"/>
                  </a:lnTo>
                  <a:lnTo>
                    <a:pt x="1976" y="370"/>
                  </a:lnTo>
                  <a:lnTo>
                    <a:pt x="1976" y="373"/>
                  </a:lnTo>
                  <a:lnTo>
                    <a:pt x="1976" y="375"/>
                  </a:lnTo>
                  <a:lnTo>
                    <a:pt x="1975" y="378"/>
                  </a:lnTo>
                  <a:lnTo>
                    <a:pt x="1976" y="381"/>
                  </a:lnTo>
                  <a:lnTo>
                    <a:pt x="1977" y="380"/>
                  </a:lnTo>
                  <a:lnTo>
                    <a:pt x="1978" y="383"/>
                  </a:lnTo>
                  <a:lnTo>
                    <a:pt x="1978" y="385"/>
                  </a:lnTo>
                  <a:lnTo>
                    <a:pt x="1977" y="387"/>
                  </a:lnTo>
                  <a:lnTo>
                    <a:pt x="1977" y="389"/>
                  </a:lnTo>
                  <a:lnTo>
                    <a:pt x="1979" y="392"/>
                  </a:lnTo>
                  <a:lnTo>
                    <a:pt x="1982" y="398"/>
                  </a:lnTo>
                  <a:lnTo>
                    <a:pt x="1980" y="397"/>
                  </a:lnTo>
                  <a:lnTo>
                    <a:pt x="1980" y="402"/>
                  </a:lnTo>
                  <a:lnTo>
                    <a:pt x="1980" y="406"/>
                  </a:lnTo>
                  <a:lnTo>
                    <a:pt x="1978" y="408"/>
                  </a:lnTo>
                  <a:lnTo>
                    <a:pt x="1979" y="410"/>
                  </a:lnTo>
                  <a:lnTo>
                    <a:pt x="1978" y="416"/>
                  </a:lnTo>
                  <a:lnTo>
                    <a:pt x="1980" y="418"/>
                  </a:lnTo>
                  <a:lnTo>
                    <a:pt x="1980" y="418"/>
                  </a:lnTo>
                  <a:lnTo>
                    <a:pt x="1982" y="417"/>
                  </a:lnTo>
                  <a:lnTo>
                    <a:pt x="1984" y="419"/>
                  </a:lnTo>
                  <a:lnTo>
                    <a:pt x="1986" y="419"/>
                  </a:lnTo>
                  <a:lnTo>
                    <a:pt x="1987" y="420"/>
                  </a:lnTo>
                  <a:lnTo>
                    <a:pt x="1989" y="421"/>
                  </a:lnTo>
                  <a:lnTo>
                    <a:pt x="1995" y="421"/>
                  </a:lnTo>
                  <a:lnTo>
                    <a:pt x="1993" y="425"/>
                  </a:lnTo>
                  <a:lnTo>
                    <a:pt x="1997" y="425"/>
                  </a:lnTo>
                  <a:lnTo>
                    <a:pt x="1999" y="423"/>
                  </a:lnTo>
                  <a:lnTo>
                    <a:pt x="1999" y="425"/>
                  </a:lnTo>
                  <a:lnTo>
                    <a:pt x="1998" y="426"/>
                  </a:lnTo>
                  <a:lnTo>
                    <a:pt x="1999" y="428"/>
                  </a:lnTo>
                  <a:lnTo>
                    <a:pt x="2003" y="428"/>
                  </a:lnTo>
                  <a:lnTo>
                    <a:pt x="2003" y="429"/>
                  </a:lnTo>
                  <a:lnTo>
                    <a:pt x="2002" y="429"/>
                  </a:lnTo>
                  <a:lnTo>
                    <a:pt x="2002" y="430"/>
                  </a:lnTo>
                  <a:lnTo>
                    <a:pt x="2004" y="429"/>
                  </a:lnTo>
                  <a:lnTo>
                    <a:pt x="2003" y="432"/>
                  </a:lnTo>
                  <a:lnTo>
                    <a:pt x="2006" y="430"/>
                  </a:lnTo>
                  <a:lnTo>
                    <a:pt x="2006" y="429"/>
                  </a:lnTo>
                  <a:lnTo>
                    <a:pt x="2010" y="430"/>
                  </a:lnTo>
                  <a:lnTo>
                    <a:pt x="2012" y="429"/>
                  </a:lnTo>
                  <a:lnTo>
                    <a:pt x="2018" y="428"/>
                  </a:lnTo>
                  <a:lnTo>
                    <a:pt x="2018" y="429"/>
                  </a:lnTo>
                  <a:lnTo>
                    <a:pt x="2020" y="429"/>
                  </a:lnTo>
                  <a:lnTo>
                    <a:pt x="2022" y="427"/>
                  </a:lnTo>
                  <a:lnTo>
                    <a:pt x="2024" y="427"/>
                  </a:lnTo>
                  <a:lnTo>
                    <a:pt x="2027" y="426"/>
                  </a:lnTo>
                  <a:lnTo>
                    <a:pt x="2030" y="426"/>
                  </a:lnTo>
                  <a:lnTo>
                    <a:pt x="2032" y="425"/>
                  </a:lnTo>
                  <a:lnTo>
                    <a:pt x="2037" y="423"/>
                  </a:lnTo>
                  <a:lnTo>
                    <a:pt x="2038" y="425"/>
                  </a:lnTo>
                  <a:lnTo>
                    <a:pt x="2039" y="423"/>
                  </a:lnTo>
                  <a:lnTo>
                    <a:pt x="2043" y="424"/>
                  </a:lnTo>
                  <a:lnTo>
                    <a:pt x="2041" y="420"/>
                  </a:lnTo>
                  <a:lnTo>
                    <a:pt x="2044" y="421"/>
                  </a:lnTo>
                  <a:lnTo>
                    <a:pt x="2046" y="421"/>
                  </a:lnTo>
                  <a:lnTo>
                    <a:pt x="2047" y="420"/>
                  </a:lnTo>
                  <a:lnTo>
                    <a:pt x="2049" y="420"/>
                  </a:lnTo>
                  <a:lnTo>
                    <a:pt x="2054" y="420"/>
                  </a:lnTo>
                  <a:lnTo>
                    <a:pt x="2057" y="418"/>
                  </a:lnTo>
                  <a:lnTo>
                    <a:pt x="2060" y="419"/>
                  </a:lnTo>
                  <a:lnTo>
                    <a:pt x="2065" y="419"/>
                  </a:lnTo>
                  <a:lnTo>
                    <a:pt x="2065" y="418"/>
                  </a:lnTo>
                  <a:lnTo>
                    <a:pt x="2069" y="419"/>
                  </a:lnTo>
                  <a:lnTo>
                    <a:pt x="2072" y="418"/>
                  </a:lnTo>
                  <a:lnTo>
                    <a:pt x="2078" y="415"/>
                  </a:lnTo>
                  <a:lnTo>
                    <a:pt x="2078" y="416"/>
                  </a:lnTo>
                  <a:lnTo>
                    <a:pt x="2078" y="418"/>
                  </a:lnTo>
                  <a:lnTo>
                    <a:pt x="2078" y="420"/>
                  </a:lnTo>
                  <a:lnTo>
                    <a:pt x="2075" y="419"/>
                  </a:lnTo>
                  <a:lnTo>
                    <a:pt x="2077" y="423"/>
                  </a:lnTo>
                  <a:lnTo>
                    <a:pt x="2082" y="426"/>
                  </a:lnTo>
                  <a:lnTo>
                    <a:pt x="2088" y="426"/>
                  </a:lnTo>
                  <a:lnTo>
                    <a:pt x="2091" y="426"/>
                  </a:lnTo>
                  <a:lnTo>
                    <a:pt x="2093" y="427"/>
                  </a:lnTo>
                  <a:lnTo>
                    <a:pt x="2096" y="429"/>
                  </a:lnTo>
                  <a:lnTo>
                    <a:pt x="2098" y="429"/>
                  </a:lnTo>
                  <a:lnTo>
                    <a:pt x="2098" y="432"/>
                  </a:lnTo>
                  <a:lnTo>
                    <a:pt x="2098" y="433"/>
                  </a:lnTo>
                  <a:lnTo>
                    <a:pt x="2084" y="429"/>
                  </a:lnTo>
                  <a:lnTo>
                    <a:pt x="2082" y="433"/>
                  </a:lnTo>
                  <a:lnTo>
                    <a:pt x="2080" y="434"/>
                  </a:lnTo>
                  <a:lnTo>
                    <a:pt x="2077" y="434"/>
                  </a:lnTo>
                  <a:lnTo>
                    <a:pt x="2074" y="434"/>
                  </a:lnTo>
                  <a:lnTo>
                    <a:pt x="2073" y="436"/>
                  </a:lnTo>
                  <a:lnTo>
                    <a:pt x="2071" y="435"/>
                  </a:lnTo>
                  <a:lnTo>
                    <a:pt x="2069" y="435"/>
                  </a:lnTo>
                  <a:lnTo>
                    <a:pt x="2069" y="437"/>
                  </a:lnTo>
                  <a:lnTo>
                    <a:pt x="2069" y="441"/>
                  </a:lnTo>
                  <a:lnTo>
                    <a:pt x="2066" y="442"/>
                  </a:lnTo>
                  <a:lnTo>
                    <a:pt x="2053" y="441"/>
                  </a:lnTo>
                  <a:lnTo>
                    <a:pt x="2050" y="440"/>
                  </a:lnTo>
                  <a:lnTo>
                    <a:pt x="2047" y="440"/>
                  </a:lnTo>
                  <a:lnTo>
                    <a:pt x="2045" y="438"/>
                  </a:lnTo>
                  <a:lnTo>
                    <a:pt x="2039" y="437"/>
                  </a:lnTo>
                  <a:lnTo>
                    <a:pt x="2037" y="438"/>
                  </a:lnTo>
                  <a:lnTo>
                    <a:pt x="2033" y="437"/>
                  </a:lnTo>
                  <a:lnTo>
                    <a:pt x="2032" y="441"/>
                  </a:lnTo>
                  <a:lnTo>
                    <a:pt x="2030" y="440"/>
                  </a:lnTo>
                  <a:lnTo>
                    <a:pt x="2024" y="440"/>
                  </a:lnTo>
                  <a:lnTo>
                    <a:pt x="2022" y="441"/>
                  </a:lnTo>
                  <a:lnTo>
                    <a:pt x="2019" y="441"/>
                  </a:lnTo>
                  <a:lnTo>
                    <a:pt x="2016" y="443"/>
                  </a:lnTo>
                  <a:lnTo>
                    <a:pt x="2014" y="442"/>
                  </a:lnTo>
                  <a:lnTo>
                    <a:pt x="2014" y="444"/>
                  </a:lnTo>
                  <a:lnTo>
                    <a:pt x="2010" y="445"/>
                  </a:lnTo>
                  <a:lnTo>
                    <a:pt x="2006" y="447"/>
                  </a:lnTo>
                  <a:lnTo>
                    <a:pt x="2005" y="450"/>
                  </a:lnTo>
                  <a:lnTo>
                    <a:pt x="2009" y="451"/>
                  </a:lnTo>
                  <a:lnTo>
                    <a:pt x="2005" y="452"/>
                  </a:lnTo>
                  <a:lnTo>
                    <a:pt x="2007" y="454"/>
                  </a:lnTo>
                  <a:lnTo>
                    <a:pt x="2010" y="455"/>
                  </a:lnTo>
                  <a:lnTo>
                    <a:pt x="2007" y="455"/>
                  </a:lnTo>
                  <a:lnTo>
                    <a:pt x="2006" y="459"/>
                  </a:lnTo>
                  <a:lnTo>
                    <a:pt x="2009" y="461"/>
                  </a:lnTo>
                  <a:lnTo>
                    <a:pt x="2010" y="463"/>
                  </a:lnTo>
                  <a:lnTo>
                    <a:pt x="2013" y="463"/>
                  </a:lnTo>
                  <a:lnTo>
                    <a:pt x="2015" y="464"/>
                  </a:lnTo>
                  <a:lnTo>
                    <a:pt x="2018" y="462"/>
                  </a:lnTo>
                  <a:lnTo>
                    <a:pt x="2021" y="464"/>
                  </a:lnTo>
                  <a:lnTo>
                    <a:pt x="2018" y="474"/>
                  </a:lnTo>
                  <a:lnTo>
                    <a:pt x="2018" y="476"/>
                  </a:lnTo>
                  <a:lnTo>
                    <a:pt x="2019" y="484"/>
                  </a:lnTo>
                  <a:lnTo>
                    <a:pt x="2016" y="487"/>
                  </a:lnTo>
                  <a:lnTo>
                    <a:pt x="2014" y="488"/>
                  </a:lnTo>
                  <a:lnTo>
                    <a:pt x="2011" y="491"/>
                  </a:lnTo>
                  <a:lnTo>
                    <a:pt x="2009" y="491"/>
                  </a:lnTo>
                  <a:lnTo>
                    <a:pt x="2003" y="487"/>
                  </a:lnTo>
                  <a:lnTo>
                    <a:pt x="2002" y="485"/>
                  </a:lnTo>
                  <a:lnTo>
                    <a:pt x="1997" y="479"/>
                  </a:lnTo>
                  <a:lnTo>
                    <a:pt x="1995" y="478"/>
                  </a:lnTo>
                  <a:lnTo>
                    <a:pt x="1993" y="475"/>
                  </a:lnTo>
                  <a:lnTo>
                    <a:pt x="1986" y="478"/>
                  </a:lnTo>
                  <a:lnTo>
                    <a:pt x="1984" y="478"/>
                  </a:lnTo>
                  <a:lnTo>
                    <a:pt x="1980" y="480"/>
                  </a:lnTo>
                  <a:lnTo>
                    <a:pt x="1979" y="484"/>
                  </a:lnTo>
                  <a:lnTo>
                    <a:pt x="1978" y="486"/>
                  </a:lnTo>
                  <a:lnTo>
                    <a:pt x="1978" y="488"/>
                  </a:lnTo>
                  <a:lnTo>
                    <a:pt x="1976" y="492"/>
                  </a:lnTo>
                  <a:lnTo>
                    <a:pt x="1973" y="494"/>
                  </a:lnTo>
                  <a:lnTo>
                    <a:pt x="1972" y="500"/>
                  </a:lnTo>
                  <a:lnTo>
                    <a:pt x="1972" y="505"/>
                  </a:lnTo>
                  <a:lnTo>
                    <a:pt x="1973" y="508"/>
                  </a:lnTo>
                  <a:lnTo>
                    <a:pt x="1973" y="512"/>
                  </a:lnTo>
                  <a:lnTo>
                    <a:pt x="1973" y="514"/>
                  </a:lnTo>
                  <a:lnTo>
                    <a:pt x="1975" y="515"/>
                  </a:lnTo>
                  <a:lnTo>
                    <a:pt x="1975" y="517"/>
                  </a:lnTo>
                  <a:lnTo>
                    <a:pt x="1975" y="517"/>
                  </a:lnTo>
                  <a:lnTo>
                    <a:pt x="1976" y="519"/>
                  </a:lnTo>
                  <a:lnTo>
                    <a:pt x="1976" y="522"/>
                  </a:lnTo>
                  <a:lnTo>
                    <a:pt x="1976" y="523"/>
                  </a:lnTo>
                  <a:lnTo>
                    <a:pt x="1975" y="526"/>
                  </a:lnTo>
                  <a:lnTo>
                    <a:pt x="1976" y="528"/>
                  </a:lnTo>
                  <a:lnTo>
                    <a:pt x="1972" y="530"/>
                  </a:lnTo>
                  <a:lnTo>
                    <a:pt x="1967" y="530"/>
                  </a:lnTo>
                  <a:lnTo>
                    <a:pt x="1967" y="530"/>
                  </a:lnTo>
                  <a:lnTo>
                    <a:pt x="1962" y="529"/>
                  </a:lnTo>
                  <a:lnTo>
                    <a:pt x="1962" y="529"/>
                  </a:lnTo>
                  <a:lnTo>
                    <a:pt x="1961" y="529"/>
                  </a:lnTo>
                  <a:lnTo>
                    <a:pt x="1959" y="529"/>
                  </a:lnTo>
                  <a:lnTo>
                    <a:pt x="1958" y="530"/>
                  </a:lnTo>
                  <a:lnTo>
                    <a:pt x="1959" y="532"/>
                  </a:lnTo>
                  <a:lnTo>
                    <a:pt x="1956" y="536"/>
                  </a:lnTo>
                  <a:lnTo>
                    <a:pt x="1953" y="538"/>
                  </a:lnTo>
                  <a:lnTo>
                    <a:pt x="1951" y="540"/>
                  </a:lnTo>
                  <a:lnTo>
                    <a:pt x="1945" y="540"/>
                  </a:lnTo>
                  <a:lnTo>
                    <a:pt x="1942" y="540"/>
                  </a:lnTo>
                  <a:lnTo>
                    <a:pt x="1941" y="539"/>
                  </a:lnTo>
                  <a:lnTo>
                    <a:pt x="1937" y="532"/>
                  </a:lnTo>
                  <a:lnTo>
                    <a:pt x="1937" y="532"/>
                  </a:lnTo>
                  <a:lnTo>
                    <a:pt x="1935" y="531"/>
                  </a:lnTo>
                  <a:lnTo>
                    <a:pt x="1929" y="531"/>
                  </a:lnTo>
                  <a:lnTo>
                    <a:pt x="1921" y="534"/>
                  </a:lnTo>
                  <a:lnTo>
                    <a:pt x="1916" y="536"/>
                  </a:lnTo>
                  <a:lnTo>
                    <a:pt x="1911" y="537"/>
                  </a:lnTo>
                  <a:lnTo>
                    <a:pt x="1910" y="538"/>
                  </a:lnTo>
                  <a:lnTo>
                    <a:pt x="1907" y="543"/>
                  </a:lnTo>
                  <a:lnTo>
                    <a:pt x="1895" y="544"/>
                  </a:lnTo>
                  <a:lnTo>
                    <a:pt x="1881" y="548"/>
                  </a:lnTo>
                  <a:lnTo>
                    <a:pt x="1879" y="548"/>
                  </a:lnTo>
                  <a:lnTo>
                    <a:pt x="1876" y="546"/>
                  </a:lnTo>
                  <a:lnTo>
                    <a:pt x="1875" y="549"/>
                  </a:lnTo>
                  <a:lnTo>
                    <a:pt x="1874" y="551"/>
                  </a:lnTo>
                  <a:lnTo>
                    <a:pt x="1877" y="549"/>
                  </a:lnTo>
                  <a:lnTo>
                    <a:pt x="1879" y="549"/>
                  </a:lnTo>
                  <a:lnTo>
                    <a:pt x="1881" y="551"/>
                  </a:lnTo>
                  <a:lnTo>
                    <a:pt x="1882" y="549"/>
                  </a:lnTo>
                  <a:lnTo>
                    <a:pt x="1882" y="549"/>
                  </a:lnTo>
                  <a:lnTo>
                    <a:pt x="1885" y="551"/>
                  </a:lnTo>
                  <a:lnTo>
                    <a:pt x="1884" y="553"/>
                  </a:lnTo>
                  <a:lnTo>
                    <a:pt x="1884" y="555"/>
                  </a:lnTo>
                  <a:lnTo>
                    <a:pt x="1882" y="553"/>
                  </a:lnTo>
                  <a:lnTo>
                    <a:pt x="1881" y="553"/>
                  </a:lnTo>
                  <a:lnTo>
                    <a:pt x="1875" y="551"/>
                  </a:lnTo>
                  <a:lnTo>
                    <a:pt x="1874" y="551"/>
                  </a:lnTo>
                  <a:lnTo>
                    <a:pt x="1874" y="549"/>
                  </a:lnTo>
                  <a:lnTo>
                    <a:pt x="1873" y="544"/>
                  </a:lnTo>
                  <a:lnTo>
                    <a:pt x="1870" y="545"/>
                  </a:lnTo>
                  <a:lnTo>
                    <a:pt x="1869" y="546"/>
                  </a:lnTo>
                  <a:lnTo>
                    <a:pt x="1865" y="541"/>
                  </a:lnTo>
                  <a:lnTo>
                    <a:pt x="1865" y="541"/>
                  </a:lnTo>
                  <a:lnTo>
                    <a:pt x="1861" y="540"/>
                  </a:lnTo>
                  <a:lnTo>
                    <a:pt x="1859" y="540"/>
                  </a:lnTo>
                  <a:lnTo>
                    <a:pt x="1856" y="541"/>
                  </a:lnTo>
                  <a:lnTo>
                    <a:pt x="1856" y="540"/>
                  </a:lnTo>
                  <a:lnTo>
                    <a:pt x="1858" y="539"/>
                  </a:lnTo>
                  <a:lnTo>
                    <a:pt x="1861" y="539"/>
                  </a:lnTo>
                  <a:lnTo>
                    <a:pt x="1856" y="538"/>
                  </a:lnTo>
                  <a:lnTo>
                    <a:pt x="1854" y="541"/>
                  </a:lnTo>
                  <a:lnTo>
                    <a:pt x="1851" y="543"/>
                  </a:lnTo>
                  <a:lnTo>
                    <a:pt x="1850" y="545"/>
                  </a:lnTo>
                  <a:lnTo>
                    <a:pt x="1850" y="544"/>
                  </a:lnTo>
                  <a:lnTo>
                    <a:pt x="1848" y="544"/>
                  </a:lnTo>
                  <a:lnTo>
                    <a:pt x="1844" y="544"/>
                  </a:lnTo>
                  <a:lnTo>
                    <a:pt x="1842" y="547"/>
                  </a:lnTo>
                  <a:lnTo>
                    <a:pt x="1841" y="549"/>
                  </a:lnTo>
                  <a:lnTo>
                    <a:pt x="1839" y="548"/>
                  </a:lnTo>
                  <a:lnTo>
                    <a:pt x="1836" y="547"/>
                  </a:lnTo>
                  <a:lnTo>
                    <a:pt x="1834" y="548"/>
                  </a:lnTo>
                  <a:lnTo>
                    <a:pt x="1834" y="545"/>
                  </a:lnTo>
                  <a:lnTo>
                    <a:pt x="1836" y="543"/>
                  </a:lnTo>
                  <a:lnTo>
                    <a:pt x="1836" y="540"/>
                  </a:lnTo>
                  <a:lnTo>
                    <a:pt x="1834" y="540"/>
                  </a:lnTo>
                  <a:lnTo>
                    <a:pt x="1832" y="541"/>
                  </a:lnTo>
                  <a:lnTo>
                    <a:pt x="1826" y="539"/>
                  </a:lnTo>
                  <a:lnTo>
                    <a:pt x="1824" y="540"/>
                  </a:lnTo>
                  <a:lnTo>
                    <a:pt x="1822" y="538"/>
                  </a:lnTo>
                  <a:lnTo>
                    <a:pt x="1822" y="535"/>
                  </a:lnTo>
                  <a:lnTo>
                    <a:pt x="1821" y="535"/>
                  </a:lnTo>
                  <a:lnTo>
                    <a:pt x="1822" y="534"/>
                  </a:lnTo>
                  <a:lnTo>
                    <a:pt x="1817" y="531"/>
                  </a:lnTo>
                  <a:lnTo>
                    <a:pt x="1814" y="531"/>
                  </a:lnTo>
                  <a:lnTo>
                    <a:pt x="1816" y="530"/>
                  </a:lnTo>
                  <a:lnTo>
                    <a:pt x="1818" y="530"/>
                  </a:lnTo>
                  <a:lnTo>
                    <a:pt x="1815" y="526"/>
                  </a:lnTo>
                  <a:lnTo>
                    <a:pt x="1817" y="523"/>
                  </a:lnTo>
                  <a:lnTo>
                    <a:pt x="1815" y="519"/>
                  </a:lnTo>
                  <a:lnTo>
                    <a:pt x="1817" y="518"/>
                  </a:lnTo>
                  <a:lnTo>
                    <a:pt x="1819" y="517"/>
                  </a:lnTo>
                  <a:lnTo>
                    <a:pt x="1816" y="514"/>
                  </a:lnTo>
                  <a:lnTo>
                    <a:pt x="1819" y="515"/>
                  </a:lnTo>
                  <a:lnTo>
                    <a:pt x="1822" y="515"/>
                  </a:lnTo>
                  <a:lnTo>
                    <a:pt x="1822" y="512"/>
                  </a:lnTo>
                  <a:lnTo>
                    <a:pt x="1825" y="511"/>
                  </a:lnTo>
                  <a:lnTo>
                    <a:pt x="1825" y="505"/>
                  </a:lnTo>
                  <a:lnTo>
                    <a:pt x="1828" y="505"/>
                  </a:lnTo>
                  <a:lnTo>
                    <a:pt x="1828" y="508"/>
                  </a:lnTo>
                  <a:lnTo>
                    <a:pt x="1831" y="505"/>
                  </a:lnTo>
                  <a:lnTo>
                    <a:pt x="1833" y="504"/>
                  </a:lnTo>
                  <a:lnTo>
                    <a:pt x="1834" y="502"/>
                  </a:lnTo>
                  <a:lnTo>
                    <a:pt x="1832" y="498"/>
                  </a:lnTo>
                  <a:lnTo>
                    <a:pt x="1830" y="500"/>
                  </a:lnTo>
                  <a:lnTo>
                    <a:pt x="1827" y="498"/>
                  </a:lnTo>
                  <a:lnTo>
                    <a:pt x="1824" y="501"/>
                  </a:lnTo>
                  <a:lnTo>
                    <a:pt x="1826" y="497"/>
                  </a:lnTo>
                  <a:lnTo>
                    <a:pt x="1823" y="495"/>
                  </a:lnTo>
                  <a:lnTo>
                    <a:pt x="1822" y="496"/>
                  </a:lnTo>
                  <a:lnTo>
                    <a:pt x="1819" y="496"/>
                  </a:lnTo>
                  <a:lnTo>
                    <a:pt x="1823" y="495"/>
                  </a:lnTo>
                  <a:lnTo>
                    <a:pt x="1826" y="495"/>
                  </a:lnTo>
                  <a:lnTo>
                    <a:pt x="1825" y="493"/>
                  </a:lnTo>
                  <a:lnTo>
                    <a:pt x="1824" y="491"/>
                  </a:lnTo>
                  <a:lnTo>
                    <a:pt x="1822" y="488"/>
                  </a:lnTo>
                  <a:lnTo>
                    <a:pt x="1821" y="488"/>
                  </a:lnTo>
                  <a:lnTo>
                    <a:pt x="1811" y="489"/>
                  </a:lnTo>
                  <a:lnTo>
                    <a:pt x="1810" y="493"/>
                  </a:lnTo>
                  <a:lnTo>
                    <a:pt x="1813" y="496"/>
                  </a:lnTo>
                  <a:lnTo>
                    <a:pt x="1811" y="498"/>
                  </a:lnTo>
                  <a:lnTo>
                    <a:pt x="1809" y="496"/>
                  </a:lnTo>
                  <a:lnTo>
                    <a:pt x="1808" y="494"/>
                  </a:lnTo>
                  <a:lnTo>
                    <a:pt x="1806" y="496"/>
                  </a:lnTo>
                  <a:lnTo>
                    <a:pt x="1805" y="498"/>
                  </a:lnTo>
                  <a:lnTo>
                    <a:pt x="1798" y="498"/>
                  </a:lnTo>
                  <a:lnTo>
                    <a:pt x="1797" y="496"/>
                  </a:lnTo>
                  <a:lnTo>
                    <a:pt x="1796" y="498"/>
                  </a:lnTo>
                  <a:lnTo>
                    <a:pt x="1796" y="510"/>
                  </a:lnTo>
                  <a:lnTo>
                    <a:pt x="1798" y="509"/>
                  </a:lnTo>
                  <a:lnTo>
                    <a:pt x="1800" y="511"/>
                  </a:lnTo>
                  <a:lnTo>
                    <a:pt x="1799" y="512"/>
                  </a:lnTo>
                  <a:lnTo>
                    <a:pt x="1797" y="510"/>
                  </a:lnTo>
                  <a:lnTo>
                    <a:pt x="1797" y="515"/>
                  </a:lnTo>
                  <a:lnTo>
                    <a:pt x="1796" y="518"/>
                  </a:lnTo>
                  <a:lnTo>
                    <a:pt x="1799" y="518"/>
                  </a:lnTo>
                  <a:lnTo>
                    <a:pt x="1800" y="520"/>
                  </a:lnTo>
                  <a:lnTo>
                    <a:pt x="1804" y="522"/>
                  </a:lnTo>
                  <a:lnTo>
                    <a:pt x="1804" y="524"/>
                  </a:lnTo>
                  <a:lnTo>
                    <a:pt x="1802" y="526"/>
                  </a:lnTo>
                  <a:lnTo>
                    <a:pt x="1804" y="530"/>
                  </a:lnTo>
                  <a:lnTo>
                    <a:pt x="1802" y="530"/>
                  </a:lnTo>
                  <a:lnTo>
                    <a:pt x="1800" y="528"/>
                  </a:lnTo>
                  <a:lnTo>
                    <a:pt x="1799" y="528"/>
                  </a:lnTo>
                  <a:lnTo>
                    <a:pt x="1800" y="531"/>
                  </a:lnTo>
                  <a:lnTo>
                    <a:pt x="1804" y="531"/>
                  </a:lnTo>
                  <a:lnTo>
                    <a:pt x="1804" y="531"/>
                  </a:lnTo>
                  <a:lnTo>
                    <a:pt x="1808" y="537"/>
                  </a:lnTo>
                  <a:lnTo>
                    <a:pt x="1807" y="538"/>
                  </a:lnTo>
                  <a:lnTo>
                    <a:pt x="1805" y="539"/>
                  </a:lnTo>
                  <a:lnTo>
                    <a:pt x="1804" y="543"/>
                  </a:lnTo>
                  <a:lnTo>
                    <a:pt x="1806" y="541"/>
                  </a:lnTo>
                  <a:lnTo>
                    <a:pt x="1807" y="545"/>
                  </a:lnTo>
                  <a:lnTo>
                    <a:pt x="1806" y="547"/>
                  </a:lnTo>
                  <a:lnTo>
                    <a:pt x="1809" y="549"/>
                  </a:lnTo>
                  <a:lnTo>
                    <a:pt x="1813" y="549"/>
                  </a:lnTo>
                  <a:lnTo>
                    <a:pt x="1817" y="555"/>
                  </a:lnTo>
                  <a:lnTo>
                    <a:pt x="1819" y="556"/>
                  </a:lnTo>
                  <a:lnTo>
                    <a:pt x="1819" y="556"/>
                  </a:lnTo>
                  <a:lnTo>
                    <a:pt x="1816" y="555"/>
                  </a:lnTo>
                  <a:lnTo>
                    <a:pt x="1814" y="553"/>
                  </a:lnTo>
                  <a:lnTo>
                    <a:pt x="1810" y="549"/>
                  </a:lnTo>
                  <a:lnTo>
                    <a:pt x="1808" y="551"/>
                  </a:lnTo>
                  <a:lnTo>
                    <a:pt x="1806" y="551"/>
                  </a:lnTo>
                  <a:lnTo>
                    <a:pt x="1805" y="549"/>
                  </a:lnTo>
                  <a:lnTo>
                    <a:pt x="1801" y="551"/>
                  </a:lnTo>
                  <a:lnTo>
                    <a:pt x="1801" y="553"/>
                  </a:lnTo>
                  <a:lnTo>
                    <a:pt x="1801" y="556"/>
                  </a:lnTo>
                  <a:lnTo>
                    <a:pt x="1801" y="560"/>
                  </a:lnTo>
                  <a:lnTo>
                    <a:pt x="1800" y="555"/>
                  </a:lnTo>
                  <a:lnTo>
                    <a:pt x="1798" y="555"/>
                  </a:lnTo>
                  <a:lnTo>
                    <a:pt x="1798" y="557"/>
                  </a:lnTo>
                  <a:lnTo>
                    <a:pt x="1796" y="557"/>
                  </a:lnTo>
                  <a:lnTo>
                    <a:pt x="1796" y="555"/>
                  </a:lnTo>
                  <a:lnTo>
                    <a:pt x="1793" y="553"/>
                  </a:lnTo>
                  <a:lnTo>
                    <a:pt x="1789" y="553"/>
                  </a:lnTo>
                  <a:lnTo>
                    <a:pt x="1788" y="553"/>
                  </a:lnTo>
                  <a:lnTo>
                    <a:pt x="1785" y="553"/>
                  </a:lnTo>
                  <a:lnTo>
                    <a:pt x="1783" y="554"/>
                  </a:lnTo>
                  <a:lnTo>
                    <a:pt x="1781" y="556"/>
                  </a:lnTo>
                  <a:lnTo>
                    <a:pt x="1781" y="560"/>
                  </a:lnTo>
                  <a:lnTo>
                    <a:pt x="1784" y="560"/>
                  </a:lnTo>
                  <a:lnTo>
                    <a:pt x="1785" y="561"/>
                  </a:lnTo>
                  <a:lnTo>
                    <a:pt x="1783" y="562"/>
                  </a:lnTo>
                  <a:lnTo>
                    <a:pt x="1780" y="560"/>
                  </a:lnTo>
                  <a:lnTo>
                    <a:pt x="1777" y="557"/>
                  </a:lnTo>
                  <a:lnTo>
                    <a:pt x="1772" y="558"/>
                  </a:lnTo>
                  <a:lnTo>
                    <a:pt x="1766" y="558"/>
                  </a:lnTo>
                  <a:lnTo>
                    <a:pt x="1762" y="561"/>
                  </a:lnTo>
                  <a:lnTo>
                    <a:pt x="1758" y="563"/>
                  </a:lnTo>
                  <a:lnTo>
                    <a:pt x="1758" y="564"/>
                  </a:lnTo>
                  <a:lnTo>
                    <a:pt x="1756" y="566"/>
                  </a:lnTo>
                  <a:lnTo>
                    <a:pt x="1753" y="568"/>
                  </a:lnTo>
                  <a:lnTo>
                    <a:pt x="1749" y="568"/>
                  </a:lnTo>
                  <a:lnTo>
                    <a:pt x="1748" y="570"/>
                  </a:lnTo>
                  <a:lnTo>
                    <a:pt x="1748" y="575"/>
                  </a:lnTo>
                  <a:lnTo>
                    <a:pt x="1746" y="579"/>
                  </a:lnTo>
                  <a:lnTo>
                    <a:pt x="1741" y="585"/>
                  </a:lnTo>
                  <a:lnTo>
                    <a:pt x="1740" y="585"/>
                  </a:lnTo>
                  <a:lnTo>
                    <a:pt x="1740" y="588"/>
                  </a:lnTo>
                  <a:lnTo>
                    <a:pt x="1745" y="589"/>
                  </a:lnTo>
                  <a:lnTo>
                    <a:pt x="1748" y="589"/>
                  </a:lnTo>
                  <a:lnTo>
                    <a:pt x="1750" y="588"/>
                  </a:lnTo>
                  <a:lnTo>
                    <a:pt x="1750" y="590"/>
                  </a:lnTo>
                  <a:lnTo>
                    <a:pt x="1748" y="589"/>
                  </a:lnTo>
                  <a:lnTo>
                    <a:pt x="1748" y="589"/>
                  </a:lnTo>
                  <a:lnTo>
                    <a:pt x="1745" y="590"/>
                  </a:lnTo>
                  <a:lnTo>
                    <a:pt x="1742" y="591"/>
                  </a:lnTo>
                  <a:lnTo>
                    <a:pt x="1741" y="591"/>
                  </a:lnTo>
                  <a:lnTo>
                    <a:pt x="1742" y="592"/>
                  </a:lnTo>
                  <a:lnTo>
                    <a:pt x="1740" y="592"/>
                  </a:lnTo>
                  <a:lnTo>
                    <a:pt x="1742" y="594"/>
                  </a:lnTo>
                  <a:lnTo>
                    <a:pt x="1743" y="595"/>
                  </a:lnTo>
                  <a:lnTo>
                    <a:pt x="1740" y="594"/>
                  </a:lnTo>
                  <a:lnTo>
                    <a:pt x="1738" y="591"/>
                  </a:lnTo>
                  <a:lnTo>
                    <a:pt x="1733" y="592"/>
                  </a:lnTo>
                  <a:lnTo>
                    <a:pt x="1734" y="595"/>
                  </a:lnTo>
                  <a:lnTo>
                    <a:pt x="1737" y="596"/>
                  </a:lnTo>
                  <a:lnTo>
                    <a:pt x="1740" y="595"/>
                  </a:lnTo>
                  <a:lnTo>
                    <a:pt x="1742" y="596"/>
                  </a:lnTo>
                  <a:lnTo>
                    <a:pt x="1743" y="598"/>
                  </a:lnTo>
                  <a:lnTo>
                    <a:pt x="1742" y="596"/>
                  </a:lnTo>
                  <a:lnTo>
                    <a:pt x="1739" y="596"/>
                  </a:lnTo>
                  <a:lnTo>
                    <a:pt x="1736" y="597"/>
                  </a:lnTo>
                  <a:lnTo>
                    <a:pt x="1733" y="596"/>
                  </a:lnTo>
                  <a:lnTo>
                    <a:pt x="1728" y="597"/>
                  </a:lnTo>
                  <a:lnTo>
                    <a:pt x="1719" y="601"/>
                  </a:lnTo>
                  <a:lnTo>
                    <a:pt x="1710" y="604"/>
                  </a:lnTo>
                  <a:lnTo>
                    <a:pt x="1706" y="606"/>
                  </a:lnTo>
                  <a:lnTo>
                    <a:pt x="1706" y="608"/>
                  </a:lnTo>
                  <a:lnTo>
                    <a:pt x="1706" y="614"/>
                  </a:lnTo>
                  <a:lnTo>
                    <a:pt x="1706" y="614"/>
                  </a:lnTo>
                  <a:lnTo>
                    <a:pt x="1707" y="617"/>
                  </a:lnTo>
                  <a:lnTo>
                    <a:pt x="1706" y="616"/>
                  </a:lnTo>
                  <a:lnTo>
                    <a:pt x="1704" y="620"/>
                  </a:lnTo>
                  <a:lnTo>
                    <a:pt x="1700" y="622"/>
                  </a:lnTo>
                  <a:lnTo>
                    <a:pt x="1695" y="623"/>
                  </a:lnTo>
                  <a:lnTo>
                    <a:pt x="1689" y="625"/>
                  </a:lnTo>
                  <a:lnTo>
                    <a:pt x="1687" y="628"/>
                  </a:lnTo>
                  <a:lnTo>
                    <a:pt x="1688" y="630"/>
                  </a:lnTo>
                  <a:lnTo>
                    <a:pt x="1691" y="630"/>
                  </a:lnTo>
                  <a:lnTo>
                    <a:pt x="1691" y="630"/>
                  </a:lnTo>
                  <a:lnTo>
                    <a:pt x="1688" y="631"/>
                  </a:lnTo>
                  <a:lnTo>
                    <a:pt x="1682" y="633"/>
                  </a:lnTo>
                  <a:lnTo>
                    <a:pt x="1678" y="632"/>
                  </a:lnTo>
                  <a:lnTo>
                    <a:pt x="1674" y="632"/>
                  </a:lnTo>
                  <a:lnTo>
                    <a:pt x="1672" y="631"/>
                  </a:lnTo>
                  <a:lnTo>
                    <a:pt x="1669" y="632"/>
                  </a:lnTo>
                  <a:lnTo>
                    <a:pt x="1666" y="629"/>
                  </a:lnTo>
                  <a:lnTo>
                    <a:pt x="1666" y="626"/>
                  </a:lnTo>
                  <a:lnTo>
                    <a:pt x="1662" y="626"/>
                  </a:lnTo>
                  <a:lnTo>
                    <a:pt x="1657" y="626"/>
                  </a:lnTo>
                  <a:lnTo>
                    <a:pt x="1660" y="631"/>
                  </a:lnTo>
                  <a:lnTo>
                    <a:pt x="1662" y="634"/>
                  </a:lnTo>
                  <a:lnTo>
                    <a:pt x="1663" y="640"/>
                  </a:lnTo>
                  <a:lnTo>
                    <a:pt x="1663" y="642"/>
                  </a:lnTo>
                  <a:lnTo>
                    <a:pt x="1665" y="645"/>
                  </a:lnTo>
                  <a:lnTo>
                    <a:pt x="1657" y="646"/>
                  </a:lnTo>
                  <a:lnTo>
                    <a:pt x="1657" y="647"/>
                  </a:lnTo>
                  <a:lnTo>
                    <a:pt x="1657" y="647"/>
                  </a:lnTo>
                  <a:lnTo>
                    <a:pt x="1657" y="646"/>
                  </a:lnTo>
                  <a:lnTo>
                    <a:pt x="1653" y="643"/>
                  </a:lnTo>
                  <a:lnTo>
                    <a:pt x="1649" y="646"/>
                  </a:lnTo>
                  <a:lnTo>
                    <a:pt x="1647" y="646"/>
                  </a:lnTo>
                  <a:lnTo>
                    <a:pt x="1643" y="640"/>
                  </a:lnTo>
                  <a:lnTo>
                    <a:pt x="1639" y="641"/>
                  </a:lnTo>
                  <a:lnTo>
                    <a:pt x="1637" y="641"/>
                  </a:lnTo>
                  <a:lnTo>
                    <a:pt x="1635" y="645"/>
                  </a:lnTo>
                  <a:lnTo>
                    <a:pt x="1630" y="643"/>
                  </a:lnTo>
                  <a:lnTo>
                    <a:pt x="1625" y="645"/>
                  </a:lnTo>
                  <a:lnTo>
                    <a:pt x="1622" y="646"/>
                  </a:lnTo>
                  <a:lnTo>
                    <a:pt x="1619" y="648"/>
                  </a:lnTo>
                  <a:lnTo>
                    <a:pt x="1620" y="650"/>
                  </a:lnTo>
                  <a:lnTo>
                    <a:pt x="1625" y="649"/>
                  </a:lnTo>
                  <a:lnTo>
                    <a:pt x="1626" y="651"/>
                  </a:lnTo>
                  <a:lnTo>
                    <a:pt x="1622" y="650"/>
                  </a:lnTo>
                  <a:lnTo>
                    <a:pt x="1622" y="652"/>
                  </a:lnTo>
                  <a:lnTo>
                    <a:pt x="1626" y="654"/>
                  </a:lnTo>
                  <a:lnTo>
                    <a:pt x="1620" y="655"/>
                  </a:lnTo>
                  <a:lnTo>
                    <a:pt x="1621" y="656"/>
                  </a:lnTo>
                  <a:lnTo>
                    <a:pt x="1625" y="657"/>
                  </a:lnTo>
                  <a:lnTo>
                    <a:pt x="1627" y="659"/>
                  </a:lnTo>
                  <a:lnTo>
                    <a:pt x="1629" y="658"/>
                  </a:lnTo>
                  <a:lnTo>
                    <a:pt x="1638" y="660"/>
                  </a:lnTo>
                  <a:lnTo>
                    <a:pt x="1640" y="663"/>
                  </a:lnTo>
                  <a:lnTo>
                    <a:pt x="1643" y="665"/>
                  </a:lnTo>
                  <a:lnTo>
                    <a:pt x="1644" y="663"/>
                  </a:lnTo>
                  <a:lnTo>
                    <a:pt x="1647" y="665"/>
                  </a:lnTo>
                  <a:lnTo>
                    <a:pt x="1653" y="665"/>
                  </a:lnTo>
                  <a:lnTo>
                    <a:pt x="1651" y="666"/>
                  </a:lnTo>
                  <a:lnTo>
                    <a:pt x="1652" y="668"/>
                  </a:lnTo>
                  <a:lnTo>
                    <a:pt x="1655" y="668"/>
                  </a:lnTo>
                  <a:lnTo>
                    <a:pt x="1659" y="668"/>
                  </a:lnTo>
                  <a:lnTo>
                    <a:pt x="1661" y="669"/>
                  </a:lnTo>
                  <a:lnTo>
                    <a:pt x="1657" y="668"/>
                  </a:lnTo>
                  <a:lnTo>
                    <a:pt x="1655" y="668"/>
                  </a:lnTo>
                  <a:lnTo>
                    <a:pt x="1655" y="671"/>
                  </a:lnTo>
                  <a:lnTo>
                    <a:pt x="1657" y="673"/>
                  </a:lnTo>
                  <a:lnTo>
                    <a:pt x="1655" y="676"/>
                  </a:lnTo>
                  <a:lnTo>
                    <a:pt x="1659" y="678"/>
                  </a:lnTo>
                  <a:lnTo>
                    <a:pt x="1661" y="682"/>
                  </a:lnTo>
                  <a:lnTo>
                    <a:pt x="1662" y="683"/>
                  </a:lnTo>
                  <a:lnTo>
                    <a:pt x="1664" y="683"/>
                  </a:lnTo>
                  <a:lnTo>
                    <a:pt x="1666" y="685"/>
                  </a:lnTo>
                  <a:lnTo>
                    <a:pt x="1670" y="685"/>
                  </a:lnTo>
                  <a:lnTo>
                    <a:pt x="1669" y="686"/>
                  </a:lnTo>
                  <a:lnTo>
                    <a:pt x="1670" y="692"/>
                  </a:lnTo>
                  <a:lnTo>
                    <a:pt x="1670" y="694"/>
                  </a:lnTo>
                  <a:lnTo>
                    <a:pt x="1668" y="695"/>
                  </a:lnTo>
                  <a:lnTo>
                    <a:pt x="1669" y="695"/>
                  </a:lnTo>
                  <a:lnTo>
                    <a:pt x="1671" y="697"/>
                  </a:lnTo>
                  <a:lnTo>
                    <a:pt x="1673" y="699"/>
                  </a:lnTo>
                  <a:lnTo>
                    <a:pt x="1676" y="702"/>
                  </a:lnTo>
                  <a:lnTo>
                    <a:pt x="1676" y="705"/>
                  </a:lnTo>
                  <a:lnTo>
                    <a:pt x="1677" y="708"/>
                  </a:lnTo>
                  <a:lnTo>
                    <a:pt x="1678" y="709"/>
                  </a:lnTo>
                  <a:lnTo>
                    <a:pt x="1677" y="708"/>
                  </a:lnTo>
                  <a:lnTo>
                    <a:pt x="1674" y="706"/>
                  </a:lnTo>
                  <a:lnTo>
                    <a:pt x="1674" y="702"/>
                  </a:lnTo>
                  <a:lnTo>
                    <a:pt x="1672" y="700"/>
                  </a:lnTo>
                  <a:lnTo>
                    <a:pt x="1669" y="699"/>
                  </a:lnTo>
                  <a:lnTo>
                    <a:pt x="1668" y="711"/>
                  </a:lnTo>
                  <a:lnTo>
                    <a:pt x="1668" y="714"/>
                  </a:lnTo>
                  <a:lnTo>
                    <a:pt x="1668" y="718"/>
                  </a:lnTo>
                  <a:lnTo>
                    <a:pt x="1665" y="727"/>
                  </a:lnTo>
                  <a:lnTo>
                    <a:pt x="1663" y="734"/>
                  </a:lnTo>
                  <a:lnTo>
                    <a:pt x="1661" y="735"/>
                  </a:lnTo>
                  <a:lnTo>
                    <a:pt x="1657" y="736"/>
                  </a:lnTo>
                  <a:lnTo>
                    <a:pt x="1654" y="736"/>
                  </a:lnTo>
                  <a:lnTo>
                    <a:pt x="1652" y="736"/>
                  </a:lnTo>
                  <a:lnTo>
                    <a:pt x="1647" y="733"/>
                  </a:lnTo>
                  <a:lnTo>
                    <a:pt x="1645" y="734"/>
                  </a:lnTo>
                  <a:lnTo>
                    <a:pt x="1644" y="735"/>
                  </a:lnTo>
                  <a:lnTo>
                    <a:pt x="1642" y="735"/>
                  </a:lnTo>
                  <a:lnTo>
                    <a:pt x="1637" y="733"/>
                  </a:lnTo>
                  <a:lnTo>
                    <a:pt x="1635" y="733"/>
                  </a:lnTo>
                  <a:lnTo>
                    <a:pt x="1632" y="733"/>
                  </a:lnTo>
                  <a:lnTo>
                    <a:pt x="1629" y="734"/>
                  </a:lnTo>
                  <a:lnTo>
                    <a:pt x="1629" y="734"/>
                  </a:lnTo>
                  <a:lnTo>
                    <a:pt x="1627" y="734"/>
                  </a:lnTo>
                  <a:lnTo>
                    <a:pt x="1621" y="734"/>
                  </a:lnTo>
                  <a:lnTo>
                    <a:pt x="1615" y="733"/>
                  </a:lnTo>
                  <a:lnTo>
                    <a:pt x="1612" y="732"/>
                  </a:lnTo>
                  <a:lnTo>
                    <a:pt x="1606" y="732"/>
                  </a:lnTo>
                  <a:lnTo>
                    <a:pt x="1604" y="731"/>
                  </a:lnTo>
                  <a:lnTo>
                    <a:pt x="1602" y="732"/>
                  </a:lnTo>
                  <a:lnTo>
                    <a:pt x="1593" y="732"/>
                  </a:lnTo>
                  <a:lnTo>
                    <a:pt x="1591" y="732"/>
                  </a:lnTo>
                  <a:lnTo>
                    <a:pt x="1588" y="733"/>
                  </a:lnTo>
                  <a:lnTo>
                    <a:pt x="1587" y="732"/>
                  </a:lnTo>
                  <a:lnTo>
                    <a:pt x="1585" y="731"/>
                  </a:lnTo>
                  <a:lnTo>
                    <a:pt x="1582" y="729"/>
                  </a:lnTo>
                  <a:lnTo>
                    <a:pt x="1576" y="728"/>
                  </a:lnTo>
                  <a:lnTo>
                    <a:pt x="1574" y="731"/>
                  </a:lnTo>
                  <a:lnTo>
                    <a:pt x="1572" y="733"/>
                  </a:lnTo>
                  <a:lnTo>
                    <a:pt x="1572" y="733"/>
                  </a:lnTo>
                  <a:lnTo>
                    <a:pt x="1572" y="734"/>
                  </a:lnTo>
                  <a:lnTo>
                    <a:pt x="1569" y="735"/>
                  </a:lnTo>
                  <a:lnTo>
                    <a:pt x="1567" y="736"/>
                  </a:lnTo>
                  <a:lnTo>
                    <a:pt x="1563" y="736"/>
                  </a:lnTo>
                  <a:lnTo>
                    <a:pt x="1558" y="740"/>
                  </a:lnTo>
                  <a:lnTo>
                    <a:pt x="1560" y="743"/>
                  </a:lnTo>
                  <a:lnTo>
                    <a:pt x="1560" y="743"/>
                  </a:lnTo>
                  <a:lnTo>
                    <a:pt x="1561" y="744"/>
                  </a:lnTo>
                  <a:lnTo>
                    <a:pt x="1563" y="744"/>
                  </a:lnTo>
                  <a:lnTo>
                    <a:pt x="1562" y="744"/>
                  </a:lnTo>
                  <a:lnTo>
                    <a:pt x="1562" y="748"/>
                  </a:lnTo>
                  <a:lnTo>
                    <a:pt x="1566" y="746"/>
                  </a:lnTo>
                  <a:lnTo>
                    <a:pt x="1563" y="749"/>
                  </a:lnTo>
                  <a:lnTo>
                    <a:pt x="1563" y="751"/>
                  </a:lnTo>
                  <a:lnTo>
                    <a:pt x="1567" y="751"/>
                  </a:lnTo>
                  <a:lnTo>
                    <a:pt x="1563" y="753"/>
                  </a:lnTo>
                  <a:lnTo>
                    <a:pt x="1566" y="753"/>
                  </a:lnTo>
                  <a:lnTo>
                    <a:pt x="1567" y="752"/>
                  </a:lnTo>
                  <a:lnTo>
                    <a:pt x="1567" y="753"/>
                  </a:lnTo>
                  <a:lnTo>
                    <a:pt x="1563" y="756"/>
                  </a:lnTo>
                  <a:lnTo>
                    <a:pt x="1565" y="758"/>
                  </a:lnTo>
                  <a:lnTo>
                    <a:pt x="1563" y="760"/>
                  </a:lnTo>
                  <a:lnTo>
                    <a:pt x="1563" y="762"/>
                  </a:lnTo>
                  <a:lnTo>
                    <a:pt x="1566" y="770"/>
                  </a:lnTo>
                  <a:lnTo>
                    <a:pt x="1567" y="771"/>
                  </a:lnTo>
                  <a:lnTo>
                    <a:pt x="1566" y="779"/>
                  </a:lnTo>
                  <a:lnTo>
                    <a:pt x="1567" y="776"/>
                  </a:lnTo>
                  <a:lnTo>
                    <a:pt x="1567" y="779"/>
                  </a:lnTo>
                  <a:lnTo>
                    <a:pt x="1565" y="782"/>
                  </a:lnTo>
                  <a:lnTo>
                    <a:pt x="1563" y="788"/>
                  </a:lnTo>
                  <a:lnTo>
                    <a:pt x="1560" y="796"/>
                  </a:lnTo>
                  <a:lnTo>
                    <a:pt x="1557" y="801"/>
                  </a:lnTo>
                  <a:lnTo>
                    <a:pt x="1557" y="803"/>
                  </a:lnTo>
                  <a:lnTo>
                    <a:pt x="1555" y="805"/>
                  </a:lnTo>
                  <a:lnTo>
                    <a:pt x="1555" y="809"/>
                  </a:lnTo>
                  <a:lnTo>
                    <a:pt x="1557" y="811"/>
                  </a:lnTo>
                  <a:lnTo>
                    <a:pt x="1559" y="811"/>
                  </a:lnTo>
                  <a:lnTo>
                    <a:pt x="1560" y="810"/>
                  </a:lnTo>
                  <a:lnTo>
                    <a:pt x="1562" y="806"/>
                  </a:lnTo>
                  <a:lnTo>
                    <a:pt x="1562" y="810"/>
                  </a:lnTo>
                  <a:lnTo>
                    <a:pt x="1560" y="812"/>
                  </a:lnTo>
                  <a:lnTo>
                    <a:pt x="1559" y="811"/>
                  </a:lnTo>
                  <a:lnTo>
                    <a:pt x="1559" y="814"/>
                  </a:lnTo>
                  <a:lnTo>
                    <a:pt x="1565" y="814"/>
                  </a:lnTo>
                  <a:lnTo>
                    <a:pt x="1566" y="813"/>
                  </a:lnTo>
                  <a:lnTo>
                    <a:pt x="1565" y="816"/>
                  </a:lnTo>
                  <a:lnTo>
                    <a:pt x="1565" y="819"/>
                  </a:lnTo>
                  <a:lnTo>
                    <a:pt x="1563" y="822"/>
                  </a:lnTo>
                  <a:lnTo>
                    <a:pt x="1565" y="827"/>
                  </a:lnTo>
                  <a:lnTo>
                    <a:pt x="1565" y="828"/>
                  </a:lnTo>
                  <a:lnTo>
                    <a:pt x="1565" y="831"/>
                  </a:lnTo>
                  <a:lnTo>
                    <a:pt x="1562" y="835"/>
                  </a:lnTo>
                  <a:lnTo>
                    <a:pt x="1562" y="838"/>
                  </a:lnTo>
                  <a:lnTo>
                    <a:pt x="1568" y="836"/>
                  </a:lnTo>
                  <a:lnTo>
                    <a:pt x="1570" y="836"/>
                  </a:lnTo>
                  <a:lnTo>
                    <a:pt x="1572" y="836"/>
                  </a:lnTo>
                  <a:lnTo>
                    <a:pt x="1575" y="837"/>
                  </a:lnTo>
                  <a:lnTo>
                    <a:pt x="1578" y="837"/>
                  </a:lnTo>
                  <a:lnTo>
                    <a:pt x="1583" y="835"/>
                  </a:lnTo>
                  <a:lnTo>
                    <a:pt x="1583" y="834"/>
                  </a:lnTo>
                  <a:lnTo>
                    <a:pt x="1584" y="835"/>
                  </a:lnTo>
                  <a:lnTo>
                    <a:pt x="1584" y="835"/>
                  </a:lnTo>
                  <a:lnTo>
                    <a:pt x="1589" y="834"/>
                  </a:lnTo>
                  <a:lnTo>
                    <a:pt x="1591" y="834"/>
                  </a:lnTo>
                  <a:lnTo>
                    <a:pt x="1589" y="835"/>
                  </a:lnTo>
                  <a:lnTo>
                    <a:pt x="1595" y="838"/>
                  </a:lnTo>
                  <a:lnTo>
                    <a:pt x="1600" y="839"/>
                  </a:lnTo>
                  <a:lnTo>
                    <a:pt x="1596" y="843"/>
                  </a:lnTo>
                  <a:lnTo>
                    <a:pt x="1600" y="845"/>
                  </a:lnTo>
                  <a:lnTo>
                    <a:pt x="1600" y="845"/>
                  </a:lnTo>
                  <a:lnTo>
                    <a:pt x="1600" y="847"/>
                  </a:lnTo>
                  <a:lnTo>
                    <a:pt x="1602" y="851"/>
                  </a:lnTo>
                  <a:lnTo>
                    <a:pt x="1608" y="854"/>
                  </a:lnTo>
                  <a:lnTo>
                    <a:pt x="1612" y="852"/>
                  </a:lnTo>
                  <a:lnTo>
                    <a:pt x="1613" y="847"/>
                  </a:lnTo>
                  <a:lnTo>
                    <a:pt x="1617" y="846"/>
                  </a:lnTo>
                  <a:lnTo>
                    <a:pt x="1619" y="846"/>
                  </a:lnTo>
                  <a:lnTo>
                    <a:pt x="1621" y="846"/>
                  </a:lnTo>
                  <a:lnTo>
                    <a:pt x="1623" y="843"/>
                  </a:lnTo>
                  <a:lnTo>
                    <a:pt x="1625" y="843"/>
                  </a:lnTo>
                  <a:lnTo>
                    <a:pt x="1636" y="843"/>
                  </a:lnTo>
                  <a:lnTo>
                    <a:pt x="1642" y="842"/>
                  </a:lnTo>
                  <a:lnTo>
                    <a:pt x="1646" y="843"/>
                  </a:lnTo>
                  <a:lnTo>
                    <a:pt x="1648" y="843"/>
                  </a:lnTo>
                  <a:lnTo>
                    <a:pt x="1651" y="840"/>
                  </a:lnTo>
                  <a:lnTo>
                    <a:pt x="1653" y="840"/>
                  </a:lnTo>
                  <a:lnTo>
                    <a:pt x="1656" y="842"/>
                  </a:lnTo>
                  <a:lnTo>
                    <a:pt x="1657" y="839"/>
                  </a:lnTo>
                  <a:lnTo>
                    <a:pt x="1660" y="836"/>
                  </a:lnTo>
                  <a:lnTo>
                    <a:pt x="1660" y="834"/>
                  </a:lnTo>
                  <a:lnTo>
                    <a:pt x="1665" y="830"/>
                  </a:lnTo>
                  <a:lnTo>
                    <a:pt x="1668" y="829"/>
                  </a:lnTo>
                  <a:lnTo>
                    <a:pt x="1671" y="829"/>
                  </a:lnTo>
                  <a:lnTo>
                    <a:pt x="1673" y="827"/>
                  </a:lnTo>
                  <a:lnTo>
                    <a:pt x="1676" y="823"/>
                  </a:lnTo>
                  <a:lnTo>
                    <a:pt x="1676" y="820"/>
                  </a:lnTo>
                  <a:lnTo>
                    <a:pt x="1679" y="816"/>
                  </a:lnTo>
                  <a:lnTo>
                    <a:pt x="1685" y="812"/>
                  </a:lnTo>
                  <a:lnTo>
                    <a:pt x="1688" y="811"/>
                  </a:lnTo>
                  <a:lnTo>
                    <a:pt x="1682" y="806"/>
                  </a:lnTo>
                  <a:lnTo>
                    <a:pt x="1681" y="804"/>
                  </a:lnTo>
                  <a:lnTo>
                    <a:pt x="1680" y="800"/>
                  </a:lnTo>
                  <a:lnTo>
                    <a:pt x="1682" y="794"/>
                  </a:lnTo>
                  <a:lnTo>
                    <a:pt x="1685" y="792"/>
                  </a:lnTo>
                  <a:lnTo>
                    <a:pt x="1686" y="789"/>
                  </a:lnTo>
                  <a:lnTo>
                    <a:pt x="1690" y="784"/>
                  </a:lnTo>
                  <a:lnTo>
                    <a:pt x="1691" y="782"/>
                  </a:lnTo>
                  <a:lnTo>
                    <a:pt x="1694" y="780"/>
                  </a:lnTo>
                  <a:lnTo>
                    <a:pt x="1697" y="779"/>
                  </a:lnTo>
                  <a:lnTo>
                    <a:pt x="1697" y="778"/>
                  </a:lnTo>
                  <a:lnTo>
                    <a:pt x="1695" y="777"/>
                  </a:lnTo>
                  <a:lnTo>
                    <a:pt x="1697" y="775"/>
                  </a:lnTo>
                  <a:lnTo>
                    <a:pt x="1702" y="772"/>
                  </a:lnTo>
                  <a:lnTo>
                    <a:pt x="1714" y="769"/>
                  </a:lnTo>
                  <a:lnTo>
                    <a:pt x="1715" y="768"/>
                  </a:lnTo>
                  <a:lnTo>
                    <a:pt x="1717" y="766"/>
                  </a:lnTo>
                  <a:lnTo>
                    <a:pt x="1725" y="762"/>
                  </a:lnTo>
                  <a:lnTo>
                    <a:pt x="1728" y="760"/>
                  </a:lnTo>
                  <a:lnTo>
                    <a:pt x="1729" y="757"/>
                  </a:lnTo>
                  <a:lnTo>
                    <a:pt x="1728" y="754"/>
                  </a:lnTo>
                  <a:lnTo>
                    <a:pt x="1730" y="753"/>
                  </a:lnTo>
                  <a:lnTo>
                    <a:pt x="1726" y="746"/>
                  </a:lnTo>
                  <a:lnTo>
                    <a:pt x="1726" y="744"/>
                  </a:lnTo>
                  <a:lnTo>
                    <a:pt x="1725" y="743"/>
                  </a:lnTo>
                  <a:lnTo>
                    <a:pt x="1726" y="743"/>
                  </a:lnTo>
                  <a:lnTo>
                    <a:pt x="1726" y="740"/>
                  </a:lnTo>
                  <a:lnTo>
                    <a:pt x="1730" y="737"/>
                  </a:lnTo>
                  <a:lnTo>
                    <a:pt x="1732" y="736"/>
                  </a:lnTo>
                  <a:lnTo>
                    <a:pt x="1738" y="733"/>
                  </a:lnTo>
                  <a:lnTo>
                    <a:pt x="1740" y="732"/>
                  </a:lnTo>
                  <a:lnTo>
                    <a:pt x="1742" y="733"/>
                  </a:lnTo>
                  <a:lnTo>
                    <a:pt x="1745" y="733"/>
                  </a:lnTo>
                  <a:lnTo>
                    <a:pt x="1747" y="735"/>
                  </a:lnTo>
                  <a:lnTo>
                    <a:pt x="1750" y="734"/>
                  </a:lnTo>
                  <a:lnTo>
                    <a:pt x="1749" y="732"/>
                  </a:lnTo>
                  <a:lnTo>
                    <a:pt x="1750" y="734"/>
                  </a:lnTo>
                  <a:lnTo>
                    <a:pt x="1754" y="734"/>
                  </a:lnTo>
                  <a:lnTo>
                    <a:pt x="1754" y="734"/>
                  </a:lnTo>
                  <a:lnTo>
                    <a:pt x="1755" y="735"/>
                  </a:lnTo>
                  <a:lnTo>
                    <a:pt x="1757" y="735"/>
                  </a:lnTo>
                  <a:lnTo>
                    <a:pt x="1759" y="737"/>
                  </a:lnTo>
                  <a:lnTo>
                    <a:pt x="1763" y="737"/>
                  </a:lnTo>
                  <a:lnTo>
                    <a:pt x="1763" y="739"/>
                  </a:lnTo>
                  <a:lnTo>
                    <a:pt x="1766" y="739"/>
                  </a:lnTo>
                  <a:lnTo>
                    <a:pt x="1768" y="740"/>
                  </a:lnTo>
                  <a:lnTo>
                    <a:pt x="1774" y="739"/>
                  </a:lnTo>
                  <a:lnTo>
                    <a:pt x="1776" y="736"/>
                  </a:lnTo>
                  <a:lnTo>
                    <a:pt x="1777" y="734"/>
                  </a:lnTo>
                  <a:lnTo>
                    <a:pt x="1783" y="729"/>
                  </a:lnTo>
                  <a:lnTo>
                    <a:pt x="1787" y="728"/>
                  </a:lnTo>
                  <a:lnTo>
                    <a:pt x="1790" y="728"/>
                  </a:lnTo>
                  <a:lnTo>
                    <a:pt x="1793" y="727"/>
                  </a:lnTo>
                  <a:lnTo>
                    <a:pt x="1796" y="725"/>
                  </a:lnTo>
                  <a:lnTo>
                    <a:pt x="1801" y="719"/>
                  </a:lnTo>
                  <a:lnTo>
                    <a:pt x="1805" y="717"/>
                  </a:lnTo>
                  <a:lnTo>
                    <a:pt x="1807" y="717"/>
                  </a:lnTo>
                  <a:lnTo>
                    <a:pt x="1813" y="719"/>
                  </a:lnTo>
                  <a:lnTo>
                    <a:pt x="1817" y="723"/>
                  </a:lnTo>
                  <a:lnTo>
                    <a:pt x="1819" y="723"/>
                  </a:lnTo>
                  <a:lnTo>
                    <a:pt x="1821" y="723"/>
                  </a:lnTo>
                  <a:lnTo>
                    <a:pt x="1822" y="724"/>
                  </a:lnTo>
                  <a:lnTo>
                    <a:pt x="1824" y="725"/>
                  </a:lnTo>
                  <a:lnTo>
                    <a:pt x="1825" y="727"/>
                  </a:lnTo>
                  <a:lnTo>
                    <a:pt x="1825" y="732"/>
                  </a:lnTo>
                  <a:lnTo>
                    <a:pt x="1828" y="736"/>
                  </a:lnTo>
                  <a:lnTo>
                    <a:pt x="1828" y="742"/>
                  </a:lnTo>
                  <a:lnTo>
                    <a:pt x="1832" y="742"/>
                  </a:lnTo>
                  <a:lnTo>
                    <a:pt x="1833" y="744"/>
                  </a:lnTo>
                  <a:lnTo>
                    <a:pt x="1836" y="748"/>
                  </a:lnTo>
                  <a:lnTo>
                    <a:pt x="1839" y="751"/>
                  </a:lnTo>
                  <a:lnTo>
                    <a:pt x="1843" y="752"/>
                  </a:lnTo>
                  <a:lnTo>
                    <a:pt x="1845" y="754"/>
                  </a:lnTo>
                  <a:lnTo>
                    <a:pt x="1845" y="757"/>
                  </a:lnTo>
                  <a:lnTo>
                    <a:pt x="1849" y="758"/>
                  </a:lnTo>
                  <a:lnTo>
                    <a:pt x="1851" y="759"/>
                  </a:lnTo>
                  <a:lnTo>
                    <a:pt x="1852" y="762"/>
                  </a:lnTo>
                  <a:lnTo>
                    <a:pt x="1856" y="763"/>
                  </a:lnTo>
                  <a:lnTo>
                    <a:pt x="1857" y="766"/>
                  </a:lnTo>
                  <a:lnTo>
                    <a:pt x="1862" y="769"/>
                  </a:lnTo>
                  <a:lnTo>
                    <a:pt x="1865" y="769"/>
                  </a:lnTo>
                  <a:lnTo>
                    <a:pt x="1868" y="769"/>
                  </a:lnTo>
                  <a:lnTo>
                    <a:pt x="1870" y="770"/>
                  </a:lnTo>
                  <a:lnTo>
                    <a:pt x="1873" y="770"/>
                  </a:lnTo>
                  <a:lnTo>
                    <a:pt x="1875" y="774"/>
                  </a:lnTo>
                  <a:lnTo>
                    <a:pt x="1878" y="777"/>
                  </a:lnTo>
                  <a:lnTo>
                    <a:pt x="1882" y="777"/>
                  </a:lnTo>
                  <a:lnTo>
                    <a:pt x="1883" y="780"/>
                  </a:lnTo>
                  <a:lnTo>
                    <a:pt x="1884" y="780"/>
                  </a:lnTo>
                  <a:lnTo>
                    <a:pt x="1886" y="779"/>
                  </a:lnTo>
                  <a:lnTo>
                    <a:pt x="1888" y="782"/>
                  </a:lnTo>
                  <a:lnTo>
                    <a:pt x="1890" y="784"/>
                  </a:lnTo>
                  <a:lnTo>
                    <a:pt x="1890" y="787"/>
                  </a:lnTo>
                  <a:lnTo>
                    <a:pt x="1892" y="788"/>
                  </a:lnTo>
                  <a:lnTo>
                    <a:pt x="1895" y="791"/>
                  </a:lnTo>
                  <a:lnTo>
                    <a:pt x="1899" y="789"/>
                  </a:lnTo>
                  <a:lnTo>
                    <a:pt x="1901" y="792"/>
                  </a:lnTo>
                  <a:lnTo>
                    <a:pt x="1901" y="795"/>
                  </a:lnTo>
                  <a:lnTo>
                    <a:pt x="1902" y="797"/>
                  </a:lnTo>
                  <a:lnTo>
                    <a:pt x="1904" y="800"/>
                  </a:lnTo>
                  <a:lnTo>
                    <a:pt x="1905" y="805"/>
                  </a:lnTo>
                  <a:lnTo>
                    <a:pt x="1907" y="808"/>
                  </a:lnTo>
                  <a:lnTo>
                    <a:pt x="1905" y="811"/>
                  </a:lnTo>
                  <a:lnTo>
                    <a:pt x="1902" y="811"/>
                  </a:lnTo>
                  <a:lnTo>
                    <a:pt x="1902" y="816"/>
                  </a:lnTo>
                  <a:lnTo>
                    <a:pt x="1899" y="820"/>
                  </a:lnTo>
                  <a:lnTo>
                    <a:pt x="1900" y="823"/>
                  </a:lnTo>
                  <a:lnTo>
                    <a:pt x="1903" y="823"/>
                  </a:lnTo>
                  <a:lnTo>
                    <a:pt x="1905" y="822"/>
                  </a:lnTo>
                  <a:lnTo>
                    <a:pt x="1907" y="820"/>
                  </a:lnTo>
                  <a:lnTo>
                    <a:pt x="1911" y="814"/>
                  </a:lnTo>
                  <a:lnTo>
                    <a:pt x="1911" y="810"/>
                  </a:lnTo>
                  <a:lnTo>
                    <a:pt x="1919" y="805"/>
                  </a:lnTo>
                  <a:lnTo>
                    <a:pt x="1919" y="803"/>
                  </a:lnTo>
                  <a:lnTo>
                    <a:pt x="1918" y="799"/>
                  </a:lnTo>
                  <a:lnTo>
                    <a:pt x="1913" y="796"/>
                  </a:lnTo>
                  <a:lnTo>
                    <a:pt x="1911" y="795"/>
                  </a:lnTo>
                  <a:lnTo>
                    <a:pt x="1911" y="793"/>
                  </a:lnTo>
                  <a:lnTo>
                    <a:pt x="1912" y="791"/>
                  </a:lnTo>
                  <a:lnTo>
                    <a:pt x="1912" y="788"/>
                  </a:lnTo>
                  <a:lnTo>
                    <a:pt x="1915" y="787"/>
                  </a:lnTo>
                  <a:lnTo>
                    <a:pt x="1916" y="784"/>
                  </a:lnTo>
                  <a:lnTo>
                    <a:pt x="1918" y="782"/>
                  </a:lnTo>
                  <a:lnTo>
                    <a:pt x="1921" y="782"/>
                  </a:lnTo>
                  <a:lnTo>
                    <a:pt x="1921" y="783"/>
                  </a:lnTo>
                  <a:lnTo>
                    <a:pt x="1920" y="783"/>
                  </a:lnTo>
                  <a:lnTo>
                    <a:pt x="1922" y="785"/>
                  </a:lnTo>
                  <a:lnTo>
                    <a:pt x="1928" y="785"/>
                  </a:lnTo>
                  <a:lnTo>
                    <a:pt x="1930" y="787"/>
                  </a:lnTo>
                  <a:lnTo>
                    <a:pt x="1932" y="791"/>
                  </a:lnTo>
                  <a:lnTo>
                    <a:pt x="1934" y="793"/>
                  </a:lnTo>
                  <a:lnTo>
                    <a:pt x="1936" y="793"/>
                  </a:lnTo>
                  <a:lnTo>
                    <a:pt x="1938" y="788"/>
                  </a:lnTo>
                  <a:lnTo>
                    <a:pt x="1937" y="786"/>
                  </a:lnTo>
                  <a:lnTo>
                    <a:pt x="1935" y="784"/>
                  </a:lnTo>
                  <a:lnTo>
                    <a:pt x="1932" y="782"/>
                  </a:lnTo>
                  <a:lnTo>
                    <a:pt x="1930" y="779"/>
                  </a:lnTo>
                  <a:lnTo>
                    <a:pt x="1922" y="776"/>
                  </a:lnTo>
                  <a:lnTo>
                    <a:pt x="1920" y="774"/>
                  </a:lnTo>
                  <a:lnTo>
                    <a:pt x="1912" y="770"/>
                  </a:lnTo>
                  <a:lnTo>
                    <a:pt x="1903" y="766"/>
                  </a:lnTo>
                  <a:lnTo>
                    <a:pt x="1903" y="763"/>
                  </a:lnTo>
                  <a:lnTo>
                    <a:pt x="1905" y="761"/>
                  </a:lnTo>
                  <a:lnTo>
                    <a:pt x="1905" y="759"/>
                  </a:lnTo>
                  <a:lnTo>
                    <a:pt x="1892" y="759"/>
                  </a:lnTo>
                  <a:lnTo>
                    <a:pt x="1890" y="758"/>
                  </a:lnTo>
                  <a:lnTo>
                    <a:pt x="1886" y="757"/>
                  </a:lnTo>
                  <a:lnTo>
                    <a:pt x="1876" y="746"/>
                  </a:lnTo>
                  <a:lnTo>
                    <a:pt x="1873" y="736"/>
                  </a:lnTo>
                  <a:lnTo>
                    <a:pt x="1870" y="732"/>
                  </a:lnTo>
                  <a:lnTo>
                    <a:pt x="1868" y="731"/>
                  </a:lnTo>
                  <a:lnTo>
                    <a:pt x="1862" y="726"/>
                  </a:lnTo>
                  <a:lnTo>
                    <a:pt x="1859" y="725"/>
                  </a:lnTo>
                  <a:lnTo>
                    <a:pt x="1854" y="720"/>
                  </a:lnTo>
                  <a:lnTo>
                    <a:pt x="1853" y="717"/>
                  </a:lnTo>
                  <a:lnTo>
                    <a:pt x="1853" y="714"/>
                  </a:lnTo>
                  <a:lnTo>
                    <a:pt x="1852" y="714"/>
                  </a:lnTo>
                  <a:lnTo>
                    <a:pt x="1856" y="710"/>
                  </a:lnTo>
                  <a:lnTo>
                    <a:pt x="1857" y="708"/>
                  </a:lnTo>
                  <a:lnTo>
                    <a:pt x="1856" y="708"/>
                  </a:lnTo>
                  <a:lnTo>
                    <a:pt x="1853" y="705"/>
                  </a:lnTo>
                  <a:lnTo>
                    <a:pt x="1852" y="703"/>
                  </a:lnTo>
                  <a:lnTo>
                    <a:pt x="1852" y="703"/>
                  </a:lnTo>
                  <a:lnTo>
                    <a:pt x="1851" y="702"/>
                  </a:lnTo>
                  <a:lnTo>
                    <a:pt x="1851" y="702"/>
                  </a:lnTo>
                  <a:lnTo>
                    <a:pt x="1852" y="702"/>
                  </a:lnTo>
                  <a:lnTo>
                    <a:pt x="1853" y="700"/>
                  </a:lnTo>
                  <a:lnTo>
                    <a:pt x="1856" y="700"/>
                  </a:lnTo>
                  <a:lnTo>
                    <a:pt x="1859" y="699"/>
                  </a:lnTo>
                  <a:lnTo>
                    <a:pt x="1861" y="697"/>
                  </a:lnTo>
                  <a:lnTo>
                    <a:pt x="1864" y="697"/>
                  </a:lnTo>
                  <a:lnTo>
                    <a:pt x="1864" y="695"/>
                  </a:lnTo>
                  <a:lnTo>
                    <a:pt x="1867" y="694"/>
                  </a:lnTo>
                  <a:lnTo>
                    <a:pt x="1868" y="695"/>
                  </a:lnTo>
                  <a:lnTo>
                    <a:pt x="1868" y="695"/>
                  </a:lnTo>
                  <a:lnTo>
                    <a:pt x="1868" y="695"/>
                  </a:lnTo>
                  <a:lnTo>
                    <a:pt x="1870" y="694"/>
                  </a:lnTo>
                  <a:lnTo>
                    <a:pt x="1871" y="694"/>
                  </a:lnTo>
                  <a:lnTo>
                    <a:pt x="1873" y="698"/>
                  </a:lnTo>
                  <a:lnTo>
                    <a:pt x="1873" y="698"/>
                  </a:lnTo>
                  <a:lnTo>
                    <a:pt x="1871" y="698"/>
                  </a:lnTo>
                  <a:lnTo>
                    <a:pt x="1870" y="699"/>
                  </a:lnTo>
                  <a:lnTo>
                    <a:pt x="1869" y="700"/>
                  </a:lnTo>
                  <a:lnTo>
                    <a:pt x="1870" y="702"/>
                  </a:lnTo>
                  <a:lnTo>
                    <a:pt x="1870" y="702"/>
                  </a:lnTo>
                  <a:lnTo>
                    <a:pt x="1873" y="706"/>
                  </a:lnTo>
                  <a:lnTo>
                    <a:pt x="1873" y="708"/>
                  </a:lnTo>
                  <a:lnTo>
                    <a:pt x="1875" y="711"/>
                  </a:lnTo>
                  <a:lnTo>
                    <a:pt x="1876" y="710"/>
                  </a:lnTo>
                  <a:lnTo>
                    <a:pt x="1877" y="707"/>
                  </a:lnTo>
                  <a:lnTo>
                    <a:pt x="1877" y="708"/>
                  </a:lnTo>
                  <a:lnTo>
                    <a:pt x="1878" y="708"/>
                  </a:lnTo>
                  <a:lnTo>
                    <a:pt x="1881" y="701"/>
                  </a:lnTo>
                  <a:lnTo>
                    <a:pt x="1885" y="703"/>
                  </a:lnTo>
                  <a:lnTo>
                    <a:pt x="1888" y="708"/>
                  </a:lnTo>
                  <a:lnTo>
                    <a:pt x="1888" y="712"/>
                  </a:lnTo>
                  <a:lnTo>
                    <a:pt x="1890" y="715"/>
                  </a:lnTo>
                  <a:lnTo>
                    <a:pt x="1892" y="716"/>
                  </a:lnTo>
                  <a:lnTo>
                    <a:pt x="1894" y="718"/>
                  </a:lnTo>
                  <a:lnTo>
                    <a:pt x="1898" y="720"/>
                  </a:lnTo>
                  <a:lnTo>
                    <a:pt x="1898" y="720"/>
                  </a:lnTo>
                  <a:lnTo>
                    <a:pt x="1899" y="720"/>
                  </a:lnTo>
                  <a:lnTo>
                    <a:pt x="1899" y="722"/>
                  </a:lnTo>
                  <a:lnTo>
                    <a:pt x="1898" y="720"/>
                  </a:lnTo>
                  <a:lnTo>
                    <a:pt x="1894" y="719"/>
                  </a:lnTo>
                  <a:lnTo>
                    <a:pt x="1893" y="722"/>
                  </a:lnTo>
                  <a:lnTo>
                    <a:pt x="1899" y="727"/>
                  </a:lnTo>
                  <a:lnTo>
                    <a:pt x="1903" y="729"/>
                  </a:lnTo>
                  <a:lnTo>
                    <a:pt x="1904" y="733"/>
                  </a:lnTo>
                  <a:lnTo>
                    <a:pt x="1909" y="732"/>
                  </a:lnTo>
                  <a:lnTo>
                    <a:pt x="1913" y="734"/>
                  </a:lnTo>
                  <a:lnTo>
                    <a:pt x="1916" y="734"/>
                  </a:lnTo>
                  <a:lnTo>
                    <a:pt x="1919" y="737"/>
                  </a:lnTo>
                  <a:lnTo>
                    <a:pt x="1924" y="741"/>
                  </a:lnTo>
                  <a:lnTo>
                    <a:pt x="1927" y="743"/>
                  </a:lnTo>
                  <a:lnTo>
                    <a:pt x="1924" y="742"/>
                  </a:lnTo>
                  <a:lnTo>
                    <a:pt x="1921" y="741"/>
                  </a:lnTo>
                  <a:lnTo>
                    <a:pt x="1918" y="741"/>
                  </a:lnTo>
                  <a:lnTo>
                    <a:pt x="1924" y="743"/>
                  </a:lnTo>
                  <a:lnTo>
                    <a:pt x="1929" y="744"/>
                  </a:lnTo>
                  <a:lnTo>
                    <a:pt x="1937" y="750"/>
                  </a:lnTo>
                  <a:lnTo>
                    <a:pt x="1942" y="750"/>
                  </a:lnTo>
                  <a:lnTo>
                    <a:pt x="1942" y="751"/>
                  </a:lnTo>
                  <a:lnTo>
                    <a:pt x="1941" y="750"/>
                  </a:lnTo>
                  <a:lnTo>
                    <a:pt x="1938" y="751"/>
                  </a:lnTo>
                  <a:lnTo>
                    <a:pt x="1942" y="753"/>
                  </a:lnTo>
                  <a:lnTo>
                    <a:pt x="1944" y="754"/>
                  </a:lnTo>
                  <a:lnTo>
                    <a:pt x="1946" y="758"/>
                  </a:lnTo>
                  <a:lnTo>
                    <a:pt x="1950" y="760"/>
                  </a:lnTo>
                  <a:lnTo>
                    <a:pt x="1952" y="760"/>
                  </a:lnTo>
                  <a:lnTo>
                    <a:pt x="1953" y="761"/>
                  </a:lnTo>
                  <a:lnTo>
                    <a:pt x="1953" y="765"/>
                  </a:lnTo>
                  <a:lnTo>
                    <a:pt x="1951" y="768"/>
                  </a:lnTo>
                  <a:lnTo>
                    <a:pt x="1951" y="770"/>
                  </a:lnTo>
                  <a:lnTo>
                    <a:pt x="1951" y="774"/>
                  </a:lnTo>
                  <a:lnTo>
                    <a:pt x="1951" y="776"/>
                  </a:lnTo>
                  <a:lnTo>
                    <a:pt x="1950" y="779"/>
                  </a:lnTo>
                  <a:lnTo>
                    <a:pt x="1951" y="782"/>
                  </a:lnTo>
                  <a:lnTo>
                    <a:pt x="1951" y="782"/>
                  </a:lnTo>
                  <a:lnTo>
                    <a:pt x="1951" y="785"/>
                  </a:lnTo>
                  <a:lnTo>
                    <a:pt x="1951" y="785"/>
                  </a:lnTo>
                  <a:lnTo>
                    <a:pt x="1950" y="784"/>
                  </a:lnTo>
                  <a:lnTo>
                    <a:pt x="1951" y="786"/>
                  </a:lnTo>
                  <a:lnTo>
                    <a:pt x="1956" y="789"/>
                  </a:lnTo>
                  <a:lnTo>
                    <a:pt x="1959" y="793"/>
                  </a:lnTo>
                  <a:lnTo>
                    <a:pt x="1959" y="795"/>
                  </a:lnTo>
                  <a:lnTo>
                    <a:pt x="1961" y="796"/>
                  </a:lnTo>
                  <a:lnTo>
                    <a:pt x="1963" y="801"/>
                  </a:lnTo>
                  <a:lnTo>
                    <a:pt x="1966" y="802"/>
                  </a:lnTo>
                  <a:lnTo>
                    <a:pt x="1969" y="806"/>
                  </a:lnTo>
                  <a:lnTo>
                    <a:pt x="1970" y="804"/>
                  </a:lnTo>
                  <a:lnTo>
                    <a:pt x="1971" y="805"/>
                  </a:lnTo>
                  <a:lnTo>
                    <a:pt x="1973" y="805"/>
                  </a:lnTo>
                  <a:lnTo>
                    <a:pt x="1972" y="808"/>
                  </a:lnTo>
                  <a:lnTo>
                    <a:pt x="1971" y="808"/>
                  </a:lnTo>
                  <a:lnTo>
                    <a:pt x="1969" y="806"/>
                  </a:lnTo>
                  <a:lnTo>
                    <a:pt x="1969" y="810"/>
                  </a:lnTo>
                  <a:lnTo>
                    <a:pt x="1972" y="812"/>
                  </a:lnTo>
                  <a:lnTo>
                    <a:pt x="1975" y="818"/>
                  </a:lnTo>
                  <a:lnTo>
                    <a:pt x="1977" y="816"/>
                  </a:lnTo>
                  <a:lnTo>
                    <a:pt x="1977" y="814"/>
                  </a:lnTo>
                  <a:lnTo>
                    <a:pt x="1979" y="818"/>
                  </a:lnTo>
                  <a:lnTo>
                    <a:pt x="1986" y="816"/>
                  </a:lnTo>
                  <a:lnTo>
                    <a:pt x="1988" y="817"/>
                  </a:lnTo>
                  <a:lnTo>
                    <a:pt x="1992" y="816"/>
                  </a:lnTo>
                  <a:lnTo>
                    <a:pt x="1994" y="818"/>
                  </a:lnTo>
                  <a:lnTo>
                    <a:pt x="1995" y="817"/>
                  </a:lnTo>
                  <a:lnTo>
                    <a:pt x="1997" y="819"/>
                  </a:lnTo>
                  <a:lnTo>
                    <a:pt x="1999" y="819"/>
                  </a:lnTo>
                  <a:lnTo>
                    <a:pt x="2003" y="820"/>
                  </a:lnTo>
                  <a:lnTo>
                    <a:pt x="2002" y="821"/>
                  </a:lnTo>
                  <a:lnTo>
                    <a:pt x="1999" y="822"/>
                  </a:lnTo>
                  <a:lnTo>
                    <a:pt x="1997" y="822"/>
                  </a:lnTo>
                  <a:lnTo>
                    <a:pt x="1994" y="820"/>
                  </a:lnTo>
                  <a:lnTo>
                    <a:pt x="1992" y="820"/>
                  </a:lnTo>
                  <a:lnTo>
                    <a:pt x="1988" y="819"/>
                  </a:lnTo>
                  <a:lnTo>
                    <a:pt x="1985" y="817"/>
                  </a:lnTo>
                  <a:lnTo>
                    <a:pt x="1982" y="818"/>
                  </a:lnTo>
                  <a:lnTo>
                    <a:pt x="1980" y="820"/>
                  </a:lnTo>
                  <a:lnTo>
                    <a:pt x="1977" y="820"/>
                  </a:lnTo>
                  <a:lnTo>
                    <a:pt x="1976" y="822"/>
                  </a:lnTo>
                  <a:lnTo>
                    <a:pt x="1976" y="826"/>
                  </a:lnTo>
                  <a:lnTo>
                    <a:pt x="1978" y="828"/>
                  </a:lnTo>
                  <a:lnTo>
                    <a:pt x="1980" y="829"/>
                  </a:lnTo>
                  <a:lnTo>
                    <a:pt x="1981" y="831"/>
                  </a:lnTo>
                  <a:lnTo>
                    <a:pt x="1980" y="837"/>
                  </a:lnTo>
                  <a:lnTo>
                    <a:pt x="1982" y="840"/>
                  </a:lnTo>
                  <a:lnTo>
                    <a:pt x="1985" y="840"/>
                  </a:lnTo>
                  <a:lnTo>
                    <a:pt x="1987" y="837"/>
                  </a:lnTo>
                  <a:lnTo>
                    <a:pt x="1988" y="839"/>
                  </a:lnTo>
                  <a:lnTo>
                    <a:pt x="1990" y="842"/>
                  </a:lnTo>
                  <a:lnTo>
                    <a:pt x="1993" y="846"/>
                  </a:lnTo>
                  <a:lnTo>
                    <a:pt x="1993" y="846"/>
                  </a:lnTo>
                  <a:lnTo>
                    <a:pt x="1993" y="844"/>
                  </a:lnTo>
                  <a:lnTo>
                    <a:pt x="1995" y="840"/>
                  </a:lnTo>
                  <a:lnTo>
                    <a:pt x="1997" y="843"/>
                  </a:lnTo>
                  <a:lnTo>
                    <a:pt x="1998" y="845"/>
                  </a:lnTo>
                  <a:lnTo>
                    <a:pt x="2002" y="847"/>
                  </a:lnTo>
                  <a:lnTo>
                    <a:pt x="2002" y="845"/>
                  </a:lnTo>
                  <a:lnTo>
                    <a:pt x="2001" y="843"/>
                  </a:lnTo>
                  <a:lnTo>
                    <a:pt x="2001" y="840"/>
                  </a:lnTo>
                  <a:lnTo>
                    <a:pt x="1999" y="837"/>
                  </a:lnTo>
                  <a:lnTo>
                    <a:pt x="1997" y="833"/>
                  </a:lnTo>
                  <a:lnTo>
                    <a:pt x="1996" y="829"/>
                  </a:lnTo>
                  <a:lnTo>
                    <a:pt x="1996" y="829"/>
                  </a:lnTo>
                  <a:lnTo>
                    <a:pt x="1998" y="830"/>
                  </a:lnTo>
                  <a:lnTo>
                    <a:pt x="2001" y="833"/>
                  </a:lnTo>
                  <a:lnTo>
                    <a:pt x="2006" y="831"/>
                  </a:lnTo>
                  <a:lnTo>
                    <a:pt x="2006" y="831"/>
                  </a:lnTo>
                  <a:lnTo>
                    <a:pt x="2005" y="828"/>
                  </a:lnTo>
                  <a:lnTo>
                    <a:pt x="2003" y="829"/>
                  </a:lnTo>
                  <a:lnTo>
                    <a:pt x="2002" y="827"/>
                  </a:lnTo>
                  <a:lnTo>
                    <a:pt x="1999" y="825"/>
                  </a:lnTo>
                  <a:lnTo>
                    <a:pt x="1999" y="823"/>
                  </a:lnTo>
                  <a:lnTo>
                    <a:pt x="2006" y="822"/>
                  </a:lnTo>
                  <a:lnTo>
                    <a:pt x="2009" y="823"/>
                  </a:lnTo>
                  <a:lnTo>
                    <a:pt x="2011" y="825"/>
                  </a:lnTo>
                  <a:lnTo>
                    <a:pt x="2014" y="828"/>
                  </a:lnTo>
                  <a:lnTo>
                    <a:pt x="2014" y="827"/>
                  </a:lnTo>
                  <a:lnTo>
                    <a:pt x="2014" y="825"/>
                  </a:lnTo>
                  <a:lnTo>
                    <a:pt x="2013" y="822"/>
                  </a:lnTo>
                  <a:lnTo>
                    <a:pt x="2013" y="820"/>
                  </a:lnTo>
                  <a:lnTo>
                    <a:pt x="2012" y="818"/>
                  </a:lnTo>
                  <a:lnTo>
                    <a:pt x="2010" y="817"/>
                  </a:lnTo>
                  <a:lnTo>
                    <a:pt x="2007" y="814"/>
                  </a:lnTo>
                  <a:lnTo>
                    <a:pt x="2004" y="814"/>
                  </a:lnTo>
                  <a:lnTo>
                    <a:pt x="2004" y="812"/>
                  </a:lnTo>
                  <a:lnTo>
                    <a:pt x="2002" y="812"/>
                  </a:lnTo>
                  <a:lnTo>
                    <a:pt x="1998" y="810"/>
                  </a:lnTo>
                  <a:lnTo>
                    <a:pt x="1996" y="810"/>
                  </a:lnTo>
                  <a:lnTo>
                    <a:pt x="1994" y="808"/>
                  </a:lnTo>
                  <a:lnTo>
                    <a:pt x="1997" y="808"/>
                  </a:lnTo>
                  <a:lnTo>
                    <a:pt x="1999" y="806"/>
                  </a:lnTo>
                  <a:lnTo>
                    <a:pt x="1997" y="802"/>
                  </a:lnTo>
                  <a:lnTo>
                    <a:pt x="2001" y="801"/>
                  </a:lnTo>
                  <a:lnTo>
                    <a:pt x="2002" y="802"/>
                  </a:lnTo>
                  <a:lnTo>
                    <a:pt x="2001" y="805"/>
                  </a:lnTo>
                  <a:lnTo>
                    <a:pt x="2003" y="804"/>
                  </a:lnTo>
                  <a:lnTo>
                    <a:pt x="2004" y="802"/>
                  </a:lnTo>
                  <a:lnTo>
                    <a:pt x="1998" y="796"/>
                  </a:lnTo>
                  <a:lnTo>
                    <a:pt x="1995" y="791"/>
                  </a:lnTo>
                  <a:lnTo>
                    <a:pt x="1994" y="791"/>
                  </a:lnTo>
                  <a:lnTo>
                    <a:pt x="1994" y="788"/>
                  </a:lnTo>
                  <a:lnTo>
                    <a:pt x="1995" y="785"/>
                  </a:lnTo>
                  <a:lnTo>
                    <a:pt x="1995" y="783"/>
                  </a:lnTo>
                  <a:lnTo>
                    <a:pt x="1995" y="782"/>
                  </a:lnTo>
                  <a:lnTo>
                    <a:pt x="1996" y="782"/>
                  </a:lnTo>
                  <a:lnTo>
                    <a:pt x="1998" y="779"/>
                  </a:lnTo>
                  <a:lnTo>
                    <a:pt x="1997" y="783"/>
                  </a:lnTo>
                  <a:lnTo>
                    <a:pt x="2001" y="785"/>
                  </a:lnTo>
                  <a:lnTo>
                    <a:pt x="2004" y="787"/>
                  </a:lnTo>
                  <a:lnTo>
                    <a:pt x="2005" y="791"/>
                  </a:lnTo>
                  <a:lnTo>
                    <a:pt x="2007" y="791"/>
                  </a:lnTo>
                  <a:lnTo>
                    <a:pt x="2006" y="789"/>
                  </a:lnTo>
                  <a:lnTo>
                    <a:pt x="2004" y="786"/>
                  </a:lnTo>
                  <a:lnTo>
                    <a:pt x="2006" y="786"/>
                  </a:lnTo>
                  <a:lnTo>
                    <a:pt x="2010" y="787"/>
                  </a:lnTo>
                  <a:lnTo>
                    <a:pt x="2012" y="791"/>
                  </a:lnTo>
                  <a:lnTo>
                    <a:pt x="2013" y="791"/>
                  </a:lnTo>
                  <a:lnTo>
                    <a:pt x="2013" y="789"/>
                  </a:lnTo>
                  <a:lnTo>
                    <a:pt x="2012" y="787"/>
                  </a:lnTo>
                  <a:lnTo>
                    <a:pt x="2011" y="787"/>
                  </a:lnTo>
                  <a:lnTo>
                    <a:pt x="2010" y="784"/>
                  </a:lnTo>
                  <a:lnTo>
                    <a:pt x="2013" y="784"/>
                  </a:lnTo>
                  <a:lnTo>
                    <a:pt x="2015" y="785"/>
                  </a:lnTo>
                  <a:lnTo>
                    <a:pt x="2018" y="788"/>
                  </a:lnTo>
                  <a:lnTo>
                    <a:pt x="2019" y="787"/>
                  </a:lnTo>
                  <a:lnTo>
                    <a:pt x="2016" y="785"/>
                  </a:lnTo>
                  <a:lnTo>
                    <a:pt x="2014" y="783"/>
                  </a:lnTo>
                  <a:lnTo>
                    <a:pt x="2011" y="783"/>
                  </a:lnTo>
                  <a:lnTo>
                    <a:pt x="2010" y="778"/>
                  </a:lnTo>
                  <a:lnTo>
                    <a:pt x="2012" y="777"/>
                  </a:lnTo>
                  <a:lnTo>
                    <a:pt x="2013" y="778"/>
                  </a:lnTo>
                  <a:lnTo>
                    <a:pt x="2016" y="777"/>
                  </a:lnTo>
                  <a:lnTo>
                    <a:pt x="2019" y="775"/>
                  </a:lnTo>
                  <a:lnTo>
                    <a:pt x="2024" y="776"/>
                  </a:lnTo>
                  <a:lnTo>
                    <a:pt x="2027" y="775"/>
                  </a:lnTo>
                  <a:lnTo>
                    <a:pt x="2029" y="774"/>
                  </a:lnTo>
                  <a:lnTo>
                    <a:pt x="2030" y="775"/>
                  </a:lnTo>
                  <a:lnTo>
                    <a:pt x="2039" y="776"/>
                  </a:lnTo>
                  <a:lnTo>
                    <a:pt x="2041" y="778"/>
                  </a:lnTo>
                  <a:lnTo>
                    <a:pt x="2043" y="780"/>
                  </a:lnTo>
                  <a:lnTo>
                    <a:pt x="2046" y="780"/>
                  </a:lnTo>
                  <a:lnTo>
                    <a:pt x="2050" y="779"/>
                  </a:lnTo>
                  <a:lnTo>
                    <a:pt x="2052" y="780"/>
                  </a:lnTo>
                  <a:lnTo>
                    <a:pt x="2044" y="785"/>
                  </a:lnTo>
                  <a:lnTo>
                    <a:pt x="2045" y="786"/>
                  </a:lnTo>
                  <a:lnTo>
                    <a:pt x="2044" y="789"/>
                  </a:lnTo>
                  <a:lnTo>
                    <a:pt x="2046" y="786"/>
                  </a:lnTo>
                  <a:lnTo>
                    <a:pt x="2049" y="785"/>
                  </a:lnTo>
                  <a:lnTo>
                    <a:pt x="2052" y="782"/>
                  </a:lnTo>
                  <a:lnTo>
                    <a:pt x="2054" y="782"/>
                  </a:lnTo>
                  <a:lnTo>
                    <a:pt x="2055" y="780"/>
                  </a:lnTo>
                  <a:lnTo>
                    <a:pt x="2057" y="779"/>
                  </a:lnTo>
                  <a:lnTo>
                    <a:pt x="2063" y="774"/>
                  </a:lnTo>
                  <a:lnTo>
                    <a:pt x="2065" y="774"/>
                  </a:lnTo>
                  <a:lnTo>
                    <a:pt x="2071" y="772"/>
                  </a:lnTo>
                  <a:lnTo>
                    <a:pt x="2075" y="774"/>
                  </a:lnTo>
                  <a:lnTo>
                    <a:pt x="2077" y="774"/>
                  </a:lnTo>
                  <a:lnTo>
                    <a:pt x="2077" y="775"/>
                  </a:lnTo>
                  <a:lnTo>
                    <a:pt x="2080" y="775"/>
                  </a:lnTo>
                  <a:lnTo>
                    <a:pt x="2082" y="772"/>
                  </a:lnTo>
                  <a:lnTo>
                    <a:pt x="2081" y="770"/>
                  </a:lnTo>
                  <a:lnTo>
                    <a:pt x="2073" y="767"/>
                  </a:lnTo>
                  <a:lnTo>
                    <a:pt x="2070" y="765"/>
                  </a:lnTo>
                  <a:lnTo>
                    <a:pt x="2067" y="760"/>
                  </a:lnTo>
                  <a:lnTo>
                    <a:pt x="2069" y="758"/>
                  </a:lnTo>
                  <a:lnTo>
                    <a:pt x="2067" y="756"/>
                  </a:lnTo>
                  <a:lnTo>
                    <a:pt x="2065" y="753"/>
                  </a:lnTo>
                  <a:lnTo>
                    <a:pt x="2063" y="751"/>
                  </a:lnTo>
                  <a:lnTo>
                    <a:pt x="2061" y="750"/>
                  </a:lnTo>
                  <a:lnTo>
                    <a:pt x="2063" y="749"/>
                  </a:lnTo>
                  <a:lnTo>
                    <a:pt x="2064" y="746"/>
                  </a:lnTo>
                  <a:lnTo>
                    <a:pt x="2066" y="744"/>
                  </a:lnTo>
                  <a:lnTo>
                    <a:pt x="2067" y="737"/>
                  </a:lnTo>
                  <a:lnTo>
                    <a:pt x="2069" y="737"/>
                  </a:lnTo>
                  <a:lnTo>
                    <a:pt x="2070" y="734"/>
                  </a:lnTo>
                  <a:lnTo>
                    <a:pt x="2075" y="734"/>
                  </a:lnTo>
                  <a:lnTo>
                    <a:pt x="2077" y="726"/>
                  </a:lnTo>
                  <a:lnTo>
                    <a:pt x="2077" y="720"/>
                  </a:lnTo>
                  <a:lnTo>
                    <a:pt x="2078" y="718"/>
                  </a:lnTo>
                  <a:lnTo>
                    <a:pt x="2082" y="712"/>
                  </a:lnTo>
                  <a:lnTo>
                    <a:pt x="2079" y="714"/>
                  </a:lnTo>
                  <a:lnTo>
                    <a:pt x="2079" y="714"/>
                  </a:lnTo>
                  <a:lnTo>
                    <a:pt x="2081" y="710"/>
                  </a:lnTo>
                  <a:lnTo>
                    <a:pt x="2081" y="708"/>
                  </a:lnTo>
                  <a:lnTo>
                    <a:pt x="2082" y="708"/>
                  </a:lnTo>
                  <a:lnTo>
                    <a:pt x="2082" y="710"/>
                  </a:lnTo>
                  <a:lnTo>
                    <a:pt x="2086" y="711"/>
                  </a:lnTo>
                  <a:lnTo>
                    <a:pt x="2088" y="710"/>
                  </a:lnTo>
                  <a:lnTo>
                    <a:pt x="2090" y="709"/>
                  </a:lnTo>
                  <a:lnTo>
                    <a:pt x="2091" y="708"/>
                  </a:lnTo>
                  <a:lnTo>
                    <a:pt x="2091" y="703"/>
                  </a:lnTo>
                  <a:lnTo>
                    <a:pt x="2091" y="703"/>
                  </a:lnTo>
                  <a:lnTo>
                    <a:pt x="2092" y="701"/>
                  </a:lnTo>
                  <a:lnTo>
                    <a:pt x="2092" y="700"/>
                  </a:lnTo>
                  <a:lnTo>
                    <a:pt x="2090" y="698"/>
                  </a:lnTo>
                  <a:lnTo>
                    <a:pt x="2090" y="695"/>
                  </a:lnTo>
                  <a:lnTo>
                    <a:pt x="2092" y="695"/>
                  </a:lnTo>
                  <a:lnTo>
                    <a:pt x="2096" y="693"/>
                  </a:lnTo>
                  <a:lnTo>
                    <a:pt x="2096" y="694"/>
                  </a:lnTo>
                  <a:lnTo>
                    <a:pt x="2098" y="693"/>
                  </a:lnTo>
                  <a:lnTo>
                    <a:pt x="2101" y="689"/>
                  </a:lnTo>
                  <a:lnTo>
                    <a:pt x="2098" y="684"/>
                  </a:lnTo>
                  <a:lnTo>
                    <a:pt x="2099" y="684"/>
                  </a:lnTo>
                  <a:lnTo>
                    <a:pt x="2101" y="688"/>
                  </a:lnTo>
                  <a:lnTo>
                    <a:pt x="2101" y="689"/>
                  </a:lnTo>
                  <a:lnTo>
                    <a:pt x="2106" y="684"/>
                  </a:lnTo>
                  <a:lnTo>
                    <a:pt x="2106" y="681"/>
                  </a:lnTo>
                  <a:lnTo>
                    <a:pt x="2112" y="680"/>
                  </a:lnTo>
                  <a:lnTo>
                    <a:pt x="2114" y="680"/>
                  </a:lnTo>
                  <a:lnTo>
                    <a:pt x="2115" y="677"/>
                  </a:lnTo>
                  <a:lnTo>
                    <a:pt x="2116" y="680"/>
                  </a:lnTo>
                  <a:lnTo>
                    <a:pt x="2120" y="680"/>
                  </a:lnTo>
                  <a:lnTo>
                    <a:pt x="2121" y="677"/>
                  </a:lnTo>
                  <a:lnTo>
                    <a:pt x="2122" y="674"/>
                  </a:lnTo>
                  <a:lnTo>
                    <a:pt x="2122" y="674"/>
                  </a:lnTo>
                  <a:lnTo>
                    <a:pt x="2120" y="669"/>
                  </a:lnTo>
                  <a:lnTo>
                    <a:pt x="2123" y="674"/>
                  </a:lnTo>
                  <a:lnTo>
                    <a:pt x="2123" y="678"/>
                  </a:lnTo>
                  <a:lnTo>
                    <a:pt x="2124" y="681"/>
                  </a:lnTo>
                  <a:lnTo>
                    <a:pt x="2127" y="681"/>
                  </a:lnTo>
                  <a:lnTo>
                    <a:pt x="2132" y="680"/>
                  </a:lnTo>
                  <a:lnTo>
                    <a:pt x="2129" y="681"/>
                  </a:lnTo>
                  <a:lnTo>
                    <a:pt x="2129" y="682"/>
                  </a:lnTo>
                  <a:lnTo>
                    <a:pt x="2123" y="682"/>
                  </a:lnTo>
                  <a:lnTo>
                    <a:pt x="2118" y="681"/>
                  </a:lnTo>
                  <a:lnTo>
                    <a:pt x="2121" y="682"/>
                  </a:lnTo>
                  <a:lnTo>
                    <a:pt x="2123" y="684"/>
                  </a:lnTo>
                  <a:lnTo>
                    <a:pt x="2120" y="685"/>
                  </a:lnTo>
                  <a:lnTo>
                    <a:pt x="2123" y="686"/>
                  </a:lnTo>
                  <a:lnTo>
                    <a:pt x="2127" y="689"/>
                  </a:lnTo>
                  <a:lnTo>
                    <a:pt x="2130" y="689"/>
                  </a:lnTo>
                  <a:lnTo>
                    <a:pt x="2138" y="689"/>
                  </a:lnTo>
                  <a:lnTo>
                    <a:pt x="2143" y="690"/>
                  </a:lnTo>
                  <a:lnTo>
                    <a:pt x="2146" y="689"/>
                  </a:lnTo>
                  <a:lnTo>
                    <a:pt x="2146" y="688"/>
                  </a:lnTo>
                  <a:lnTo>
                    <a:pt x="2146" y="688"/>
                  </a:lnTo>
                  <a:lnTo>
                    <a:pt x="2146" y="686"/>
                  </a:lnTo>
                  <a:lnTo>
                    <a:pt x="2146" y="686"/>
                  </a:lnTo>
                  <a:lnTo>
                    <a:pt x="2148" y="686"/>
                  </a:lnTo>
                  <a:lnTo>
                    <a:pt x="2151" y="688"/>
                  </a:lnTo>
                  <a:lnTo>
                    <a:pt x="2154" y="686"/>
                  </a:lnTo>
                  <a:lnTo>
                    <a:pt x="2156" y="689"/>
                  </a:lnTo>
                  <a:lnTo>
                    <a:pt x="2157" y="691"/>
                  </a:lnTo>
                  <a:lnTo>
                    <a:pt x="2160" y="690"/>
                  </a:lnTo>
                  <a:lnTo>
                    <a:pt x="2163" y="695"/>
                  </a:lnTo>
                  <a:lnTo>
                    <a:pt x="2164" y="695"/>
                  </a:lnTo>
                  <a:lnTo>
                    <a:pt x="2164" y="694"/>
                  </a:lnTo>
                  <a:lnTo>
                    <a:pt x="2163" y="692"/>
                  </a:lnTo>
                  <a:lnTo>
                    <a:pt x="2161" y="690"/>
                  </a:lnTo>
                  <a:lnTo>
                    <a:pt x="2161" y="688"/>
                  </a:lnTo>
                  <a:lnTo>
                    <a:pt x="2166" y="685"/>
                  </a:lnTo>
                  <a:lnTo>
                    <a:pt x="2167" y="683"/>
                  </a:lnTo>
                  <a:lnTo>
                    <a:pt x="2168" y="685"/>
                  </a:lnTo>
                  <a:lnTo>
                    <a:pt x="2164" y="689"/>
                  </a:lnTo>
                  <a:lnTo>
                    <a:pt x="2164" y="689"/>
                  </a:lnTo>
                  <a:lnTo>
                    <a:pt x="2167" y="688"/>
                  </a:lnTo>
                  <a:lnTo>
                    <a:pt x="2171" y="683"/>
                  </a:lnTo>
                  <a:lnTo>
                    <a:pt x="2173" y="682"/>
                  </a:lnTo>
                  <a:lnTo>
                    <a:pt x="2175" y="680"/>
                  </a:lnTo>
                  <a:lnTo>
                    <a:pt x="2178" y="678"/>
                  </a:lnTo>
                  <a:lnTo>
                    <a:pt x="2181" y="680"/>
                  </a:lnTo>
                  <a:lnTo>
                    <a:pt x="2184" y="678"/>
                  </a:lnTo>
                  <a:lnTo>
                    <a:pt x="2186" y="677"/>
                  </a:lnTo>
                  <a:lnTo>
                    <a:pt x="2189" y="678"/>
                  </a:lnTo>
                  <a:lnTo>
                    <a:pt x="2192" y="675"/>
                  </a:lnTo>
                  <a:lnTo>
                    <a:pt x="2198" y="674"/>
                  </a:lnTo>
                  <a:lnTo>
                    <a:pt x="2199" y="673"/>
                  </a:lnTo>
                  <a:lnTo>
                    <a:pt x="2203" y="672"/>
                  </a:lnTo>
                  <a:lnTo>
                    <a:pt x="2207" y="672"/>
                  </a:lnTo>
                  <a:lnTo>
                    <a:pt x="2208" y="672"/>
                  </a:lnTo>
                  <a:lnTo>
                    <a:pt x="2209" y="671"/>
                  </a:lnTo>
                  <a:lnTo>
                    <a:pt x="2212" y="669"/>
                  </a:lnTo>
                  <a:lnTo>
                    <a:pt x="2215" y="669"/>
                  </a:lnTo>
                  <a:lnTo>
                    <a:pt x="2212" y="671"/>
                  </a:lnTo>
                  <a:lnTo>
                    <a:pt x="2215" y="671"/>
                  </a:lnTo>
                  <a:lnTo>
                    <a:pt x="2217" y="671"/>
                  </a:lnTo>
                  <a:lnTo>
                    <a:pt x="2219" y="668"/>
                  </a:lnTo>
                  <a:lnTo>
                    <a:pt x="2223" y="669"/>
                  </a:lnTo>
                  <a:lnTo>
                    <a:pt x="2223" y="671"/>
                  </a:lnTo>
                  <a:lnTo>
                    <a:pt x="2224" y="672"/>
                  </a:lnTo>
                  <a:lnTo>
                    <a:pt x="2223" y="673"/>
                  </a:lnTo>
                  <a:lnTo>
                    <a:pt x="2219" y="673"/>
                  </a:lnTo>
                  <a:lnTo>
                    <a:pt x="2215" y="675"/>
                  </a:lnTo>
                  <a:lnTo>
                    <a:pt x="2211" y="675"/>
                  </a:lnTo>
                  <a:lnTo>
                    <a:pt x="2210" y="678"/>
                  </a:lnTo>
                  <a:lnTo>
                    <a:pt x="2212" y="680"/>
                  </a:lnTo>
                  <a:lnTo>
                    <a:pt x="2208" y="678"/>
                  </a:lnTo>
                  <a:lnTo>
                    <a:pt x="2202" y="681"/>
                  </a:lnTo>
                  <a:lnTo>
                    <a:pt x="2205" y="683"/>
                  </a:lnTo>
                  <a:lnTo>
                    <a:pt x="2208" y="684"/>
                  </a:lnTo>
                  <a:lnTo>
                    <a:pt x="2212" y="690"/>
                  </a:lnTo>
                  <a:lnTo>
                    <a:pt x="2210" y="689"/>
                  </a:lnTo>
                  <a:lnTo>
                    <a:pt x="2207" y="690"/>
                  </a:lnTo>
                  <a:lnTo>
                    <a:pt x="2206" y="692"/>
                  </a:lnTo>
                  <a:lnTo>
                    <a:pt x="2206" y="690"/>
                  </a:lnTo>
                  <a:lnTo>
                    <a:pt x="2202" y="695"/>
                  </a:lnTo>
                  <a:lnTo>
                    <a:pt x="2200" y="697"/>
                  </a:lnTo>
                  <a:lnTo>
                    <a:pt x="2201" y="699"/>
                  </a:lnTo>
                  <a:lnTo>
                    <a:pt x="2199" y="701"/>
                  </a:lnTo>
                  <a:lnTo>
                    <a:pt x="2197" y="702"/>
                  </a:lnTo>
                  <a:lnTo>
                    <a:pt x="2193" y="702"/>
                  </a:lnTo>
                  <a:lnTo>
                    <a:pt x="2190" y="700"/>
                  </a:lnTo>
                  <a:lnTo>
                    <a:pt x="2186" y="701"/>
                  </a:lnTo>
                  <a:lnTo>
                    <a:pt x="2190" y="703"/>
                  </a:lnTo>
                  <a:lnTo>
                    <a:pt x="2188" y="705"/>
                  </a:lnTo>
                  <a:lnTo>
                    <a:pt x="2188" y="706"/>
                  </a:lnTo>
                  <a:lnTo>
                    <a:pt x="2193" y="708"/>
                  </a:lnTo>
                  <a:lnTo>
                    <a:pt x="2198" y="712"/>
                  </a:lnTo>
                  <a:lnTo>
                    <a:pt x="2201" y="714"/>
                  </a:lnTo>
                  <a:lnTo>
                    <a:pt x="2203" y="712"/>
                  </a:lnTo>
                  <a:lnTo>
                    <a:pt x="2208" y="718"/>
                  </a:lnTo>
                  <a:lnTo>
                    <a:pt x="2214" y="719"/>
                  </a:lnTo>
                  <a:lnTo>
                    <a:pt x="2219" y="723"/>
                  </a:lnTo>
                  <a:lnTo>
                    <a:pt x="2225" y="727"/>
                  </a:lnTo>
                  <a:lnTo>
                    <a:pt x="2227" y="731"/>
                  </a:lnTo>
                  <a:lnTo>
                    <a:pt x="2232" y="734"/>
                  </a:lnTo>
                  <a:lnTo>
                    <a:pt x="2233" y="735"/>
                  </a:lnTo>
                  <a:lnTo>
                    <a:pt x="2236" y="736"/>
                  </a:lnTo>
                  <a:lnTo>
                    <a:pt x="2238" y="739"/>
                  </a:lnTo>
                  <a:lnTo>
                    <a:pt x="2244" y="740"/>
                  </a:lnTo>
                  <a:lnTo>
                    <a:pt x="2246" y="742"/>
                  </a:lnTo>
                  <a:lnTo>
                    <a:pt x="2250" y="744"/>
                  </a:lnTo>
                  <a:lnTo>
                    <a:pt x="2252" y="745"/>
                  </a:lnTo>
                  <a:lnTo>
                    <a:pt x="2253" y="749"/>
                  </a:lnTo>
                  <a:lnTo>
                    <a:pt x="2253" y="751"/>
                  </a:lnTo>
                  <a:lnTo>
                    <a:pt x="2255" y="754"/>
                  </a:lnTo>
                  <a:lnTo>
                    <a:pt x="2257" y="759"/>
                  </a:lnTo>
                  <a:lnTo>
                    <a:pt x="2257" y="761"/>
                  </a:lnTo>
                  <a:lnTo>
                    <a:pt x="2253" y="766"/>
                  </a:lnTo>
                  <a:lnTo>
                    <a:pt x="2251" y="768"/>
                  </a:lnTo>
                  <a:lnTo>
                    <a:pt x="2246" y="770"/>
                  </a:lnTo>
                  <a:lnTo>
                    <a:pt x="2244" y="770"/>
                  </a:lnTo>
                  <a:lnTo>
                    <a:pt x="2242" y="772"/>
                  </a:lnTo>
                  <a:lnTo>
                    <a:pt x="2234" y="775"/>
                  </a:lnTo>
                  <a:lnTo>
                    <a:pt x="2233" y="775"/>
                  </a:lnTo>
                  <a:lnTo>
                    <a:pt x="2227" y="774"/>
                  </a:lnTo>
                  <a:lnTo>
                    <a:pt x="2224" y="772"/>
                  </a:lnTo>
                  <a:lnTo>
                    <a:pt x="2217" y="774"/>
                  </a:lnTo>
                  <a:lnTo>
                    <a:pt x="2215" y="775"/>
                  </a:lnTo>
                  <a:lnTo>
                    <a:pt x="2209" y="775"/>
                  </a:lnTo>
                  <a:lnTo>
                    <a:pt x="2202" y="774"/>
                  </a:lnTo>
                  <a:lnTo>
                    <a:pt x="2201" y="771"/>
                  </a:lnTo>
                  <a:lnTo>
                    <a:pt x="2199" y="774"/>
                  </a:lnTo>
                  <a:lnTo>
                    <a:pt x="2197" y="772"/>
                  </a:lnTo>
                  <a:lnTo>
                    <a:pt x="2193" y="771"/>
                  </a:lnTo>
                  <a:lnTo>
                    <a:pt x="2192" y="770"/>
                  </a:lnTo>
                  <a:lnTo>
                    <a:pt x="2189" y="768"/>
                  </a:lnTo>
                  <a:lnTo>
                    <a:pt x="2186" y="768"/>
                  </a:lnTo>
                  <a:lnTo>
                    <a:pt x="2184" y="770"/>
                  </a:lnTo>
                  <a:lnTo>
                    <a:pt x="2182" y="769"/>
                  </a:lnTo>
                  <a:lnTo>
                    <a:pt x="2180" y="766"/>
                  </a:lnTo>
                  <a:lnTo>
                    <a:pt x="2180" y="763"/>
                  </a:lnTo>
                  <a:lnTo>
                    <a:pt x="2176" y="763"/>
                  </a:lnTo>
                  <a:lnTo>
                    <a:pt x="2176" y="762"/>
                  </a:lnTo>
                  <a:lnTo>
                    <a:pt x="2171" y="763"/>
                  </a:lnTo>
                  <a:lnTo>
                    <a:pt x="2168" y="762"/>
                  </a:lnTo>
                  <a:lnTo>
                    <a:pt x="2166" y="760"/>
                  </a:lnTo>
                  <a:lnTo>
                    <a:pt x="2165" y="757"/>
                  </a:lnTo>
                  <a:lnTo>
                    <a:pt x="2164" y="757"/>
                  </a:lnTo>
                  <a:lnTo>
                    <a:pt x="2161" y="758"/>
                  </a:lnTo>
                  <a:lnTo>
                    <a:pt x="2158" y="759"/>
                  </a:lnTo>
                  <a:lnTo>
                    <a:pt x="2141" y="758"/>
                  </a:lnTo>
                  <a:lnTo>
                    <a:pt x="2135" y="759"/>
                  </a:lnTo>
                  <a:lnTo>
                    <a:pt x="2126" y="762"/>
                  </a:lnTo>
                  <a:lnTo>
                    <a:pt x="2123" y="765"/>
                  </a:lnTo>
                  <a:lnTo>
                    <a:pt x="2115" y="769"/>
                  </a:lnTo>
                  <a:lnTo>
                    <a:pt x="2114" y="772"/>
                  </a:lnTo>
                  <a:lnTo>
                    <a:pt x="2107" y="772"/>
                  </a:lnTo>
                  <a:lnTo>
                    <a:pt x="2100" y="770"/>
                  </a:lnTo>
                  <a:lnTo>
                    <a:pt x="2098" y="771"/>
                  </a:lnTo>
                  <a:lnTo>
                    <a:pt x="2093" y="771"/>
                  </a:lnTo>
                  <a:lnTo>
                    <a:pt x="2084" y="770"/>
                  </a:lnTo>
                  <a:lnTo>
                    <a:pt x="2082" y="772"/>
                  </a:lnTo>
                  <a:lnTo>
                    <a:pt x="2083" y="775"/>
                  </a:lnTo>
                  <a:lnTo>
                    <a:pt x="2087" y="777"/>
                  </a:lnTo>
                  <a:lnTo>
                    <a:pt x="2088" y="777"/>
                  </a:lnTo>
                  <a:lnTo>
                    <a:pt x="2090" y="777"/>
                  </a:lnTo>
                  <a:lnTo>
                    <a:pt x="2092" y="778"/>
                  </a:lnTo>
                  <a:lnTo>
                    <a:pt x="2083" y="779"/>
                  </a:lnTo>
                  <a:lnTo>
                    <a:pt x="2080" y="780"/>
                  </a:lnTo>
                  <a:lnTo>
                    <a:pt x="2081" y="783"/>
                  </a:lnTo>
                  <a:lnTo>
                    <a:pt x="2084" y="783"/>
                  </a:lnTo>
                  <a:lnTo>
                    <a:pt x="2080" y="784"/>
                  </a:lnTo>
                  <a:lnTo>
                    <a:pt x="2071" y="784"/>
                  </a:lnTo>
                  <a:lnTo>
                    <a:pt x="2067" y="784"/>
                  </a:lnTo>
                  <a:lnTo>
                    <a:pt x="2066" y="782"/>
                  </a:lnTo>
                  <a:lnTo>
                    <a:pt x="2064" y="783"/>
                  </a:lnTo>
                  <a:lnTo>
                    <a:pt x="2064" y="785"/>
                  </a:lnTo>
                  <a:lnTo>
                    <a:pt x="2062" y="785"/>
                  </a:lnTo>
                  <a:lnTo>
                    <a:pt x="2057" y="783"/>
                  </a:lnTo>
                  <a:lnTo>
                    <a:pt x="2054" y="784"/>
                  </a:lnTo>
                  <a:lnTo>
                    <a:pt x="2052" y="784"/>
                  </a:lnTo>
                  <a:lnTo>
                    <a:pt x="2046" y="787"/>
                  </a:lnTo>
                  <a:lnTo>
                    <a:pt x="2045" y="791"/>
                  </a:lnTo>
                  <a:lnTo>
                    <a:pt x="2043" y="791"/>
                  </a:lnTo>
                  <a:lnTo>
                    <a:pt x="2043" y="796"/>
                  </a:lnTo>
                  <a:lnTo>
                    <a:pt x="2041" y="799"/>
                  </a:lnTo>
                  <a:lnTo>
                    <a:pt x="2043" y="799"/>
                  </a:lnTo>
                  <a:lnTo>
                    <a:pt x="2050" y="797"/>
                  </a:lnTo>
                  <a:lnTo>
                    <a:pt x="2054" y="797"/>
                  </a:lnTo>
                  <a:lnTo>
                    <a:pt x="2052" y="800"/>
                  </a:lnTo>
                  <a:lnTo>
                    <a:pt x="2049" y="802"/>
                  </a:lnTo>
                  <a:lnTo>
                    <a:pt x="2053" y="804"/>
                  </a:lnTo>
                  <a:lnTo>
                    <a:pt x="2052" y="806"/>
                  </a:lnTo>
                  <a:lnTo>
                    <a:pt x="2055" y="808"/>
                  </a:lnTo>
                  <a:lnTo>
                    <a:pt x="2054" y="810"/>
                  </a:lnTo>
                  <a:lnTo>
                    <a:pt x="2050" y="810"/>
                  </a:lnTo>
                  <a:lnTo>
                    <a:pt x="2053" y="814"/>
                  </a:lnTo>
                  <a:lnTo>
                    <a:pt x="2056" y="814"/>
                  </a:lnTo>
                  <a:lnTo>
                    <a:pt x="2055" y="816"/>
                  </a:lnTo>
                  <a:lnTo>
                    <a:pt x="2050" y="818"/>
                  </a:lnTo>
                  <a:lnTo>
                    <a:pt x="2049" y="817"/>
                  </a:lnTo>
                  <a:lnTo>
                    <a:pt x="2049" y="814"/>
                  </a:lnTo>
                  <a:lnTo>
                    <a:pt x="2047" y="811"/>
                  </a:lnTo>
                  <a:lnTo>
                    <a:pt x="2046" y="811"/>
                  </a:lnTo>
                  <a:lnTo>
                    <a:pt x="2046" y="813"/>
                  </a:lnTo>
                  <a:lnTo>
                    <a:pt x="2047" y="816"/>
                  </a:lnTo>
                  <a:lnTo>
                    <a:pt x="2047" y="817"/>
                  </a:lnTo>
                  <a:lnTo>
                    <a:pt x="2044" y="818"/>
                  </a:lnTo>
                  <a:lnTo>
                    <a:pt x="2049" y="820"/>
                  </a:lnTo>
                  <a:lnTo>
                    <a:pt x="2050" y="819"/>
                  </a:lnTo>
                  <a:lnTo>
                    <a:pt x="2054" y="821"/>
                  </a:lnTo>
                  <a:lnTo>
                    <a:pt x="2058" y="822"/>
                  </a:lnTo>
                  <a:lnTo>
                    <a:pt x="2057" y="827"/>
                  </a:lnTo>
                  <a:lnTo>
                    <a:pt x="2055" y="827"/>
                  </a:lnTo>
                  <a:lnTo>
                    <a:pt x="2054" y="828"/>
                  </a:lnTo>
                  <a:lnTo>
                    <a:pt x="2057" y="829"/>
                  </a:lnTo>
                  <a:lnTo>
                    <a:pt x="2057" y="833"/>
                  </a:lnTo>
                  <a:lnTo>
                    <a:pt x="2060" y="833"/>
                  </a:lnTo>
                  <a:lnTo>
                    <a:pt x="2062" y="834"/>
                  </a:lnTo>
                  <a:lnTo>
                    <a:pt x="2063" y="834"/>
                  </a:lnTo>
                  <a:lnTo>
                    <a:pt x="2061" y="837"/>
                  </a:lnTo>
                  <a:lnTo>
                    <a:pt x="2058" y="836"/>
                  </a:lnTo>
                  <a:lnTo>
                    <a:pt x="2058" y="838"/>
                  </a:lnTo>
                  <a:lnTo>
                    <a:pt x="2069" y="837"/>
                  </a:lnTo>
                  <a:lnTo>
                    <a:pt x="2071" y="839"/>
                  </a:lnTo>
                  <a:lnTo>
                    <a:pt x="2069" y="842"/>
                  </a:lnTo>
                  <a:lnTo>
                    <a:pt x="2065" y="840"/>
                  </a:lnTo>
                  <a:lnTo>
                    <a:pt x="2062" y="842"/>
                  </a:lnTo>
                  <a:lnTo>
                    <a:pt x="2060" y="843"/>
                  </a:lnTo>
                  <a:lnTo>
                    <a:pt x="2060" y="843"/>
                  </a:lnTo>
                  <a:lnTo>
                    <a:pt x="2060" y="844"/>
                  </a:lnTo>
                  <a:lnTo>
                    <a:pt x="2064" y="844"/>
                  </a:lnTo>
                  <a:lnTo>
                    <a:pt x="2065" y="842"/>
                  </a:lnTo>
                  <a:lnTo>
                    <a:pt x="2067" y="842"/>
                  </a:lnTo>
                  <a:lnTo>
                    <a:pt x="2070" y="842"/>
                  </a:lnTo>
                  <a:lnTo>
                    <a:pt x="2069" y="844"/>
                  </a:lnTo>
                  <a:lnTo>
                    <a:pt x="2067" y="845"/>
                  </a:lnTo>
                  <a:lnTo>
                    <a:pt x="2069" y="845"/>
                  </a:lnTo>
                  <a:lnTo>
                    <a:pt x="2072" y="843"/>
                  </a:lnTo>
                  <a:lnTo>
                    <a:pt x="2074" y="840"/>
                  </a:lnTo>
                  <a:lnTo>
                    <a:pt x="2077" y="840"/>
                  </a:lnTo>
                  <a:lnTo>
                    <a:pt x="2077" y="843"/>
                  </a:lnTo>
                  <a:lnTo>
                    <a:pt x="2078" y="843"/>
                  </a:lnTo>
                  <a:lnTo>
                    <a:pt x="2078" y="843"/>
                  </a:lnTo>
                  <a:lnTo>
                    <a:pt x="2079" y="843"/>
                  </a:lnTo>
                  <a:lnTo>
                    <a:pt x="2081" y="843"/>
                  </a:lnTo>
                  <a:lnTo>
                    <a:pt x="2082" y="845"/>
                  </a:lnTo>
                  <a:lnTo>
                    <a:pt x="2083" y="847"/>
                  </a:lnTo>
                  <a:lnTo>
                    <a:pt x="2084" y="848"/>
                  </a:lnTo>
                  <a:lnTo>
                    <a:pt x="2088" y="849"/>
                  </a:lnTo>
                  <a:lnTo>
                    <a:pt x="2092" y="851"/>
                  </a:lnTo>
                  <a:lnTo>
                    <a:pt x="2098" y="849"/>
                  </a:lnTo>
                  <a:lnTo>
                    <a:pt x="2101" y="851"/>
                  </a:lnTo>
                  <a:lnTo>
                    <a:pt x="2104" y="845"/>
                  </a:lnTo>
                  <a:lnTo>
                    <a:pt x="2104" y="843"/>
                  </a:lnTo>
                  <a:lnTo>
                    <a:pt x="2106" y="840"/>
                  </a:lnTo>
                  <a:lnTo>
                    <a:pt x="2110" y="840"/>
                  </a:lnTo>
                  <a:lnTo>
                    <a:pt x="2113" y="840"/>
                  </a:lnTo>
                  <a:lnTo>
                    <a:pt x="2118" y="844"/>
                  </a:lnTo>
                  <a:lnTo>
                    <a:pt x="2123" y="845"/>
                  </a:lnTo>
                  <a:lnTo>
                    <a:pt x="2125" y="847"/>
                  </a:lnTo>
                  <a:lnTo>
                    <a:pt x="2127" y="851"/>
                  </a:lnTo>
                  <a:lnTo>
                    <a:pt x="2131" y="853"/>
                  </a:lnTo>
                  <a:lnTo>
                    <a:pt x="2134" y="853"/>
                  </a:lnTo>
                  <a:lnTo>
                    <a:pt x="2137" y="852"/>
                  </a:lnTo>
                  <a:lnTo>
                    <a:pt x="2146" y="851"/>
                  </a:lnTo>
                  <a:lnTo>
                    <a:pt x="2148" y="849"/>
                  </a:lnTo>
                  <a:lnTo>
                    <a:pt x="2151" y="849"/>
                  </a:lnTo>
                  <a:lnTo>
                    <a:pt x="2152" y="847"/>
                  </a:lnTo>
                  <a:lnTo>
                    <a:pt x="2155" y="844"/>
                  </a:lnTo>
                  <a:lnTo>
                    <a:pt x="2159" y="840"/>
                  </a:lnTo>
                  <a:lnTo>
                    <a:pt x="2163" y="842"/>
                  </a:lnTo>
                  <a:lnTo>
                    <a:pt x="2163" y="843"/>
                  </a:lnTo>
                  <a:lnTo>
                    <a:pt x="2164" y="843"/>
                  </a:lnTo>
                  <a:lnTo>
                    <a:pt x="2167" y="844"/>
                  </a:lnTo>
                  <a:lnTo>
                    <a:pt x="2169" y="845"/>
                  </a:lnTo>
                  <a:lnTo>
                    <a:pt x="2172" y="845"/>
                  </a:lnTo>
                  <a:lnTo>
                    <a:pt x="2172" y="843"/>
                  </a:lnTo>
                  <a:lnTo>
                    <a:pt x="2174" y="842"/>
                  </a:lnTo>
                  <a:lnTo>
                    <a:pt x="2176" y="840"/>
                  </a:lnTo>
                  <a:lnTo>
                    <a:pt x="2180" y="840"/>
                  </a:lnTo>
                  <a:lnTo>
                    <a:pt x="2181" y="843"/>
                  </a:lnTo>
                  <a:lnTo>
                    <a:pt x="2178" y="845"/>
                  </a:lnTo>
                  <a:lnTo>
                    <a:pt x="2176" y="847"/>
                  </a:lnTo>
                  <a:lnTo>
                    <a:pt x="2175" y="851"/>
                  </a:lnTo>
                  <a:lnTo>
                    <a:pt x="2177" y="854"/>
                  </a:lnTo>
                  <a:lnTo>
                    <a:pt x="2175" y="857"/>
                  </a:lnTo>
                  <a:lnTo>
                    <a:pt x="2175" y="860"/>
                  </a:lnTo>
                  <a:lnTo>
                    <a:pt x="2176" y="862"/>
                  </a:lnTo>
                  <a:lnTo>
                    <a:pt x="2176" y="866"/>
                  </a:lnTo>
                  <a:lnTo>
                    <a:pt x="2176" y="870"/>
                  </a:lnTo>
                  <a:lnTo>
                    <a:pt x="2177" y="874"/>
                  </a:lnTo>
                  <a:lnTo>
                    <a:pt x="2177" y="877"/>
                  </a:lnTo>
                  <a:lnTo>
                    <a:pt x="2175" y="879"/>
                  </a:lnTo>
                  <a:lnTo>
                    <a:pt x="2173" y="880"/>
                  </a:lnTo>
                  <a:lnTo>
                    <a:pt x="2172" y="886"/>
                  </a:lnTo>
                  <a:lnTo>
                    <a:pt x="2171" y="887"/>
                  </a:lnTo>
                  <a:lnTo>
                    <a:pt x="2169" y="891"/>
                  </a:lnTo>
                  <a:lnTo>
                    <a:pt x="2167" y="896"/>
                  </a:lnTo>
                  <a:lnTo>
                    <a:pt x="2167" y="897"/>
                  </a:lnTo>
                  <a:lnTo>
                    <a:pt x="2165" y="898"/>
                  </a:lnTo>
                  <a:lnTo>
                    <a:pt x="2165" y="902"/>
                  </a:lnTo>
                  <a:lnTo>
                    <a:pt x="2164" y="903"/>
                  </a:lnTo>
                  <a:lnTo>
                    <a:pt x="2163" y="905"/>
                  </a:lnTo>
                  <a:lnTo>
                    <a:pt x="2161" y="911"/>
                  </a:lnTo>
                  <a:lnTo>
                    <a:pt x="2159" y="917"/>
                  </a:lnTo>
                  <a:lnTo>
                    <a:pt x="2157" y="921"/>
                  </a:lnTo>
                  <a:lnTo>
                    <a:pt x="2154" y="925"/>
                  </a:lnTo>
                  <a:lnTo>
                    <a:pt x="2151" y="926"/>
                  </a:lnTo>
                  <a:lnTo>
                    <a:pt x="2148" y="928"/>
                  </a:lnTo>
                  <a:lnTo>
                    <a:pt x="2144" y="929"/>
                  </a:lnTo>
                  <a:lnTo>
                    <a:pt x="2142" y="928"/>
                  </a:lnTo>
                  <a:lnTo>
                    <a:pt x="2141" y="929"/>
                  </a:lnTo>
                  <a:lnTo>
                    <a:pt x="2139" y="930"/>
                  </a:lnTo>
                  <a:lnTo>
                    <a:pt x="2137" y="929"/>
                  </a:lnTo>
                  <a:lnTo>
                    <a:pt x="2137" y="930"/>
                  </a:lnTo>
                  <a:lnTo>
                    <a:pt x="2135" y="929"/>
                  </a:lnTo>
                  <a:lnTo>
                    <a:pt x="2133" y="930"/>
                  </a:lnTo>
                  <a:lnTo>
                    <a:pt x="2135" y="929"/>
                  </a:lnTo>
                  <a:lnTo>
                    <a:pt x="2131" y="930"/>
                  </a:lnTo>
                  <a:lnTo>
                    <a:pt x="2129" y="928"/>
                  </a:lnTo>
                  <a:lnTo>
                    <a:pt x="2127" y="926"/>
                  </a:lnTo>
                  <a:lnTo>
                    <a:pt x="2126" y="929"/>
                  </a:lnTo>
                  <a:lnTo>
                    <a:pt x="2125" y="929"/>
                  </a:lnTo>
                  <a:lnTo>
                    <a:pt x="2124" y="929"/>
                  </a:lnTo>
                  <a:lnTo>
                    <a:pt x="2124" y="930"/>
                  </a:lnTo>
                  <a:lnTo>
                    <a:pt x="2123" y="929"/>
                  </a:lnTo>
                  <a:lnTo>
                    <a:pt x="2123" y="928"/>
                  </a:lnTo>
                  <a:lnTo>
                    <a:pt x="2120" y="926"/>
                  </a:lnTo>
                  <a:lnTo>
                    <a:pt x="2122" y="924"/>
                  </a:lnTo>
                  <a:lnTo>
                    <a:pt x="2124" y="925"/>
                  </a:lnTo>
                  <a:lnTo>
                    <a:pt x="2122" y="922"/>
                  </a:lnTo>
                  <a:lnTo>
                    <a:pt x="2121" y="922"/>
                  </a:lnTo>
                  <a:lnTo>
                    <a:pt x="2117" y="923"/>
                  </a:lnTo>
                  <a:lnTo>
                    <a:pt x="2112" y="922"/>
                  </a:lnTo>
                  <a:lnTo>
                    <a:pt x="2109" y="922"/>
                  </a:lnTo>
                  <a:lnTo>
                    <a:pt x="2110" y="922"/>
                  </a:lnTo>
                  <a:lnTo>
                    <a:pt x="2108" y="924"/>
                  </a:lnTo>
                  <a:lnTo>
                    <a:pt x="2106" y="923"/>
                  </a:lnTo>
                  <a:lnTo>
                    <a:pt x="2104" y="924"/>
                  </a:lnTo>
                  <a:lnTo>
                    <a:pt x="2106" y="922"/>
                  </a:lnTo>
                  <a:lnTo>
                    <a:pt x="2104" y="923"/>
                  </a:lnTo>
                  <a:lnTo>
                    <a:pt x="2101" y="923"/>
                  </a:lnTo>
                  <a:lnTo>
                    <a:pt x="2098" y="926"/>
                  </a:lnTo>
                  <a:lnTo>
                    <a:pt x="2099" y="926"/>
                  </a:lnTo>
                  <a:lnTo>
                    <a:pt x="2098" y="926"/>
                  </a:lnTo>
                  <a:lnTo>
                    <a:pt x="2097" y="925"/>
                  </a:lnTo>
                  <a:lnTo>
                    <a:pt x="2090" y="930"/>
                  </a:lnTo>
                  <a:lnTo>
                    <a:pt x="2084" y="932"/>
                  </a:lnTo>
                  <a:lnTo>
                    <a:pt x="2082" y="933"/>
                  </a:lnTo>
                  <a:lnTo>
                    <a:pt x="2080" y="931"/>
                  </a:lnTo>
                  <a:lnTo>
                    <a:pt x="2074" y="929"/>
                  </a:lnTo>
                  <a:lnTo>
                    <a:pt x="2069" y="929"/>
                  </a:lnTo>
                  <a:lnTo>
                    <a:pt x="2066" y="926"/>
                  </a:lnTo>
                  <a:lnTo>
                    <a:pt x="2063" y="928"/>
                  </a:lnTo>
                  <a:lnTo>
                    <a:pt x="2061" y="926"/>
                  </a:lnTo>
                  <a:lnTo>
                    <a:pt x="2058" y="924"/>
                  </a:lnTo>
                  <a:lnTo>
                    <a:pt x="2041" y="921"/>
                  </a:lnTo>
                  <a:lnTo>
                    <a:pt x="2039" y="921"/>
                  </a:lnTo>
                  <a:lnTo>
                    <a:pt x="2033" y="923"/>
                  </a:lnTo>
                  <a:lnTo>
                    <a:pt x="2030" y="923"/>
                  </a:lnTo>
                  <a:lnTo>
                    <a:pt x="2029" y="922"/>
                  </a:lnTo>
                  <a:lnTo>
                    <a:pt x="2029" y="921"/>
                  </a:lnTo>
                  <a:lnTo>
                    <a:pt x="2027" y="916"/>
                  </a:lnTo>
                  <a:lnTo>
                    <a:pt x="2024" y="915"/>
                  </a:lnTo>
                  <a:lnTo>
                    <a:pt x="2016" y="915"/>
                  </a:lnTo>
                  <a:lnTo>
                    <a:pt x="2013" y="914"/>
                  </a:lnTo>
                  <a:lnTo>
                    <a:pt x="2011" y="913"/>
                  </a:lnTo>
                  <a:lnTo>
                    <a:pt x="2003" y="912"/>
                  </a:lnTo>
                  <a:lnTo>
                    <a:pt x="2001" y="910"/>
                  </a:lnTo>
                  <a:lnTo>
                    <a:pt x="2001" y="906"/>
                  </a:lnTo>
                  <a:lnTo>
                    <a:pt x="1998" y="905"/>
                  </a:lnTo>
                  <a:lnTo>
                    <a:pt x="1993" y="903"/>
                  </a:lnTo>
                  <a:lnTo>
                    <a:pt x="1989" y="902"/>
                  </a:lnTo>
                  <a:lnTo>
                    <a:pt x="1986" y="902"/>
                  </a:lnTo>
                  <a:lnTo>
                    <a:pt x="1982" y="902"/>
                  </a:lnTo>
                  <a:lnTo>
                    <a:pt x="1980" y="902"/>
                  </a:lnTo>
                  <a:lnTo>
                    <a:pt x="1977" y="904"/>
                  </a:lnTo>
                  <a:lnTo>
                    <a:pt x="1972" y="904"/>
                  </a:lnTo>
                  <a:lnTo>
                    <a:pt x="1969" y="905"/>
                  </a:lnTo>
                  <a:lnTo>
                    <a:pt x="1967" y="906"/>
                  </a:lnTo>
                  <a:lnTo>
                    <a:pt x="1961" y="911"/>
                  </a:lnTo>
                  <a:lnTo>
                    <a:pt x="1959" y="914"/>
                  </a:lnTo>
                  <a:lnTo>
                    <a:pt x="1958" y="917"/>
                  </a:lnTo>
                  <a:lnTo>
                    <a:pt x="1958" y="921"/>
                  </a:lnTo>
                  <a:lnTo>
                    <a:pt x="1959" y="923"/>
                  </a:lnTo>
                  <a:lnTo>
                    <a:pt x="1961" y="928"/>
                  </a:lnTo>
                  <a:lnTo>
                    <a:pt x="1960" y="930"/>
                  </a:lnTo>
                  <a:lnTo>
                    <a:pt x="1959" y="933"/>
                  </a:lnTo>
                  <a:lnTo>
                    <a:pt x="1954" y="939"/>
                  </a:lnTo>
                  <a:lnTo>
                    <a:pt x="1949" y="941"/>
                  </a:lnTo>
                  <a:lnTo>
                    <a:pt x="1945" y="941"/>
                  </a:lnTo>
                  <a:lnTo>
                    <a:pt x="1939" y="938"/>
                  </a:lnTo>
                  <a:lnTo>
                    <a:pt x="1933" y="933"/>
                  </a:lnTo>
                  <a:lnTo>
                    <a:pt x="1921" y="929"/>
                  </a:lnTo>
                  <a:lnTo>
                    <a:pt x="1913" y="926"/>
                  </a:lnTo>
                  <a:lnTo>
                    <a:pt x="1910" y="928"/>
                  </a:lnTo>
                  <a:lnTo>
                    <a:pt x="1905" y="926"/>
                  </a:lnTo>
                  <a:lnTo>
                    <a:pt x="1900" y="924"/>
                  </a:lnTo>
                  <a:lnTo>
                    <a:pt x="1898" y="922"/>
                  </a:lnTo>
                  <a:lnTo>
                    <a:pt x="1896" y="920"/>
                  </a:lnTo>
                  <a:lnTo>
                    <a:pt x="1895" y="916"/>
                  </a:lnTo>
                  <a:lnTo>
                    <a:pt x="1894" y="911"/>
                  </a:lnTo>
                  <a:lnTo>
                    <a:pt x="1892" y="910"/>
                  </a:lnTo>
                  <a:lnTo>
                    <a:pt x="1887" y="908"/>
                  </a:lnTo>
                  <a:lnTo>
                    <a:pt x="1883" y="907"/>
                  </a:lnTo>
                  <a:lnTo>
                    <a:pt x="1879" y="905"/>
                  </a:lnTo>
                  <a:lnTo>
                    <a:pt x="1875" y="904"/>
                  </a:lnTo>
                  <a:lnTo>
                    <a:pt x="1870" y="903"/>
                  </a:lnTo>
                  <a:lnTo>
                    <a:pt x="1867" y="902"/>
                  </a:lnTo>
                  <a:lnTo>
                    <a:pt x="1859" y="903"/>
                  </a:lnTo>
                  <a:lnTo>
                    <a:pt x="1853" y="903"/>
                  </a:lnTo>
                  <a:lnTo>
                    <a:pt x="1847" y="899"/>
                  </a:lnTo>
                  <a:lnTo>
                    <a:pt x="1844" y="898"/>
                  </a:lnTo>
                  <a:lnTo>
                    <a:pt x="1840" y="896"/>
                  </a:lnTo>
                  <a:lnTo>
                    <a:pt x="1838" y="896"/>
                  </a:lnTo>
                  <a:lnTo>
                    <a:pt x="1836" y="893"/>
                  </a:lnTo>
                  <a:lnTo>
                    <a:pt x="1835" y="890"/>
                  </a:lnTo>
                  <a:lnTo>
                    <a:pt x="1834" y="890"/>
                  </a:lnTo>
                  <a:lnTo>
                    <a:pt x="1832" y="893"/>
                  </a:lnTo>
                  <a:lnTo>
                    <a:pt x="1832" y="890"/>
                  </a:lnTo>
                  <a:lnTo>
                    <a:pt x="1828" y="890"/>
                  </a:lnTo>
                  <a:lnTo>
                    <a:pt x="1825" y="888"/>
                  </a:lnTo>
                  <a:lnTo>
                    <a:pt x="1823" y="886"/>
                  </a:lnTo>
                  <a:lnTo>
                    <a:pt x="1822" y="883"/>
                  </a:lnTo>
                  <a:lnTo>
                    <a:pt x="1822" y="882"/>
                  </a:lnTo>
                  <a:lnTo>
                    <a:pt x="1824" y="879"/>
                  </a:lnTo>
                  <a:lnTo>
                    <a:pt x="1830" y="877"/>
                  </a:lnTo>
                  <a:lnTo>
                    <a:pt x="1834" y="871"/>
                  </a:lnTo>
                  <a:lnTo>
                    <a:pt x="1836" y="865"/>
                  </a:lnTo>
                  <a:lnTo>
                    <a:pt x="1835" y="861"/>
                  </a:lnTo>
                  <a:lnTo>
                    <a:pt x="1833" y="857"/>
                  </a:lnTo>
                  <a:lnTo>
                    <a:pt x="1831" y="857"/>
                  </a:lnTo>
                  <a:lnTo>
                    <a:pt x="1828" y="854"/>
                  </a:lnTo>
                  <a:lnTo>
                    <a:pt x="1827" y="851"/>
                  </a:lnTo>
                  <a:lnTo>
                    <a:pt x="1828" y="848"/>
                  </a:lnTo>
                  <a:lnTo>
                    <a:pt x="1832" y="846"/>
                  </a:lnTo>
                  <a:lnTo>
                    <a:pt x="1835" y="842"/>
                  </a:lnTo>
                  <a:lnTo>
                    <a:pt x="1836" y="838"/>
                  </a:lnTo>
                  <a:lnTo>
                    <a:pt x="1834" y="838"/>
                  </a:lnTo>
                  <a:lnTo>
                    <a:pt x="1827" y="843"/>
                  </a:lnTo>
                  <a:lnTo>
                    <a:pt x="1825" y="842"/>
                  </a:lnTo>
                  <a:lnTo>
                    <a:pt x="1825" y="840"/>
                  </a:lnTo>
                  <a:lnTo>
                    <a:pt x="1825" y="842"/>
                  </a:lnTo>
                  <a:lnTo>
                    <a:pt x="1826" y="839"/>
                  </a:lnTo>
                  <a:lnTo>
                    <a:pt x="1825" y="839"/>
                  </a:lnTo>
                  <a:lnTo>
                    <a:pt x="1824" y="836"/>
                  </a:lnTo>
                  <a:lnTo>
                    <a:pt x="1824" y="836"/>
                  </a:lnTo>
                  <a:lnTo>
                    <a:pt x="1822" y="834"/>
                  </a:lnTo>
                  <a:lnTo>
                    <a:pt x="1819" y="834"/>
                  </a:lnTo>
                  <a:lnTo>
                    <a:pt x="1819" y="834"/>
                  </a:lnTo>
                  <a:lnTo>
                    <a:pt x="1817" y="833"/>
                  </a:lnTo>
                  <a:lnTo>
                    <a:pt x="1809" y="836"/>
                  </a:lnTo>
                  <a:lnTo>
                    <a:pt x="1807" y="837"/>
                  </a:lnTo>
                  <a:lnTo>
                    <a:pt x="1802" y="839"/>
                  </a:lnTo>
                  <a:lnTo>
                    <a:pt x="1800" y="839"/>
                  </a:lnTo>
                  <a:lnTo>
                    <a:pt x="1797" y="838"/>
                  </a:lnTo>
                  <a:lnTo>
                    <a:pt x="1794" y="840"/>
                  </a:lnTo>
                  <a:lnTo>
                    <a:pt x="1792" y="840"/>
                  </a:lnTo>
                  <a:lnTo>
                    <a:pt x="1785" y="837"/>
                  </a:lnTo>
                  <a:lnTo>
                    <a:pt x="1784" y="837"/>
                  </a:lnTo>
                  <a:lnTo>
                    <a:pt x="1781" y="839"/>
                  </a:lnTo>
                  <a:lnTo>
                    <a:pt x="1779" y="839"/>
                  </a:lnTo>
                  <a:lnTo>
                    <a:pt x="1776" y="838"/>
                  </a:lnTo>
                  <a:lnTo>
                    <a:pt x="1773" y="836"/>
                  </a:lnTo>
                  <a:lnTo>
                    <a:pt x="1771" y="837"/>
                  </a:lnTo>
                  <a:lnTo>
                    <a:pt x="1771" y="839"/>
                  </a:lnTo>
                  <a:lnTo>
                    <a:pt x="1767" y="840"/>
                  </a:lnTo>
                  <a:lnTo>
                    <a:pt x="1763" y="842"/>
                  </a:lnTo>
                  <a:lnTo>
                    <a:pt x="1759" y="844"/>
                  </a:lnTo>
                  <a:lnTo>
                    <a:pt x="1756" y="844"/>
                  </a:lnTo>
                  <a:lnTo>
                    <a:pt x="1754" y="843"/>
                  </a:lnTo>
                  <a:lnTo>
                    <a:pt x="1754" y="840"/>
                  </a:lnTo>
                  <a:lnTo>
                    <a:pt x="1750" y="839"/>
                  </a:lnTo>
                  <a:lnTo>
                    <a:pt x="1737" y="839"/>
                  </a:lnTo>
                  <a:lnTo>
                    <a:pt x="1732" y="842"/>
                  </a:lnTo>
                  <a:lnTo>
                    <a:pt x="1729" y="840"/>
                  </a:lnTo>
                  <a:lnTo>
                    <a:pt x="1728" y="842"/>
                  </a:lnTo>
                  <a:lnTo>
                    <a:pt x="1725" y="840"/>
                  </a:lnTo>
                  <a:lnTo>
                    <a:pt x="1720" y="845"/>
                  </a:lnTo>
                  <a:lnTo>
                    <a:pt x="1717" y="844"/>
                  </a:lnTo>
                  <a:lnTo>
                    <a:pt x="1700" y="846"/>
                  </a:lnTo>
                  <a:lnTo>
                    <a:pt x="1689" y="851"/>
                  </a:lnTo>
                  <a:lnTo>
                    <a:pt x="1687" y="853"/>
                  </a:lnTo>
                  <a:lnTo>
                    <a:pt x="1685" y="856"/>
                  </a:lnTo>
                  <a:lnTo>
                    <a:pt x="1683" y="857"/>
                  </a:lnTo>
                  <a:lnTo>
                    <a:pt x="1680" y="855"/>
                  </a:lnTo>
                  <a:lnTo>
                    <a:pt x="1676" y="857"/>
                  </a:lnTo>
                  <a:lnTo>
                    <a:pt x="1672" y="857"/>
                  </a:lnTo>
                  <a:lnTo>
                    <a:pt x="1670" y="860"/>
                  </a:lnTo>
                  <a:lnTo>
                    <a:pt x="1668" y="862"/>
                  </a:lnTo>
                  <a:lnTo>
                    <a:pt x="1666" y="864"/>
                  </a:lnTo>
                  <a:lnTo>
                    <a:pt x="1663" y="865"/>
                  </a:lnTo>
                  <a:lnTo>
                    <a:pt x="1661" y="868"/>
                  </a:lnTo>
                  <a:lnTo>
                    <a:pt x="1656" y="868"/>
                  </a:lnTo>
                  <a:lnTo>
                    <a:pt x="1654" y="868"/>
                  </a:lnTo>
                  <a:lnTo>
                    <a:pt x="1653" y="868"/>
                  </a:lnTo>
                  <a:lnTo>
                    <a:pt x="1649" y="868"/>
                  </a:lnTo>
                  <a:lnTo>
                    <a:pt x="1647" y="868"/>
                  </a:lnTo>
                  <a:lnTo>
                    <a:pt x="1645" y="865"/>
                  </a:lnTo>
                  <a:lnTo>
                    <a:pt x="1645" y="864"/>
                  </a:lnTo>
                  <a:lnTo>
                    <a:pt x="1639" y="866"/>
                  </a:lnTo>
                  <a:lnTo>
                    <a:pt x="1634" y="865"/>
                  </a:lnTo>
                  <a:lnTo>
                    <a:pt x="1632" y="866"/>
                  </a:lnTo>
                  <a:lnTo>
                    <a:pt x="1630" y="865"/>
                  </a:lnTo>
                  <a:lnTo>
                    <a:pt x="1625" y="866"/>
                  </a:lnTo>
                  <a:lnTo>
                    <a:pt x="1620" y="866"/>
                  </a:lnTo>
                  <a:lnTo>
                    <a:pt x="1618" y="864"/>
                  </a:lnTo>
                  <a:lnTo>
                    <a:pt x="1612" y="860"/>
                  </a:lnTo>
                  <a:lnTo>
                    <a:pt x="1611" y="856"/>
                  </a:lnTo>
                  <a:lnTo>
                    <a:pt x="1612" y="855"/>
                  </a:lnTo>
                  <a:lnTo>
                    <a:pt x="1611" y="855"/>
                  </a:lnTo>
                  <a:lnTo>
                    <a:pt x="1606" y="856"/>
                  </a:lnTo>
                  <a:lnTo>
                    <a:pt x="1604" y="856"/>
                  </a:lnTo>
                  <a:lnTo>
                    <a:pt x="1603" y="860"/>
                  </a:lnTo>
                  <a:lnTo>
                    <a:pt x="1598" y="872"/>
                  </a:lnTo>
                  <a:lnTo>
                    <a:pt x="1592" y="883"/>
                  </a:lnTo>
                  <a:lnTo>
                    <a:pt x="1588" y="887"/>
                  </a:lnTo>
                  <a:lnTo>
                    <a:pt x="1584" y="889"/>
                  </a:lnTo>
                  <a:lnTo>
                    <a:pt x="1568" y="896"/>
                  </a:lnTo>
                  <a:lnTo>
                    <a:pt x="1563" y="902"/>
                  </a:lnTo>
                  <a:lnTo>
                    <a:pt x="1558" y="906"/>
                  </a:lnTo>
                  <a:lnTo>
                    <a:pt x="1558" y="912"/>
                  </a:lnTo>
                  <a:lnTo>
                    <a:pt x="1557" y="914"/>
                  </a:lnTo>
                  <a:lnTo>
                    <a:pt x="1553" y="919"/>
                  </a:lnTo>
                  <a:lnTo>
                    <a:pt x="1550" y="924"/>
                  </a:lnTo>
                  <a:lnTo>
                    <a:pt x="1550" y="932"/>
                  </a:lnTo>
                  <a:lnTo>
                    <a:pt x="1550" y="934"/>
                  </a:lnTo>
                  <a:lnTo>
                    <a:pt x="1552" y="938"/>
                  </a:lnTo>
                  <a:lnTo>
                    <a:pt x="1553" y="940"/>
                  </a:lnTo>
                  <a:lnTo>
                    <a:pt x="1553" y="942"/>
                  </a:lnTo>
                  <a:lnTo>
                    <a:pt x="1551" y="948"/>
                  </a:lnTo>
                  <a:lnTo>
                    <a:pt x="1548" y="950"/>
                  </a:lnTo>
                  <a:lnTo>
                    <a:pt x="1544" y="956"/>
                  </a:lnTo>
                  <a:lnTo>
                    <a:pt x="1542" y="958"/>
                  </a:lnTo>
                  <a:lnTo>
                    <a:pt x="1540" y="960"/>
                  </a:lnTo>
                  <a:lnTo>
                    <a:pt x="1534" y="964"/>
                  </a:lnTo>
                  <a:lnTo>
                    <a:pt x="1529" y="967"/>
                  </a:lnTo>
                  <a:lnTo>
                    <a:pt x="1527" y="971"/>
                  </a:lnTo>
                  <a:lnTo>
                    <a:pt x="1519" y="974"/>
                  </a:lnTo>
                  <a:lnTo>
                    <a:pt x="1509" y="975"/>
                  </a:lnTo>
                  <a:lnTo>
                    <a:pt x="1507" y="979"/>
                  </a:lnTo>
                  <a:lnTo>
                    <a:pt x="1504" y="980"/>
                  </a:lnTo>
                  <a:lnTo>
                    <a:pt x="1503" y="983"/>
                  </a:lnTo>
                  <a:lnTo>
                    <a:pt x="1501" y="987"/>
                  </a:lnTo>
                  <a:lnTo>
                    <a:pt x="1501" y="990"/>
                  </a:lnTo>
                  <a:lnTo>
                    <a:pt x="1500" y="992"/>
                  </a:lnTo>
                  <a:lnTo>
                    <a:pt x="1498" y="994"/>
                  </a:lnTo>
                  <a:lnTo>
                    <a:pt x="1487" y="1001"/>
                  </a:lnTo>
                  <a:lnTo>
                    <a:pt x="1486" y="1005"/>
                  </a:lnTo>
                  <a:lnTo>
                    <a:pt x="1482" y="1013"/>
                  </a:lnTo>
                  <a:lnTo>
                    <a:pt x="1481" y="1022"/>
                  </a:lnTo>
                  <a:lnTo>
                    <a:pt x="1480" y="1025"/>
                  </a:lnTo>
                  <a:lnTo>
                    <a:pt x="1476" y="1027"/>
                  </a:lnTo>
                  <a:lnTo>
                    <a:pt x="1472" y="1032"/>
                  </a:lnTo>
                  <a:lnTo>
                    <a:pt x="1467" y="1036"/>
                  </a:lnTo>
                  <a:lnTo>
                    <a:pt x="1466" y="1039"/>
                  </a:lnTo>
                  <a:lnTo>
                    <a:pt x="1468" y="1036"/>
                  </a:lnTo>
                  <a:lnTo>
                    <a:pt x="1467" y="1039"/>
                  </a:lnTo>
                  <a:lnTo>
                    <a:pt x="1463" y="1047"/>
                  </a:lnTo>
                  <a:lnTo>
                    <a:pt x="1463" y="1049"/>
                  </a:lnTo>
                  <a:lnTo>
                    <a:pt x="1461" y="1052"/>
                  </a:lnTo>
                  <a:lnTo>
                    <a:pt x="1460" y="1054"/>
                  </a:lnTo>
                  <a:lnTo>
                    <a:pt x="1459" y="1058"/>
                  </a:lnTo>
                  <a:lnTo>
                    <a:pt x="1457" y="1058"/>
                  </a:lnTo>
                  <a:lnTo>
                    <a:pt x="1455" y="1061"/>
                  </a:lnTo>
                  <a:lnTo>
                    <a:pt x="1454" y="1064"/>
                  </a:lnTo>
                  <a:lnTo>
                    <a:pt x="1450" y="1077"/>
                  </a:lnTo>
                  <a:lnTo>
                    <a:pt x="1451" y="1081"/>
                  </a:lnTo>
                  <a:lnTo>
                    <a:pt x="1452" y="1077"/>
                  </a:lnTo>
                  <a:lnTo>
                    <a:pt x="1452" y="1075"/>
                  </a:lnTo>
                  <a:lnTo>
                    <a:pt x="1454" y="1076"/>
                  </a:lnTo>
                  <a:lnTo>
                    <a:pt x="1457" y="1082"/>
                  </a:lnTo>
                  <a:lnTo>
                    <a:pt x="1459" y="1081"/>
                  </a:lnTo>
                  <a:lnTo>
                    <a:pt x="1463" y="1088"/>
                  </a:lnTo>
                  <a:lnTo>
                    <a:pt x="1463" y="1094"/>
                  </a:lnTo>
                  <a:lnTo>
                    <a:pt x="1459" y="1100"/>
                  </a:lnTo>
                  <a:lnTo>
                    <a:pt x="1459" y="1102"/>
                  </a:lnTo>
                  <a:lnTo>
                    <a:pt x="1461" y="1103"/>
                  </a:lnTo>
                  <a:lnTo>
                    <a:pt x="1465" y="1113"/>
                  </a:lnTo>
                  <a:lnTo>
                    <a:pt x="1465" y="1119"/>
                  </a:lnTo>
                  <a:lnTo>
                    <a:pt x="1465" y="1124"/>
                  </a:lnTo>
                  <a:lnTo>
                    <a:pt x="1465" y="1127"/>
                  </a:lnTo>
                  <a:lnTo>
                    <a:pt x="1459" y="1141"/>
                  </a:lnTo>
                  <a:lnTo>
                    <a:pt x="1458" y="1145"/>
                  </a:lnTo>
                  <a:lnTo>
                    <a:pt x="1458" y="1151"/>
                  </a:lnTo>
                  <a:lnTo>
                    <a:pt x="1454" y="1158"/>
                  </a:lnTo>
                  <a:lnTo>
                    <a:pt x="1451" y="1162"/>
                  </a:lnTo>
                  <a:lnTo>
                    <a:pt x="1449" y="1163"/>
                  </a:lnTo>
                  <a:lnTo>
                    <a:pt x="1447" y="1164"/>
                  </a:lnTo>
                  <a:lnTo>
                    <a:pt x="1448" y="1165"/>
                  </a:lnTo>
                  <a:lnTo>
                    <a:pt x="1450" y="1167"/>
                  </a:lnTo>
                  <a:lnTo>
                    <a:pt x="1452" y="1170"/>
                  </a:lnTo>
                  <a:lnTo>
                    <a:pt x="1455" y="1174"/>
                  </a:lnTo>
                  <a:lnTo>
                    <a:pt x="1455" y="1177"/>
                  </a:lnTo>
                  <a:lnTo>
                    <a:pt x="1459" y="1173"/>
                  </a:lnTo>
                  <a:lnTo>
                    <a:pt x="1459" y="1173"/>
                  </a:lnTo>
                  <a:lnTo>
                    <a:pt x="1460" y="1173"/>
                  </a:lnTo>
                  <a:lnTo>
                    <a:pt x="1459" y="1173"/>
                  </a:lnTo>
                  <a:lnTo>
                    <a:pt x="1456" y="1179"/>
                  </a:lnTo>
                  <a:lnTo>
                    <a:pt x="1458" y="1178"/>
                  </a:lnTo>
                  <a:lnTo>
                    <a:pt x="1459" y="1176"/>
                  </a:lnTo>
                  <a:lnTo>
                    <a:pt x="1459" y="1179"/>
                  </a:lnTo>
                  <a:lnTo>
                    <a:pt x="1458" y="1181"/>
                  </a:lnTo>
                  <a:lnTo>
                    <a:pt x="1458" y="1182"/>
                  </a:lnTo>
                  <a:lnTo>
                    <a:pt x="1460" y="1185"/>
                  </a:lnTo>
                  <a:lnTo>
                    <a:pt x="1464" y="1184"/>
                  </a:lnTo>
                  <a:lnTo>
                    <a:pt x="1468" y="1184"/>
                  </a:lnTo>
                  <a:lnTo>
                    <a:pt x="1472" y="1182"/>
                  </a:lnTo>
                  <a:lnTo>
                    <a:pt x="1473" y="1182"/>
                  </a:lnTo>
                  <a:lnTo>
                    <a:pt x="1475" y="1182"/>
                  </a:lnTo>
                  <a:lnTo>
                    <a:pt x="1474" y="1184"/>
                  </a:lnTo>
                  <a:lnTo>
                    <a:pt x="1473" y="1182"/>
                  </a:lnTo>
                  <a:lnTo>
                    <a:pt x="1472" y="1182"/>
                  </a:lnTo>
                  <a:lnTo>
                    <a:pt x="1469" y="1184"/>
                  </a:lnTo>
                  <a:lnTo>
                    <a:pt x="1464" y="1184"/>
                  </a:lnTo>
                  <a:lnTo>
                    <a:pt x="1464" y="1186"/>
                  </a:lnTo>
                  <a:lnTo>
                    <a:pt x="1458" y="1186"/>
                  </a:lnTo>
                  <a:lnTo>
                    <a:pt x="1457" y="1184"/>
                  </a:lnTo>
                  <a:lnTo>
                    <a:pt x="1455" y="1185"/>
                  </a:lnTo>
                  <a:lnTo>
                    <a:pt x="1455" y="1187"/>
                  </a:lnTo>
                  <a:lnTo>
                    <a:pt x="1456" y="1189"/>
                  </a:lnTo>
                  <a:lnTo>
                    <a:pt x="1455" y="1191"/>
                  </a:lnTo>
                  <a:lnTo>
                    <a:pt x="1456" y="1193"/>
                  </a:lnTo>
                  <a:lnTo>
                    <a:pt x="1458" y="1193"/>
                  </a:lnTo>
                  <a:lnTo>
                    <a:pt x="1459" y="1195"/>
                  </a:lnTo>
                  <a:lnTo>
                    <a:pt x="1457" y="1195"/>
                  </a:lnTo>
                  <a:lnTo>
                    <a:pt x="1455" y="1198"/>
                  </a:lnTo>
                  <a:lnTo>
                    <a:pt x="1456" y="1199"/>
                  </a:lnTo>
                  <a:lnTo>
                    <a:pt x="1460" y="1201"/>
                  </a:lnTo>
                  <a:lnTo>
                    <a:pt x="1461" y="1199"/>
                  </a:lnTo>
                  <a:lnTo>
                    <a:pt x="1465" y="1198"/>
                  </a:lnTo>
                  <a:lnTo>
                    <a:pt x="1461" y="1201"/>
                  </a:lnTo>
                  <a:lnTo>
                    <a:pt x="1461" y="1204"/>
                  </a:lnTo>
                  <a:lnTo>
                    <a:pt x="1464" y="1205"/>
                  </a:lnTo>
                  <a:lnTo>
                    <a:pt x="1466" y="1204"/>
                  </a:lnTo>
                  <a:lnTo>
                    <a:pt x="1469" y="1204"/>
                  </a:lnTo>
                  <a:lnTo>
                    <a:pt x="1467" y="1204"/>
                  </a:lnTo>
                  <a:lnTo>
                    <a:pt x="1467" y="1207"/>
                  </a:lnTo>
                  <a:lnTo>
                    <a:pt x="1470" y="1206"/>
                  </a:lnTo>
                  <a:lnTo>
                    <a:pt x="1472" y="1205"/>
                  </a:lnTo>
                  <a:lnTo>
                    <a:pt x="1480" y="1204"/>
                  </a:lnTo>
                  <a:lnTo>
                    <a:pt x="1480" y="1206"/>
                  </a:lnTo>
                  <a:lnTo>
                    <a:pt x="1481" y="1206"/>
                  </a:lnTo>
                  <a:lnTo>
                    <a:pt x="1480" y="1206"/>
                  </a:lnTo>
                  <a:lnTo>
                    <a:pt x="1476" y="1206"/>
                  </a:lnTo>
                  <a:lnTo>
                    <a:pt x="1474" y="1206"/>
                  </a:lnTo>
                  <a:lnTo>
                    <a:pt x="1473" y="1208"/>
                  </a:lnTo>
                  <a:lnTo>
                    <a:pt x="1477" y="1207"/>
                  </a:lnTo>
                  <a:lnTo>
                    <a:pt x="1475" y="1210"/>
                  </a:lnTo>
                  <a:lnTo>
                    <a:pt x="1473" y="1212"/>
                  </a:lnTo>
                  <a:lnTo>
                    <a:pt x="1475" y="1212"/>
                  </a:lnTo>
                  <a:lnTo>
                    <a:pt x="1475" y="1214"/>
                  </a:lnTo>
                  <a:lnTo>
                    <a:pt x="1476" y="1216"/>
                  </a:lnTo>
                  <a:lnTo>
                    <a:pt x="1480" y="1215"/>
                  </a:lnTo>
                  <a:lnTo>
                    <a:pt x="1480" y="1218"/>
                  </a:lnTo>
                  <a:lnTo>
                    <a:pt x="1484" y="1218"/>
                  </a:lnTo>
                  <a:lnTo>
                    <a:pt x="1482" y="1220"/>
                  </a:lnTo>
                  <a:lnTo>
                    <a:pt x="1484" y="1222"/>
                  </a:lnTo>
                  <a:lnTo>
                    <a:pt x="1484" y="1222"/>
                  </a:lnTo>
                  <a:lnTo>
                    <a:pt x="1486" y="1227"/>
                  </a:lnTo>
                  <a:lnTo>
                    <a:pt x="1490" y="1229"/>
                  </a:lnTo>
                  <a:lnTo>
                    <a:pt x="1492" y="1229"/>
                  </a:lnTo>
                  <a:lnTo>
                    <a:pt x="1492" y="1231"/>
                  </a:lnTo>
                  <a:lnTo>
                    <a:pt x="1495" y="1233"/>
                  </a:lnTo>
                  <a:lnTo>
                    <a:pt x="1497" y="1232"/>
                  </a:lnTo>
                  <a:lnTo>
                    <a:pt x="1498" y="1232"/>
                  </a:lnTo>
                  <a:lnTo>
                    <a:pt x="1497" y="1235"/>
                  </a:lnTo>
                  <a:lnTo>
                    <a:pt x="1498" y="1233"/>
                  </a:lnTo>
                  <a:lnTo>
                    <a:pt x="1498" y="1237"/>
                  </a:lnTo>
                  <a:lnTo>
                    <a:pt x="1500" y="1237"/>
                  </a:lnTo>
                  <a:lnTo>
                    <a:pt x="1502" y="1242"/>
                  </a:lnTo>
                  <a:lnTo>
                    <a:pt x="1502" y="1245"/>
                  </a:lnTo>
                  <a:lnTo>
                    <a:pt x="1506" y="1246"/>
                  </a:lnTo>
                  <a:lnTo>
                    <a:pt x="1507" y="1247"/>
                  </a:lnTo>
                  <a:lnTo>
                    <a:pt x="1504" y="1247"/>
                  </a:lnTo>
                  <a:lnTo>
                    <a:pt x="1503" y="1249"/>
                  </a:lnTo>
                  <a:lnTo>
                    <a:pt x="1506" y="1249"/>
                  </a:lnTo>
                  <a:lnTo>
                    <a:pt x="1506" y="1250"/>
                  </a:lnTo>
                  <a:lnTo>
                    <a:pt x="1509" y="1252"/>
                  </a:lnTo>
                  <a:lnTo>
                    <a:pt x="1506" y="1253"/>
                  </a:lnTo>
                  <a:lnTo>
                    <a:pt x="1506" y="1253"/>
                  </a:lnTo>
                  <a:lnTo>
                    <a:pt x="1506" y="1254"/>
                  </a:lnTo>
                  <a:lnTo>
                    <a:pt x="1503" y="1253"/>
                  </a:lnTo>
                  <a:lnTo>
                    <a:pt x="1504" y="1255"/>
                  </a:lnTo>
                  <a:lnTo>
                    <a:pt x="1507" y="1255"/>
                  </a:lnTo>
                  <a:lnTo>
                    <a:pt x="1508" y="1258"/>
                  </a:lnTo>
                  <a:lnTo>
                    <a:pt x="1507" y="1261"/>
                  </a:lnTo>
                  <a:lnTo>
                    <a:pt x="1512" y="1263"/>
                  </a:lnTo>
                  <a:lnTo>
                    <a:pt x="1514" y="1263"/>
                  </a:lnTo>
                  <a:lnTo>
                    <a:pt x="1516" y="1265"/>
                  </a:lnTo>
                  <a:lnTo>
                    <a:pt x="1518" y="1264"/>
                  </a:lnTo>
                  <a:lnTo>
                    <a:pt x="1515" y="1265"/>
                  </a:lnTo>
                  <a:lnTo>
                    <a:pt x="1516" y="1267"/>
                  </a:lnTo>
                  <a:lnTo>
                    <a:pt x="1518" y="1268"/>
                  </a:lnTo>
                  <a:lnTo>
                    <a:pt x="1526" y="1273"/>
                  </a:lnTo>
                  <a:lnTo>
                    <a:pt x="1526" y="1273"/>
                  </a:lnTo>
                  <a:lnTo>
                    <a:pt x="1528" y="1274"/>
                  </a:lnTo>
                  <a:lnTo>
                    <a:pt x="1529" y="1276"/>
                  </a:lnTo>
                  <a:lnTo>
                    <a:pt x="1533" y="1279"/>
                  </a:lnTo>
                  <a:lnTo>
                    <a:pt x="1536" y="1281"/>
                  </a:lnTo>
                  <a:lnTo>
                    <a:pt x="1537" y="1281"/>
                  </a:lnTo>
                  <a:lnTo>
                    <a:pt x="1536" y="1282"/>
                  </a:lnTo>
                  <a:lnTo>
                    <a:pt x="1540" y="1283"/>
                  </a:lnTo>
                  <a:lnTo>
                    <a:pt x="1543" y="1284"/>
                  </a:lnTo>
                  <a:lnTo>
                    <a:pt x="1546" y="1288"/>
                  </a:lnTo>
                  <a:lnTo>
                    <a:pt x="1548" y="1289"/>
                  </a:lnTo>
                  <a:lnTo>
                    <a:pt x="1553" y="1293"/>
                  </a:lnTo>
                  <a:lnTo>
                    <a:pt x="1555" y="1297"/>
                  </a:lnTo>
                  <a:lnTo>
                    <a:pt x="1561" y="1300"/>
                  </a:lnTo>
                  <a:lnTo>
                    <a:pt x="1579" y="1309"/>
                  </a:lnTo>
                  <a:lnTo>
                    <a:pt x="1582" y="1309"/>
                  </a:lnTo>
                  <a:lnTo>
                    <a:pt x="1582" y="1309"/>
                  </a:lnTo>
                  <a:lnTo>
                    <a:pt x="1584" y="1308"/>
                  </a:lnTo>
                  <a:lnTo>
                    <a:pt x="1586" y="1307"/>
                  </a:lnTo>
                  <a:lnTo>
                    <a:pt x="1604" y="1300"/>
                  </a:lnTo>
                  <a:lnTo>
                    <a:pt x="1610" y="1299"/>
                  </a:lnTo>
                  <a:lnTo>
                    <a:pt x="1617" y="1298"/>
                  </a:lnTo>
                  <a:lnTo>
                    <a:pt x="1613" y="1297"/>
                  </a:lnTo>
                  <a:lnTo>
                    <a:pt x="1611" y="1298"/>
                  </a:lnTo>
                  <a:lnTo>
                    <a:pt x="1612" y="1297"/>
                  </a:lnTo>
                  <a:lnTo>
                    <a:pt x="1617" y="1297"/>
                  </a:lnTo>
                  <a:lnTo>
                    <a:pt x="1617" y="1298"/>
                  </a:lnTo>
                  <a:lnTo>
                    <a:pt x="1619" y="1298"/>
                  </a:lnTo>
                  <a:lnTo>
                    <a:pt x="1630" y="1297"/>
                  </a:lnTo>
                  <a:lnTo>
                    <a:pt x="1629" y="1297"/>
                  </a:lnTo>
                  <a:lnTo>
                    <a:pt x="1623" y="1297"/>
                  </a:lnTo>
                  <a:lnTo>
                    <a:pt x="1621" y="1297"/>
                  </a:lnTo>
                  <a:lnTo>
                    <a:pt x="1619" y="1298"/>
                  </a:lnTo>
                  <a:lnTo>
                    <a:pt x="1619" y="1297"/>
                  </a:lnTo>
                  <a:lnTo>
                    <a:pt x="1626" y="1296"/>
                  </a:lnTo>
                  <a:lnTo>
                    <a:pt x="1629" y="1297"/>
                  </a:lnTo>
                  <a:lnTo>
                    <a:pt x="1630" y="1297"/>
                  </a:lnTo>
                  <a:lnTo>
                    <a:pt x="1630" y="1296"/>
                  </a:lnTo>
                  <a:lnTo>
                    <a:pt x="1632" y="1297"/>
                  </a:lnTo>
                  <a:lnTo>
                    <a:pt x="1632" y="1297"/>
                  </a:lnTo>
                  <a:lnTo>
                    <a:pt x="1630" y="1297"/>
                  </a:lnTo>
                  <a:lnTo>
                    <a:pt x="1634" y="1298"/>
                  </a:lnTo>
                  <a:lnTo>
                    <a:pt x="1634" y="1297"/>
                  </a:lnTo>
                  <a:lnTo>
                    <a:pt x="1636" y="1298"/>
                  </a:lnTo>
                  <a:lnTo>
                    <a:pt x="1639" y="1298"/>
                  </a:lnTo>
                  <a:lnTo>
                    <a:pt x="1640" y="1296"/>
                  </a:lnTo>
                  <a:lnTo>
                    <a:pt x="1640" y="1296"/>
                  </a:lnTo>
                  <a:lnTo>
                    <a:pt x="1642" y="1298"/>
                  </a:lnTo>
                  <a:lnTo>
                    <a:pt x="1645" y="1299"/>
                  </a:lnTo>
                  <a:lnTo>
                    <a:pt x="1643" y="1299"/>
                  </a:lnTo>
                  <a:lnTo>
                    <a:pt x="1653" y="1301"/>
                  </a:lnTo>
                  <a:lnTo>
                    <a:pt x="1656" y="1304"/>
                  </a:lnTo>
                  <a:lnTo>
                    <a:pt x="1662" y="1301"/>
                  </a:lnTo>
                  <a:lnTo>
                    <a:pt x="1662" y="1300"/>
                  </a:lnTo>
                  <a:lnTo>
                    <a:pt x="1671" y="1297"/>
                  </a:lnTo>
                  <a:lnTo>
                    <a:pt x="1674" y="1297"/>
                  </a:lnTo>
                  <a:lnTo>
                    <a:pt x="1680" y="1293"/>
                  </a:lnTo>
                  <a:lnTo>
                    <a:pt x="1685" y="1292"/>
                  </a:lnTo>
                  <a:lnTo>
                    <a:pt x="1687" y="1290"/>
                  </a:lnTo>
                  <a:lnTo>
                    <a:pt x="1693" y="1290"/>
                  </a:lnTo>
                  <a:lnTo>
                    <a:pt x="1694" y="1289"/>
                  </a:lnTo>
                  <a:lnTo>
                    <a:pt x="1691" y="1285"/>
                  </a:lnTo>
                  <a:lnTo>
                    <a:pt x="1689" y="1285"/>
                  </a:lnTo>
                  <a:lnTo>
                    <a:pt x="1688" y="1285"/>
                  </a:lnTo>
                  <a:lnTo>
                    <a:pt x="1691" y="1285"/>
                  </a:lnTo>
                  <a:lnTo>
                    <a:pt x="1693" y="1287"/>
                  </a:lnTo>
                  <a:lnTo>
                    <a:pt x="1694" y="1289"/>
                  </a:lnTo>
                  <a:lnTo>
                    <a:pt x="1697" y="1290"/>
                  </a:lnTo>
                  <a:lnTo>
                    <a:pt x="1699" y="1287"/>
                  </a:lnTo>
                  <a:lnTo>
                    <a:pt x="1702" y="1285"/>
                  </a:lnTo>
                  <a:lnTo>
                    <a:pt x="1704" y="1284"/>
                  </a:lnTo>
                  <a:lnTo>
                    <a:pt x="1707" y="1283"/>
                  </a:lnTo>
                  <a:lnTo>
                    <a:pt x="1711" y="1282"/>
                  </a:lnTo>
                  <a:lnTo>
                    <a:pt x="1719" y="1282"/>
                  </a:lnTo>
                  <a:lnTo>
                    <a:pt x="1730" y="1281"/>
                  </a:lnTo>
                  <a:lnTo>
                    <a:pt x="1731" y="1280"/>
                  </a:lnTo>
                  <a:lnTo>
                    <a:pt x="1736" y="1278"/>
                  </a:lnTo>
                  <a:lnTo>
                    <a:pt x="1733" y="1280"/>
                  </a:lnTo>
                  <a:lnTo>
                    <a:pt x="1731" y="1280"/>
                  </a:lnTo>
                  <a:lnTo>
                    <a:pt x="1733" y="1281"/>
                  </a:lnTo>
                  <a:lnTo>
                    <a:pt x="1737" y="1280"/>
                  </a:lnTo>
                  <a:lnTo>
                    <a:pt x="1743" y="1281"/>
                  </a:lnTo>
                  <a:lnTo>
                    <a:pt x="1749" y="1284"/>
                  </a:lnTo>
                  <a:lnTo>
                    <a:pt x="1754" y="1289"/>
                  </a:lnTo>
                  <a:lnTo>
                    <a:pt x="1755" y="1289"/>
                  </a:lnTo>
                  <a:lnTo>
                    <a:pt x="1757" y="1288"/>
                  </a:lnTo>
                  <a:lnTo>
                    <a:pt x="1755" y="1289"/>
                  </a:lnTo>
                  <a:lnTo>
                    <a:pt x="1755" y="1292"/>
                  </a:lnTo>
                  <a:lnTo>
                    <a:pt x="1758" y="1290"/>
                  </a:lnTo>
                  <a:lnTo>
                    <a:pt x="1757" y="1291"/>
                  </a:lnTo>
                  <a:lnTo>
                    <a:pt x="1760" y="1292"/>
                  </a:lnTo>
                  <a:lnTo>
                    <a:pt x="1757" y="1292"/>
                  </a:lnTo>
                  <a:lnTo>
                    <a:pt x="1758" y="1295"/>
                  </a:lnTo>
                  <a:lnTo>
                    <a:pt x="1762" y="1293"/>
                  </a:lnTo>
                  <a:lnTo>
                    <a:pt x="1762" y="1295"/>
                  </a:lnTo>
                  <a:lnTo>
                    <a:pt x="1759" y="1296"/>
                  </a:lnTo>
                  <a:lnTo>
                    <a:pt x="1759" y="1301"/>
                  </a:lnTo>
                  <a:lnTo>
                    <a:pt x="1763" y="1307"/>
                  </a:lnTo>
                  <a:lnTo>
                    <a:pt x="1766" y="1308"/>
                  </a:lnTo>
                  <a:lnTo>
                    <a:pt x="1767" y="1308"/>
                  </a:lnTo>
                  <a:lnTo>
                    <a:pt x="1768" y="1310"/>
                  </a:lnTo>
                  <a:lnTo>
                    <a:pt x="1771" y="1307"/>
                  </a:lnTo>
                  <a:lnTo>
                    <a:pt x="1771" y="1310"/>
                  </a:lnTo>
                  <a:lnTo>
                    <a:pt x="1773" y="1309"/>
                  </a:lnTo>
                  <a:lnTo>
                    <a:pt x="1774" y="1307"/>
                  </a:lnTo>
                  <a:lnTo>
                    <a:pt x="1776" y="1306"/>
                  </a:lnTo>
                  <a:lnTo>
                    <a:pt x="1776" y="1306"/>
                  </a:lnTo>
                  <a:lnTo>
                    <a:pt x="1776" y="1308"/>
                  </a:lnTo>
                  <a:lnTo>
                    <a:pt x="1777" y="1309"/>
                  </a:lnTo>
                  <a:lnTo>
                    <a:pt x="1777" y="1302"/>
                  </a:lnTo>
                  <a:lnTo>
                    <a:pt x="1779" y="1308"/>
                  </a:lnTo>
                  <a:lnTo>
                    <a:pt x="1780" y="1307"/>
                  </a:lnTo>
                  <a:lnTo>
                    <a:pt x="1780" y="1305"/>
                  </a:lnTo>
                  <a:lnTo>
                    <a:pt x="1781" y="1305"/>
                  </a:lnTo>
                  <a:lnTo>
                    <a:pt x="1781" y="1307"/>
                  </a:lnTo>
                  <a:lnTo>
                    <a:pt x="1782" y="1305"/>
                  </a:lnTo>
                  <a:lnTo>
                    <a:pt x="1784" y="1306"/>
                  </a:lnTo>
                  <a:lnTo>
                    <a:pt x="1785" y="1306"/>
                  </a:lnTo>
                  <a:lnTo>
                    <a:pt x="1788" y="1306"/>
                  </a:lnTo>
                  <a:lnTo>
                    <a:pt x="1788" y="1304"/>
                  </a:lnTo>
                  <a:lnTo>
                    <a:pt x="1789" y="1306"/>
                  </a:lnTo>
                  <a:lnTo>
                    <a:pt x="1791" y="1307"/>
                  </a:lnTo>
                  <a:lnTo>
                    <a:pt x="1797" y="1306"/>
                  </a:lnTo>
                  <a:lnTo>
                    <a:pt x="1799" y="1306"/>
                  </a:lnTo>
                  <a:lnTo>
                    <a:pt x="1797" y="1300"/>
                  </a:lnTo>
                  <a:lnTo>
                    <a:pt x="1799" y="1302"/>
                  </a:lnTo>
                  <a:lnTo>
                    <a:pt x="1800" y="1302"/>
                  </a:lnTo>
                  <a:lnTo>
                    <a:pt x="1802" y="1302"/>
                  </a:lnTo>
                  <a:lnTo>
                    <a:pt x="1801" y="1306"/>
                  </a:lnTo>
                  <a:lnTo>
                    <a:pt x="1804" y="1307"/>
                  </a:lnTo>
                  <a:lnTo>
                    <a:pt x="1804" y="1305"/>
                  </a:lnTo>
                  <a:lnTo>
                    <a:pt x="1806" y="1306"/>
                  </a:lnTo>
                  <a:lnTo>
                    <a:pt x="1806" y="1305"/>
                  </a:lnTo>
                  <a:lnTo>
                    <a:pt x="1807" y="1310"/>
                  </a:lnTo>
                  <a:lnTo>
                    <a:pt x="1809" y="1314"/>
                  </a:lnTo>
                  <a:lnTo>
                    <a:pt x="1813" y="1314"/>
                  </a:lnTo>
                  <a:lnTo>
                    <a:pt x="1813" y="1315"/>
                  </a:lnTo>
                  <a:lnTo>
                    <a:pt x="1814" y="1314"/>
                  </a:lnTo>
                  <a:lnTo>
                    <a:pt x="1815" y="1314"/>
                  </a:lnTo>
                  <a:lnTo>
                    <a:pt x="1815" y="1314"/>
                  </a:lnTo>
                  <a:lnTo>
                    <a:pt x="1814" y="1313"/>
                  </a:lnTo>
                  <a:lnTo>
                    <a:pt x="1817" y="1313"/>
                  </a:lnTo>
                  <a:lnTo>
                    <a:pt x="1817" y="1313"/>
                  </a:lnTo>
                  <a:lnTo>
                    <a:pt x="1817" y="1313"/>
                  </a:lnTo>
                  <a:lnTo>
                    <a:pt x="1818" y="1316"/>
                  </a:lnTo>
                  <a:lnTo>
                    <a:pt x="1817" y="1316"/>
                  </a:lnTo>
                  <a:lnTo>
                    <a:pt x="1817" y="1319"/>
                  </a:lnTo>
                  <a:lnTo>
                    <a:pt x="1819" y="1319"/>
                  </a:lnTo>
                  <a:lnTo>
                    <a:pt x="1818" y="1322"/>
                  </a:lnTo>
                  <a:lnTo>
                    <a:pt x="1821" y="1324"/>
                  </a:lnTo>
                  <a:lnTo>
                    <a:pt x="1822" y="1326"/>
                  </a:lnTo>
                  <a:lnTo>
                    <a:pt x="1819" y="1330"/>
                  </a:lnTo>
                  <a:lnTo>
                    <a:pt x="1818" y="1340"/>
                  </a:lnTo>
                  <a:lnTo>
                    <a:pt x="1819" y="1342"/>
                  </a:lnTo>
                  <a:lnTo>
                    <a:pt x="1817" y="1347"/>
                  </a:lnTo>
                  <a:lnTo>
                    <a:pt x="1818" y="1347"/>
                  </a:lnTo>
                  <a:lnTo>
                    <a:pt x="1816" y="1347"/>
                  </a:lnTo>
                  <a:lnTo>
                    <a:pt x="1814" y="1350"/>
                  </a:lnTo>
                  <a:lnTo>
                    <a:pt x="1813" y="1352"/>
                  </a:lnTo>
                  <a:lnTo>
                    <a:pt x="1816" y="1353"/>
                  </a:lnTo>
                  <a:lnTo>
                    <a:pt x="1818" y="1353"/>
                  </a:lnTo>
                  <a:lnTo>
                    <a:pt x="1819" y="1355"/>
                  </a:lnTo>
                  <a:lnTo>
                    <a:pt x="1816" y="1355"/>
                  </a:lnTo>
                  <a:lnTo>
                    <a:pt x="1816" y="1360"/>
                  </a:lnTo>
                  <a:lnTo>
                    <a:pt x="1814" y="1359"/>
                  </a:lnTo>
                  <a:lnTo>
                    <a:pt x="1814" y="1362"/>
                  </a:lnTo>
                  <a:lnTo>
                    <a:pt x="1816" y="1365"/>
                  </a:lnTo>
                  <a:lnTo>
                    <a:pt x="1819" y="1366"/>
                  </a:lnTo>
                  <a:lnTo>
                    <a:pt x="1822" y="1366"/>
                  </a:lnTo>
                  <a:lnTo>
                    <a:pt x="1816" y="1367"/>
                  </a:lnTo>
                  <a:lnTo>
                    <a:pt x="1814" y="1366"/>
                  </a:lnTo>
                  <a:lnTo>
                    <a:pt x="1813" y="1373"/>
                  </a:lnTo>
                  <a:lnTo>
                    <a:pt x="1809" y="1378"/>
                  </a:lnTo>
                  <a:lnTo>
                    <a:pt x="1808" y="1381"/>
                  </a:lnTo>
                  <a:lnTo>
                    <a:pt x="1807" y="1378"/>
                  </a:lnTo>
                  <a:lnTo>
                    <a:pt x="1807" y="1378"/>
                  </a:lnTo>
                  <a:lnTo>
                    <a:pt x="1806" y="1378"/>
                  </a:lnTo>
                  <a:lnTo>
                    <a:pt x="1806" y="1381"/>
                  </a:lnTo>
                  <a:lnTo>
                    <a:pt x="1807" y="1382"/>
                  </a:lnTo>
                  <a:lnTo>
                    <a:pt x="1807" y="1383"/>
                  </a:lnTo>
                  <a:lnTo>
                    <a:pt x="1808" y="1386"/>
                  </a:lnTo>
                  <a:lnTo>
                    <a:pt x="1810" y="1387"/>
                  </a:lnTo>
                  <a:lnTo>
                    <a:pt x="1813" y="1390"/>
                  </a:lnTo>
                  <a:lnTo>
                    <a:pt x="1816" y="1391"/>
                  </a:lnTo>
                  <a:lnTo>
                    <a:pt x="1813" y="1391"/>
                  </a:lnTo>
                  <a:lnTo>
                    <a:pt x="1810" y="1389"/>
                  </a:lnTo>
                  <a:lnTo>
                    <a:pt x="1808" y="1386"/>
                  </a:lnTo>
                  <a:lnTo>
                    <a:pt x="1811" y="1392"/>
                  </a:lnTo>
                  <a:lnTo>
                    <a:pt x="1813" y="1394"/>
                  </a:lnTo>
                  <a:lnTo>
                    <a:pt x="1815" y="1395"/>
                  </a:lnTo>
                  <a:lnTo>
                    <a:pt x="1815" y="1395"/>
                  </a:lnTo>
                  <a:lnTo>
                    <a:pt x="1816" y="1401"/>
                  </a:lnTo>
                  <a:lnTo>
                    <a:pt x="1819" y="1402"/>
                  </a:lnTo>
                  <a:lnTo>
                    <a:pt x="1822" y="1403"/>
                  </a:lnTo>
                  <a:lnTo>
                    <a:pt x="1822" y="1404"/>
                  </a:lnTo>
                  <a:lnTo>
                    <a:pt x="1819" y="1403"/>
                  </a:lnTo>
                  <a:lnTo>
                    <a:pt x="1821" y="1406"/>
                  </a:lnTo>
                  <a:lnTo>
                    <a:pt x="1831" y="1413"/>
                  </a:lnTo>
                  <a:lnTo>
                    <a:pt x="1831" y="1415"/>
                  </a:lnTo>
                  <a:lnTo>
                    <a:pt x="1838" y="1422"/>
                  </a:lnTo>
                  <a:lnTo>
                    <a:pt x="1844" y="1429"/>
                  </a:lnTo>
                  <a:lnTo>
                    <a:pt x="1845" y="1433"/>
                  </a:lnTo>
                  <a:lnTo>
                    <a:pt x="1849" y="1437"/>
                  </a:lnTo>
                  <a:lnTo>
                    <a:pt x="1851" y="1437"/>
                  </a:lnTo>
                  <a:lnTo>
                    <a:pt x="1850" y="1439"/>
                  </a:lnTo>
                  <a:lnTo>
                    <a:pt x="1851" y="1442"/>
                  </a:lnTo>
                  <a:lnTo>
                    <a:pt x="1851" y="1445"/>
                  </a:lnTo>
                  <a:lnTo>
                    <a:pt x="1852" y="1447"/>
                  </a:lnTo>
                  <a:lnTo>
                    <a:pt x="1853" y="1450"/>
                  </a:lnTo>
                  <a:lnTo>
                    <a:pt x="1856" y="1451"/>
                  </a:lnTo>
                  <a:lnTo>
                    <a:pt x="1858" y="1451"/>
                  </a:lnTo>
                  <a:lnTo>
                    <a:pt x="1861" y="1449"/>
                  </a:lnTo>
                  <a:lnTo>
                    <a:pt x="1865" y="1449"/>
                  </a:lnTo>
                  <a:lnTo>
                    <a:pt x="1864" y="1450"/>
                  </a:lnTo>
                  <a:lnTo>
                    <a:pt x="1861" y="1451"/>
                  </a:lnTo>
                  <a:lnTo>
                    <a:pt x="1858" y="1451"/>
                  </a:lnTo>
                  <a:lnTo>
                    <a:pt x="1853" y="1453"/>
                  </a:lnTo>
                  <a:lnTo>
                    <a:pt x="1854" y="1455"/>
                  </a:lnTo>
                  <a:lnTo>
                    <a:pt x="1858" y="1461"/>
                  </a:lnTo>
                  <a:lnTo>
                    <a:pt x="1860" y="1463"/>
                  </a:lnTo>
                  <a:lnTo>
                    <a:pt x="1860" y="1466"/>
                  </a:lnTo>
                  <a:lnTo>
                    <a:pt x="1860" y="1467"/>
                  </a:lnTo>
                  <a:lnTo>
                    <a:pt x="1862" y="1472"/>
                  </a:lnTo>
                  <a:lnTo>
                    <a:pt x="1868" y="1483"/>
                  </a:lnTo>
                  <a:lnTo>
                    <a:pt x="1868" y="1486"/>
                  </a:lnTo>
                  <a:lnTo>
                    <a:pt x="1867" y="1489"/>
                  </a:lnTo>
                  <a:lnTo>
                    <a:pt x="1862" y="1493"/>
                  </a:lnTo>
                  <a:lnTo>
                    <a:pt x="1864" y="1495"/>
                  </a:lnTo>
                  <a:lnTo>
                    <a:pt x="1865" y="1497"/>
                  </a:lnTo>
                  <a:lnTo>
                    <a:pt x="1866" y="1500"/>
                  </a:lnTo>
                  <a:lnTo>
                    <a:pt x="1866" y="1502"/>
                  </a:lnTo>
                  <a:lnTo>
                    <a:pt x="1870" y="1512"/>
                  </a:lnTo>
                  <a:lnTo>
                    <a:pt x="1873" y="1515"/>
                  </a:lnTo>
                  <a:lnTo>
                    <a:pt x="1875" y="1521"/>
                  </a:lnTo>
                  <a:lnTo>
                    <a:pt x="1873" y="1532"/>
                  </a:lnTo>
                  <a:lnTo>
                    <a:pt x="1870" y="1538"/>
                  </a:lnTo>
                  <a:lnTo>
                    <a:pt x="1869" y="1540"/>
                  </a:lnTo>
                  <a:lnTo>
                    <a:pt x="1867" y="1541"/>
                  </a:lnTo>
                  <a:lnTo>
                    <a:pt x="1864" y="1544"/>
                  </a:lnTo>
                  <a:lnTo>
                    <a:pt x="1860" y="1549"/>
                  </a:lnTo>
                  <a:lnTo>
                    <a:pt x="1858" y="1552"/>
                  </a:lnTo>
                  <a:lnTo>
                    <a:pt x="1856" y="1554"/>
                  </a:lnTo>
                  <a:lnTo>
                    <a:pt x="1856" y="1558"/>
                  </a:lnTo>
                  <a:lnTo>
                    <a:pt x="1854" y="1561"/>
                  </a:lnTo>
                  <a:lnTo>
                    <a:pt x="1853" y="1572"/>
                  </a:lnTo>
                  <a:lnTo>
                    <a:pt x="1850" y="1579"/>
                  </a:lnTo>
                  <a:lnTo>
                    <a:pt x="1850" y="1581"/>
                  </a:lnTo>
                  <a:lnTo>
                    <a:pt x="1850" y="1583"/>
                  </a:lnTo>
                  <a:lnTo>
                    <a:pt x="1845" y="1588"/>
                  </a:lnTo>
                  <a:lnTo>
                    <a:pt x="1847" y="1599"/>
                  </a:lnTo>
                  <a:lnTo>
                    <a:pt x="1845" y="1610"/>
                  </a:lnTo>
                  <a:lnTo>
                    <a:pt x="1845" y="1615"/>
                  </a:lnTo>
                  <a:lnTo>
                    <a:pt x="1845" y="1618"/>
                  </a:lnTo>
                  <a:lnTo>
                    <a:pt x="1848" y="1621"/>
                  </a:lnTo>
                  <a:lnTo>
                    <a:pt x="1849" y="1623"/>
                  </a:lnTo>
                  <a:lnTo>
                    <a:pt x="1853" y="1629"/>
                  </a:lnTo>
                  <a:lnTo>
                    <a:pt x="1857" y="1633"/>
                  </a:lnTo>
                  <a:lnTo>
                    <a:pt x="1864" y="1646"/>
                  </a:lnTo>
                  <a:lnTo>
                    <a:pt x="1865" y="1649"/>
                  </a:lnTo>
                  <a:lnTo>
                    <a:pt x="1868" y="1657"/>
                  </a:lnTo>
                  <a:lnTo>
                    <a:pt x="1870" y="1663"/>
                  </a:lnTo>
                  <a:lnTo>
                    <a:pt x="1873" y="1666"/>
                  </a:lnTo>
                  <a:lnTo>
                    <a:pt x="1877" y="1673"/>
                  </a:lnTo>
                  <a:lnTo>
                    <a:pt x="1879" y="1676"/>
                  </a:lnTo>
                  <a:lnTo>
                    <a:pt x="1883" y="1682"/>
                  </a:lnTo>
                  <a:lnTo>
                    <a:pt x="1884" y="1684"/>
                  </a:lnTo>
                  <a:lnTo>
                    <a:pt x="1884" y="1687"/>
                  </a:lnTo>
                  <a:lnTo>
                    <a:pt x="1882" y="1690"/>
                  </a:lnTo>
                  <a:lnTo>
                    <a:pt x="1883" y="1694"/>
                  </a:lnTo>
                  <a:lnTo>
                    <a:pt x="1883" y="1697"/>
                  </a:lnTo>
                  <a:lnTo>
                    <a:pt x="1884" y="1702"/>
                  </a:lnTo>
                  <a:lnTo>
                    <a:pt x="1883" y="1704"/>
                  </a:lnTo>
                  <a:lnTo>
                    <a:pt x="1885" y="1710"/>
                  </a:lnTo>
                  <a:lnTo>
                    <a:pt x="1885" y="1712"/>
                  </a:lnTo>
                  <a:lnTo>
                    <a:pt x="1887" y="1716"/>
                  </a:lnTo>
                  <a:lnTo>
                    <a:pt x="1887" y="1718"/>
                  </a:lnTo>
                  <a:lnTo>
                    <a:pt x="1887" y="1724"/>
                  </a:lnTo>
                  <a:lnTo>
                    <a:pt x="1888" y="1726"/>
                  </a:lnTo>
                  <a:lnTo>
                    <a:pt x="1887" y="1728"/>
                  </a:lnTo>
                  <a:lnTo>
                    <a:pt x="1890" y="1734"/>
                  </a:lnTo>
                  <a:lnTo>
                    <a:pt x="1890" y="1737"/>
                  </a:lnTo>
                  <a:lnTo>
                    <a:pt x="1892" y="1738"/>
                  </a:lnTo>
                  <a:lnTo>
                    <a:pt x="1892" y="1742"/>
                  </a:lnTo>
                  <a:lnTo>
                    <a:pt x="1892" y="1744"/>
                  </a:lnTo>
                  <a:lnTo>
                    <a:pt x="1893" y="1746"/>
                  </a:lnTo>
                  <a:lnTo>
                    <a:pt x="1894" y="1752"/>
                  </a:lnTo>
                  <a:lnTo>
                    <a:pt x="1899" y="1760"/>
                  </a:lnTo>
                  <a:lnTo>
                    <a:pt x="1901" y="1763"/>
                  </a:lnTo>
                  <a:lnTo>
                    <a:pt x="1910" y="1771"/>
                  </a:lnTo>
                  <a:lnTo>
                    <a:pt x="1910" y="1771"/>
                  </a:lnTo>
                  <a:lnTo>
                    <a:pt x="1911" y="1774"/>
                  </a:lnTo>
                  <a:lnTo>
                    <a:pt x="1915" y="1779"/>
                  </a:lnTo>
                  <a:lnTo>
                    <a:pt x="1918" y="1787"/>
                  </a:lnTo>
                  <a:lnTo>
                    <a:pt x="1919" y="1789"/>
                  </a:lnTo>
                  <a:lnTo>
                    <a:pt x="1921" y="1797"/>
                  </a:lnTo>
                  <a:lnTo>
                    <a:pt x="1926" y="1805"/>
                  </a:lnTo>
                  <a:lnTo>
                    <a:pt x="1929" y="1812"/>
                  </a:lnTo>
                  <a:lnTo>
                    <a:pt x="1934" y="1818"/>
                  </a:lnTo>
                  <a:lnTo>
                    <a:pt x="1935" y="1820"/>
                  </a:lnTo>
                  <a:lnTo>
                    <a:pt x="1936" y="1827"/>
                  </a:lnTo>
                  <a:lnTo>
                    <a:pt x="1936" y="1829"/>
                  </a:lnTo>
                  <a:lnTo>
                    <a:pt x="1935" y="1832"/>
                  </a:lnTo>
                  <a:lnTo>
                    <a:pt x="1933" y="1834"/>
                  </a:lnTo>
                  <a:lnTo>
                    <a:pt x="1930" y="1834"/>
                  </a:lnTo>
                  <a:lnTo>
                    <a:pt x="1929" y="1836"/>
                  </a:lnTo>
                  <a:lnTo>
                    <a:pt x="1932" y="1837"/>
                  </a:lnTo>
                  <a:lnTo>
                    <a:pt x="1933" y="1840"/>
                  </a:lnTo>
                  <a:lnTo>
                    <a:pt x="1933" y="1841"/>
                  </a:lnTo>
                  <a:lnTo>
                    <a:pt x="1935" y="1844"/>
                  </a:lnTo>
                  <a:lnTo>
                    <a:pt x="1937" y="1848"/>
                  </a:lnTo>
                  <a:lnTo>
                    <a:pt x="1936" y="1853"/>
                  </a:lnTo>
                  <a:lnTo>
                    <a:pt x="1936" y="1856"/>
                  </a:lnTo>
                  <a:lnTo>
                    <a:pt x="1938" y="1858"/>
                  </a:lnTo>
                  <a:lnTo>
                    <a:pt x="1937" y="1855"/>
                  </a:lnTo>
                  <a:lnTo>
                    <a:pt x="1938" y="1854"/>
                  </a:lnTo>
                  <a:lnTo>
                    <a:pt x="1941" y="1854"/>
                  </a:lnTo>
                  <a:lnTo>
                    <a:pt x="1943" y="1854"/>
                  </a:lnTo>
                  <a:lnTo>
                    <a:pt x="1943" y="1856"/>
                  </a:lnTo>
                  <a:lnTo>
                    <a:pt x="1944" y="1858"/>
                  </a:lnTo>
                  <a:lnTo>
                    <a:pt x="1946" y="1858"/>
                  </a:lnTo>
                  <a:lnTo>
                    <a:pt x="1949" y="1860"/>
                  </a:lnTo>
                  <a:lnTo>
                    <a:pt x="1950" y="1862"/>
                  </a:lnTo>
                  <a:lnTo>
                    <a:pt x="1951" y="1862"/>
                  </a:lnTo>
                  <a:lnTo>
                    <a:pt x="1953" y="1864"/>
                  </a:lnTo>
                  <a:lnTo>
                    <a:pt x="1955" y="1864"/>
                  </a:lnTo>
                  <a:lnTo>
                    <a:pt x="1959" y="1865"/>
                  </a:lnTo>
                  <a:lnTo>
                    <a:pt x="1967" y="1860"/>
                  </a:lnTo>
                  <a:lnTo>
                    <a:pt x="1970" y="1860"/>
                  </a:lnTo>
                  <a:lnTo>
                    <a:pt x="1970" y="1858"/>
                  </a:lnTo>
                  <a:lnTo>
                    <a:pt x="1972" y="1858"/>
                  </a:lnTo>
                  <a:lnTo>
                    <a:pt x="1976" y="1860"/>
                  </a:lnTo>
                  <a:lnTo>
                    <a:pt x="1984" y="1858"/>
                  </a:lnTo>
                  <a:lnTo>
                    <a:pt x="1989" y="1854"/>
                  </a:lnTo>
                  <a:lnTo>
                    <a:pt x="1992" y="1854"/>
                  </a:lnTo>
                  <a:lnTo>
                    <a:pt x="1993" y="1854"/>
                  </a:lnTo>
                  <a:lnTo>
                    <a:pt x="1995" y="1853"/>
                  </a:lnTo>
                  <a:lnTo>
                    <a:pt x="1996" y="1853"/>
                  </a:lnTo>
                  <a:lnTo>
                    <a:pt x="1996" y="1853"/>
                  </a:lnTo>
                  <a:lnTo>
                    <a:pt x="1997" y="1853"/>
                  </a:lnTo>
                  <a:lnTo>
                    <a:pt x="1999" y="1854"/>
                  </a:lnTo>
                  <a:lnTo>
                    <a:pt x="2001" y="1854"/>
                  </a:lnTo>
                  <a:lnTo>
                    <a:pt x="2003" y="1854"/>
                  </a:lnTo>
                  <a:lnTo>
                    <a:pt x="2005" y="1853"/>
                  </a:lnTo>
                  <a:lnTo>
                    <a:pt x="2009" y="1853"/>
                  </a:lnTo>
                  <a:lnTo>
                    <a:pt x="2024" y="1855"/>
                  </a:lnTo>
                  <a:lnTo>
                    <a:pt x="2026" y="1853"/>
                  </a:lnTo>
                  <a:lnTo>
                    <a:pt x="2027" y="1852"/>
                  </a:lnTo>
                  <a:lnTo>
                    <a:pt x="2030" y="1852"/>
                  </a:lnTo>
                  <a:lnTo>
                    <a:pt x="2032" y="1853"/>
                  </a:lnTo>
                  <a:lnTo>
                    <a:pt x="2036" y="1854"/>
                  </a:lnTo>
                  <a:lnTo>
                    <a:pt x="2037" y="1853"/>
                  </a:lnTo>
                  <a:lnTo>
                    <a:pt x="2036" y="1851"/>
                  </a:lnTo>
                  <a:lnTo>
                    <a:pt x="2038" y="1848"/>
                  </a:lnTo>
                  <a:lnTo>
                    <a:pt x="2041" y="1848"/>
                  </a:lnTo>
                  <a:lnTo>
                    <a:pt x="2047" y="1849"/>
                  </a:lnTo>
                  <a:lnTo>
                    <a:pt x="2055" y="1846"/>
                  </a:lnTo>
                  <a:lnTo>
                    <a:pt x="2066" y="1838"/>
                  </a:lnTo>
                  <a:lnTo>
                    <a:pt x="2069" y="1836"/>
                  </a:lnTo>
                  <a:lnTo>
                    <a:pt x="2070" y="1835"/>
                  </a:lnTo>
                  <a:lnTo>
                    <a:pt x="2073" y="1832"/>
                  </a:lnTo>
                  <a:lnTo>
                    <a:pt x="2079" y="1828"/>
                  </a:lnTo>
                  <a:lnTo>
                    <a:pt x="2089" y="1817"/>
                  </a:lnTo>
                  <a:lnTo>
                    <a:pt x="2096" y="1811"/>
                  </a:lnTo>
                  <a:lnTo>
                    <a:pt x="2100" y="1805"/>
                  </a:lnTo>
                  <a:lnTo>
                    <a:pt x="2104" y="1800"/>
                  </a:lnTo>
                  <a:lnTo>
                    <a:pt x="2106" y="1795"/>
                  </a:lnTo>
                  <a:lnTo>
                    <a:pt x="2110" y="1791"/>
                  </a:lnTo>
                  <a:lnTo>
                    <a:pt x="2110" y="1788"/>
                  </a:lnTo>
                  <a:lnTo>
                    <a:pt x="2114" y="1783"/>
                  </a:lnTo>
                  <a:lnTo>
                    <a:pt x="2120" y="1776"/>
                  </a:lnTo>
                  <a:lnTo>
                    <a:pt x="2121" y="1776"/>
                  </a:lnTo>
                  <a:lnTo>
                    <a:pt x="2123" y="1775"/>
                  </a:lnTo>
                  <a:lnTo>
                    <a:pt x="2123" y="1774"/>
                  </a:lnTo>
                  <a:lnTo>
                    <a:pt x="2125" y="1772"/>
                  </a:lnTo>
                  <a:lnTo>
                    <a:pt x="2127" y="1770"/>
                  </a:lnTo>
                  <a:lnTo>
                    <a:pt x="2129" y="1768"/>
                  </a:lnTo>
                  <a:lnTo>
                    <a:pt x="2130" y="1767"/>
                  </a:lnTo>
                  <a:lnTo>
                    <a:pt x="2131" y="1763"/>
                  </a:lnTo>
                  <a:lnTo>
                    <a:pt x="2132" y="1758"/>
                  </a:lnTo>
                  <a:lnTo>
                    <a:pt x="2134" y="1748"/>
                  </a:lnTo>
                  <a:lnTo>
                    <a:pt x="2137" y="1734"/>
                  </a:lnTo>
                  <a:lnTo>
                    <a:pt x="2134" y="1737"/>
                  </a:lnTo>
                  <a:lnTo>
                    <a:pt x="2132" y="1735"/>
                  </a:lnTo>
                  <a:lnTo>
                    <a:pt x="2131" y="1733"/>
                  </a:lnTo>
                  <a:lnTo>
                    <a:pt x="2130" y="1733"/>
                  </a:lnTo>
                  <a:lnTo>
                    <a:pt x="2132" y="1732"/>
                  </a:lnTo>
                  <a:lnTo>
                    <a:pt x="2134" y="1727"/>
                  </a:lnTo>
                  <a:lnTo>
                    <a:pt x="2137" y="1725"/>
                  </a:lnTo>
                  <a:lnTo>
                    <a:pt x="2139" y="1724"/>
                  </a:lnTo>
                  <a:lnTo>
                    <a:pt x="2140" y="1723"/>
                  </a:lnTo>
                  <a:lnTo>
                    <a:pt x="2159" y="1715"/>
                  </a:lnTo>
                  <a:lnTo>
                    <a:pt x="2165" y="1712"/>
                  </a:lnTo>
                  <a:lnTo>
                    <a:pt x="2169" y="1707"/>
                  </a:lnTo>
                  <a:lnTo>
                    <a:pt x="2172" y="1702"/>
                  </a:lnTo>
                  <a:lnTo>
                    <a:pt x="2168" y="1703"/>
                  </a:lnTo>
                  <a:lnTo>
                    <a:pt x="2171" y="1692"/>
                  </a:lnTo>
                  <a:lnTo>
                    <a:pt x="2172" y="1690"/>
                  </a:lnTo>
                  <a:lnTo>
                    <a:pt x="2173" y="1689"/>
                  </a:lnTo>
                  <a:lnTo>
                    <a:pt x="2171" y="1685"/>
                  </a:lnTo>
                  <a:lnTo>
                    <a:pt x="2172" y="1678"/>
                  </a:lnTo>
                  <a:lnTo>
                    <a:pt x="2171" y="1676"/>
                  </a:lnTo>
                  <a:lnTo>
                    <a:pt x="2169" y="1678"/>
                  </a:lnTo>
                  <a:lnTo>
                    <a:pt x="2169" y="1682"/>
                  </a:lnTo>
                  <a:lnTo>
                    <a:pt x="2168" y="1678"/>
                  </a:lnTo>
                  <a:lnTo>
                    <a:pt x="2168" y="1676"/>
                  </a:lnTo>
                  <a:lnTo>
                    <a:pt x="2167" y="1669"/>
                  </a:lnTo>
                  <a:lnTo>
                    <a:pt x="2166" y="1666"/>
                  </a:lnTo>
                  <a:lnTo>
                    <a:pt x="2165" y="1661"/>
                  </a:lnTo>
                  <a:lnTo>
                    <a:pt x="2166" y="1660"/>
                  </a:lnTo>
                  <a:lnTo>
                    <a:pt x="2164" y="1657"/>
                  </a:lnTo>
                  <a:lnTo>
                    <a:pt x="2159" y="1651"/>
                  </a:lnTo>
                  <a:lnTo>
                    <a:pt x="2160" y="1646"/>
                  </a:lnTo>
                  <a:lnTo>
                    <a:pt x="2160" y="1644"/>
                  </a:lnTo>
                  <a:lnTo>
                    <a:pt x="2159" y="1642"/>
                  </a:lnTo>
                  <a:lnTo>
                    <a:pt x="2158" y="1641"/>
                  </a:lnTo>
                  <a:lnTo>
                    <a:pt x="2160" y="1642"/>
                  </a:lnTo>
                  <a:lnTo>
                    <a:pt x="2161" y="1644"/>
                  </a:lnTo>
                  <a:lnTo>
                    <a:pt x="2164" y="1643"/>
                  </a:lnTo>
                  <a:lnTo>
                    <a:pt x="2169" y="1639"/>
                  </a:lnTo>
                  <a:lnTo>
                    <a:pt x="2174" y="1633"/>
                  </a:lnTo>
                  <a:lnTo>
                    <a:pt x="2176" y="1632"/>
                  </a:lnTo>
                  <a:lnTo>
                    <a:pt x="2180" y="1629"/>
                  </a:lnTo>
                  <a:lnTo>
                    <a:pt x="2181" y="1630"/>
                  </a:lnTo>
                  <a:lnTo>
                    <a:pt x="2181" y="1627"/>
                  </a:lnTo>
                  <a:lnTo>
                    <a:pt x="2184" y="1627"/>
                  </a:lnTo>
                  <a:lnTo>
                    <a:pt x="2184" y="1625"/>
                  </a:lnTo>
                  <a:lnTo>
                    <a:pt x="2189" y="1621"/>
                  </a:lnTo>
                  <a:lnTo>
                    <a:pt x="2190" y="1617"/>
                  </a:lnTo>
                  <a:lnTo>
                    <a:pt x="2189" y="1616"/>
                  </a:lnTo>
                  <a:lnTo>
                    <a:pt x="2192" y="1617"/>
                  </a:lnTo>
                  <a:lnTo>
                    <a:pt x="2194" y="1614"/>
                  </a:lnTo>
                  <a:lnTo>
                    <a:pt x="2198" y="1612"/>
                  </a:lnTo>
                  <a:lnTo>
                    <a:pt x="2199" y="1610"/>
                  </a:lnTo>
                  <a:lnTo>
                    <a:pt x="2210" y="1606"/>
                  </a:lnTo>
                  <a:lnTo>
                    <a:pt x="2212" y="1606"/>
                  </a:lnTo>
                  <a:lnTo>
                    <a:pt x="2215" y="1604"/>
                  </a:lnTo>
                  <a:lnTo>
                    <a:pt x="2217" y="1604"/>
                  </a:lnTo>
                  <a:lnTo>
                    <a:pt x="2219" y="1604"/>
                  </a:lnTo>
                  <a:lnTo>
                    <a:pt x="2224" y="1600"/>
                  </a:lnTo>
                  <a:lnTo>
                    <a:pt x="2228" y="1597"/>
                  </a:lnTo>
                  <a:lnTo>
                    <a:pt x="2229" y="1593"/>
                  </a:lnTo>
                  <a:lnTo>
                    <a:pt x="2233" y="1592"/>
                  </a:lnTo>
                  <a:lnTo>
                    <a:pt x="2238" y="1584"/>
                  </a:lnTo>
                  <a:lnTo>
                    <a:pt x="2241" y="1581"/>
                  </a:lnTo>
                  <a:lnTo>
                    <a:pt x="2242" y="1579"/>
                  </a:lnTo>
                  <a:lnTo>
                    <a:pt x="2241" y="1577"/>
                  </a:lnTo>
                  <a:lnTo>
                    <a:pt x="2244" y="1571"/>
                  </a:lnTo>
                  <a:lnTo>
                    <a:pt x="2244" y="1569"/>
                  </a:lnTo>
                  <a:lnTo>
                    <a:pt x="2242" y="1569"/>
                  </a:lnTo>
                  <a:lnTo>
                    <a:pt x="2241" y="1566"/>
                  </a:lnTo>
                  <a:lnTo>
                    <a:pt x="2240" y="1564"/>
                  </a:lnTo>
                  <a:lnTo>
                    <a:pt x="2241" y="1561"/>
                  </a:lnTo>
                  <a:lnTo>
                    <a:pt x="2241" y="1558"/>
                  </a:lnTo>
                  <a:lnTo>
                    <a:pt x="2241" y="1555"/>
                  </a:lnTo>
                  <a:lnTo>
                    <a:pt x="2240" y="1555"/>
                  </a:lnTo>
                  <a:lnTo>
                    <a:pt x="2241" y="1549"/>
                  </a:lnTo>
                  <a:lnTo>
                    <a:pt x="2238" y="1547"/>
                  </a:lnTo>
                  <a:lnTo>
                    <a:pt x="2241" y="1545"/>
                  </a:lnTo>
                  <a:lnTo>
                    <a:pt x="2240" y="1541"/>
                  </a:lnTo>
                  <a:lnTo>
                    <a:pt x="2241" y="1539"/>
                  </a:lnTo>
                  <a:lnTo>
                    <a:pt x="2240" y="1537"/>
                  </a:lnTo>
                  <a:lnTo>
                    <a:pt x="2240" y="1531"/>
                  </a:lnTo>
                  <a:lnTo>
                    <a:pt x="2238" y="1529"/>
                  </a:lnTo>
                  <a:lnTo>
                    <a:pt x="2238" y="1527"/>
                  </a:lnTo>
                  <a:lnTo>
                    <a:pt x="2237" y="1524"/>
                  </a:lnTo>
                  <a:lnTo>
                    <a:pt x="2240" y="1522"/>
                  </a:lnTo>
                  <a:lnTo>
                    <a:pt x="2240" y="1514"/>
                  </a:lnTo>
                  <a:lnTo>
                    <a:pt x="2238" y="1513"/>
                  </a:lnTo>
                  <a:lnTo>
                    <a:pt x="2236" y="1510"/>
                  </a:lnTo>
                  <a:lnTo>
                    <a:pt x="2233" y="1507"/>
                  </a:lnTo>
                  <a:lnTo>
                    <a:pt x="2232" y="1509"/>
                  </a:lnTo>
                  <a:lnTo>
                    <a:pt x="2231" y="1506"/>
                  </a:lnTo>
                  <a:lnTo>
                    <a:pt x="2228" y="1506"/>
                  </a:lnTo>
                  <a:lnTo>
                    <a:pt x="2229" y="1503"/>
                  </a:lnTo>
                  <a:lnTo>
                    <a:pt x="2228" y="1498"/>
                  </a:lnTo>
                  <a:lnTo>
                    <a:pt x="2227" y="1496"/>
                  </a:lnTo>
                  <a:lnTo>
                    <a:pt x="2224" y="1490"/>
                  </a:lnTo>
                  <a:lnTo>
                    <a:pt x="2223" y="1485"/>
                  </a:lnTo>
                  <a:lnTo>
                    <a:pt x="2223" y="1483"/>
                  </a:lnTo>
                  <a:lnTo>
                    <a:pt x="2225" y="1479"/>
                  </a:lnTo>
                  <a:lnTo>
                    <a:pt x="2225" y="1478"/>
                  </a:lnTo>
                  <a:lnTo>
                    <a:pt x="2224" y="1476"/>
                  </a:lnTo>
                  <a:lnTo>
                    <a:pt x="2223" y="1476"/>
                  </a:lnTo>
                  <a:lnTo>
                    <a:pt x="2223" y="1471"/>
                  </a:lnTo>
                  <a:lnTo>
                    <a:pt x="2224" y="1469"/>
                  </a:lnTo>
                  <a:lnTo>
                    <a:pt x="2226" y="1466"/>
                  </a:lnTo>
                  <a:lnTo>
                    <a:pt x="2226" y="1464"/>
                  </a:lnTo>
                  <a:lnTo>
                    <a:pt x="2224" y="1462"/>
                  </a:lnTo>
                  <a:lnTo>
                    <a:pt x="2223" y="1462"/>
                  </a:lnTo>
                  <a:lnTo>
                    <a:pt x="2221" y="1460"/>
                  </a:lnTo>
                  <a:lnTo>
                    <a:pt x="2217" y="1455"/>
                  </a:lnTo>
                  <a:lnTo>
                    <a:pt x="2217" y="1453"/>
                  </a:lnTo>
                  <a:lnTo>
                    <a:pt x="2216" y="1451"/>
                  </a:lnTo>
                  <a:lnTo>
                    <a:pt x="2217" y="1446"/>
                  </a:lnTo>
                  <a:lnTo>
                    <a:pt x="2219" y="1441"/>
                  </a:lnTo>
                  <a:lnTo>
                    <a:pt x="2220" y="1437"/>
                  </a:lnTo>
                  <a:lnTo>
                    <a:pt x="2221" y="1435"/>
                  </a:lnTo>
                  <a:lnTo>
                    <a:pt x="2221" y="1433"/>
                  </a:lnTo>
                  <a:lnTo>
                    <a:pt x="2225" y="1432"/>
                  </a:lnTo>
                  <a:lnTo>
                    <a:pt x="2226" y="1428"/>
                  </a:lnTo>
                  <a:lnTo>
                    <a:pt x="2227" y="1426"/>
                  </a:lnTo>
                  <a:lnTo>
                    <a:pt x="2227" y="1424"/>
                  </a:lnTo>
                  <a:lnTo>
                    <a:pt x="2228" y="1424"/>
                  </a:lnTo>
                  <a:lnTo>
                    <a:pt x="2228" y="1422"/>
                  </a:lnTo>
                  <a:lnTo>
                    <a:pt x="2231" y="1420"/>
                  </a:lnTo>
                  <a:lnTo>
                    <a:pt x="2231" y="1418"/>
                  </a:lnTo>
                  <a:lnTo>
                    <a:pt x="2232" y="1416"/>
                  </a:lnTo>
                  <a:lnTo>
                    <a:pt x="2233" y="1415"/>
                  </a:lnTo>
                  <a:lnTo>
                    <a:pt x="2234" y="1412"/>
                  </a:lnTo>
                  <a:lnTo>
                    <a:pt x="2234" y="1411"/>
                  </a:lnTo>
                  <a:lnTo>
                    <a:pt x="2235" y="1409"/>
                  </a:lnTo>
                  <a:lnTo>
                    <a:pt x="2235" y="1407"/>
                  </a:lnTo>
                  <a:lnTo>
                    <a:pt x="2237" y="1403"/>
                  </a:lnTo>
                  <a:lnTo>
                    <a:pt x="2240" y="1403"/>
                  </a:lnTo>
                  <a:lnTo>
                    <a:pt x="2242" y="1402"/>
                  </a:lnTo>
                  <a:lnTo>
                    <a:pt x="2244" y="1400"/>
                  </a:lnTo>
                  <a:lnTo>
                    <a:pt x="2244" y="1399"/>
                  </a:lnTo>
                  <a:lnTo>
                    <a:pt x="2246" y="1394"/>
                  </a:lnTo>
                  <a:lnTo>
                    <a:pt x="2249" y="1395"/>
                  </a:lnTo>
                  <a:lnTo>
                    <a:pt x="2252" y="1394"/>
                  </a:lnTo>
                  <a:lnTo>
                    <a:pt x="2254" y="1392"/>
                  </a:lnTo>
                  <a:lnTo>
                    <a:pt x="2255" y="1389"/>
                  </a:lnTo>
                  <a:lnTo>
                    <a:pt x="2258" y="1386"/>
                  </a:lnTo>
                  <a:lnTo>
                    <a:pt x="2258" y="1385"/>
                  </a:lnTo>
                  <a:lnTo>
                    <a:pt x="2259" y="1382"/>
                  </a:lnTo>
                  <a:lnTo>
                    <a:pt x="2259" y="1381"/>
                  </a:lnTo>
                  <a:lnTo>
                    <a:pt x="2261" y="1381"/>
                  </a:lnTo>
                  <a:lnTo>
                    <a:pt x="2263" y="1378"/>
                  </a:lnTo>
                  <a:lnTo>
                    <a:pt x="2268" y="1373"/>
                  </a:lnTo>
                  <a:lnTo>
                    <a:pt x="2269" y="1372"/>
                  </a:lnTo>
                  <a:lnTo>
                    <a:pt x="2272" y="1368"/>
                  </a:lnTo>
                  <a:lnTo>
                    <a:pt x="2280" y="1360"/>
                  </a:lnTo>
                  <a:lnTo>
                    <a:pt x="2287" y="1353"/>
                  </a:lnTo>
                  <a:lnTo>
                    <a:pt x="2293" y="1349"/>
                  </a:lnTo>
                  <a:lnTo>
                    <a:pt x="2296" y="1347"/>
                  </a:lnTo>
                  <a:lnTo>
                    <a:pt x="2299" y="1345"/>
                  </a:lnTo>
                  <a:lnTo>
                    <a:pt x="2301" y="1343"/>
                  </a:lnTo>
                  <a:lnTo>
                    <a:pt x="2303" y="1342"/>
                  </a:lnTo>
                  <a:lnTo>
                    <a:pt x="2305" y="1341"/>
                  </a:lnTo>
                  <a:lnTo>
                    <a:pt x="2314" y="1335"/>
                  </a:lnTo>
                  <a:lnTo>
                    <a:pt x="2317" y="1333"/>
                  </a:lnTo>
                  <a:lnTo>
                    <a:pt x="2319" y="1332"/>
                  </a:lnTo>
                  <a:lnTo>
                    <a:pt x="2321" y="1329"/>
                  </a:lnTo>
                  <a:lnTo>
                    <a:pt x="2322" y="1329"/>
                  </a:lnTo>
                  <a:lnTo>
                    <a:pt x="2325" y="1325"/>
                  </a:lnTo>
                  <a:lnTo>
                    <a:pt x="2328" y="1322"/>
                  </a:lnTo>
                  <a:lnTo>
                    <a:pt x="2330" y="1321"/>
                  </a:lnTo>
                  <a:lnTo>
                    <a:pt x="2330" y="1319"/>
                  </a:lnTo>
                  <a:lnTo>
                    <a:pt x="2334" y="1316"/>
                  </a:lnTo>
                  <a:lnTo>
                    <a:pt x="2335" y="1315"/>
                  </a:lnTo>
                  <a:lnTo>
                    <a:pt x="2337" y="1313"/>
                  </a:lnTo>
                  <a:lnTo>
                    <a:pt x="2342" y="1308"/>
                  </a:lnTo>
                  <a:lnTo>
                    <a:pt x="2343" y="1305"/>
                  </a:lnTo>
                  <a:lnTo>
                    <a:pt x="2344" y="1302"/>
                  </a:lnTo>
                  <a:lnTo>
                    <a:pt x="2346" y="1300"/>
                  </a:lnTo>
                  <a:lnTo>
                    <a:pt x="2348" y="1297"/>
                  </a:lnTo>
                  <a:lnTo>
                    <a:pt x="2349" y="1295"/>
                  </a:lnTo>
                  <a:lnTo>
                    <a:pt x="2352" y="1292"/>
                  </a:lnTo>
                  <a:lnTo>
                    <a:pt x="2354" y="1289"/>
                  </a:lnTo>
                  <a:lnTo>
                    <a:pt x="2356" y="1284"/>
                  </a:lnTo>
                  <a:lnTo>
                    <a:pt x="2357" y="1279"/>
                  </a:lnTo>
                  <a:lnTo>
                    <a:pt x="2359" y="1275"/>
                  </a:lnTo>
                  <a:lnTo>
                    <a:pt x="2360" y="1273"/>
                  </a:lnTo>
                  <a:lnTo>
                    <a:pt x="2364" y="1267"/>
                  </a:lnTo>
                  <a:lnTo>
                    <a:pt x="2366" y="1264"/>
                  </a:lnTo>
                  <a:lnTo>
                    <a:pt x="2368" y="1262"/>
                  </a:lnTo>
                  <a:lnTo>
                    <a:pt x="2366" y="1261"/>
                  </a:lnTo>
                  <a:lnTo>
                    <a:pt x="2368" y="1259"/>
                  </a:lnTo>
                  <a:lnTo>
                    <a:pt x="2370" y="1257"/>
                  </a:lnTo>
                  <a:lnTo>
                    <a:pt x="2371" y="1254"/>
                  </a:lnTo>
                  <a:lnTo>
                    <a:pt x="2372" y="1254"/>
                  </a:lnTo>
                  <a:lnTo>
                    <a:pt x="2373" y="1252"/>
                  </a:lnTo>
                  <a:lnTo>
                    <a:pt x="2374" y="1249"/>
                  </a:lnTo>
                  <a:lnTo>
                    <a:pt x="2376" y="1246"/>
                  </a:lnTo>
                  <a:lnTo>
                    <a:pt x="2378" y="1244"/>
                  </a:lnTo>
                  <a:lnTo>
                    <a:pt x="2379" y="1241"/>
                  </a:lnTo>
                  <a:lnTo>
                    <a:pt x="2381" y="1239"/>
                  </a:lnTo>
                  <a:lnTo>
                    <a:pt x="2380" y="1237"/>
                  </a:lnTo>
                  <a:lnTo>
                    <a:pt x="2381" y="1231"/>
                  </a:lnTo>
                  <a:lnTo>
                    <a:pt x="2381" y="1229"/>
                  </a:lnTo>
                  <a:lnTo>
                    <a:pt x="2382" y="1227"/>
                  </a:lnTo>
                  <a:lnTo>
                    <a:pt x="2386" y="1225"/>
                  </a:lnTo>
                  <a:lnTo>
                    <a:pt x="2388" y="1227"/>
                  </a:lnTo>
                  <a:lnTo>
                    <a:pt x="2386" y="1225"/>
                  </a:lnTo>
                  <a:lnTo>
                    <a:pt x="2383" y="1225"/>
                  </a:lnTo>
                  <a:lnTo>
                    <a:pt x="2385" y="1223"/>
                  </a:lnTo>
                  <a:lnTo>
                    <a:pt x="2385" y="1220"/>
                  </a:lnTo>
                  <a:lnTo>
                    <a:pt x="2385" y="1218"/>
                  </a:lnTo>
                  <a:lnTo>
                    <a:pt x="2385" y="1214"/>
                  </a:lnTo>
                  <a:lnTo>
                    <a:pt x="2385" y="1212"/>
                  </a:lnTo>
                  <a:lnTo>
                    <a:pt x="2387" y="1206"/>
                  </a:lnTo>
                  <a:lnTo>
                    <a:pt x="2383" y="1205"/>
                  </a:lnTo>
                  <a:lnTo>
                    <a:pt x="2381" y="1204"/>
                  </a:lnTo>
                  <a:lnTo>
                    <a:pt x="2378" y="1204"/>
                  </a:lnTo>
                  <a:lnTo>
                    <a:pt x="2376" y="1207"/>
                  </a:lnTo>
                  <a:lnTo>
                    <a:pt x="2371" y="1211"/>
                  </a:lnTo>
                  <a:lnTo>
                    <a:pt x="2369" y="1211"/>
                  </a:lnTo>
                  <a:lnTo>
                    <a:pt x="2368" y="1211"/>
                  </a:lnTo>
                  <a:lnTo>
                    <a:pt x="2365" y="1211"/>
                  </a:lnTo>
                  <a:lnTo>
                    <a:pt x="2355" y="1214"/>
                  </a:lnTo>
                  <a:lnTo>
                    <a:pt x="2354" y="1214"/>
                  </a:lnTo>
                  <a:lnTo>
                    <a:pt x="2352" y="1213"/>
                  </a:lnTo>
                  <a:lnTo>
                    <a:pt x="2348" y="1213"/>
                  </a:lnTo>
                  <a:lnTo>
                    <a:pt x="2344" y="1215"/>
                  </a:lnTo>
                  <a:lnTo>
                    <a:pt x="2340" y="1215"/>
                  </a:lnTo>
                  <a:lnTo>
                    <a:pt x="2338" y="1216"/>
                  </a:lnTo>
                  <a:lnTo>
                    <a:pt x="2335" y="1215"/>
                  </a:lnTo>
                  <a:lnTo>
                    <a:pt x="2333" y="1215"/>
                  </a:lnTo>
                  <a:lnTo>
                    <a:pt x="2328" y="1218"/>
                  </a:lnTo>
                  <a:lnTo>
                    <a:pt x="2327" y="1219"/>
                  </a:lnTo>
                  <a:lnTo>
                    <a:pt x="2325" y="1221"/>
                  </a:lnTo>
                  <a:lnTo>
                    <a:pt x="2321" y="1221"/>
                  </a:lnTo>
                  <a:lnTo>
                    <a:pt x="2319" y="1221"/>
                  </a:lnTo>
                  <a:lnTo>
                    <a:pt x="2313" y="1220"/>
                  </a:lnTo>
                  <a:lnTo>
                    <a:pt x="2310" y="1220"/>
                  </a:lnTo>
                  <a:lnTo>
                    <a:pt x="2308" y="1222"/>
                  </a:lnTo>
                  <a:lnTo>
                    <a:pt x="2304" y="1223"/>
                  </a:lnTo>
                  <a:lnTo>
                    <a:pt x="2302" y="1224"/>
                  </a:lnTo>
                  <a:lnTo>
                    <a:pt x="2301" y="1225"/>
                  </a:lnTo>
                  <a:lnTo>
                    <a:pt x="2299" y="1225"/>
                  </a:lnTo>
                  <a:lnTo>
                    <a:pt x="2295" y="1225"/>
                  </a:lnTo>
                  <a:lnTo>
                    <a:pt x="2292" y="1225"/>
                  </a:lnTo>
                  <a:lnTo>
                    <a:pt x="2291" y="1224"/>
                  </a:lnTo>
                  <a:lnTo>
                    <a:pt x="2289" y="1224"/>
                  </a:lnTo>
                  <a:lnTo>
                    <a:pt x="2288" y="1223"/>
                  </a:lnTo>
                  <a:lnTo>
                    <a:pt x="2283" y="1219"/>
                  </a:lnTo>
                  <a:lnTo>
                    <a:pt x="2279" y="1213"/>
                  </a:lnTo>
                  <a:lnTo>
                    <a:pt x="2275" y="1210"/>
                  </a:lnTo>
                  <a:lnTo>
                    <a:pt x="2271" y="1210"/>
                  </a:lnTo>
                  <a:lnTo>
                    <a:pt x="2270" y="1210"/>
                  </a:lnTo>
                  <a:lnTo>
                    <a:pt x="2268" y="1210"/>
                  </a:lnTo>
                  <a:lnTo>
                    <a:pt x="2270" y="1207"/>
                  </a:lnTo>
                  <a:lnTo>
                    <a:pt x="2274" y="1206"/>
                  </a:lnTo>
                  <a:lnTo>
                    <a:pt x="2275" y="1206"/>
                  </a:lnTo>
                  <a:lnTo>
                    <a:pt x="2276" y="1205"/>
                  </a:lnTo>
                  <a:lnTo>
                    <a:pt x="2279" y="1204"/>
                  </a:lnTo>
                  <a:lnTo>
                    <a:pt x="2279" y="1202"/>
                  </a:lnTo>
                  <a:lnTo>
                    <a:pt x="2278" y="1199"/>
                  </a:lnTo>
                  <a:lnTo>
                    <a:pt x="2277" y="1196"/>
                  </a:lnTo>
                  <a:lnTo>
                    <a:pt x="2275" y="1194"/>
                  </a:lnTo>
                  <a:lnTo>
                    <a:pt x="2271" y="1191"/>
                  </a:lnTo>
                  <a:lnTo>
                    <a:pt x="2270" y="1189"/>
                  </a:lnTo>
                  <a:lnTo>
                    <a:pt x="2265" y="1184"/>
                  </a:lnTo>
                  <a:lnTo>
                    <a:pt x="2263" y="1181"/>
                  </a:lnTo>
                  <a:lnTo>
                    <a:pt x="2262" y="1180"/>
                  </a:lnTo>
                  <a:lnTo>
                    <a:pt x="2260" y="1179"/>
                  </a:lnTo>
                  <a:lnTo>
                    <a:pt x="2258" y="1178"/>
                  </a:lnTo>
                  <a:lnTo>
                    <a:pt x="2254" y="1176"/>
                  </a:lnTo>
                  <a:lnTo>
                    <a:pt x="2251" y="1170"/>
                  </a:lnTo>
                  <a:lnTo>
                    <a:pt x="2250" y="1169"/>
                  </a:lnTo>
                  <a:lnTo>
                    <a:pt x="2250" y="1168"/>
                  </a:lnTo>
                  <a:lnTo>
                    <a:pt x="2246" y="1167"/>
                  </a:lnTo>
                  <a:lnTo>
                    <a:pt x="2244" y="1165"/>
                  </a:lnTo>
                  <a:lnTo>
                    <a:pt x="2242" y="1163"/>
                  </a:lnTo>
                  <a:lnTo>
                    <a:pt x="2240" y="1162"/>
                  </a:lnTo>
                  <a:lnTo>
                    <a:pt x="2238" y="1162"/>
                  </a:lnTo>
                  <a:lnTo>
                    <a:pt x="2236" y="1162"/>
                  </a:lnTo>
                  <a:lnTo>
                    <a:pt x="2234" y="1162"/>
                  </a:lnTo>
                  <a:lnTo>
                    <a:pt x="2233" y="1159"/>
                  </a:lnTo>
                  <a:lnTo>
                    <a:pt x="2233" y="1156"/>
                  </a:lnTo>
                  <a:lnTo>
                    <a:pt x="2229" y="1155"/>
                  </a:lnTo>
                  <a:lnTo>
                    <a:pt x="2229" y="1159"/>
                  </a:lnTo>
                  <a:lnTo>
                    <a:pt x="2229" y="1161"/>
                  </a:lnTo>
                  <a:lnTo>
                    <a:pt x="2228" y="1159"/>
                  </a:lnTo>
                  <a:lnTo>
                    <a:pt x="2227" y="1155"/>
                  </a:lnTo>
                  <a:lnTo>
                    <a:pt x="2225" y="1154"/>
                  </a:lnTo>
                  <a:lnTo>
                    <a:pt x="2225" y="1153"/>
                  </a:lnTo>
                  <a:lnTo>
                    <a:pt x="2225" y="1152"/>
                  </a:lnTo>
                  <a:lnTo>
                    <a:pt x="2224" y="1150"/>
                  </a:lnTo>
                  <a:lnTo>
                    <a:pt x="2223" y="1147"/>
                  </a:lnTo>
                  <a:lnTo>
                    <a:pt x="2221" y="1143"/>
                  </a:lnTo>
                  <a:lnTo>
                    <a:pt x="2221" y="1142"/>
                  </a:lnTo>
                  <a:lnTo>
                    <a:pt x="2220" y="1139"/>
                  </a:lnTo>
                  <a:lnTo>
                    <a:pt x="2220" y="1137"/>
                  </a:lnTo>
                  <a:lnTo>
                    <a:pt x="2218" y="1129"/>
                  </a:lnTo>
                  <a:lnTo>
                    <a:pt x="2217" y="1127"/>
                  </a:lnTo>
                  <a:lnTo>
                    <a:pt x="2216" y="1125"/>
                  </a:lnTo>
                  <a:lnTo>
                    <a:pt x="2215" y="1122"/>
                  </a:lnTo>
                  <a:lnTo>
                    <a:pt x="2214" y="1119"/>
                  </a:lnTo>
                  <a:lnTo>
                    <a:pt x="2212" y="1119"/>
                  </a:lnTo>
                  <a:lnTo>
                    <a:pt x="2209" y="1117"/>
                  </a:lnTo>
                  <a:lnTo>
                    <a:pt x="2207" y="1114"/>
                  </a:lnTo>
                  <a:lnTo>
                    <a:pt x="2203" y="1111"/>
                  </a:lnTo>
                  <a:lnTo>
                    <a:pt x="2201" y="1110"/>
                  </a:lnTo>
                  <a:lnTo>
                    <a:pt x="2199" y="1109"/>
                  </a:lnTo>
                  <a:lnTo>
                    <a:pt x="2198" y="1107"/>
                  </a:lnTo>
                  <a:lnTo>
                    <a:pt x="2195" y="1099"/>
                  </a:lnTo>
                  <a:lnTo>
                    <a:pt x="2195" y="1095"/>
                  </a:lnTo>
                  <a:lnTo>
                    <a:pt x="2193" y="1088"/>
                  </a:lnTo>
                  <a:lnTo>
                    <a:pt x="2193" y="1086"/>
                  </a:lnTo>
                  <a:lnTo>
                    <a:pt x="2194" y="1083"/>
                  </a:lnTo>
                  <a:lnTo>
                    <a:pt x="2193" y="1075"/>
                  </a:lnTo>
                  <a:lnTo>
                    <a:pt x="2195" y="1076"/>
                  </a:lnTo>
                  <a:lnTo>
                    <a:pt x="2193" y="1074"/>
                  </a:lnTo>
                  <a:lnTo>
                    <a:pt x="2191" y="1071"/>
                  </a:lnTo>
                  <a:lnTo>
                    <a:pt x="2190" y="1068"/>
                  </a:lnTo>
                  <a:lnTo>
                    <a:pt x="2190" y="1062"/>
                  </a:lnTo>
                  <a:lnTo>
                    <a:pt x="2189" y="1060"/>
                  </a:lnTo>
                  <a:lnTo>
                    <a:pt x="2183" y="1057"/>
                  </a:lnTo>
                  <a:lnTo>
                    <a:pt x="2181" y="1053"/>
                  </a:lnTo>
                  <a:lnTo>
                    <a:pt x="2178" y="1053"/>
                  </a:lnTo>
                  <a:lnTo>
                    <a:pt x="2175" y="1052"/>
                  </a:lnTo>
                  <a:lnTo>
                    <a:pt x="2174" y="1049"/>
                  </a:lnTo>
                  <a:lnTo>
                    <a:pt x="2173" y="1047"/>
                  </a:lnTo>
                  <a:lnTo>
                    <a:pt x="2172" y="1045"/>
                  </a:lnTo>
                  <a:lnTo>
                    <a:pt x="2172" y="1042"/>
                  </a:lnTo>
                  <a:lnTo>
                    <a:pt x="2172" y="1041"/>
                  </a:lnTo>
                  <a:lnTo>
                    <a:pt x="2171" y="1036"/>
                  </a:lnTo>
                  <a:lnTo>
                    <a:pt x="2172" y="1034"/>
                  </a:lnTo>
                  <a:lnTo>
                    <a:pt x="2174" y="1034"/>
                  </a:lnTo>
                  <a:lnTo>
                    <a:pt x="2172" y="1033"/>
                  </a:lnTo>
                  <a:lnTo>
                    <a:pt x="2169" y="1030"/>
                  </a:lnTo>
                  <a:lnTo>
                    <a:pt x="2167" y="1027"/>
                  </a:lnTo>
                  <a:lnTo>
                    <a:pt x="2166" y="1025"/>
                  </a:lnTo>
                  <a:lnTo>
                    <a:pt x="2164" y="1022"/>
                  </a:lnTo>
                  <a:lnTo>
                    <a:pt x="2163" y="1019"/>
                  </a:lnTo>
                  <a:lnTo>
                    <a:pt x="2161" y="1016"/>
                  </a:lnTo>
                  <a:lnTo>
                    <a:pt x="2160" y="1015"/>
                  </a:lnTo>
                  <a:lnTo>
                    <a:pt x="2159" y="1011"/>
                  </a:lnTo>
                  <a:lnTo>
                    <a:pt x="2158" y="1009"/>
                  </a:lnTo>
                  <a:lnTo>
                    <a:pt x="2156" y="1007"/>
                  </a:lnTo>
                  <a:lnTo>
                    <a:pt x="2155" y="1004"/>
                  </a:lnTo>
                  <a:lnTo>
                    <a:pt x="2154" y="1001"/>
                  </a:lnTo>
                  <a:lnTo>
                    <a:pt x="2150" y="996"/>
                  </a:lnTo>
                  <a:lnTo>
                    <a:pt x="2149" y="993"/>
                  </a:lnTo>
                  <a:lnTo>
                    <a:pt x="2149" y="990"/>
                  </a:lnTo>
                  <a:lnTo>
                    <a:pt x="2148" y="988"/>
                  </a:lnTo>
                  <a:lnTo>
                    <a:pt x="2144" y="982"/>
                  </a:lnTo>
                  <a:lnTo>
                    <a:pt x="2144" y="980"/>
                  </a:lnTo>
                  <a:lnTo>
                    <a:pt x="2144" y="976"/>
                  </a:lnTo>
                  <a:lnTo>
                    <a:pt x="2141" y="973"/>
                  </a:lnTo>
                  <a:lnTo>
                    <a:pt x="2141" y="973"/>
                  </a:lnTo>
                  <a:lnTo>
                    <a:pt x="2140" y="973"/>
                  </a:lnTo>
                  <a:lnTo>
                    <a:pt x="2140" y="973"/>
                  </a:lnTo>
                  <a:lnTo>
                    <a:pt x="2138" y="970"/>
                  </a:lnTo>
                  <a:lnTo>
                    <a:pt x="2138" y="970"/>
                  </a:lnTo>
                  <a:lnTo>
                    <a:pt x="2137" y="968"/>
                  </a:lnTo>
                  <a:lnTo>
                    <a:pt x="2137" y="968"/>
                  </a:lnTo>
                  <a:lnTo>
                    <a:pt x="2137" y="968"/>
                  </a:lnTo>
                  <a:lnTo>
                    <a:pt x="2137" y="968"/>
                  </a:lnTo>
                  <a:lnTo>
                    <a:pt x="2137" y="967"/>
                  </a:lnTo>
                  <a:lnTo>
                    <a:pt x="2135" y="966"/>
                  </a:lnTo>
                  <a:lnTo>
                    <a:pt x="2131" y="960"/>
                  </a:lnTo>
                  <a:lnTo>
                    <a:pt x="2132" y="958"/>
                  </a:lnTo>
                  <a:lnTo>
                    <a:pt x="2131" y="956"/>
                  </a:lnTo>
                  <a:lnTo>
                    <a:pt x="2129" y="954"/>
                  </a:lnTo>
                  <a:lnTo>
                    <a:pt x="2129" y="953"/>
                  </a:lnTo>
                  <a:lnTo>
                    <a:pt x="2127" y="950"/>
                  </a:lnTo>
                  <a:lnTo>
                    <a:pt x="2130" y="947"/>
                  </a:lnTo>
                  <a:lnTo>
                    <a:pt x="2131" y="946"/>
                  </a:lnTo>
                  <a:lnTo>
                    <a:pt x="2131" y="946"/>
                  </a:lnTo>
                  <a:lnTo>
                    <a:pt x="2131" y="947"/>
                  </a:lnTo>
                  <a:lnTo>
                    <a:pt x="2132" y="948"/>
                  </a:lnTo>
                  <a:lnTo>
                    <a:pt x="2132" y="948"/>
                  </a:lnTo>
                  <a:lnTo>
                    <a:pt x="2132" y="949"/>
                  </a:lnTo>
                  <a:lnTo>
                    <a:pt x="2132" y="949"/>
                  </a:lnTo>
                  <a:lnTo>
                    <a:pt x="2132" y="951"/>
                  </a:lnTo>
                  <a:lnTo>
                    <a:pt x="2134" y="956"/>
                  </a:lnTo>
                  <a:lnTo>
                    <a:pt x="2135" y="957"/>
                  </a:lnTo>
                  <a:lnTo>
                    <a:pt x="2138" y="959"/>
                  </a:lnTo>
                  <a:lnTo>
                    <a:pt x="2139" y="960"/>
                  </a:lnTo>
                  <a:lnTo>
                    <a:pt x="2139" y="963"/>
                  </a:lnTo>
                  <a:lnTo>
                    <a:pt x="2140" y="965"/>
                  </a:lnTo>
                  <a:lnTo>
                    <a:pt x="2140" y="966"/>
                  </a:lnTo>
                  <a:lnTo>
                    <a:pt x="2140" y="967"/>
                  </a:lnTo>
                  <a:lnTo>
                    <a:pt x="2143" y="970"/>
                  </a:lnTo>
                  <a:lnTo>
                    <a:pt x="2144" y="971"/>
                  </a:lnTo>
                  <a:lnTo>
                    <a:pt x="2146" y="973"/>
                  </a:lnTo>
                  <a:lnTo>
                    <a:pt x="2149" y="976"/>
                  </a:lnTo>
                  <a:lnTo>
                    <a:pt x="2151" y="979"/>
                  </a:lnTo>
                  <a:lnTo>
                    <a:pt x="2154" y="979"/>
                  </a:lnTo>
                  <a:lnTo>
                    <a:pt x="2154" y="980"/>
                  </a:lnTo>
                  <a:lnTo>
                    <a:pt x="2154" y="979"/>
                  </a:lnTo>
                  <a:lnTo>
                    <a:pt x="2155" y="977"/>
                  </a:lnTo>
                  <a:lnTo>
                    <a:pt x="2155" y="977"/>
                  </a:lnTo>
                  <a:lnTo>
                    <a:pt x="2156" y="974"/>
                  </a:lnTo>
                  <a:lnTo>
                    <a:pt x="2156" y="974"/>
                  </a:lnTo>
                  <a:lnTo>
                    <a:pt x="2156" y="972"/>
                  </a:lnTo>
                  <a:lnTo>
                    <a:pt x="2157" y="970"/>
                  </a:lnTo>
                  <a:lnTo>
                    <a:pt x="2158" y="964"/>
                  </a:lnTo>
                  <a:lnTo>
                    <a:pt x="2159" y="962"/>
                  </a:lnTo>
                  <a:lnTo>
                    <a:pt x="2159" y="959"/>
                  </a:lnTo>
                  <a:lnTo>
                    <a:pt x="2160" y="956"/>
                  </a:lnTo>
                  <a:lnTo>
                    <a:pt x="2160" y="956"/>
                  </a:lnTo>
                  <a:lnTo>
                    <a:pt x="2163" y="954"/>
                  </a:lnTo>
                  <a:lnTo>
                    <a:pt x="2163" y="953"/>
                  </a:lnTo>
                  <a:lnTo>
                    <a:pt x="2164" y="953"/>
                  </a:lnTo>
                  <a:lnTo>
                    <a:pt x="2164" y="953"/>
                  </a:lnTo>
                  <a:lnTo>
                    <a:pt x="2164" y="955"/>
                  </a:lnTo>
                  <a:lnTo>
                    <a:pt x="2163" y="958"/>
                  </a:lnTo>
                  <a:lnTo>
                    <a:pt x="2163" y="960"/>
                  </a:lnTo>
                  <a:lnTo>
                    <a:pt x="2163" y="960"/>
                  </a:lnTo>
                  <a:lnTo>
                    <a:pt x="2161" y="965"/>
                  </a:lnTo>
                  <a:lnTo>
                    <a:pt x="2161" y="966"/>
                  </a:lnTo>
                  <a:lnTo>
                    <a:pt x="2159" y="972"/>
                  </a:lnTo>
                  <a:lnTo>
                    <a:pt x="2158" y="974"/>
                  </a:lnTo>
                  <a:lnTo>
                    <a:pt x="2159" y="975"/>
                  </a:lnTo>
                  <a:lnTo>
                    <a:pt x="2164" y="974"/>
                  </a:lnTo>
                  <a:lnTo>
                    <a:pt x="2167" y="974"/>
                  </a:lnTo>
                  <a:lnTo>
                    <a:pt x="2167" y="975"/>
                  </a:lnTo>
                  <a:lnTo>
                    <a:pt x="2169" y="979"/>
                  </a:lnTo>
                  <a:lnTo>
                    <a:pt x="2172" y="984"/>
                  </a:lnTo>
                  <a:lnTo>
                    <a:pt x="2175" y="987"/>
                  </a:lnTo>
                  <a:lnTo>
                    <a:pt x="2176" y="990"/>
                  </a:lnTo>
                  <a:lnTo>
                    <a:pt x="2181" y="996"/>
                  </a:lnTo>
                  <a:lnTo>
                    <a:pt x="2183" y="999"/>
                  </a:lnTo>
                  <a:lnTo>
                    <a:pt x="2183" y="1000"/>
                  </a:lnTo>
                  <a:lnTo>
                    <a:pt x="2185" y="1004"/>
                  </a:lnTo>
                  <a:lnTo>
                    <a:pt x="2188" y="1006"/>
                  </a:lnTo>
                  <a:lnTo>
                    <a:pt x="2186" y="1006"/>
                  </a:lnTo>
                  <a:lnTo>
                    <a:pt x="2190" y="1009"/>
                  </a:lnTo>
                  <a:lnTo>
                    <a:pt x="2191" y="1011"/>
                  </a:lnTo>
                  <a:lnTo>
                    <a:pt x="2193" y="1015"/>
                  </a:lnTo>
                  <a:lnTo>
                    <a:pt x="2194" y="1017"/>
                  </a:lnTo>
                  <a:lnTo>
                    <a:pt x="2195" y="1019"/>
                  </a:lnTo>
                  <a:lnTo>
                    <a:pt x="2193" y="1022"/>
                  </a:lnTo>
                  <a:lnTo>
                    <a:pt x="2195" y="1025"/>
                  </a:lnTo>
                  <a:lnTo>
                    <a:pt x="2198" y="1028"/>
                  </a:lnTo>
                  <a:lnTo>
                    <a:pt x="2201" y="1030"/>
                  </a:lnTo>
                  <a:lnTo>
                    <a:pt x="2203" y="1032"/>
                  </a:lnTo>
                  <a:lnTo>
                    <a:pt x="2207" y="1034"/>
                  </a:lnTo>
                  <a:lnTo>
                    <a:pt x="2211" y="1036"/>
                  </a:lnTo>
                  <a:lnTo>
                    <a:pt x="2212" y="1040"/>
                  </a:lnTo>
                  <a:lnTo>
                    <a:pt x="2215" y="1042"/>
                  </a:lnTo>
                  <a:lnTo>
                    <a:pt x="2215" y="1045"/>
                  </a:lnTo>
                  <a:lnTo>
                    <a:pt x="2216" y="1048"/>
                  </a:lnTo>
                  <a:lnTo>
                    <a:pt x="2218" y="1050"/>
                  </a:lnTo>
                  <a:lnTo>
                    <a:pt x="2219" y="1053"/>
                  </a:lnTo>
                  <a:lnTo>
                    <a:pt x="2219" y="1054"/>
                  </a:lnTo>
                  <a:lnTo>
                    <a:pt x="2220" y="1058"/>
                  </a:lnTo>
                  <a:lnTo>
                    <a:pt x="2219" y="1060"/>
                  </a:lnTo>
                  <a:lnTo>
                    <a:pt x="2219" y="1062"/>
                  </a:lnTo>
                  <a:lnTo>
                    <a:pt x="2219" y="1066"/>
                  </a:lnTo>
                  <a:lnTo>
                    <a:pt x="2220" y="1068"/>
                  </a:lnTo>
                  <a:lnTo>
                    <a:pt x="2221" y="1071"/>
                  </a:lnTo>
                  <a:lnTo>
                    <a:pt x="2220" y="1074"/>
                  </a:lnTo>
                  <a:lnTo>
                    <a:pt x="2221" y="1076"/>
                  </a:lnTo>
                  <a:lnTo>
                    <a:pt x="2224" y="1079"/>
                  </a:lnTo>
                  <a:lnTo>
                    <a:pt x="2227" y="1084"/>
                  </a:lnTo>
                  <a:lnTo>
                    <a:pt x="2231" y="1086"/>
                  </a:lnTo>
                  <a:lnTo>
                    <a:pt x="2235" y="1088"/>
                  </a:lnTo>
                  <a:lnTo>
                    <a:pt x="2237" y="1091"/>
                  </a:lnTo>
                  <a:lnTo>
                    <a:pt x="2243" y="1096"/>
                  </a:lnTo>
                  <a:lnTo>
                    <a:pt x="2249" y="1104"/>
                  </a:lnTo>
                  <a:lnTo>
                    <a:pt x="2250" y="1110"/>
                  </a:lnTo>
                  <a:lnTo>
                    <a:pt x="2250" y="1111"/>
                  </a:lnTo>
                  <a:lnTo>
                    <a:pt x="2252" y="1113"/>
                  </a:lnTo>
                  <a:lnTo>
                    <a:pt x="2253" y="1117"/>
                  </a:lnTo>
                  <a:lnTo>
                    <a:pt x="2254" y="1118"/>
                  </a:lnTo>
                  <a:lnTo>
                    <a:pt x="2255" y="1120"/>
                  </a:lnTo>
                  <a:lnTo>
                    <a:pt x="2259" y="1122"/>
                  </a:lnTo>
                  <a:lnTo>
                    <a:pt x="2261" y="1125"/>
                  </a:lnTo>
                  <a:lnTo>
                    <a:pt x="2263" y="1127"/>
                  </a:lnTo>
                  <a:lnTo>
                    <a:pt x="2265" y="1133"/>
                  </a:lnTo>
                  <a:lnTo>
                    <a:pt x="2266" y="1133"/>
                  </a:lnTo>
                  <a:lnTo>
                    <a:pt x="2267" y="1136"/>
                  </a:lnTo>
                  <a:lnTo>
                    <a:pt x="2270" y="1138"/>
                  </a:lnTo>
                  <a:lnTo>
                    <a:pt x="2271" y="1147"/>
                  </a:lnTo>
                  <a:lnTo>
                    <a:pt x="2270" y="1150"/>
                  </a:lnTo>
                  <a:lnTo>
                    <a:pt x="2269" y="1153"/>
                  </a:lnTo>
                  <a:lnTo>
                    <a:pt x="2270" y="1155"/>
                  </a:lnTo>
                  <a:lnTo>
                    <a:pt x="2271" y="1159"/>
                  </a:lnTo>
                  <a:lnTo>
                    <a:pt x="2268" y="1159"/>
                  </a:lnTo>
                  <a:lnTo>
                    <a:pt x="2268" y="1159"/>
                  </a:lnTo>
                  <a:lnTo>
                    <a:pt x="2271" y="1160"/>
                  </a:lnTo>
                  <a:lnTo>
                    <a:pt x="2272" y="1162"/>
                  </a:lnTo>
                  <a:lnTo>
                    <a:pt x="2272" y="1164"/>
                  </a:lnTo>
                  <a:lnTo>
                    <a:pt x="2274" y="1167"/>
                  </a:lnTo>
                  <a:lnTo>
                    <a:pt x="2274" y="1170"/>
                  </a:lnTo>
                  <a:lnTo>
                    <a:pt x="2275" y="1172"/>
                  </a:lnTo>
                  <a:lnTo>
                    <a:pt x="2275" y="1176"/>
                  </a:lnTo>
                  <a:lnTo>
                    <a:pt x="2277" y="1178"/>
                  </a:lnTo>
                  <a:lnTo>
                    <a:pt x="2277" y="1180"/>
                  </a:lnTo>
                  <a:lnTo>
                    <a:pt x="2277" y="1181"/>
                  </a:lnTo>
                  <a:lnTo>
                    <a:pt x="2277" y="1184"/>
                  </a:lnTo>
                  <a:lnTo>
                    <a:pt x="2277" y="1187"/>
                  </a:lnTo>
                  <a:lnTo>
                    <a:pt x="2280" y="1193"/>
                  </a:lnTo>
                  <a:lnTo>
                    <a:pt x="2280" y="1194"/>
                  </a:lnTo>
                  <a:lnTo>
                    <a:pt x="2284" y="1194"/>
                  </a:lnTo>
                  <a:lnTo>
                    <a:pt x="2286" y="1195"/>
                  </a:lnTo>
                  <a:lnTo>
                    <a:pt x="2292" y="1195"/>
                  </a:lnTo>
                  <a:lnTo>
                    <a:pt x="2294" y="1193"/>
                  </a:lnTo>
                  <a:lnTo>
                    <a:pt x="2297" y="1193"/>
                  </a:lnTo>
                  <a:lnTo>
                    <a:pt x="2300" y="1194"/>
                  </a:lnTo>
                  <a:lnTo>
                    <a:pt x="2300" y="1193"/>
                  </a:lnTo>
                  <a:lnTo>
                    <a:pt x="2301" y="1193"/>
                  </a:lnTo>
                  <a:lnTo>
                    <a:pt x="2301" y="1191"/>
                  </a:lnTo>
                  <a:lnTo>
                    <a:pt x="2301" y="1193"/>
                  </a:lnTo>
                  <a:lnTo>
                    <a:pt x="2301" y="1193"/>
                  </a:lnTo>
                  <a:lnTo>
                    <a:pt x="2301" y="1193"/>
                  </a:lnTo>
                  <a:lnTo>
                    <a:pt x="2302" y="1190"/>
                  </a:lnTo>
                  <a:lnTo>
                    <a:pt x="2305" y="1189"/>
                  </a:lnTo>
                  <a:lnTo>
                    <a:pt x="2309" y="1187"/>
                  </a:lnTo>
                  <a:lnTo>
                    <a:pt x="2311" y="1185"/>
                  </a:lnTo>
                  <a:lnTo>
                    <a:pt x="2313" y="1185"/>
                  </a:lnTo>
                  <a:lnTo>
                    <a:pt x="2317" y="1185"/>
                  </a:lnTo>
                  <a:lnTo>
                    <a:pt x="2319" y="1184"/>
                  </a:lnTo>
                  <a:lnTo>
                    <a:pt x="2321" y="1184"/>
                  </a:lnTo>
                  <a:lnTo>
                    <a:pt x="2325" y="1184"/>
                  </a:lnTo>
                  <a:lnTo>
                    <a:pt x="2327" y="1182"/>
                  </a:lnTo>
                  <a:lnTo>
                    <a:pt x="2330" y="1181"/>
                  </a:lnTo>
                  <a:lnTo>
                    <a:pt x="2333" y="1181"/>
                  </a:lnTo>
                  <a:lnTo>
                    <a:pt x="2335" y="1180"/>
                  </a:lnTo>
                  <a:lnTo>
                    <a:pt x="2337" y="1178"/>
                  </a:lnTo>
                  <a:lnTo>
                    <a:pt x="2340" y="1177"/>
                  </a:lnTo>
                  <a:lnTo>
                    <a:pt x="2343" y="1176"/>
                  </a:lnTo>
                  <a:lnTo>
                    <a:pt x="2345" y="1176"/>
                  </a:lnTo>
                  <a:lnTo>
                    <a:pt x="2348" y="1176"/>
                  </a:lnTo>
                  <a:lnTo>
                    <a:pt x="2349" y="1176"/>
                  </a:lnTo>
                  <a:lnTo>
                    <a:pt x="2351" y="1176"/>
                  </a:lnTo>
                  <a:lnTo>
                    <a:pt x="2354" y="1173"/>
                  </a:lnTo>
                  <a:lnTo>
                    <a:pt x="2356" y="1170"/>
                  </a:lnTo>
                  <a:lnTo>
                    <a:pt x="2359" y="1168"/>
                  </a:lnTo>
                  <a:lnTo>
                    <a:pt x="2364" y="1165"/>
                  </a:lnTo>
                  <a:lnTo>
                    <a:pt x="2366" y="1164"/>
                  </a:lnTo>
                  <a:lnTo>
                    <a:pt x="2369" y="1164"/>
                  </a:lnTo>
                  <a:lnTo>
                    <a:pt x="2372" y="1164"/>
                  </a:lnTo>
                  <a:lnTo>
                    <a:pt x="2378" y="1161"/>
                  </a:lnTo>
                  <a:lnTo>
                    <a:pt x="2379" y="1161"/>
                  </a:lnTo>
                  <a:lnTo>
                    <a:pt x="2382" y="1160"/>
                  </a:lnTo>
                  <a:lnTo>
                    <a:pt x="2385" y="1160"/>
                  </a:lnTo>
                  <a:lnTo>
                    <a:pt x="2385" y="1160"/>
                  </a:lnTo>
                  <a:lnTo>
                    <a:pt x="2388" y="1159"/>
                  </a:lnTo>
                  <a:lnTo>
                    <a:pt x="2390" y="1158"/>
                  </a:lnTo>
                  <a:lnTo>
                    <a:pt x="2391" y="1156"/>
                  </a:lnTo>
                  <a:lnTo>
                    <a:pt x="2396" y="1154"/>
                  </a:lnTo>
                  <a:lnTo>
                    <a:pt x="2398" y="1154"/>
                  </a:lnTo>
                  <a:lnTo>
                    <a:pt x="2399" y="1152"/>
                  </a:lnTo>
                  <a:lnTo>
                    <a:pt x="2399" y="1148"/>
                  </a:lnTo>
                  <a:lnTo>
                    <a:pt x="2399" y="1146"/>
                  </a:lnTo>
                  <a:lnTo>
                    <a:pt x="2400" y="1145"/>
                  </a:lnTo>
                  <a:lnTo>
                    <a:pt x="2403" y="1142"/>
                  </a:lnTo>
                  <a:lnTo>
                    <a:pt x="2404" y="1142"/>
                  </a:lnTo>
                  <a:lnTo>
                    <a:pt x="2410" y="1139"/>
                  </a:lnTo>
                  <a:lnTo>
                    <a:pt x="2411" y="1139"/>
                  </a:lnTo>
                  <a:lnTo>
                    <a:pt x="2412" y="1139"/>
                  </a:lnTo>
                  <a:lnTo>
                    <a:pt x="2412" y="1138"/>
                  </a:lnTo>
                  <a:lnTo>
                    <a:pt x="2415" y="1137"/>
                  </a:lnTo>
                  <a:lnTo>
                    <a:pt x="2417" y="1137"/>
                  </a:lnTo>
                  <a:lnTo>
                    <a:pt x="2420" y="1136"/>
                  </a:lnTo>
                  <a:lnTo>
                    <a:pt x="2423" y="1135"/>
                  </a:lnTo>
                  <a:lnTo>
                    <a:pt x="2425" y="1134"/>
                  </a:lnTo>
                  <a:lnTo>
                    <a:pt x="2425" y="1134"/>
                  </a:lnTo>
                  <a:lnTo>
                    <a:pt x="2431" y="1133"/>
                  </a:lnTo>
                  <a:lnTo>
                    <a:pt x="2434" y="1134"/>
                  </a:lnTo>
                  <a:lnTo>
                    <a:pt x="2437" y="1134"/>
                  </a:lnTo>
                  <a:lnTo>
                    <a:pt x="2439" y="1133"/>
                  </a:lnTo>
                  <a:lnTo>
                    <a:pt x="2441" y="1131"/>
                  </a:lnTo>
                  <a:lnTo>
                    <a:pt x="2442" y="1128"/>
                  </a:lnTo>
                  <a:lnTo>
                    <a:pt x="2441" y="1126"/>
                  </a:lnTo>
                  <a:lnTo>
                    <a:pt x="2444" y="1124"/>
                  </a:lnTo>
                  <a:lnTo>
                    <a:pt x="2446" y="1121"/>
                  </a:lnTo>
                  <a:lnTo>
                    <a:pt x="2456" y="1120"/>
                  </a:lnTo>
                  <a:lnTo>
                    <a:pt x="2458" y="1118"/>
                  </a:lnTo>
                  <a:lnTo>
                    <a:pt x="2459" y="1116"/>
                  </a:lnTo>
                  <a:lnTo>
                    <a:pt x="2461" y="1112"/>
                  </a:lnTo>
                  <a:lnTo>
                    <a:pt x="2462" y="1110"/>
                  </a:lnTo>
                  <a:lnTo>
                    <a:pt x="2463" y="1109"/>
                  </a:lnTo>
                  <a:lnTo>
                    <a:pt x="2468" y="1107"/>
                  </a:lnTo>
                  <a:lnTo>
                    <a:pt x="2472" y="1107"/>
                  </a:lnTo>
                  <a:lnTo>
                    <a:pt x="2473" y="1107"/>
                  </a:lnTo>
                  <a:lnTo>
                    <a:pt x="2476" y="1105"/>
                  </a:lnTo>
                  <a:lnTo>
                    <a:pt x="2476" y="1103"/>
                  </a:lnTo>
                  <a:lnTo>
                    <a:pt x="2476" y="1101"/>
                  </a:lnTo>
                  <a:lnTo>
                    <a:pt x="2475" y="1097"/>
                  </a:lnTo>
                  <a:lnTo>
                    <a:pt x="2475" y="1096"/>
                  </a:lnTo>
                  <a:lnTo>
                    <a:pt x="2476" y="1093"/>
                  </a:lnTo>
                  <a:lnTo>
                    <a:pt x="2476" y="1091"/>
                  </a:lnTo>
                  <a:lnTo>
                    <a:pt x="2476" y="1088"/>
                  </a:lnTo>
                  <a:lnTo>
                    <a:pt x="2480" y="1083"/>
                  </a:lnTo>
                  <a:lnTo>
                    <a:pt x="2482" y="1086"/>
                  </a:lnTo>
                  <a:lnTo>
                    <a:pt x="2485" y="1086"/>
                  </a:lnTo>
                  <a:lnTo>
                    <a:pt x="2487" y="1083"/>
                  </a:lnTo>
                  <a:lnTo>
                    <a:pt x="2489" y="1081"/>
                  </a:lnTo>
                  <a:lnTo>
                    <a:pt x="2491" y="1075"/>
                  </a:lnTo>
                  <a:lnTo>
                    <a:pt x="2494" y="1073"/>
                  </a:lnTo>
                  <a:lnTo>
                    <a:pt x="2497" y="1071"/>
                  </a:lnTo>
                  <a:lnTo>
                    <a:pt x="2499" y="1068"/>
                  </a:lnTo>
                  <a:lnTo>
                    <a:pt x="2500" y="1066"/>
                  </a:lnTo>
                  <a:lnTo>
                    <a:pt x="2501" y="1062"/>
                  </a:lnTo>
                  <a:lnTo>
                    <a:pt x="2504" y="1060"/>
                  </a:lnTo>
                  <a:lnTo>
                    <a:pt x="2504" y="1059"/>
                  </a:lnTo>
                  <a:lnTo>
                    <a:pt x="2505" y="1057"/>
                  </a:lnTo>
                  <a:lnTo>
                    <a:pt x="2504" y="1054"/>
                  </a:lnTo>
                  <a:lnTo>
                    <a:pt x="2501" y="1054"/>
                  </a:lnTo>
                  <a:lnTo>
                    <a:pt x="2498" y="1053"/>
                  </a:lnTo>
                  <a:lnTo>
                    <a:pt x="2497" y="1050"/>
                  </a:lnTo>
                  <a:lnTo>
                    <a:pt x="2493" y="1048"/>
                  </a:lnTo>
                  <a:lnTo>
                    <a:pt x="2492" y="1045"/>
                  </a:lnTo>
                  <a:lnTo>
                    <a:pt x="2490" y="1042"/>
                  </a:lnTo>
                  <a:lnTo>
                    <a:pt x="2488" y="1040"/>
                  </a:lnTo>
                  <a:lnTo>
                    <a:pt x="2482" y="1039"/>
                  </a:lnTo>
                  <a:lnTo>
                    <a:pt x="2480" y="1037"/>
                  </a:lnTo>
                  <a:lnTo>
                    <a:pt x="2476" y="1037"/>
                  </a:lnTo>
                  <a:lnTo>
                    <a:pt x="2473" y="1036"/>
                  </a:lnTo>
                  <a:lnTo>
                    <a:pt x="2472" y="1036"/>
                  </a:lnTo>
                  <a:lnTo>
                    <a:pt x="2468" y="1035"/>
                  </a:lnTo>
                  <a:lnTo>
                    <a:pt x="2466" y="1034"/>
                  </a:lnTo>
                  <a:lnTo>
                    <a:pt x="2464" y="1031"/>
                  </a:lnTo>
                  <a:lnTo>
                    <a:pt x="2462" y="1028"/>
                  </a:lnTo>
                  <a:lnTo>
                    <a:pt x="2459" y="1026"/>
                  </a:lnTo>
                  <a:lnTo>
                    <a:pt x="2458" y="1023"/>
                  </a:lnTo>
                  <a:lnTo>
                    <a:pt x="2457" y="1020"/>
                  </a:lnTo>
                  <a:lnTo>
                    <a:pt x="2457" y="1019"/>
                  </a:lnTo>
                  <a:lnTo>
                    <a:pt x="2457" y="1019"/>
                  </a:lnTo>
                  <a:lnTo>
                    <a:pt x="2456" y="1018"/>
                  </a:lnTo>
                  <a:lnTo>
                    <a:pt x="2457" y="1015"/>
                  </a:lnTo>
                  <a:lnTo>
                    <a:pt x="2457" y="1015"/>
                  </a:lnTo>
                  <a:lnTo>
                    <a:pt x="2456" y="1010"/>
                  </a:lnTo>
                  <a:lnTo>
                    <a:pt x="2455" y="1010"/>
                  </a:lnTo>
                  <a:lnTo>
                    <a:pt x="2457" y="1005"/>
                  </a:lnTo>
                  <a:lnTo>
                    <a:pt x="2456" y="1001"/>
                  </a:lnTo>
                  <a:lnTo>
                    <a:pt x="2457" y="999"/>
                  </a:lnTo>
                  <a:lnTo>
                    <a:pt x="2456" y="999"/>
                  </a:lnTo>
                  <a:lnTo>
                    <a:pt x="2455" y="1001"/>
                  </a:lnTo>
                  <a:lnTo>
                    <a:pt x="2453" y="1004"/>
                  </a:lnTo>
                  <a:lnTo>
                    <a:pt x="2451" y="1006"/>
                  </a:lnTo>
                  <a:lnTo>
                    <a:pt x="2446" y="1011"/>
                  </a:lnTo>
                  <a:lnTo>
                    <a:pt x="2446" y="1010"/>
                  </a:lnTo>
                  <a:lnTo>
                    <a:pt x="2445" y="1011"/>
                  </a:lnTo>
                  <a:lnTo>
                    <a:pt x="2445" y="1011"/>
                  </a:lnTo>
                  <a:lnTo>
                    <a:pt x="2445" y="1013"/>
                  </a:lnTo>
                  <a:lnTo>
                    <a:pt x="2442" y="1015"/>
                  </a:lnTo>
                  <a:lnTo>
                    <a:pt x="2442" y="1015"/>
                  </a:lnTo>
                  <a:lnTo>
                    <a:pt x="2442" y="1016"/>
                  </a:lnTo>
                  <a:lnTo>
                    <a:pt x="2442" y="1016"/>
                  </a:lnTo>
                  <a:lnTo>
                    <a:pt x="2439" y="1018"/>
                  </a:lnTo>
                  <a:lnTo>
                    <a:pt x="2438" y="1019"/>
                  </a:lnTo>
                  <a:lnTo>
                    <a:pt x="2438" y="1019"/>
                  </a:lnTo>
                  <a:lnTo>
                    <a:pt x="2438" y="1019"/>
                  </a:lnTo>
                  <a:lnTo>
                    <a:pt x="2438" y="1019"/>
                  </a:lnTo>
                  <a:lnTo>
                    <a:pt x="2436" y="1022"/>
                  </a:lnTo>
                  <a:lnTo>
                    <a:pt x="2433" y="1024"/>
                  </a:lnTo>
                  <a:lnTo>
                    <a:pt x="2432" y="1026"/>
                  </a:lnTo>
                  <a:lnTo>
                    <a:pt x="2428" y="1031"/>
                  </a:lnTo>
                  <a:lnTo>
                    <a:pt x="2425" y="1030"/>
                  </a:lnTo>
                  <a:lnTo>
                    <a:pt x="2425" y="1030"/>
                  </a:lnTo>
                  <a:lnTo>
                    <a:pt x="2425" y="1030"/>
                  </a:lnTo>
                  <a:lnTo>
                    <a:pt x="2423" y="1033"/>
                  </a:lnTo>
                  <a:lnTo>
                    <a:pt x="2420" y="1033"/>
                  </a:lnTo>
                  <a:lnTo>
                    <a:pt x="2417" y="1032"/>
                  </a:lnTo>
                  <a:lnTo>
                    <a:pt x="2416" y="1032"/>
                  </a:lnTo>
                  <a:lnTo>
                    <a:pt x="2412" y="1032"/>
                  </a:lnTo>
                  <a:lnTo>
                    <a:pt x="2411" y="1032"/>
                  </a:lnTo>
                  <a:lnTo>
                    <a:pt x="2408" y="1032"/>
                  </a:lnTo>
                  <a:lnTo>
                    <a:pt x="2407" y="1032"/>
                  </a:lnTo>
                  <a:lnTo>
                    <a:pt x="2405" y="1031"/>
                  </a:lnTo>
                  <a:lnTo>
                    <a:pt x="2403" y="1033"/>
                  </a:lnTo>
                  <a:lnTo>
                    <a:pt x="2396" y="1034"/>
                  </a:lnTo>
                  <a:lnTo>
                    <a:pt x="2394" y="1033"/>
                  </a:lnTo>
                  <a:lnTo>
                    <a:pt x="2394" y="1031"/>
                  </a:lnTo>
                  <a:lnTo>
                    <a:pt x="2391" y="1028"/>
                  </a:lnTo>
                  <a:lnTo>
                    <a:pt x="2391" y="1030"/>
                  </a:lnTo>
                  <a:lnTo>
                    <a:pt x="2388" y="1030"/>
                  </a:lnTo>
                  <a:lnTo>
                    <a:pt x="2388" y="1030"/>
                  </a:lnTo>
                  <a:lnTo>
                    <a:pt x="2388" y="1027"/>
                  </a:lnTo>
                  <a:lnTo>
                    <a:pt x="2387" y="1026"/>
                  </a:lnTo>
                  <a:lnTo>
                    <a:pt x="2386" y="1025"/>
                  </a:lnTo>
                  <a:lnTo>
                    <a:pt x="2389" y="1024"/>
                  </a:lnTo>
                  <a:lnTo>
                    <a:pt x="2389" y="1023"/>
                  </a:lnTo>
                  <a:lnTo>
                    <a:pt x="2389" y="1023"/>
                  </a:lnTo>
                  <a:lnTo>
                    <a:pt x="2391" y="1019"/>
                  </a:lnTo>
                  <a:lnTo>
                    <a:pt x="2391" y="1018"/>
                  </a:lnTo>
                  <a:lnTo>
                    <a:pt x="2391" y="1018"/>
                  </a:lnTo>
                  <a:lnTo>
                    <a:pt x="2391" y="1017"/>
                  </a:lnTo>
                  <a:lnTo>
                    <a:pt x="2391" y="1016"/>
                  </a:lnTo>
                  <a:lnTo>
                    <a:pt x="2390" y="1014"/>
                  </a:lnTo>
                  <a:lnTo>
                    <a:pt x="2389" y="1011"/>
                  </a:lnTo>
                  <a:lnTo>
                    <a:pt x="2391" y="1009"/>
                  </a:lnTo>
                  <a:lnTo>
                    <a:pt x="2391" y="1006"/>
                  </a:lnTo>
                  <a:lnTo>
                    <a:pt x="2390" y="1006"/>
                  </a:lnTo>
                  <a:lnTo>
                    <a:pt x="2389" y="1006"/>
                  </a:lnTo>
                  <a:lnTo>
                    <a:pt x="2388" y="1004"/>
                  </a:lnTo>
                  <a:lnTo>
                    <a:pt x="2385" y="1004"/>
                  </a:lnTo>
                  <a:lnTo>
                    <a:pt x="2382" y="1006"/>
                  </a:lnTo>
                  <a:lnTo>
                    <a:pt x="2382" y="1007"/>
                  </a:lnTo>
                  <a:lnTo>
                    <a:pt x="2381" y="1009"/>
                  </a:lnTo>
                  <a:lnTo>
                    <a:pt x="2381" y="1011"/>
                  </a:lnTo>
                  <a:lnTo>
                    <a:pt x="2380" y="1011"/>
                  </a:lnTo>
                  <a:lnTo>
                    <a:pt x="2380" y="1011"/>
                  </a:lnTo>
                  <a:lnTo>
                    <a:pt x="2380" y="1017"/>
                  </a:lnTo>
                  <a:lnTo>
                    <a:pt x="2381" y="1022"/>
                  </a:lnTo>
                  <a:lnTo>
                    <a:pt x="2381" y="1023"/>
                  </a:lnTo>
                  <a:lnTo>
                    <a:pt x="2380" y="1023"/>
                  </a:lnTo>
                  <a:lnTo>
                    <a:pt x="2380" y="1023"/>
                  </a:lnTo>
                  <a:lnTo>
                    <a:pt x="2379" y="1019"/>
                  </a:lnTo>
                  <a:lnTo>
                    <a:pt x="2378" y="1019"/>
                  </a:lnTo>
                  <a:lnTo>
                    <a:pt x="2378" y="1019"/>
                  </a:lnTo>
                  <a:lnTo>
                    <a:pt x="2376" y="1014"/>
                  </a:lnTo>
                  <a:lnTo>
                    <a:pt x="2371" y="1008"/>
                  </a:lnTo>
                  <a:lnTo>
                    <a:pt x="2371" y="1006"/>
                  </a:lnTo>
                  <a:lnTo>
                    <a:pt x="2370" y="1005"/>
                  </a:lnTo>
                  <a:lnTo>
                    <a:pt x="2369" y="1005"/>
                  </a:lnTo>
                  <a:lnTo>
                    <a:pt x="2369" y="1005"/>
                  </a:lnTo>
                  <a:lnTo>
                    <a:pt x="2370" y="1004"/>
                  </a:lnTo>
                  <a:lnTo>
                    <a:pt x="2370" y="1002"/>
                  </a:lnTo>
                  <a:lnTo>
                    <a:pt x="2372" y="1002"/>
                  </a:lnTo>
                  <a:lnTo>
                    <a:pt x="2372" y="1001"/>
                  </a:lnTo>
                  <a:lnTo>
                    <a:pt x="2372" y="1001"/>
                  </a:lnTo>
                  <a:lnTo>
                    <a:pt x="2371" y="998"/>
                  </a:lnTo>
                  <a:lnTo>
                    <a:pt x="2370" y="997"/>
                  </a:lnTo>
                  <a:lnTo>
                    <a:pt x="2370" y="994"/>
                  </a:lnTo>
                  <a:lnTo>
                    <a:pt x="2369" y="994"/>
                  </a:lnTo>
                  <a:lnTo>
                    <a:pt x="2370" y="993"/>
                  </a:lnTo>
                  <a:lnTo>
                    <a:pt x="2370" y="994"/>
                  </a:lnTo>
                  <a:lnTo>
                    <a:pt x="2370" y="994"/>
                  </a:lnTo>
                  <a:lnTo>
                    <a:pt x="2370" y="994"/>
                  </a:lnTo>
                  <a:lnTo>
                    <a:pt x="2371" y="996"/>
                  </a:lnTo>
                  <a:lnTo>
                    <a:pt x="2370" y="993"/>
                  </a:lnTo>
                  <a:lnTo>
                    <a:pt x="2370" y="993"/>
                  </a:lnTo>
                  <a:lnTo>
                    <a:pt x="2370" y="993"/>
                  </a:lnTo>
                  <a:lnTo>
                    <a:pt x="2369" y="992"/>
                  </a:lnTo>
                  <a:lnTo>
                    <a:pt x="2369" y="992"/>
                  </a:lnTo>
                  <a:lnTo>
                    <a:pt x="2369" y="992"/>
                  </a:lnTo>
                  <a:lnTo>
                    <a:pt x="2369" y="992"/>
                  </a:lnTo>
                  <a:lnTo>
                    <a:pt x="2368" y="992"/>
                  </a:lnTo>
                  <a:lnTo>
                    <a:pt x="2364" y="990"/>
                  </a:lnTo>
                  <a:lnTo>
                    <a:pt x="2364" y="990"/>
                  </a:lnTo>
                  <a:lnTo>
                    <a:pt x="2364" y="990"/>
                  </a:lnTo>
                  <a:lnTo>
                    <a:pt x="2363" y="988"/>
                  </a:lnTo>
                  <a:lnTo>
                    <a:pt x="2363" y="988"/>
                  </a:lnTo>
                  <a:lnTo>
                    <a:pt x="2361" y="988"/>
                  </a:lnTo>
                  <a:lnTo>
                    <a:pt x="2361" y="987"/>
                  </a:lnTo>
                  <a:lnTo>
                    <a:pt x="2360" y="987"/>
                  </a:lnTo>
                  <a:lnTo>
                    <a:pt x="2357" y="983"/>
                  </a:lnTo>
                  <a:lnTo>
                    <a:pt x="2357" y="982"/>
                  </a:lnTo>
                  <a:lnTo>
                    <a:pt x="2356" y="982"/>
                  </a:lnTo>
                  <a:lnTo>
                    <a:pt x="2356" y="982"/>
                  </a:lnTo>
                  <a:lnTo>
                    <a:pt x="2356" y="981"/>
                  </a:lnTo>
                  <a:lnTo>
                    <a:pt x="2355" y="981"/>
                  </a:lnTo>
                  <a:lnTo>
                    <a:pt x="2354" y="981"/>
                  </a:lnTo>
                  <a:lnTo>
                    <a:pt x="2354" y="981"/>
                  </a:lnTo>
                  <a:lnTo>
                    <a:pt x="2353" y="981"/>
                  </a:lnTo>
                  <a:lnTo>
                    <a:pt x="2353" y="979"/>
                  </a:lnTo>
                  <a:lnTo>
                    <a:pt x="2354" y="979"/>
                  </a:lnTo>
                  <a:lnTo>
                    <a:pt x="2354" y="979"/>
                  </a:lnTo>
                  <a:lnTo>
                    <a:pt x="2354" y="979"/>
                  </a:lnTo>
                  <a:lnTo>
                    <a:pt x="2354" y="977"/>
                  </a:lnTo>
                  <a:lnTo>
                    <a:pt x="2353" y="976"/>
                  </a:lnTo>
                  <a:lnTo>
                    <a:pt x="2353" y="975"/>
                  </a:lnTo>
                  <a:lnTo>
                    <a:pt x="2352" y="975"/>
                  </a:lnTo>
                  <a:lnTo>
                    <a:pt x="2349" y="970"/>
                  </a:lnTo>
                  <a:lnTo>
                    <a:pt x="2347" y="967"/>
                  </a:lnTo>
                  <a:lnTo>
                    <a:pt x="2347" y="964"/>
                  </a:lnTo>
                  <a:lnTo>
                    <a:pt x="2344" y="959"/>
                  </a:lnTo>
                  <a:lnTo>
                    <a:pt x="2344" y="959"/>
                  </a:lnTo>
                  <a:lnTo>
                    <a:pt x="2344" y="958"/>
                  </a:lnTo>
                  <a:lnTo>
                    <a:pt x="2343" y="956"/>
                  </a:lnTo>
                  <a:lnTo>
                    <a:pt x="2340" y="955"/>
                  </a:lnTo>
                  <a:lnTo>
                    <a:pt x="2339" y="953"/>
                  </a:lnTo>
                  <a:lnTo>
                    <a:pt x="2343" y="951"/>
                  </a:lnTo>
                  <a:lnTo>
                    <a:pt x="2344" y="951"/>
                  </a:lnTo>
                  <a:lnTo>
                    <a:pt x="2342" y="948"/>
                  </a:lnTo>
                  <a:lnTo>
                    <a:pt x="2342" y="947"/>
                  </a:lnTo>
                  <a:lnTo>
                    <a:pt x="2342" y="946"/>
                  </a:lnTo>
                  <a:lnTo>
                    <a:pt x="2342" y="943"/>
                  </a:lnTo>
                  <a:lnTo>
                    <a:pt x="2348" y="947"/>
                  </a:lnTo>
                  <a:lnTo>
                    <a:pt x="2349" y="946"/>
                  </a:lnTo>
                  <a:lnTo>
                    <a:pt x="2349" y="946"/>
                  </a:lnTo>
                  <a:lnTo>
                    <a:pt x="2351" y="946"/>
                  </a:lnTo>
                  <a:lnTo>
                    <a:pt x="2351" y="946"/>
                  </a:lnTo>
                  <a:lnTo>
                    <a:pt x="2351" y="945"/>
                  </a:lnTo>
                  <a:lnTo>
                    <a:pt x="2352" y="945"/>
                  </a:lnTo>
                  <a:lnTo>
                    <a:pt x="2354" y="945"/>
                  </a:lnTo>
                  <a:lnTo>
                    <a:pt x="2355" y="942"/>
                  </a:lnTo>
                  <a:lnTo>
                    <a:pt x="2354" y="940"/>
                  </a:lnTo>
                  <a:lnTo>
                    <a:pt x="2355" y="938"/>
                  </a:lnTo>
                  <a:lnTo>
                    <a:pt x="2356" y="938"/>
                  </a:lnTo>
                  <a:lnTo>
                    <a:pt x="2357" y="938"/>
                  </a:lnTo>
                  <a:lnTo>
                    <a:pt x="2355" y="940"/>
                  </a:lnTo>
                  <a:lnTo>
                    <a:pt x="2359" y="941"/>
                  </a:lnTo>
                  <a:lnTo>
                    <a:pt x="2361" y="943"/>
                  </a:lnTo>
                  <a:lnTo>
                    <a:pt x="2363" y="943"/>
                  </a:lnTo>
                  <a:lnTo>
                    <a:pt x="2363" y="945"/>
                  </a:lnTo>
                  <a:lnTo>
                    <a:pt x="2365" y="945"/>
                  </a:lnTo>
                  <a:lnTo>
                    <a:pt x="2368" y="942"/>
                  </a:lnTo>
                  <a:lnTo>
                    <a:pt x="2370" y="942"/>
                  </a:lnTo>
                  <a:lnTo>
                    <a:pt x="2370" y="942"/>
                  </a:lnTo>
                  <a:lnTo>
                    <a:pt x="2371" y="945"/>
                  </a:lnTo>
                  <a:lnTo>
                    <a:pt x="2371" y="946"/>
                  </a:lnTo>
                  <a:lnTo>
                    <a:pt x="2373" y="948"/>
                  </a:lnTo>
                  <a:lnTo>
                    <a:pt x="2373" y="948"/>
                  </a:lnTo>
                  <a:lnTo>
                    <a:pt x="2376" y="950"/>
                  </a:lnTo>
                  <a:lnTo>
                    <a:pt x="2376" y="951"/>
                  </a:lnTo>
                  <a:lnTo>
                    <a:pt x="2376" y="951"/>
                  </a:lnTo>
                  <a:lnTo>
                    <a:pt x="2379" y="954"/>
                  </a:lnTo>
                  <a:lnTo>
                    <a:pt x="2379" y="957"/>
                  </a:lnTo>
                  <a:lnTo>
                    <a:pt x="2378" y="958"/>
                  </a:lnTo>
                  <a:lnTo>
                    <a:pt x="2380" y="958"/>
                  </a:lnTo>
                  <a:lnTo>
                    <a:pt x="2381" y="960"/>
                  </a:lnTo>
                  <a:lnTo>
                    <a:pt x="2383" y="964"/>
                  </a:lnTo>
                  <a:lnTo>
                    <a:pt x="2385" y="966"/>
                  </a:lnTo>
                  <a:lnTo>
                    <a:pt x="2385" y="967"/>
                  </a:lnTo>
                  <a:lnTo>
                    <a:pt x="2386" y="971"/>
                  </a:lnTo>
                  <a:lnTo>
                    <a:pt x="2387" y="973"/>
                  </a:lnTo>
                  <a:lnTo>
                    <a:pt x="2388" y="975"/>
                  </a:lnTo>
                  <a:lnTo>
                    <a:pt x="2391" y="977"/>
                  </a:lnTo>
                  <a:lnTo>
                    <a:pt x="2394" y="977"/>
                  </a:lnTo>
                  <a:lnTo>
                    <a:pt x="2397" y="977"/>
                  </a:lnTo>
                  <a:lnTo>
                    <a:pt x="2399" y="980"/>
                  </a:lnTo>
                  <a:lnTo>
                    <a:pt x="2402" y="981"/>
                  </a:lnTo>
                  <a:lnTo>
                    <a:pt x="2405" y="982"/>
                  </a:lnTo>
                  <a:lnTo>
                    <a:pt x="2406" y="985"/>
                  </a:lnTo>
                  <a:lnTo>
                    <a:pt x="2408" y="987"/>
                  </a:lnTo>
                  <a:lnTo>
                    <a:pt x="2411" y="989"/>
                  </a:lnTo>
                  <a:lnTo>
                    <a:pt x="2414" y="989"/>
                  </a:lnTo>
                  <a:lnTo>
                    <a:pt x="2416" y="990"/>
                  </a:lnTo>
                  <a:lnTo>
                    <a:pt x="2416" y="991"/>
                  </a:lnTo>
                  <a:lnTo>
                    <a:pt x="2419" y="993"/>
                  </a:lnTo>
                  <a:lnTo>
                    <a:pt x="2422" y="994"/>
                  </a:lnTo>
                  <a:lnTo>
                    <a:pt x="2424" y="993"/>
                  </a:lnTo>
                  <a:lnTo>
                    <a:pt x="2427" y="994"/>
                  </a:lnTo>
                  <a:lnTo>
                    <a:pt x="2430" y="996"/>
                  </a:lnTo>
                  <a:lnTo>
                    <a:pt x="2432" y="997"/>
                  </a:lnTo>
                  <a:lnTo>
                    <a:pt x="2436" y="997"/>
                  </a:lnTo>
                  <a:lnTo>
                    <a:pt x="2438" y="996"/>
                  </a:lnTo>
                  <a:lnTo>
                    <a:pt x="2439" y="996"/>
                  </a:lnTo>
                  <a:lnTo>
                    <a:pt x="2441" y="993"/>
                  </a:lnTo>
                  <a:lnTo>
                    <a:pt x="2444" y="993"/>
                  </a:lnTo>
                  <a:lnTo>
                    <a:pt x="2446" y="991"/>
                  </a:lnTo>
                  <a:lnTo>
                    <a:pt x="2446" y="991"/>
                  </a:lnTo>
                  <a:lnTo>
                    <a:pt x="2448" y="990"/>
                  </a:lnTo>
                  <a:lnTo>
                    <a:pt x="2449" y="990"/>
                  </a:lnTo>
                  <a:lnTo>
                    <a:pt x="2451" y="989"/>
                  </a:lnTo>
                  <a:lnTo>
                    <a:pt x="2454" y="988"/>
                  </a:lnTo>
                  <a:lnTo>
                    <a:pt x="2457" y="988"/>
                  </a:lnTo>
                  <a:lnTo>
                    <a:pt x="2459" y="988"/>
                  </a:lnTo>
                  <a:lnTo>
                    <a:pt x="2463" y="988"/>
                  </a:lnTo>
                  <a:lnTo>
                    <a:pt x="2463" y="989"/>
                  </a:lnTo>
                  <a:lnTo>
                    <a:pt x="2465" y="992"/>
                  </a:lnTo>
                  <a:lnTo>
                    <a:pt x="2466" y="994"/>
                  </a:lnTo>
                  <a:lnTo>
                    <a:pt x="2466" y="997"/>
                  </a:lnTo>
                  <a:lnTo>
                    <a:pt x="2467" y="1000"/>
                  </a:lnTo>
                  <a:lnTo>
                    <a:pt x="2467" y="1002"/>
                  </a:lnTo>
                  <a:lnTo>
                    <a:pt x="2468" y="1006"/>
                  </a:lnTo>
                  <a:lnTo>
                    <a:pt x="2471" y="1008"/>
                  </a:lnTo>
                  <a:lnTo>
                    <a:pt x="2473" y="1008"/>
                  </a:lnTo>
                  <a:lnTo>
                    <a:pt x="2476" y="1010"/>
                  </a:lnTo>
                  <a:lnTo>
                    <a:pt x="2477" y="1009"/>
                  </a:lnTo>
                  <a:lnTo>
                    <a:pt x="2480" y="1011"/>
                  </a:lnTo>
                  <a:lnTo>
                    <a:pt x="2483" y="1011"/>
                  </a:lnTo>
                  <a:lnTo>
                    <a:pt x="2485" y="1010"/>
                  </a:lnTo>
                  <a:lnTo>
                    <a:pt x="2488" y="1011"/>
                  </a:lnTo>
                  <a:lnTo>
                    <a:pt x="2491" y="1011"/>
                  </a:lnTo>
                  <a:lnTo>
                    <a:pt x="2493" y="1014"/>
                  </a:lnTo>
                  <a:lnTo>
                    <a:pt x="2496" y="1013"/>
                  </a:lnTo>
                  <a:lnTo>
                    <a:pt x="2498" y="1013"/>
                  </a:lnTo>
                  <a:lnTo>
                    <a:pt x="2501" y="1014"/>
                  </a:lnTo>
                  <a:lnTo>
                    <a:pt x="2504" y="1014"/>
                  </a:lnTo>
                  <a:lnTo>
                    <a:pt x="2506" y="1014"/>
                  </a:lnTo>
                  <a:lnTo>
                    <a:pt x="2509" y="1014"/>
                  </a:lnTo>
                  <a:lnTo>
                    <a:pt x="2513" y="1015"/>
                  </a:lnTo>
                  <a:lnTo>
                    <a:pt x="2514" y="1013"/>
                  </a:lnTo>
                  <a:lnTo>
                    <a:pt x="2516" y="1015"/>
                  </a:lnTo>
                  <a:lnTo>
                    <a:pt x="2518" y="1016"/>
                  </a:lnTo>
                  <a:lnTo>
                    <a:pt x="2522" y="1016"/>
                  </a:lnTo>
                  <a:lnTo>
                    <a:pt x="2524" y="1018"/>
                  </a:lnTo>
                  <a:lnTo>
                    <a:pt x="2527" y="1016"/>
                  </a:lnTo>
                  <a:lnTo>
                    <a:pt x="2528" y="1016"/>
                  </a:lnTo>
                  <a:lnTo>
                    <a:pt x="2530" y="1016"/>
                  </a:lnTo>
                  <a:lnTo>
                    <a:pt x="2530" y="1018"/>
                  </a:lnTo>
                  <a:lnTo>
                    <a:pt x="2533" y="1017"/>
                  </a:lnTo>
                  <a:lnTo>
                    <a:pt x="2535" y="1016"/>
                  </a:lnTo>
                  <a:lnTo>
                    <a:pt x="2538" y="1017"/>
                  </a:lnTo>
                  <a:lnTo>
                    <a:pt x="2541" y="1016"/>
                  </a:lnTo>
                  <a:lnTo>
                    <a:pt x="2543" y="1015"/>
                  </a:lnTo>
                  <a:lnTo>
                    <a:pt x="2545" y="1016"/>
                  </a:lnTo>
                  <a:lnTo>
                    <a:pt x="2549" y="1016"/>
                  </a:lnTo>
                  <a:lnTo>
                    <a:pt x="2555" y="1016"/>
                  </a:lnTo>
                  <a:lnTo>
                    <a:pt x="2555" y="1014"/>
                  </a:lnTo>
                  <a:lnTo>
                    <a:pt x="2558" y="1014"/>
                  </a:lnTo>
                  <a:lnTo>
                    <a:pt x="2560" y="1015"/>
                  </a:lnTo>
                  <a:lnTo>
                    <a:pt x="2562" y="1013"/>
                  </a:lnTo>
                  <a:lnTo>
                    <a:pt x="2566" y="1015"/>
                  </a:lnTo>
                  <a:lnTo>
                    <a:pt x="2568" y="1015"/>
                  </a:lnTo>
                  <a:lnTo>
                    <a:pt x="2572" y="1015"/>
                  </a:lnTo>
                  <a:lnTo>
                    <a:pt x="2577" y="1015"/>
                  </a:lnTo>
                  <a:lnTo>
                    <a:pt x="2581" y="1014"/>
                  </a:lnTo>
                  <a:lnTo>
                    <a:pt x="2584" y="1015"/>
                  </a:lnTo>
                  <a:lnTo>
                    <a:pt x="2590" y="1013"/>
                  </a:lnTo>
                  <a:lnTo>
                    <a:pt x="2592" y="1013"/>
                  </a:lnTo>
                  <a:lnTo>
                    <a:pt x="2594" y="1013"/>
                  </a:lnTo>
                  <a:lnTo>
                    <a:pt x="2592" y="1011"/>
                  </a:lnTo>
                  <a:lnTo>
                    <a:pt x="2594" y="1010"/>
                  </a:lnTo>
                  <a:lnTo>
                    <a:pt x="2599" y="1016"/>
                  </a:lnTo>
                  <a:lnTo>
                    <a:pt x="2598" y="1019"/>
                  </a:lnTo>
                  <a:lnTo>
                    <a:pt x="2598" y="1020"/>
                  </a:lnTo>
                  <a:lnTo>
                    <a:pt x="2601" y="1022"/>
                  </a:lnTo>
                  <a:lnTo>
                    <a:pt x="2603" y="1023"/>
                  </a:lnTo>
                  <a:lnTo>
                    <a:pt x="2604" y="1025"/>
                  </a:lnTo>
                  <a:lnTo>
                    <a:pt x="2605" y="1027"/>
                  </a:lnTo>
                  <a:lnTo>
                    <a:pt x="2607" y="1032"/>
                  </a:lnTo>
                  <a:lnTo>
                    <a:pt x="2610" y="1033"/>
                  </a:lnTo>
                  <a:lnTo>
                    <a:pt x="2609" y="1034"/>
                  </a:lnTo>
                  <a:lnTo>
                    <a:pt x="2610" y="1035"/>
                  </a:lnTo>
                  <a:lnTo>
                    <a:pt x="2611" y="1035"/>
                  </a:lnTo>
                  <a:lnTo>
                    <a:pt x="2611" y="1036"/>
                  </a:lnTo>
                  <a:lnTo>
                    <a:pt x="2613" y="1035"/>
                  </a:lnTo>
                  <a:lnTo>
                    <a:pt x="2615" y="1035"/>
                  </a:lnTo>
                  <a:lnTo>
                    <a:pt x="2615" y="1035"/>
                  </a:lnTo>
                  <a:lnTo>
                    <a:pt x="2616" y="1035"/>
                  </a:lnTo>
                  <a:lnTo>
                    <a:pt x="2619" y="1037"/>
                  </a:lnTo>
                  <a:lnTo>
                    <a:pt x="2619" y="1040"/>
                  </a:lnTo>
                  <a:lnTo>
                    <a:pt x="2622" y="1037"/>
                  </a:lnTo>
                  <a:lnTo>
                    <a:pt x="2625" y="1036"/>
                  </a:lnTo>
                  <a:lnTo>
                    <a:pt x="2627" y="1036"/>
                  </a:lnTo>
                  <a:lnTo>
                    <a:pt x="2624" y="1037"/>
                  </a:lnTo>
                  <a:lnTo>
                    <a:pt x="2621" y="1040"/>
                  </a:lnTo>
                  <a:lnTo>
                    <a:pt x="2622" y="1042"/>
                  </a:lnTo>
                  <a:lnTo>
                    <a:pt x="2624" y="1044"/>
                  </a:lnTo>
                  <a:lnTo>
                    <a:pt x="2625" y="1045"/>
                  </a:lnTo>
                  <a:lnTo>
                    <a:pt x="2627" y="1048"/>
                  </a:lnTo>
                  <a:lnTo>
                    <a:pt x="2629" y="1049"/>
                  </a:lnTo>
                  <a:lnTo>
                    <a:pt x="2633" y="1050"/>
                  </a:lnTo>
                  <a:lnTo>
                    <a:pt x="2635" y="1051"/>
                  </a:lnTo>
                  <a:lnTo>
                    <a:pt x="2637" y="1052"/>
                  </a:lnTo>
                  <a:lnTo>
                    <a:pt x="2641" y="1050"/>
                  </a:lnTo>
                  <a:lnTo>
                    <a:pt x="2643" y="1050"/>
                  </a:lnTo>
                  <a:lnTo>
                    <a:pt x="2646" y="1049"/>
                  </a:lnTo>
                  <a:lnTo>
                    <a:pt x="2649" y="1049"/>
                  </a:lnTo>
                  <a:lnTo>
                    <a:pt x="2650" y="1047"/>
                  </a:lnTo>
                  <a:lnTo>
                    <a:pt x="2650" y="1049"/>
                  </a:lnTo>
                  <a:lnTo>
                    <a:pt x="2650" y="1049"/>
                  </a:lnTo>
                  <a:lnTo>
                    <a:pt x="2647" y="1051"/>
                  </a:lnTo>
                  <a:lnTo>
                    <a:pt x="2646" y="1054"/>
                  </a:lnTo>
                  <a:lnTo>
                    <a:pt x="2643" y="1054"/>
                  </a:lnTo>
                  <a:lnTo>
                    <a:pt x="2641" y="1057"/>
                  </a:lnTo>
                  <a:lnTo>
                    <a:pt x="2638" y="1058"/>
                  </a:lnTo>
                  <a:lnTo>
                    <a:pt x="2635" y="1058"/>
                  </a:lnTo>
                  <a:lnTo>
                    <a:pt x="2633" y="1059"/>
                  </a:lnTo>
                  <a:lnTo>
                    <a:pt x="2630" y="1056"/>
                  </a:lnTo>
                  <a:lnTo>
                    <a:pt x="2629" y="1058"/>
                  </a:lnTo>
                  <a:lnTo>
                    <a:pt x="2630" y="1060"/>
                  </a:lnTo>
                  <a:lnTo>
                    <a:pt x="2633" y="1062"/>
                  </a:lnTo>
                  <a:lnTo>
                    <a:pt x="2635" y="1066"/>
                  </a:lnTo>
                  <a:lnTo>
                    <a:pt x="2637" y="1068"/>
                  </a:lnTo>
                  <a:lnTo>
                    <a:pt x="2638" y="1068"/>
                  </a:lnTo>
                  <a:lnTo>
                    <a:pt x="2641" y="1070"/>
                  </a:lnTo>
                  <a:lnTo>
                    <a:pt x="2641" y="1071"/>
                  </a:lnTo>
                  <a:lnTo>
                    <a:pt x="2643" y="1074"/>
                  </a:lnTo>
                  <a:lnTo>
                    <a:pt x="2646" y="1076"/>
                  </a:lnTo>
                  <a:lnTo>
                    <a:pt x="2649" y="1078"/>
                  </a:lnTo>
                  <a:lnTo>
                    <a:pt x="2651" y="1079"/>
                  </a:lnTo>
                  <a:lnTo>
                    <a:pt x="2653" y="1081"/>
                  </a:lnTo>
                  <a:lnTo>
                    <a:pt x="2656" y="1081"/>
                  </a:lnTo>
                  <a:lnTo>
                    <a:pt x="2659" y="1081"/>
                  </a:lnTo>
                  <a:lnTo>
                    <a:pt x="2662" y="1079"/>
                  </a:lnTo>
                  <a:lnTo>
                    <a:pt x="2664" y="1077"/>
                  </a:lnTo>
                  <a:lnTo>
                    <a:pt x="2667" y="1076"/>
                  </a:lnTo>
                  <a:lnTo>
                    <a:pt x="2670" y="1075"/>
                  </a:lnTo>
                  <a:lnTo>
                    <a:pt x="2670" y="1075"/>
                  </a:lnTo>
                  <a:lnTo>
                    <a:pt x="2672" y="1073"/>
                  </a:lnTo>
                  <a:lnTo>
                    <a:pt x="2672" y="1071"/>
                  </a:lnTo>
                  <a:lnTo>
                    <a:pt x="2675" y="1069"/>
                  </a:lnTo>
                  <a:lnTo>
                    <a:pt x="2673" y="1066"/>
                  </a:lnTo>
                  <a:lnTo>
                    <a:pt x="2671" y="1065"/>
                  </a:lnTo>
                  <a:lnTo>
                    <a:pt x="2672" y="1062"/>
                  </a:lnTo>
                  <a:lnTo>
                    <a:pt x="2675" y="1061"/>
                  </a:lnTo>
                  <a:lnTo>
                    <a:pt x="2673" y="1059"/>
                  </a:lnTo>
                  <a:lnTo>
                    <a:pt x="2673" y="1059"/>
                  </a:lnTo>
                  <a:lnTo>
                    <a:pt x="2676" y="1058"/>
                  </a:lnTo>
                  <a:lnTo>
                    <a:pt x="2678" y="1059"/>
                  </a:lnTo>
                  <a:lnTo>
                    <a:pt x="2680" y="1059"/>
                  </a:lnTo>
                  <a:lnTo>
                    <a:pt x="2684" y="1059"/>
                  </a:lnTo>
                  <a:lnTo>
                    <a:pt x="2684" y="1059"/>
                  </a:lnTo>
                  <a:lnTo>
                    <a:pt x="2680" y="1060"/>
                  </a:lnTo>
                  <a:lnTo>
                    <a:pt x="2678" y="1061"/>
                  </a:lnTo>
                  <a:lnTo>
                    <a:pt x="2678" y="1064"/>
                  </a:lnTo>
                  <a:lnTo>
                    <a:pt x="2680" y="1062"/>
                  </a:lnTo>
                  <a:lnTo>
                    <a:pt x="2678" y="1066"/>
                  </a:lnTo>
                  <a:lnTo>
                    <a:pt x="2679" y="1067"/>
                  </a:lnTo>
                  <a:lnTo>
                    <a:pt x="2681" y="1067"/>
                  </a:lnTo>
                  <a:lnTo>
                    <a:pt x="2685" y="1067"/>
                  </a:lnTo>
                  <a:lnTo>
                    <a:pt x="2685" y="1067"/>
                  </a:lnTo>
                  <a:lnTo>
                    <a:pt x="2683" y="1068"/>
                  </a:lnTo>
                  <a:lnTo>
                    <a:pt x="2680" y="1069"/>
                  </a:lnTo>
                  <a:lnTo>
                    <a:pt x="2679" y="1073"/>
                  </a:lnTo>
                  <a:lnTo>
                    <a:pt x="2680" y="1075"/>
                  </a:lnTo>
                  <a:lnTo>
                    <a:pt x="2680" y="1076"/>
                  </a:lnTo>
                  <a:lnTo>
                    <a:pt x="2681" y="1075"/>
                  </a:lnTo>
                  <a:lnTo>
                    <a:pt x="2683" y="1078"/>
                  </a:lnTo>
                  <a:lnTo>
                    <a:pt x="2684" y="1081"/>
                  </a:lnTo>
                  <a:lnTo>
                    <a:pt x="2683" y="1083"/>
                  </a:lnTo>
                  <a:lnTo>
                    <a:pt x="2681" y="1086"/>
                  </a:lnTo>
                  <a:lnTo>
                    <a:pt x="2681" y="1087"/>
                  </a:lnTo>
                  <a:lnTo>
                    <a:pt x="2680" y="1087"/>
                  </a:lnTo>
                  <a:lnTo>
                    <a:pt x="2680" y="1090"/>
                  </a:lnTo>
                  <a:lnTo>
                    <a:pt x="2680" y="1091"/>
                  </a:lnTo>
                  <a:lnTo>
                    <a:pt x="2680" y="1093"/>
                  </a:lnTo>
                  <a:lnTo>
                    <a:pt x="2680" y="1095"/>
                  </a:lnTo>
                  <a:lnTo>
                    <a:pt x="2683" y="1097"/>
                  </a:lnTo>
                  <a:lnTo>
                    <a:pt x="2681" y="1097"/>
                  </a:lnTo>
                  <a:lnTo>
                    <a:pt x="2683" y="1101"/>
                  </a:lnTo>
                  <a:lnTo>
                    <a:pt x="2683" y="1101"/>
                  </a:lnTo>
                  <a:lnTo>
                    <a:pt x="2685" y="1102"/>
                  </a:lnTo>
                  <a:lnTo>
                    <a:pt x="2685" y="1102"/>
                  </a:lnTo>
                  <a:lnTo>
                    <a:pt x="2685" y="1102"/>
                  </a:lnTo>
                  <a:lnTo>
                    <a:pt x="2683" y="1101"/>
                  </a:lnTo>
                  <a:lnTo>
                    <a:pt x="2683" y="1101"/>
                  </a:lnTo>
                  <a:lnTo>
                    <a:pt x="2681" y="1103"/>
                  </a:lnTo>
                  <a:lnTo>
                    <a:pt x="2683" y="1105"/>
                  </a:lnTo>
                  <a:lnTo>
                    <a:pt x="2684" y="1104"/>
                  </a:lnTo>
                  <a:lnTo>
                    <a:pt x="2685" y="1104"/>
                  </a:lnTo>
                  <a:lnTo>
                    <a:pt x="2685" y="1105"/>
                  </a:lnTo>
                  <a:lnTo>
                    <a:pt x="2683" y="1108"/>
                  </a:lnTo>
                  <a:lnTo>
                    <a:pt x="2683" y="1109"/>
                  </a:lnTo>
                  <a:lnTo>
                    <a:pt x="2684" y="1112"/>
                  </a:lnTo>
                  <a:lnTo>
                    <a:pt x="2684" y="1114"/>
                  </a:lnTo>
                  <a:lnTo>
                    <a:pt x="2684" y="1118"/>
                  </a:lnTo>
                  <a:lnTo>
                    <a:pt x="2685" y="1120"/>
                  </a:lnTo>
                  <a:lnTo>
                    <a:pt x="2686" y="1122"/>
                  </a:lnTo>
                  <a:lnTo>
                    <a:pt x="2687" y="1126"/>
                  </a:lnTo>
                  <a:lnTo>
                    <a:pt x="2687" y="1128"/>
                  </a:lnTo>
                  <a:lnTo>
                    <a:pt x="2687" y="1129"/>
                  </a:lnTo>
                  <a:lnTo>
                    <a:pt x="2688" y="1133"/>
                  </a:lnTo>
                  <a:lnTo>
                    <a:pt x="2688" y="1135"/>
                  </a:lnTo>
                  <a:lnTo>
                    <a:pt x="2688" y="1137"/>
                  </a:lnTo>
                  <a:lnTo>
                    <a:pt x="2689" y="1139"/>
                  </a:lnTo>
                  <a:lnTo>
                    <a:pt x="2689" y="1142"/>
                  </a:lnTo>
                  <a:lnTo>
                    <a:pt x="2690" y="1145"/>
                  </a:lnTo>
                  <a:lnTo>
                    <a:pt x="2690" y="1147"/>
                  </a:lnTo>
                  <a:lnTo>
                    <a:pt x="2693" y="1151"/>
                  </a:lnTo>
                  <a:lnTo>
                    <a:pt x="2694" y="1152"/>
                  </a:lnTo>
                  <a:lnTo>
                    <a:pt x="2694" y="1152"/>
                  </a:lnTo>
                  <a:lnTo>
                    <a:pt x="2696" y="1154"/>
                  </a:lnTo>
                  <a:lnTo>
                    <a:pt x="2695" y="1155"/>
                  </a:lnTo>
                  <a:lnTo>
                    <a:pt x="2697" y="1159"/>
                  </a:lnTo>
                  <a:lnTo>
                    <a:pt x="2697" y="1161"/>
                  </a:lnTo>
                  <a:lnTo>
                    <a:pt x="2700" y="1163"/>
                  </a:lnTo>
                  <a:lnTo>
                    <a:pt x="2700" y="1164"/>
                  </a:lnTo>
                  <a:lnTo>
                    <a:pt x="2700" y="1164"/>
                  </a:lnTo>
                  <a:lnTo>
                    <a:pt x="2701" y="1165"/>
                  </a:lnTo>
                  <a:lnTo>
                    <a:pt x="2702" y="1167"/>
                  </a:lnTo>
                  <a:lnTo>
                    <a:pt x="2703" y="1169"/>
                  </a:lnTo>
                  <a:lnTo>
                    <a:pt x="2704" y="1172"/>
                  </a:lnTo>
                  <a:lnTo>
                    <a:pt x="2705" y="1172"/>
                  </a:lnTo>
                  <a:lnTo>
                    <a:pt x="2704" y="1172"/>
                  </a:lnTo>
                  <a:lnTo>
                    <a:pt x="2704" y="1172"/>
                  </a:lnTo>
                  <a:lnTo>
                    <a:pt x="2705" y="1176"/>
                  </a:lnTo>
                  <a:lnTo>
                    <a:pt x="2706" y="1178"/>
                  </a:lnTo>
                  <a:lnTo>
                    <a:pt x="2707" y="1180"/>
                  </a:lnTo>
                  <a:lnTo>
                    <a:pt x="2707" y="1180"/>
                  </a:lnTo>
                  <a:lnTo>
                    <a:pt x="2707" y="1181"/>
                  </a:lnTo>
                  <a:lnTo>
                    <a:pt x="2707" y="1184"/>
                  </a:lnTo>
                  <a:lnTo>
                    <a:pt x="2709" y="1187"/>
                  </a:lnTo>
                  <a:lnTo>
                    <a:pt x="2709" y="1189"/>
                  </a:lnTo>
                  <a:lnTo>
                    <a:pt x="2710" y="1191"/>
                  </a:lnTo>
                  <a:lnTo>
                    <a:pt x="2710" y="1193"/>
                  </a:lnTo>
                  <a:lnTo>
                    <a:pt x="2710" y="1193"/>
                  </a:lnTo>
                  <a:lnTo>
                    <a:pt x="2710" y="1193"/>
                  </a:lnTo>
                  <a:lnTo>
                    <a:pt x="2711" y="1195"/>
                  </a:lnTo>
                  <a:lnTo>
                    <a:pt x="2712" y="1197"/>
                  </a:lnTo>
                  <a:lnTo>
                    <a:pt x="2712" y="1198"/>
                  </a:lnTo>
                  <a:lnTo>
                    <a:pt x="2713" y="1201"/>
                  </a:lnTo>
                  <a:lnTo>
                    <a:pt x="2715" y="1203"/>
                  </a:lnTo>
                  <a:lnTo>
                    <a:pt x="2715" y="1204"/>
                  </a:lnTo>
                  <a:lnTo>
                    <a:pt x="2717" y="1204"/>
                  </a:lnTo>
                  <a:lnTo>
                    <a:pt x="2717" y="1204"/>
                  </a:lnTo>
                  <a:lnTo>
                    <a:pt x="2717" y="1205"/>
                  </a:lnTo>
                  <a:lnTo>
                    <a:pt x="2718" y="1206"/>
                  </a:lnTo>
                  <a:lnTo>
                    <a:pt x="2720" y="1208"/>
                  </a:lnTo>
                  <a:lnTo>
                    <a:pt x="2720" y="1210"/>
                  </a:lnTo>
                  <a:lnTo>
                    <a:pt x="2720" y="1210"/>
                  </a:lnTo>
                  <a:lnTo>
                    <a:pt x="2722" y="1213"/>
                  </a:lnTo>
                  <a:lnTo>
                    <a:pt x="2722" y="1215"/>
                  </a:lnTo>
                  <a:lnTo>
                    <a:pt x="2723" y="1218"/>
                  </a:lnTo>
                  <a:lnTo>
                    <a:pt x="2724" y="1221"/>
                  </a:lnTo>
                  <a:lnTo>
                    <a:pt x="2726" y="1223"/>
                  </a:lnTo>
                  <a:lnTo>
                    <a:pt x="2727" y="1225"/>
                  </a:lnTo>
                  <a:lnTo>
                    <a:pt x="2728" y="1229"/>
                  </a:lnTo>
                  <a:lnTo>
                    <a:pt x="2728" y="1231"/>
                  </a:lnTo>
                  <a:lnTo>
                    <a:pt x="2729" y="1231"/>
                  </a:lnTo>
                  <a:lnTo>
                    <a:pt x="2729" y="1232"/>
                  </a:lnTo>
                  <a:lnTo>
                    <a:pt x="2730" y="1233"/>
                  </a:lnTo>
                  <a:lnTo>
                    <a:pt x="2730" y="1236"/>
                  </a:lnTo>
                  <a:lnTo>
                    <a:pt x="2729" y="1233"/>
                  </a:lnTo>
                  <a:lnTo>
                    <a:pt x="2729" y="1232"/>
                  </a:lnTo>
                  <a:lnTo>
                    <a:pt x="2729" y="1232"/>
                  </a:lnTo>
                  <a:lnTo>
                    <a:pt x="2729" y="1233"/>
                  </a:lnTo>
                  <a:lnTo>
                    <a:pt x="2729" y="1236"/>
                  </a:lnTo>
                  <a:lnTo>
                    <a:pt x="2729" y="1238"/>
                  </a:lnTo>
                  <a:lnTo>
                    <a:pt x="2730" y="1240"/>
                  </a:lnTo>
                  <a:lnTo>
                    <a:pt x="2731" y="1244"/>
                  </a:lnTo>
                  <a:lnTo>
                    <a:pt x="2732" y="1246"/>
                  </a:lnTo>
                  <a:lnTo>
                    <a:pt x="2732" y="1246"/>
                  </a:lnTo>
                  <a:lnTo>
                    <a:pt x="2733" y="1247"/>
                  </a:lnTo>
                  <a:lnTo>
                    <a:pt x="2733" y="1247"/>
                  </a:lnTo>
                  <a:lnTo>
                    <a:pt x="2736" y="1249"/>
                  </a:lnTo>
                  <a:lnTo>
                    <a:pt x="2738" y="1253"/>
                  </a:lnTo>
                  <a:lnTo>
                    <a:pt x="2740" y="1255"/>
                  </a:lnTo>
                  <a:lnTo>
                    <a:pt x="2741" y="1255"/>
                  </a:lnTo>
                  <a:lnTo>
                    <a:pt x="2744" y="1257"/>
                  </a:lnTo>
                  <a:lnTo>
                    <a:pt x="2746" y="1258"/>
                  </a:lnTo>
                  <a:lnTo>
                    <a:pt x="2749" y="1256"/>
                  </a:lnTo>
                  <a:lnTo>
                    <a:pt x="2752" y="1255"/>
                  </a:lnTo>
                  <a:lnTo>
                    <a:pt x="2754" y="1253"/>
                  </a:lnTo>
                  <a:lnTo>
                    <a:pt x="2754" y="1249"/>
                  </a:lnTo>
                  <a:lnTo>
                    <a:pt x="2755" y="1248"/>
                  </a:lnTo>
                  <a:lnTo>
                    <a:pt x="2756" y="1245"/>
                  </a:lnTo>
                  <a:lnTo>
                    <a:pt x="2760" y="1244"/>
                  </a:lnTo>
                  <a:lnTo>
                    <a:pt x="2764" y="1241"/>
                  </a:lnTo>
                  <a:lnTo>
                    <a:pt x="2767" y="1241"/>
                  </a:lnTo>
                  <a:lnTo>
                    <a:pt x="2770" y="1241"/>
                  </a:lnTo>
                  <a:lnTo>
                    <a:pt x="2772" y="1244"/>
                  </a:lnTo>
                  <a:lnTo>
                    <a:pt x="2773" y="1244"/>
                  </a:lnTo>
                  <a:lnTo>
                    <a:pt x="2771" y="1241"/>
                  </a:lnTo>
                  <a:lnTo>
                    <a:pt x="2769" y="1241"/>
                  </a:lnTo>
                  <a:lnTo>
                    <a:pt x="2765" y="1239"/>
                  </a:lnTo>
                  <a:lnTo>
                    <a:pt x="2766" y="1237"/>
                  </a:lnTo>
                  <a:lnTo>
                    <a:pt x="2767" y="1233"/>
                  </a:lnTo>
                  <a:lnTo>
                    <a:pt x="2770" y="1231"/>
                  </a:lnTo>
                  <a:lnTo>
                    <a:pt x="2770" y="1230"/>
                  </a:lnTo>
                  <a:lnTo>
                    <a:pt x="2771" y="1228"/>
                  </a:lnTo>
                  <a:lnTo>
                    <a:pt x="2773" y="1227"/>
                  </a:lnTo>
                  <a:lnTo>
                    <a:pt x="2775" y="1227"/>
                  </a:lnTo>
                  <a:lnTo>
                    <a:pt x="2779" y="1225"/>
                  </a:lnTo>
                  <a:lnTo>
                    <a:pt x="2778" y="1223"/>
                  </a:lnTo>
                  <a:lnTo>
                    <a:pt x="2778" y="1215"/>
                  </a:lnTo>
                  <a:lnTo>
                    <a:pt x="2775" y="1213"/>
                  </a:lnTo>
                  <a:lnTo>
                    <a:pt x="2777" y="1213"/>
                  </a:lnTo>
                  <a:lnTo>
                    <a:pt x="2777" y="1211"/>
                  </a:lnTo>
                  <a:lnTo>
                    <a:pt x="2777" y="1207"/>
                  </a:lnTo>
                  <a:lnTo>
                    <a:pt x="2778" y="1207"/>
                  </a:lnTo>
                  <a:lnTo>
                    <a:pt x="2778" y="1206"/>
                  </a:lnTo>
                  <a:lnTo>
                    <a:pt x="2778" y="1206"/>
                  </a:lnTo>
                  <a:lnTo>
                    <a:pt x="2778" y="1206"/>
                  </a:lnTo>
                  <a:lnTo>
                    <a:pt x="2778" y="1204"/>
                  </a:lnTo>
                  <a:lnTo>
                    <a:pt x="2779" y="1204"/>
                  </a:lnTo>
                  <a:lnTo>
                    <a:pt x="2779" y="1203"/>
                  </a:lnTo>
                  <a:lnTo>
                    <a:pt x="2780" y="1201"/>
                  </a:lnTo>
                  <a:lnTo>
                    <a:pt x="2780" y="1201"/>
                  </a:lnTo>
                  <a:lnTo>
                    <a:pt x="2782" y="1197"/>
                  </a:lnTo>
                  <a:lnTo>
                    <a:pt x="2782" y="1197"/>
                  </a:lnTo>
                  <a:lnTo>
                    <a:pt x="2783" y="1195"/>
                  </a:lnTo>
                  <a:lnTo>
                    <a:pt x="2783" y="1191"/>
                  </a:lnTo>
                  <a:lnTo>
                    <a:pt x="2784" y="1189"/>
                  </a:lnTo>
                  <a:lnTo>
                    <a:pt x="2784" y="1186"/>
                  </a:lnTo>
                  <a:lnTo>
                    <a:pt x="2784" y="1184"/>
                  </a:lnTo>
                  <a:lnTo>
                    <a:pt x="2783" y="1184"/>
                  </a:lnTo>
                  <a:lnTo>
                    <a:pt x="2782" y="1182"/>
                  </a:lnTo>
                  <a:lnTo>
                    <a:pt x="2781" y="1182"/>
                  </a:lnTo>
                  <a:lnTo>
                    <a:pt x="2782" y="1181"/>
                  </a:lnTo>
                  <a:lnTo>
                    <a:pt x="2784" y="1182"/>
                  </a:lnTo>
                  <a:lnTo>
                    <a:pt x="2784" y="1182"/>
                  </a:lnTo>
                  <a:lnTo>
                    <a:pt x="2783" y="1180"/>
                  </a:lnTo>
                  <a:lnTo>
                    <a:pt x="2783" y="1177"/>
                  </a:lnTo>
                  <a:lnTo>
                    <a:pt x="2782" y="1174"/>
                  </a:lnTo>
                  <a:lnTo>
                    <a:pt x="2782" y="1171"/>
                  </a:lnTo>
                  <a:lnTo>
                    <a:pt x="2782" y="1169"/>
                  </a:lnTo>
                  <a:lnTo>
                    <a:pt x="2782" y="1168"/>
                  </a:lnTo>
                  <a:lnTo>
                    <a:pt x="2782" y="1167"/>
                  </a:lnTo>
                  <a:lnTo>
                    <a:pt x="2781" y="1164"/>
                  </a:lnTo>
                  <a:lnTo>
                    <a:pt x="2781" y="1162"/>
                  </a:lnTo>
                  <a:lnTo>
                    <a:pt x="2781" y="1159"/>
                  </a:lnTo>
                  <a:lnTo>
                    <a:pt x="2782" y="1156"/>
                  </a:lnTo>
                  <a:lnTo>
                    <a:pt x="2783" y="1154"/>
                  </a:lnTo>
                  <a:lnTo>
                    <a:pt x="2786" y="1151"/>
                  </a:lnTo>
                  <a:lnTo>
                    <a:pt x="2788" y="1150"/>
                  </a:lnTo>
                  <a:lnTo>
                    <a:pt x="2791" y="1150"/>
                  </a:lnTo>
                  <a:lnTo>
                    <a:pt x="2792" y="1147"/>
                  </a:lnTo>
                  <a:lnTo>
                    <a:pt x="2794" y="1150"/>
                  </a:lnTo>
                  <a:lnTo>
                    <a:pt x="2794" y="1151"/>
                  </a:lnTo>
                  <a:lnTo>
                    <a:pt x="2796" y="1148"/>
                  </a:lnTo>
                  <a:lnTo>
                    <a:pt x="2797" y="1145"/>
                  </a:lnTo>
                  <a:lnTo>
                    <a:pt x="2798" y="1143"/>
                  </a:lnTo>
                  <a:lnTo>
                    <a:pt x="2800" y="1143"/>
                  </a:lnTo>
                  <a:lnTo>
                    <a:pt x="2804" y="1143"/>
                  </a:lnTo>
                  <a:lnTo>
                    <a:pt x="2804" y="1143"/>
                  </a:lnTo>
                  <a:lnTo>
                    <a:pt x="2806" y="1143"/>
                  </a:lnTo>
                  <a:lnTo>
                    <a:pt x="2807" y="1142"/>
                  </a:lnTo>
                  <a:lnTo>
                    <a:pt x="2809" y="1141"/>
                  </a:lnTo>
                  <a:lnTo>
                    <a:pt x="2812" y="1139"/>
                  </a:lnTo>
                  <a:lnTo>
                    <a:pt x="2813" y="1136"/>
                  </a:lnTo>
                  <a:lnTo>
                    <a:pt x="2813" y="1133"/>
                  </a:lnTo>
                  <a:lnTo>
                    <a:pt x="2814" y="1131"/>
                  </a:lnTo>
                  <a:lnTo>
                    <a:pt x="2816" y="1129"/>
                  </a:lnTo>
                  <a:lnTo>
                    <a:pt x="2820" y="1128"/>
                  </a:lnTo>
                  <a:lnTo>
                    <a:pt x="2822" y="1127"/>
                  </a:lnTo>
                  <a:lnTo>
                    <a:pt x="2825" y="1125"/>
                  </a:lnTo>
                  <a:lnTo>
                    <a:pt x="2824" y="1124"/>
                  </a:lnTo>
                  <a:lnTo>
                    <a:pt x="2825" y="1124"/>
                  </a:lnTo>
                  <a:lnTo>
                    <a:pt x="2828" y="1121"/>
                  </a:lnTo>
                  <a:lnTo>
                    <a:pt x="2830" y="1119"/>
                  </a:lnTo>
                  <a:lnTo>
                    <a:pt x="2832" y="1118"/>
                  </a:lnTo>
                  <a:lnTo>
                    <a:pt x="2834" y="1117"/>
                  </a:lnTo>
                  <a:lnTo>
                    <a:pt x="2837" y="1114"/>
                  </a:lnTo>
                  <a:lnTo>
                    <a:pt x="2839" y="1112"/>
                  </a:lnTo>
                  <a:lnTo>
                    <a:pt x="2841" y="1110"/>
                  </a:lnTo>
                  <a:lnTo>
                    <a:pt x="2843" y="1107"/>
                  </a:lnTo>
                  <a:lnTo>
                    <a:pt x="2846" y="1104"/>
                  </a:lnTo>
                  <a:lnTo>
                    <a:pt x="2846" y="1104"/>
                  </a:lnTo>
                  <a:lnTo>
                    <a:pt x="2848" y="1101"/>
                  </a:lnTo>
                  <a:lnTo>
                    <a:pt x="2851" y="1099"/>
                  </a:lnTo>
                  <a:lnTo>
                    <a:pt x="2854" y="1097"/>
                  </a:lnTo>
                  <a:lnTo>
                    <a:pt x="2854" y="1096"/>
                  </a:lnTo>
                  <a:lnTo>
                    <a:pt x="2854" y="1096"/>
                  </a:lnTo>
                  <a:lnTo>
                    <a:pt x="2854" y="1096"/>
                  </a:lnTo>
                  <a:lnTo>
                    <a:pt x="2852" y="1096"/>
                  </a:lnTo>
                  <a:lnTo>
                    <a:pt x="2850" y="1099"/>
                  </a:lnTo>
                  <a:lnTo>
                    <a:pt x="2851" y="1095"/>
                  </a:lnTo>
                  <a:lnTo>
                    <a:pt x="2855" y="1093"/>
                  </a:lnTo>
                  <a:lnTo>
                    <a:pt x="2856" y="1095"/>
                  </a:lnTo>
                  <a:lnTo>
                    <a:pt x="2855" y="1095"/>
                  </a:lnTo>
                  <a:lnTo>
                    <a:pt x="2858" y="1095"/>
                  </a:lnTo>
                  <a:lnTo>
                    <a:pt x="2866" y="1093"/>
                  </a:lnTo>
                  <a:lnTo>
                    <a:pt x="2866" y="1091"/>
                  </a:lnTo>
                  <a:lnTo>
                    <a:pt x="2865" y="1090"/>
                  </a:lnTo>
                  <a:lnTo>
                    <a:pt x="2867" y="1091"/>
                  </a:lnTo>
                  <a:lnTo>
                    <a:pt x="2867" y="1091"/>
                  </a:lnTo>
                  <a:lnTo>
                    <a:pt x="2869" y="1088"/>
                  </a:lnTo>
                  <a:lnTo>
                    <a:pt x="2872" y="1087"/>
                  </a:lnTo>
                  <a:lnTo>
                    <a:pt x="2872" y="1087"/>
                  </a:lnTo>
                  <a:lnTo>
                    <a:pt x="2873" y="1084"/>
                  </a:lnTo>
                  <a:lnTo>
                    <a:pt x="2875" y="1083"/>
                  </a:lnTo>
                  <a:lnTo>
                    <a:pt x="2876" y="1082"/>
                  </a:lnTo>
                  <a:lnTo>
                    <a:pt x="2875" y="1082"/>
                  </a:lnTo>
                  <a:lnTo>
                    <a:pt x="2874" y="1081"/>
                  </a:lnTo>
                  <a:lnTo>
                    <a:pt x="2875" y="1077"/>
                  </a:lnTo>
                  <a:lnTo>
                    <a:pt x="2874" y="1075"/>
                  </a:lnTo>
                  <a:lnTo>
                    <a:pt x="2875" y="1073"/>
                  </a:lnTo>
                  <a:lnTo>
                    <a:pt x="2877" y="1069"/>
                  </a:lnTo>
                  <a:lnTo>
                    <a:pt x="2881" y="1069"/>
                  </a:lnTo>
                  <a:lnTo>
                    <a:pt x="2881" y="1069"/>
                  </a:lnTo>
                  <a:lnTo>
                    <a:pt x="2883" y="1068"/>
                  </a:lnTo>
                  <a:lnTo>
                    <a:pt x="2885" y="1068"/>
                  </a:lnTo>
                  <a:lnTo>
                    <a:pt x="2888" y="1066"/>
                  </a:lnTo>
                  <a:lnTo>
                    <a:pt x="2890" y="1064"/>
                  </a:lnTo>
                  <a:lnTo>
                    <a:pt x="2892" y="1061"/>
                  </a:lnTo>
                  <a:lnTo>
                    <a:pt x="2893" y="1062"/>
                  </a:lnTo>
                  <a:lnTo>
                    <a:pt x="2892" y="1065"/>
                  </a:lnTo>
                  <a:lnTo>
                    <a:pt x="2892" y="1067"/>
                  </a:lnTo>
                  <a:lnTo>
                    <a:pt x="2893" y="1068"/>
                  </a:lnTo>
                  <a:lnTo>
                    <a:pt x="2893" y="1068"/>
                  </a:lnTo>
                  <a:lnTo>
                    <a:pt x="2893" y="1069"/>
                  </a:lnTo>
                  <a:lnTo>
                    <a:pt x="2893" y="1068"/>
                  </a:lnTo>
                  <a:lnTo>
                    <a:pt x="2894" y="1067"/>
                  </a:lnTo>
                  <a:lnTo>
                    <a:pt x="2895" y="1067"/>
                  </a:lnTo>
                  <a:lnTo>
                    <a:pt x="2895" y="1068"/>
                  </a:lnTo>
                  <a:lnTo>
                    <a:pt x="2897" y="1066"/>
                  </a:lnTo>
                  <a:lnTo>
                    <a:pt x="2897" y="1065"/>
                  </a:lnTo>
                  <a:lnTo>
                    <a:pt x="2897" y="1067"/>
                  </a:lnTo>
                  <a:lnTo>
                    <a:pt x="2897" y="1068"/>
                  </a:lnTo>
                  <a:lnTo>
                    <a:pt x="2897" y="1068"/>
                  </a:lnTo>
                  <a:lnTo>
                    <a:pt x="2898" y="1069"/>
                  </a:lnTo>
                  <a:lnTo>
                    <a:pt x="2898" y="1069"/>
                  </a:lnTo>
                  <a:lnTo>
                    <a:pt x="2898" y="1068"/>
                  </a:lnTo>
                  <a:lnTo>
                    <a:pt x="2898" y="1066"/>
                  </a:lnTo>
                  <a:lnTo>
                    <a:pt x="2898" y="1064"/>
                  </a:lnTo>
                  <a:lnTo>
                    <a:pt x="2898" y="1061"/>
                  </a:lnTo>
                  <a:lnTo>
                    <a:pt x="2899" y="1060"/>
                  </a:lnTo>
                  <a:lnTo>
                    <a:pt x="2899" y="1060"/>
                  </a:lnTo>
                  <a:lnTo>
                    <a:pt x="2899" y="1062"/>
                  </a:lnTo>
                  <a:lnTo>
                    <a:pt x="2900" y="1061"/>
                  </a:lnTo>
                  <a:lnTo>
                    <a:pt x="2900" y="1062"/>
                  </a:lnTo>
                  <a:lnTo>
                    <a:pt x="2899" y="1065"/>
                  </a:lnTo>
                  <a:lnTo>
                    <a:pt x="2899" y="1067"/>
                  </a:lnTo>
                  <a:lnTo>
                    <a:pt x="2900" y="1068"/>
                  </a:lnTo>
                  <a:lnTo>
                    <a:pt x="2901" y="1067"/>
                  </a:lnTo>
                  <a:lnTo>
                    <a:pt x="2901" y="1067"/>
                  </a:lnTo>
                  <a:lnTo>
                    <a:pt x="2901" y="1066"/>
                  </a:lnTo>
                  <a:lnTo>
                    <a:pt x="2902" y="1068"/>
                  </a:lnTo>
                  <a:lnTo>
                    <a:pt x="2903" y="1065"/>
                  </a:lnTo>
                  <a:lnTo>
                    <a:pt x="2903" y="1065"/>
                  </a:lnTo>
                  <a:lnTo>
                    <a:pt x="2902" y="1064"/>
                  </a:lnTo>
                  <a:lnTo>
                    <a:pt x="2902" y="1062"/>
                  </a:lnTo>
                  <a:lnTo>
                    <a:pt x="2902" y="1062"/>
                  </a:lnTo>
                  <a:lnTo>
                    <a:pt x="2905" y="1060"/>
                  </a:lnTo>
                  <a:lnTo>
                    <a:pt x="2905" y="1061"/>
                  </a:lnTo>
                  <a:lnTo>
                    <a:pt x="2905" y="1064"/>
                  </a:lnTo>
                  <a:lnTo>
                    <a:pt x="2906" y="1066"/>
                  </a:lnTo>
                  <a:lnTo>
                    <a:pt x="2907" y="1066"/>
                  </a:lnTo>
                  <a:lnTo>
                    <a:pt x="2908" y="1064"/>
                  </a:lnTo>
                  <a:lnTo>
                    <a:pt x="2908" y="1062"/>
                  </a:lnTo>
                  <a:lnTo>
                    <a:pt x="2908" y="1066"/>
                  </a:lnTo>
                  <a:lnTo>
                    <a:pt x="2910" y="1065"/>
                  </a:lnTo>
                  <a:lnTo>
                    <a:pt x="2910" y="1061"/>
                  </a:lnTo>
                  <a:lnTo>
                    <a:pt x="2910" y="1059"/>
                  </a:lnTo>
                  <a:lnTo>
                    <a:pt x="2910" y="1058"/>
                  </a:lnTo>
                  <a:lnTo>
                    <a:pt x="2910" y="1061"/>
                  </a:lnTo>
                  <a:lnTo>
                    <a:pt x="2911" y="1062"/>
                  </a:lnTo>
                  <a:lnTo>
                    <a:pt x="2911" y="1060"/>
                  </a:lnTo>
                  <a:lnTo>
                    <a:pt x="2911" y="1058"/>
                  </a:lnTo>
                  <a:lnTo>
                    <a:pt x="2911" y="1060"/>
                  </a:lnTo>
                  <a:lnTo>
                    <a:pt x="2911" y="1064"/>
                  </a:lnTo>
                  <a:lnTo>
                    <a:pt x="2911" y="1064"/>
                  </a:lnTo>
                  <a:lnTo>
                    <a:pt x="2911" y="1065"/>
                  </a:lnTo>
                  <a:lnTo>
                    <a:pt x="2911" y="1066"/>
                  </a:lnTo>
                  <a:lnTo>
                    <a:pt x="2912" y="1064"/>
                  </a:lnTo>
                  <a:lnTo>
                    <a:pt x="2912" y="1064"/>
                  </a:lnTo>
                  <a:lnTo>
                    <a:pt x="2915" y="1065"/>
                  </a:lnTo>
                  <a:lnTo>
                    <a:pt x="2915" y="1061"/>
                  </a:lnTo>
                  <a:lnTo>
                    <a:pt x="2915" y="1059"/>
                  </a:lnTo>
                  <a:lnTo>
                    <a:pt x="2915" y="1057"/>
                  </a:lnTo>
                  <a:lnTo>
                    <a:pt x="2917" y="1056"/>
                  </a:lnTo>
                  <a:lnTo>
                    <a:pt x="2917" y="1056"/>
                  </a:lnTo>
                  <a:lnTo>
                    <a:pt x="2916" y="1058"/>
                  </a:lnTo>
                  <a:lnTo>
                    <a:pt x="2916" y="1060"/>
                  </a:lnTo>
                  <a:lnTo>
                    <a:pt x="2916" y="1062"/>
                  </a:lnTo>
                  <a:lnTo>
                    <a:pt x="2917" y="1062"/>
                  </a:lnTo>
                  <a:lnTo>
                    <a:pt x="2918" y="1060"/>
                  </a:lnTo>
                  <a:lnTo>
                    <a:pt x="2917" y="1062"/>
                  </a:lnTo>
                  <a:lnTo>
                    <a:pt x="2917" y="1062"/>
                  </a:lnTo>
                  <a:lnTo>
                    <a:pt x="2919" y="1061"/>
                  </a:lnTo>
                  <a:lnTo>
                    <a:pt x="2918" y="1062"/>
                  </a:lnTo>
                  <a:lnTo>
                    <a:pt x="2919" y="1064"/>
                  </a:lnTo>
                  <a:lnTo>
                    <a:pt x="2920" y="1065"/>
                  </a:lnTo>
                  <a:lnTo>
                    <a:pt x="2922" y="1062"/>
                  </a:lnTo>
                  <a:lnTo>
                    <a:pt x="2922" y="1062"/>
                  </a:lnTo>
                  <a:lnTo>
                    <a:pt x="2923" y="1061"/>
                  </a:lnTo>
                  <a:lnTo>
                    <a:pt x="2923" y="1059"/>
                  </a:lnTo>
                  <a:lnTo>
                    <a:pt x="2923" y="1061"/>
                  </a:lnTo>
                  <a:lnTo>
                    <a:pt x="2925" y="1059"/>
                  </a:lnTo>
                  <a:lnTo>
                    <a:pt x="2925" y="1057"/>
                  </a:lnTo>
                  <a:lnTo>
                    <a:pt x="2924" y="1056"/>
                  </a:lnTo>
                  <a:lnTo>
                    <a:pt x="2924" y="1053"/>
                  </a:lnTo>
                  <a:lnTo>
                    <a:pt x="2923" y="1052"/>
                  </a:lnTo>
                  <a:lnTo>
                    <a:pt x="2923" y="1052"/>
                  </a:lnTo>
                  <a:lnTo>
                    <a:pt x="2923" y="1051"/>
                  </a:lnTo>
                  <a:lnTo>
                    <a:pt x="2924" y="1049"/>
                  </a:lnTo>
                  <a:lnTo>
                    <a:pt x="2924" y="1048"/>
                  </a:lnTo>
                  <a:lnTo>
                    <a:pt x="2924" y="1048"/>
                  </a:lnTo>
                  <a:lnTo>
                    <a:pt x="2924" y="1048"/>
                  </a:lnTo>
                  <a:lnTo>
                    <a:pt x="2925" y="1044"/>
                  </a:lnTo>
                  <a:lnTo>
                    <a:pt x="2924" y="1044"/>
                  </a:lnTo>
                  <a:lnTo>
                    <a:pt x="2922" y="1042"/>
                  </a:lnTo>
                  <a:lnTo>
                    <a:pt x="2920" y="1042"/>
                  </a:lnTo>
                  <a:lnTo>
                    <a:pt x="2920" y="1042"/>
                  </a:lnTo>
                  <a:lnTo>
                    <a:pt x="2920" y="1042"/>
                  </a:lnTo>
                  <a:lnTo>
                    <a:pt x="2924" y="1042"/>
                  </a:lnTo>
                  <a:lnTo>
                    <a:pt x="2924" y="1040"/>
                  </a:lnTo>
                  <a:lnTo>
                    <a:pt x="2924" y="1040"/>
                  </a:lnTo>
                  <a:lnTo>
                    <a:pt x="2926" y="1040"/>
                  </a:lnTo>
                  <a:lnTo>
                    <a:pt x="2926" y="1041"/>
                  </a:lnTo>
                  <a:lnTo>
                    <a:pt x="2927" y="1041"/>
                  </a:lnTo>
                  <a:lnTo>
                    <a:pt x="2927" y="1041"/>
                  </a:lnTo>
                  <a:lnTo>
                    <a:pt x="2926" y="1043"/>
                  </a:lnTo>
                  <a:lnTo>
                    <a:pt x="2926" y="1045"/>
                  </a:lnTo>
                  <a:lnTo>
                    <a:pt x="2926" y="1048"/>
                  </a:lnTo>
                  <a:lnTo>
                    <a:pt x="2926" y="1048"/>
                  </a:lnTo>
                  <a:lnTo>
                    <a:pt x="2927" y="1049"/>
                  </a:lnTo>
                  <a:lnTo>
                    <a:pt x="2928" y="1051"/>
                  </a:lnTo>
                  <a:lnTo>
                    <a:pt x="2929" y="1054"/>
                  </a:lnTo>
                  <a:lnTo>
                    <a:pt x="2931" y="1054"/>
                  </a:lnTo>
                  <a:lnTo>
                    <a:pt x="2933" y="1051"/>
                  </a:lnTo>
                  <a:lnTo>
                    <a:pt x="2936" y="1051"/>
                  </a:lnTo>
                  <a:lnTo>
                    <a:pt x="2937" y="1050"/>
                  </a:lnTo>
                  <a:lnTo>
                    <a:pt x="2937" y="1052"/>
                  </a:lnTo>
                  <a:lnTo>
                    <a:pt x="2940" y="1054"/>
                  </a:lnTo>
                  <a:lnTo>
                    <a:pt x="2941" y="1058"/>
                  </a:lnTo>
                  <a:lnTo>
                    <a:pt x="2942" y="1058"/>
                  </a:lnTo>
                  <a:lnTo>
                    <a:pt x="2943" y="1058"/>
                  </a:lnTo>
                  <a:lnTo>
                    <a:pt x="2943" y="1058"/>
                  </a:lnTo>
                  <a:lnTo>
                    <a:pt x="2942" y="1058"/>
                  </a:lnTo>
                  <a:lnTo>
                    <a:pt x="2942" y="1061"/>
                  </a:lnTo>
                  <a:lnTo>
                    <a:pt x="2943" y="1062"/>
                  </a:lnTo>
                  <a:lnTo>
                    <a:pt x="2943" y="1064"/>
                  </a:lnTo>
                  <a:lnTo>
                    <a:pt x="2944" y="1067"/>
                  </a:lnTo>
                  <a:lnTo>
                    <a:pt x="2944" y="1069"/>
                  </a:lnTo>
                  <a:lnTo>
                    <a:pt x="2945" y="1071"/>
                  </a:lnTo>
                  <a:lnTo>
                    <a:pt x="2945" y="1075"/>
                  </a:lnTo>
                  <a:lnTo>
                    <a:pt x="2948" y="1077"/>
                  </a:lnTo>
                  <a:lnTo>
                    <a:pt x="2948" y="1078"/>
                  </a:lnTo>
                  <a:lnTo>
                    <a:pt x="2948" y="1076"/>
                  </a:lnTo>
                  <a:lnTo>
                    <a:pt x="2949" y="1079"/>
                  </a:lnTo>
                  <a:lnTo>
                    <a:pt x="2950" y="1082"/>
                  </a:lnTo>
                  <a:lnTo>
                    <a:pt x="2952" y="1084"/>
                  </a:lnTo>
                  <a:lnTo>
                    <a:pt x="2954" y="1087"/>
                  </a:lnTo>
                  <a:lnTo>
                    <a:pt x="2954" y="1084"/>
                  </a:lnTo>
                  <a:lnTo>
                    <a:pt x="2954" y="1083"/>
                  </a:lnTo>
                  <a:lnTo>
                    <a:pt x="2956" y="1085"/>
                  </a:lnTo>
                  <a:lnTo>
                    <a:pt x="2957" y="1086"/>
                  </a:lnTo>
                  <a:lnTo>
                    <a:pt x="2956" y="1087"/>
                  </a:lnTo>
                  <a:lnTo>
                    <a:pt x="2957" y="1088"/>
                  </a:lnTo>
                  <a:lnTo>
                    <a:pt x="2959" y="1086"/>
                  </a:lnTo>
                  <a:lnTo>
                    <a:pt x="2959" y="1084"/>
                  </a:lnTo>
                  <a:lnTo>
                    <a:pt x="2959" y="1084"/>
                  </a:lnTo>
                  <a:lnTo>
                    <a:pt x="2959" y="1084"/>
                  </a:lnTo>
                  <a:lnTo>
                    <a:pt x="2959" y="1084"/>
                  </a:lnTo>
                  <a:lnTo>
                    <a:pt x="2959" y="1086"/>
                  </a:lnTo>
                  <a:lnTo>
                    <a:pt x="2959" y="1086"/>
                  </a:lnTo>
                  <a:lnTo>
                    <a:pt x="2960" y="1086"/>
                  </a:lnTo>
                  <a:lnTo>
                    <a:pt x="2958" y="1088"/>
                  </a:lnTo>
                  <a:lnTo>
                    <a:pt x="2960" y="1088"/>
                  </a:lnTo>
                  <a:lnTo>
                    <a:pt x="2960" y="1088"/>
                  </a:lnTo>
                  <a:lnTo>
                    <a:pt x="2959" y="1091"/>
                  </a:lnTo>
                  <a:lnTo>
                    <a:pt x="2960" y="1094"/>
                  </a:lnTo>
                  <a:lnTo>
                    <a:pt x="2960" y="1091"/>
                  </a:lnTo>
                  <a:lnTo>
                    <a:pt x="2960" y="1091"/>
                  </a:lnTo>
                  <a:lnTo>
                    <a:pt x="2961" y="1091"/>
                  </a:lnTo>
                  <a:lnTo>
                    <a:pt x="2962" y="1091"/>
                  </a:lnTo>
                  <a:lnTo>
                    <a:pt x="2962" y="1090"/>
                  </a:lnTo>
                  <a:lnTo>
                    <a:pt x="2961" y="1087"/>
                  </a:lnTo>
                  <a:lnTo>
                    <a:pt x="2963" y="1090"/>
                  </a:lnTo>
                  <a:lnTo>
                    <a:pt x="2963" y="1090"/>
                  </a:lnTo>
                  <a:lnTo>
                    <a:pt x="2962" y="1090"/>
                  </a:lnTo>
                  <a:lnTo>
                    <a:pt x="2970" y="1102"/>
                  </a:lnTo>
                  <a:lnTo>
                    <a:pt x="2970" y="1102"/>
                  </a:lnTo>
                  <a:lnTo>
                    <a:pt x="2970" y="1102"/>
                  </a:lnTo>
                  <a:lnTo>
                    <a:pt x="2972" y="1101"/>
                  </a:lnTo>
                  <a:lnTo>
                    <a:pt x="2972" y="1101"/>
                  </a:lnTo>
                  <a:lnTo>
                    <a:pt x="2972" y="1103"/>
                  </a:lnTo>
                  <a:lnTo>
                    <a:pt x="2972" y="1105"/>
                  </a:lnTo>
                  <a:lnTo>
                    <a:pt x="2975" y="1109"/>
                  </a:lnTo>
                  <a:lnTo>
                    <a:pt x="2975" y="1110"/>
                  </a:lnTo>
                  <a:lnTo>
                    <a:pt x="2976" y="1113"/>
                  </a:lnTo>
                  <a:lnTo>
                    <a:pt x="2977" y="1116"/>
                  </a:lnTo>
                  <a:lnTo>
                    <a:pt x="2978" y="1117"/>
                  </a:lnTo>
                  <a:lnTo>
                    <a:pt x="2978" y="1119"/>
                  </a:lnTo>
                  <a:lnTo>
                    <a:pt x="2978" y="1122"/>
                  </a:lnTo>
                  <a:lnTo>
                    <a:pt x="2980" y="1125"/>
                  </a:lnTo>
                  <a:lnTo>
                    <a:pt x="2979" y="1127"/>
                  </a:lnTo>
                  <a:lnTo>
                    <a:pt x="2979" y="1130"/>
                  </a:lnTo>
                  <a:lnTo>
                    <a:pt x="2978" y="1131"/>
                  </a:lnTo>
                  <a:lnTo>
                    <a:pt x="2978" y="1134"/>
                  </a:lnTo>
                  <a:lnTo>
                    <a:pt x="2977" y="1136"/>
                  </a:lnTo>
                  <a:lnTo>
                    <a:pt x="2976" y="1139"/>
                  </a:lnTo>
                  <a:lnTo>
                    <a:pt x="2976" y="1142"/>
                  </a:lnTo>
                  <a:lnTo>
                    <a:pt x="2975" y="1145"/>
                  </a:lnTo>
                  <a:lnTo>
                    <a:pt x="2975" y="1147"/>
                  </a:lnTo>
                  <a:lnTo>
                    <a:pt x="2977" y="1147"/>
                  </a:lnTo>
                  <a:lnTo>
                    <a:pt x="2979" y="1144"/>
                  </a:lnTo>
                  <a:lnTo>
                    <a:pt x="2982" y="1142"/>
                  </a:lnTo>
                  <a:lnTo>
                    <a:pt x="2982" y="1141"/>
                  </a:lnTo>
                  <a:lnTo>
                    <a:pt x="2982" y="1141"/>
                  </a:lnTo>
                  <a:lnTo>
                    <a:pt x="2982" y="1141"/>
                  </a:lnTo>
                  <a:lnTo>
                    <a:pt x="2982" y="1143"/>
                  </a:lnTo>
                  <a:lnTo>
                    <a:pt x="2982" y="1145"/>
                  </a:lnTo>
                  <a:lnTo>
                    <a:pt x="2980" y="1147"/>
                  </a:lnTo>
                  <a:lnTo>
                    <a:pt x="2983" y="1145"/>
                  </a:lnTo>
                  <a:lnTo>
                    <a:pt x="2982" y="1148"/>
                  </a:lnTo>
                  <a:lnTo>
                    <a:pt x="2984" y="1145"/>
                  </a:lnTo>
                  <a:lnTo>
                    <a:pt x="2985" y="1144"/>
                  </a:lnTo>
                  <a:lnTo>
                    <a:pt x="2984" y="1147"/>
                  </a:lnTo>
                  <a:lnTo>
                    <a:pt x="2985" y="1147"/>
                  </a:lnTo>
                  <a:lnTo>
                    <a:pt x="2984" y="1150"/>
                  </a:lnTo>
                  <a:lnTo>
                    <a:pt x="2985" y="1151"/>
                  </a:lnTo>
                  <a:lnTo>
                    <a:pt x="2986" y="1148"/>
                  </a:lnTo>
                  <a:lnTo>
                    <a:pt x="2987" y="1145"/>
                  </a:lnTo>
                  <a:lnTo>
                    <a:pt x="2988" y="1146"/>
                  </a:lnTo>
                  <a:lnTo>
                    <a:pt x="2988" y="1146"/>
                  </a:lnTo>
                  <a:lnTo>
                    <a:pt x="2987" y="1147"/>
                  </a:lnTo>
                  <a:lnTo>
                    <a:pt x="2987" y="1150"/>
                  </a:lnTo>
                  <a:lnTo>
                    <a:pt x="2989" y="1147"/>
                  </a:lnTo>
                  <a:lnTo>
                    <a:pt x="2989" y="1146"/>
                  </a:lnTo>
                  <a:lnTo>
                    <a:pt x="2989" y="1146"/>
                  </a:lnTo>
                  <a:lnTo>
                    <a:pt x="2991" y="1145"/>
                  </a:lnTo>
                  <a:lnTo>
                    <a:pt x="2991" y="1148"/>
                  </a:lnTo>
                  <a:lnTo>
                    <a:pt x="2989" y="1151"/>
                  </a:lnTo>
                  <a:lnTo>
                    <a:pt x="2992" y="1151"/>
                  </a:lnTo>
                  <a:lnTo>
                    <a:pt x="2994" y="1148"/>
                  </a:lnTo>
                  <a:lnTo>
                    <a:pt x="2995" y="1146"/>
                  </a:lnTo>
                  <a:lnTo>
                    <a:pt x="2995" y="1145"/>
                  </a:lnTo>
                  <a:lnTo>
                    <a:pt x="2997" y="1144"/>
                  </a:lnTo>
                  <a:lnTo>
                    <a:pt x="3000" y="1143"/>
                  </a:lnTo>
                  <a:lnTo>
                    <a:pt x="3002" y="1143"/>
                  </a:lnTo>
                  <a:lnTo>
                    <a:pt x="3003" y="1141"/>
                  </a:lnTo>
                  <a:lnTo>
                    <a:pt x="3003" y="1139"/>
                  </a:lnTo>
                  <a:lnTo>
                    <a:pt x="3002" y="1137"/>
                  </a:lnTo>
                  <a:lnTo>
                    <a:pt x="3002" y="1137"/>
                  </a:lnTo>
                  <a:lnTo>
                    <a:pt x="3002" y="1137"/>
                  </a:lnTo>
                  <a:lnTo>
                    <a:pt x="3003" y="1136"/>
                  </a:lnTo>
                  <a:lnTo>
                    <a:pt x="3003" y="1136"/>
                  </a:lnTo>
                  <a:lnTo>
                    <a:pt x="3003" y="1138"/>
                  </a:lnTo>
                  <a:lnTo>
                    <a:pt x="3005" y="1141"/>
                  </a:lnTo>
                  <a:lnTo>
                    <a:pt x="3008" y="1139"/>
                  </a:lnTo>
                  <a:lnTo>
                    <a:pt x="3011" y="1137"/>
                  </a:lnTo>
                  <a:lnTo>
                    <a:pt x="3011" y="1135"/>
                  </a:lnTo>
                  <a:lnTo>
                    <a:pt x="3011" y="1133"/>
                  </a:lnTo>
                  <a:lnTo>
                    <a:pt x="3011" y="1131"/>
                  </a:lnTo>
                  <a:lnTo>
                    <a:pt x="3012" y="1129"/>
                  </a:lnTo>
                  <a:lnTo>
                    <a:pt x="3011" y="1127"/>
                  </a:lnTo>
                  <a:lnTo>
                    <a:pt x="3013" y="1130"/>
                  </a:lnTo>
                  <a:lnTo>
                    <a:pt x="3016" y="1131"/>
                  </a:lnTo>
                  <a:lnTo>
                    <a:pt x="3016" y="1135"/>
                  </a:lnTo>
                  <a:lnTo>
                    <a:pt x="3017" y="1136"/>
                  </a:lnTo>
                  <a:lnTo>
                    <a:pt x="3018" y="1139"/>
                  </a:lnTo>
                  <a:lnTo>
                    <a:pt x="3020" y="1141"/>
                  </a:lnTo>
                  <a:lnTo>
                    <a:pt x="3021" y="1141"/>
                  </a:lnTo>
                  <a:lnTo>
                    <a:pt x="3022" y="1139"/>
                  </a:lnTo>
                  <a:lnTo>
                    <a:pt x="3023" y="1139"/>
                  </a:lnTo>
                  <a:lnTo>
                    <a:pt x="3022" y="1141"/>
                  </a:lnTo>
                  <a:lnTo>
                    <a:pt x="3021" y="1142"/>
                  </a:lnTo>
                  <a:lnTo>
                    <a:pt x="3021" y="1145"/>
                  </a:lnTo>
                  <a:lnTo>
                    <a:pt x="3021" y="1146"/>
                  </a:lnTo>
                  <a:lnTo>
                    <a:pt x="3022" y="1150"/>
                  </a:lnTo>
                  <a:lnTo>
                    <a:pt x="3023" y="1152"/>
                  </a:lnTo>
                  <a:lnTo>
                    <a:pt x="3023" y="1153"/>
                  </a:lnTo>
                  <a:lnTo>
                    <a:pt x="3023" y="1155"/>
                  </a:lnTo>
                  <a:lnTo>
                    <a:pt x="3023" y="1159"/>
                  </a:lnTo>
                  <a:lnTo>
                    <a:pt x="3023" y="1161"/>
                  </a:lnTo>
                  <a:lnTo>
                    <a:pt x="3025" y="1162"/>
                  </a:lnTo>
                  <a:lnTo>
                    <a:pt x="3023" y="1163"/>
                  </a:lnTo>
                  <a:lnTo>
                    <a:pt x="3027" y="1165"/>
                  </a:lnTo>
                  <a:lnTo>
                    <a:pt x="3026" y="1168"/>
                  </a:lnTo>
                  <a:lnTo>
                    <a:pt x="3027" y="1171"/>
                  </a:lnTo>
                  <a:lnTo>
                    <a:pt x="3027" y="1172"/>
                  </a:lnTo>
                  <a:lnTo>
                    <a:pt x="3028" y="1176"/>
                  </a:lnTo>
                  <a:lnTo>
                    <a:pt x="3028" y="1178"/>
                  </a:lnTo>
                  <a:lnTo>
                    <a:pt x="3029" y="1180"/>
                  </a:lnTo>
                  <a:lnTo>
                    <a:pt x="3029" y="1178"/>
                  </a:lnTo>
                  <a:lnTo>
                    <a:pt x="3029" y="1176"/>
                  </a:lnTo>
                  <a:lnTo>
                    <a:pt x="3029" y="1174"/>
                  </a:lnTo>
                  <a:lnTo>
                    <a:pt x="3029" y="1176"/>
                  </a:lnTo>
                  <a:lnTo>
                    <a:pt x="3030" y="1178"/>
                  </a:lnTo>
                  <a:lnTo>
                    <a:pt x="3031" y="1180"/>
                  </a:lnTo>
                  <a:lnTo>
                    <a:pt x="3033" y="1184"/>
                  </a:lnTo>
                  <a:lnTo>
                    <a:pt x="3034" y="1186"/>
                  </a:lnTo>
                  <a:lnTo>
                    <a:pt x="3035" y="1188"/>
                  </a:lnTo>
                  <a:lnTo>
                    <a:pt x="3035" y="1191"/>
                  </a:lnTo>
                  <a:lnTo>
                    <a:pt x="3036" y="1194"/>
                  </a:lnTo>
                  <a:lnTo>
                    <a:pt x="3036" y="1194"/>
                  </a:lnTo>
                  <a:lnTo>
                    <a:pt x="3036" y="1195"/>
                  </a:lnTo>
                  <a:lnTo>
                    <a:pt x="3035" y="1197"/>
                  </a:lnTo>
                  <a:lnTo>
                    <a:pt x="3036" y="1198"/>
                  </a:lnTo>
                  <a:lnTo>
                    <a:pt x="3036" y="1199"/>
                  </a:lnTo>
                  <a:lnTo>
                    <a:pt x="3037" y="1201"/>
                  </a:lnTo>
                  <a:lnTo>
                    <a:pt x="3036" y="1202"/>
                  </a:lnTo>
                  <a:lnTo>
                    <a:pt x="3036" y="1205"/>
                  </a:lnTo>
                  <a:lnTo>
                    <a:pt x="3035" y="1207"/>
                  </a:lnTo>
                  <a:lnTo>
                    <a:pt x="3038" y="1206"/>
                  </a:lnTo>
                  <a:lnTo>
                    <a:pt x="3037" y="1208"/>
                  </a:lnTo>
                  <a:lnTo>
                    <a:pt x="3037" y="1211"/>
                  </a:lnTo>
                  <a:lnTo>
                    <a:pt x="3037" y="1214"/>
                  </a:lnTo>
                  <a:lnTo>
                    <a:pt x="3037" y="1216"/>
                  </a:lnTo>
                  <a:lnTo>
                    <a:pt x="3035" y="1219"/>
                  </a:lnTo>
                  <a:lnTo>
                    <a:pt x="3033" y="1221"/>
                  </a:lnTo>
                  <a:lnTo>
                    <a:pt x="3034" y="1224"/>
                  </a:lnTo>
                  <a:lnTo>
                    <a:pt x="3034" y="1225"/>
                  </a:lnTo>
                  <a:lnTo>
                    <a:pt x="3034" y="1229"/>
                  </a:lnTo>
                  <a:lnTo>
                    <a:pt x="3034" y="1231"/>
                  </a:lnTo>
                  <a:lnTo>
                    <a:pt x="3034" y="1231"/>
                  </a:lnTo>
                  <a:lnTo>
                    <a:pt x="3035" y="1231"/>
                  </a:lnTo>
                  <a:lnTo>
                    <a:pt x="3036" y="1229"/>
                  </a:lnTo>
                  <a:lnTo>
                    <a:pt x="3037" y="1227"/>
                  </a:lnTo>
                  <a:lnTo>
                    <a:pt x="3037" y="1227"/>
                  </a:lnTo>
                  <a:lnTo>
                    <a:pt x="3037" y="1227"/>
                  </a:lnTo>
                  <a:lnTo>
                    <a:pt x="3036" y="1229"/>
                  </a:lnTo>
                  <a:lnTo>
                    <a:pt x="3036" y="1230"/>
                  </a:lnTo>
                  <a:lnTo>
                    <a:pt x="3035" y="1231"/>
                  </a:lnTo>
                  <a:lnTo>
                    <a:pt x="3035" y="1231"/>
                  </a:lnTo>
                  <a:lnTo>
                    <a:pt x="3035" y="1231"/>
                  </a:lnTo>
                  <a:lnTo>
                    <a:pt x="3035" y="1231"/>
                  </a:lnTo>
                  <a:lnTo>
                    <a:pt x="3035" y="1232"/>
                  </a:lnTo>
                  <a:lnTo>
                    <a:pt x="3035" y="1233"/>
                  </a:lnTo>
                  <a:lnTo>
                    <a:pt x="3035" y="1235"/>
                  </a:lnTo>
                  <a:lnTo>
                    <a:pt x="3033" y="1238"/>
                  </a:lnTo>
                  <a:lnTo>
                    <a:pt x="3033" y="1238"/>
                  </a:lnTo>
                  <a:lnTo>
                    <a:pt x="3033" y="1238"/>
                  </a:lnTo>
                  <a:lnTo>
                    <a:pt x="3031" y="1241"/>
                  </a:lnTo>
                  <a:lnTo>
                    <a:pt x="3031" y="1244"/>
                  </a:lnTo>
                  <a:lnTo>
                    <a:pt x="3031" y="1244"/>
                  </a:lnTo>
                  <a:lnTo>
                    <a:pt x="3030" y="1247"/>
                  </a:lnTo>
                  <a:lnTo>
                    <a:pt x="3030" y="1248"/>
                  </a:lnTo>
                  <a:lnTo>
                    <a:pt x="3030" y="1249"/>
                  </a:lnTo>
                  <a:lnTo>
                    <a:pt x="3029" y="1250"/>
                  </a:lnTo>
                  <a:lnTo>
                    <a:pt x="3029" y="1253"/>
                  </a:lnTo>
                  <a:lnTo>
                    <a:pt x="3030" y="1255"/>
                  </a:lnTo>
                  <a:lnTo>
                    <a:pt x="3036" y="1254"/>
                  </a:lnTo>
                  <a:lnTo>
                    <a:pt x="3036" y="1256"/>
                  </a:lnTo>
                  <a:lnTo>
                    <a:pt x="3042" y="1261"/>
                  </a:lnTo>
                  <a:lnTo>
                    <a:pt x="3042" y="1263"/>
                  </a:lnTo>
                  <a:lnTo>
                    <a:pt x="3044" y="1264"/>
                  </a:lnTo>
                  <a:lnTo>
                    <a:pt x="3045" y="1266"/>
                  </a:lnTo>
                  <a:lnTo>
                    <a:pt x="3048" y="1268"/>
                  </a:lnTo>
                  <a:lnTo>
                    <a:pt x="3050" y="1271"/>
                  </a:lnTo>
                  <a:lnTo>
                    <a:pt x="3051" y="1271"/>
                  </a:lnTo>
                  <a:lnTo>
                    <a:pt x="3050" y="1273"/>
                  </a:lnTo>
                  <a:lnTo>
                    <a:pt x="3055" y="1281"/>
                  </a:lnTo>
                  <a:lnTo>
                    <a:pt x="3055" y="1281"/>
                  </a:lnTo>
                  <a:lnTo>
                    <a:pt x="3055" y="1281"/>
                  </a:lnTo>
                  <a:lnTo>
                    <a:pt x="3055" y="1281"/>
                  </a:lnTo>
                  <a:lnTo>
                    <a:pt x="3056" y="1283"/>
                  </a:lnTo>
                  <a:lnTo>
                    <a:pt x="3057" y="1284"/>
                  </a:lnTo>
                  <a:lnTo>
                    <a:pt x="3059" y="1287"/>
                  </a:lnTo>
                  <a:lnTo>
                    <a:pt x="3060" y="1290"/>
                  </a:lnTo>
                  <a:lnTo>
                    <a:pt x="3059" y="1292"/>
                  </a:lnTo>
                  <a:lnTo>
                    <a:pt x="3060" y="1293"/>
                  </a:lnTo>
                  <a:lnTo>
                    <a:pt x="3060" y="1296"/>
                  </a:lnTo>
                  <a:lnTo>
                    <a:pt x="3060" y="1298"/>
                  </a:lnTo>
                  <a:lnTo>
                    <a:pt x="3060" y="1301"/>
                  </a:lnTo>
                  <a:lnTo>
                    <a:pt x="3062" y="1304"/>
                  </a:lnTo>
                  <a:lnTo>
                    <a:pt x="3063" y="1306"/>
                  </a:lnTo>
                  <a:lnTo>
                    <a:pt x="3062" y="1309"/>
                  </a:lnTo>
                  <a:lnTo>
                    <a:pt x="3063" y="1312"/>
                  </a:lnTo>
                  <a:lnTo>
                    <a:pt x="3067" y="1314"/>
                  </a:lnTo>
                  <a:lnTo>
                    <a:pt x="3065" y="1316"/>
                  </a:lnTo>
                  <a:lnTo>
                    <a:pt x="3065" y="1317"/>
                  </a:lnTo>
                  <a:lnTo>
                    <a:pt x="3068" y="1319"/>
                  </a:lnTo>
                  <a:lnTo>
                    <a:pt x="3070" y="1322"/>
                  </a:lnTo>
                  <a:lnTo>
                    <a:pt x="3072" y="1324"/>
                  </a:lnTo>
                  <a:lnTo>
                    <a:pt x="3073" y="1327"/>
                  </a:lnTo>
                  <a:lnTo>
                    <a:pt x="3072" y="1330"/>
                  </a:lnTo>
                  <a:lnTo>
                    <a:pt x="3074" y="1332"/>
                  </a:lnTo>
                  <a:lnTo>
                    <a:pt x="3077" y="1333"/>
                  </a:lnTo>
                  <a:lnTo>
                    <a:pt x="3078" y="1333"/>
                  </a:lnTo>
                  <a:lnTo>
                    <a:pt x="3079" y="1333"/>
                  </a:lnTo>
                  <a:lnTo>
                    <a:pt x="3081" y="1336"/>
                  </a:lnTo>
                  <a:lnTo>
                    <a:pt x="3084" y="1339"/>
                  </a:lnTo>
                  <a:lnTo>
                    <a:pt x="3087" y="1340"/>
                  </a:lnTo>
                  <a:lnTo>
                    <a:pt x="3088" y="1340"/>
                  </a:lnTo>
                  <a:lnTo>
                    <a:pt x="3089" y="1341"/>
                  </a:lnTo>
                  <a:lnTo>
                    <a:pt x="3091" y="1343"/>
                  </a:lnTo>
                  <a:lnTo>
                    <a:pt x="3094" y="1344"/>
                  </a:lnTo>
                  <a:lnTo>
                    <a:pt x="3096" y="1345"/>
                  </a:lnTo>
                  <a:lnTo>
                    <a:pt x="3099" y="1347"/>
                  </a:lnTo>
                  <a:lnTo>
                    <a:pt x="3102" y="1350"/>
                  </a:lnTo>
                  <a:lnTo>
                    <a:pt x="3104" y="1350"/>
                  </a:lnTo>
                  <a:lnTo>
                    <a:pt x="3105" y="1349"/>
                  </a:lnTo>
                  <a:lnTo>
                    <a:pt x="3108" y="1349"/>
                  </a:lnTo>
                  <a:lnTo>
                    <a:pt x="3108" y="1347"/>
                  </a:lnTo>
                  <a:lnTo>
                    <a:pt x="3108" y="1345"/>
                  </a:lnTo>
                  <a:lnTo>
                    <a:pt x="3110" y="1349"/>
                  </a:lnTo>
                  <a:lnTo>
                    <a:pt x="3113" y="1350"/>
                  </a:lnTo>
                  <a:lnTo>
                    <a:pt x="3112" y="1347"/>
                  </a:lnTo>
                  <a:lnTo>
                    <a:pt x="3112" y="1344"/>
                  </a:lnTo>
                  <a:lnTo>
                    <a:pt x="3111" y="1341"/>
                  </a:lnTo>
                  <a:lnTo>
                    <a:pt x="3108" y="1339"/>
                  </a:lnTo>
                  <a:lnTo>
                    <a:pt x="3107" y="1336"/>
                  </a:lnTo>
                  <a:lnTo>
                    <a:pt x="3107" y="1335"/>
                  </a:lnTo>
                  <a:lnTo>
                    <a:pt x="3106" y="1333"/>
                  </a:lnTo>
                  <a:lnTo>
                    <a:pt x="3104" y="1332"/>
                  </a:lnTo>
                  <a:lnTo>
                    <a:pt x="3103" y="1332"/>
                  </a:lnTo>
                  <a:lnTo>
                    <a:pt x="3102" y="1329"/>
                  </a:lnTo>
                  <a:lnTo>
                    <a:pt x="3102" y="1324"/>
                  </a:lnTo>
                  <a:lnTo>
                    <a:pt x="3102" y="1321"/>
                  </a:lnTo>
                  <a:lnTo>
                    <a:pt x="3100" y="1319"/>
                  </a:lnTo>
                  <a:lnTo>
                    <a:pt x="3100" y="1317"/>
                  </a:lnTo>
                  <a:lnTo>
                    <a:pt x="3102" y="1314"/>
                  </a:lnTo>
                  <a:lnTo>
                    <a:pt x="3102" y="1312"/>
                  </a:lnTo>
                  <a:lnTo>
                    <a:pt x="3102" y="1312"/>
                  </a:lnTo>
                  <a:lnTo>
                    <a:pt x="3102" y="1309"/>
                  </a:lnTo>
                  <a:lnTo>
                    <a:pt x="3102" y="1306"/>
                  </a:lnTo>
                  <a:lnTo>
                    <a:pt x="3102" y="1304"/>
                  </a:lnTo>
                  <a:lnTo>
                    <a:pt x="3099" y="1300"/>
                  </a:lnTo>
                  <a:lnTo>
                    <a:pt x="3098" y="1298"/>
                  </a:lnTo>
                  <a:lnTo>
                    <a:pt x="3097" y="1296"/>
                  </a:lnTo>
                  <a:lnTo>
                    <a:pt x="3097" y="1296"/>
                  </a:lnTo>
                  <a:lnTo>
                    <a:pt x="3094" y="1292"/>
                  </a:lnTo>
                  <a:lnTo>
                    <a:pt x="3091" y="1291"/>
                  </a:lnTo>
                  <a:lnTo>
                    <a:pt x="3089" y="1289"/>
                  </a:lnTo>
                  <a:lnTo>
                    <a:pt x="3087" y="1285"/>
                  </a:lnTo>
                  <a:lnTo>
                    <a:pt x="3085" y="1283"/>
                  </a:lnTo>
                  <a:lnTo>
                    <a:pt x="3082" y="1283"/>
                  </a:lnTo>
                  <a:lnTo>
                    <a:pt x="3080" y="1281"/>
                  </a:lnTo>
                  <a:lnTo>
                    <a:pt x="3078" y="1279"/>
                  </a:lnTo>
                  <a:lnTo>
                    <a:pt x="3076" y="1275"/>
                  </a:lnTo>
                  <a:lnTo>
                    <a:pt x="3073" y="1274"/>
                  </a:lnTo>
                  <a:lnTo>
                    <a:pt x="3072" y="1274"/>
                  </a:lnTo>
                  <a:lnTo>
                    <a:pt x="3069" y="1274"/>
                  </a:lnTo>
                  <a:lnTo>
                    <a:pt x="3067" y="1273"/>
                  </a:lnTo>
                  <a:lnTo>
                    <a:pt x="3063" y="1272"/>
                  </a:lnTo>
                  <a:lnTo>
                    <a:pt x="3061" y="1271"/>
                  </a:lnTo>
                  <a:lnTo>
                    <a:pt x="3060" y="1268"/>
                  </a:lnTo>
                  <a:lnTo>
                    <a:pt x="3056" y="1266"/>
                  </a:lnTo>
                  <a:lnTo>
                    <a:pt x="3056" y="1263"/>
                  </a:lnTo>
                  <a:lnTo>
                    <a:pt x="3056" y="1262"/>
                  </a:lnTo>
                  <a:lnTo>
                    <a:pt x="3057" y="1265"/>
                  </a:lnTo>
                  <a:lnTo>
                    <a:pt x="3060" y="1267"/>
                  </a:lnTo>
                  <a:lnTo>
                    <a:pt x="3060" y="1267"/>
                  </a:lnTo>
                  <a:lnTo>
                    <a:pt x="3060" y="1267"/>
                  </a:lnTo>
                  <a:lnTo>
                    <a:pt x="3060" y="1265"/>
                  </a:lnTo>
                  <a:lnTo>
                    <a:pt x="3060" y="1262"/>
                  </a:lnTo>
                  <a:lnTo>
                    <a:pt x="3059" y="1261"/>
                  </a:lnTo>
                  <a:lnTo>
                    <a:pt x="3057" y="1256"/>
                  </a:lnTo>
                  <a:lnTo>
                    <a:pt x="3057" y="1254"/>
                  </a:lnTo>
                  <a:lnTo>
                    <a:pt x="3056" y="1252"/>
                  </a:lnTo>
                  <a:lnTo>
                    <a:pt x="3056" y="1253"/>
                  </a:lnTo>
                  <a:lnTo>
                    <a:pt x="3056" y="1252"/>
                  </a:lnTo>
                  <a:lnTo>
                    <a:pt x="3056" y="1254"/>
                  </a:lnTo>
                  <a:lnTo>
                    <a:pt x="3054" y="1252"/>
                  </a:lnTo>
                  <a:lnTo>
                    <a:pt x="3054" y="1250"/>
                  </a:lnTo>
                  <a:lnTo>
                    <a:pt x="3053" y="1247"/>
                  </a:lnTo>
                  <a:lnTo>
                    <a:pt x="3053" y="1246"/>
                  </a:lnTo>
                  <a:lnTo>
                    <a:pt x="3053" y="1244"/>
                  </a:lnTo>
                  <a:lnTo>
                    <a:pt x="3051" y="1241"/>
                  </a:lnTo>
                  <a:lnTo>
                    <a:pt x="3048" y="1241"/>
                  </a:lnTo>
                  <a:lnTo>
                    <a:pt x="3046" y="1242"/>
                  </a:lnTo>
                  <a:lnTo>
                    <a:pt x="3045" y="1240"/>
                  </a:lnTo>
                  <a:lnTo>
                    <a:pt x="3044" y="1239"/>
                  </a:lnTo>
                  <a:lnTo>
                    <a:pt x="3044" y="1237"/>
                  </a:lnTo>
                  <a:lnTo>
                    <a:pt x="3043" y="1235"/>
                  </a:lnTo>
                  <a:lnTo>
                    <a:pt x="3043" y="1231"/>
                  </a:lnTo>
                  <a:lnTo>
                    <a:pt x="3043" y="1231"/>
                  </a:lnTo>
                  <a:lnTo>
                    <a:pt x="3043" y="1229"/>
                  </a:lnTo>
                  <a:lnTo>
                    <a:pt x="3044" y="1227"/>
                  </a:lnTo>
                  <a:lnTo>
                    <a:pt x="3044" y="1225"/>
                  </a:lnTo>
                  <a:lnTo>
                    <a:pt x="3044" y="1223"/>
                  </a:lnTo>
                  <a:lnTo>
                    <a:pt x="3046" y="1221"/>
                  </a:lnTo>
                  <a:lnTo>
                    <a:pt x="3046" y="1221"/>
                  </a:lnTo>
                  <a:lnTo>
                    <a:pt x="3046" y="1221"/>
                  </a:lnTo>
                  <a:lnTo>
                    <a:pt x="3047" y="1218"/>
                  </a:lnTo>
                  <a:lnTo>
                    <a:pt x="3047" y="1218"/>
                  </a:lnTo>
                  <a:lnTo>
                    <a:pt x="3047" y="1216"/>
                  </a:lnTo>
                  <a:lnTo>
                    <a:pt x="3048" y="1213"/>
                  </a:lnTo>
                  <a:lnTo>
                    <a:pt x="3048" y="1212"/>
                  </a:lnTo>
                  <a:lnTo>
                    <a:pt x="3050" y="1210"/>
                  </a:lnTo>
                  <a:lnTo>
                    <a:pt x="3052" y="1207"/>
                  </a:lnTo>
                  <a:lnTo>
                    <a:pt x="3052" y="1206"/>
                  </a:lnTo>
                  <a:lnTo>
                    <a:pt x="3052" y="1206"/>
                  </a:lnTo>
                  <a:lnTo>
                    <a:pt x="3052" y="1204"/>
                  </a:lnTo>
                  <a:lnTo>
                    <a:pt x="3054" y="1202"/>
                  </a:lnTo>
                  <a:lnTo>
                    <a:pt x="3054" y="1202"/>
                  </a:lnTo>
                  <a:lnTo>
                    <a:pt x="3054" y="1202"/>
                  </a:lnTo>
                  <a:lnTo>
                    <a:pt x="3054" y="1198"/>
                  </a:lnTo>
                  <a:lnTo>
                    <a:pt x="3054" y="1195"/>
                  </a:lnTo>
                  <a:lnTo>
                    <a:pt x="3054" y="1195"/>
                  </a:lnTo>
                  <a:lnTo>
                    <a:pt x="3054" y="1194"/>
                  </a:lnTo>
                  <a:lnTo>
                    <a:pt x="3055" y="1189"/>
                  </a:lnTo>
                  <a:lnTo>
                    <a:pt x="3055" y="1189"/>
                  </a:lnTo>
                  <a:lnTo>
                    <a:pt x="3055" y="1189"/>
                  </a:lnTo>
                  <a:lnTo>
                    <a:pt x="3054" y="1187"/>
                  </a:lnTo>
                  <a:lnTo>
                    <a:pt x="3054" y="1186"/>
                  </a:lnTo>
                  <a:lnTo>
                    <a:pt x="3055" y="1184"/>
                  </a:lnTo>
                  <a:lnTo>
                    <a:pt x="3057" y="1182"/>
                  </a:lnTo>
                  <a:lnTo>
                    <a:pt x="3061" y="1184"/>
                  </a:lnTo>
                  <a:lnTo>
                    <a:pt x="3062" y="1181"/>
                  </a:lnTo>
                  <a:lnTo>
                    <a:pt x="3065" y="1184"/>
                  </a:lnTo>
                  <a:lnTo>
                    <a:pt x="3068" y="1184"/>
                  </a:lnTo>
                  <a:lnTo>
                    <a:pt x="3068" y="1184"/>
                  </a:lnTo>
                  <a:lnTo>
                    <a:pt x="3067" y="1185"/>
                  </a:lnTo>
                  <a:lnTo>
                    <a:pt x="3067" y="1186"/>
                  </a:lnTo>
                  <a:lnTo>
                    <a:pt x="3067" y="1189"/>
                  </a:lnTo>
                  <a:lnTo>
                    <a:pt x="3067" y="1190"/>
                  </a:lnTo>
                  <a:lnTo>
                    <a:pt x="3067" y="1191"/>
                  </a:lnTo>
                  <a:lnTo>
                    <a:pt x="3067" y="1193"/>
                  </a:lnTo>
                  <a:lnTo>
                    <a:pt x="3068" y="1195"/>
                  </a:lnTo>
                  <a:lnTo>
                    <a:pt x="3070" y="1195"/>
                  </a:lnTo>
                  <a:lnTo>
                    <a:pt x="3071" y="1195"/>
                  </a:lnTo>
                  <a:lnTo>
                    <a:pt x="3073" y="1195"/>
                  </a:lnTo>
                  <a:lnTo>
                    <a:pt x="3079" y="1194"/>
                  </a:lnTo>
                  <a:lnTo>
                    <a:pt x="3081" y="1196"/>
                  </a:lnTo>
                  <a:lnTo>
                    <a:pt x="3082" y="1197"/>
                  </a:lnTo>
                  <a:lnTo>
                    <a:pt x="3082" y="1197"/>
                  </a:lnTo>
                  <a:lnTo>
                    <a:pt x="3085" y="1199"/>
                  </a:lnTo>
                  <a:lnTo>
                    <a:pt x="3086" y="1198"/>
                  </a:lnTo>
                  <a:lnTo>
                    <a:pt x="3087" y="1202"/>
                  </a:lnTo>
                  <a:lnTo>
                    <a:pt x="3089" y="1201"/>
                  </a:lnTo>
                  <a:lnTo>
                    <a:pt x="3091" y="1203"/>
                  </a:lnTo>
                  <a:lnTo>
                    <a:pt x="3091" y="1203"/>
                  </a:lnTo>
                  <a:lnTo>
                    <a:pt x="3091" y="1204"/>
                  </a:lnTo>
                  <a:lnTo>
                    <a:pt x="3094" y="1206"/>
                  </a:lnTo>
                  <a:lnTo>
                    <a:pt x="3094" y="1206"/>
                  </a:lnTo>
                  <a:lnTo>
                    <a:pt x="3094" y="1207"/>
                  </a:lnTo>
                  <a:lnTo>
                    <a:pt x="3094" y="1208"/>
                  </a:lnTo>
                  <a:lnTo>
                    <a:pt x="3094" y="1206"/>
                  </a:lnTo>
                  <a:lnTo>
                    <a:pt x="3094" y="1206"/>
                  </a:lnTo>
                  <a:lnTo>
                    <a:pt x="3094" y="1208"/>
                  </a:lnTo>
                  <a:lnTo>
                    <a:pt x="3094" y="1206"/>
                  </a:lnTo>
                  <a:lnTo>
                    <a:pt x="3095" y="1208"/>
                  </a:lnTo>
                  <a:lnTo>
                    <a:pt x="3096" y="1208"/>
                  </a:lnTo>
                  <a:lnTo>
                    <a:pt x="3095" y="1210"/>
                  </a:lnTo>
                  <a:lnTo>
                    <a:pt x="3095" y="1210"/>
                  </a:lnTo>
                  <a:lnTo>
                    <a:pt x="3095" y="1210"/>
                  </a:lnTo>
                  <a:lnTo>
                    <a:pt x="3096" y="1210"/>
                  </a:lnTo>
                  <a:lnTo>
                    <a:pt x="3097" y="1211"/>
                  </a:lnTo>
                  <a:lnTo>
                    <a:pt x="3097" y="1215"/>
                  </a:lnTo>
                  <a:lnTo>
                    <a:pt x="3097" y="1216"/>
                  </a:lnTo>
                  <a:lnTo>
                    <a:pt x="3097" y="1218"/>
                  </a:lnTo>
                  <a:lnTo>
                    <a:pt x="3097" y="1219"/>
                  </a:lnTo>
                  <a:lnTo>
                    <a:pt x="3097" y="1220"/>
                  </a:lnTo>
                  <a:lnTo>
                    <a:pt x="3100" y="1220"/>
                  </a:lnTo>
                  <a:lnTo>
                    <a:pt x="3100" y="1219"/>
                  </a:lnTo>
                  <a:lnTo>
                    <a:pt x="3100" y="1219"/>
                  </a:lnTo>
                  <a:lnTo>
                    <a:pt x="3102" y="1216"/>
                  </a:lnTo>
                  <a:lnTo>
                    <a:pt x="3103" y="1215"/>
                  </a:lnTo>
                  <a:lnTo>
                    <a:pt x="3105" y="1218"/>
                  </a:lnTo>
                  <a:lnTo>
                    <a:pt x="3105" y="1219"/>
                  </a:lnTo>
                  <a:lnTo>
                    <a:pt x="3104" y="1221"/>
                  </a:lnTo>
                  <a:lnTo>
                    <a:pt x="3105" y="1221"/>
                  </a:lnTo>
                  <a:lnTo>
                    <a:pt x="3105" y="1221"/>
                  </a:lnTo>
                  <a:lnTo>
                    <a:pt x="3103" y="1222"/>
                  </a:lnTo>
                  <a:lnTo>
                    <a:pt x="3103" y="1222"/>
                  </a:lnTo>
                  <a:lnTo>
                    <a:pt x="3103" y="1222"/>
                  </a:lnTo>
                  <a:lnTo>
                    <a:pt x="3103" y="1223"/>
                  </a:lnTo>
                  <a:lnTo>
                    <a:pt x="3105" y="1224"/>
                  </a:lnTo>
                  <a:lnTo>
                    <a:pt x="3107" y="1223"/>
                  </a:lnTo>
                  <a:lnTo>
                    <a:pt x="3113" y="1225"/>
                  </a:lnTo>
                  <a:lnTo>
                    <a:pt x="3114" y="1224"/>
                  </a:lnTo>
                  <a:lnTo>
                    <a:pt x="3115" y="1227"/>
                  </a:lnTo>
                  <a:lnTo>
                    <a:pt x="3116" y="1225"/>
                  </a:lnTo>
                  <a:lnTo>
                    <a:pt x="3115" y="1227"/>
                  </a:lnTo>
                  <a:lnTo>
                    <a:pt x="3115" y="1227"/>
                  </a:lnTo>
                  <a:lnTo>
                    <a:pt x="3115" y="1227"/>
                  </a:lnTo>
                  <a:lnTo>
                    <a:pt x="3117" y="1229"/>
                  </a:lnTo>
                  <a:lnTo>
                    <a:pt x="3120" y="1229"/>
                  </a:lnTo>
                  <a:lnTo>
                    <a:pt x="3123" y="1231"/>
                  </a:lnTo>
                  <a:lnTo>
                    <a:pt x="3124" y="1233"/>
                  </a:lnTo>
                  <a:lnTo>
                    <a:pt x="3121" y="1233"/>
                  </a:lnTo>
                  <a:lnTo>
                    <a:pt x="3121" y="1233"/>
                  </a:lnTo>
                  <a:lnTo>
                    <a:pt x="3121" y="1233"/>
                  </a:lnTo>
                  <a:lnTo>
                    <a:pt x="3121" y="1237"/>
                  </a:lnTo>
                  <a:lnTo>
                    <a:pt x="3120" y="1238"/>
                  </a:lnTo>
                  <a:lnTo>
                    <a:pt x="3120" y="1238"/>
                  </a:lnTo>
                  <a:lnTo>
                    <a:pt x="3120" y="1238"/>
                  </a:lnTo>
                  <a:lnTo>
                    <a:pt x="3120" y="1240"/>
                  </a:lnTo>
                  <a:lnTo>
                    <a:pt x="3120" y="1248"/>
                  </a:lnTo>
                  <a:lnTo>
                    <a:pt x="3122" y="1248"/>
                  </a:lnTo>
                  <a:lnTo>
                    <a:pt x="3122" y="1249"/>
                  </a:lnTo>
                  <a:lnTo>
                    <a:pt x="3120" y="1250"/>
                  </a:lnTo>
                  <a:lnTo>
                    <a:pt x="3120" y="1250"/>
                  </a:lnTo>
                  <a:lnTo>
                    <a:pt x="3120" y="1250"/>
                  </a:lnTo>
                  <a:lnTo>
                    <a:pt x="3122" y="1252"/>
                  </a:lnTo>
                  <a:lnTo>
                    <a:pt x="3124" y="1249"/>
                  </a:lnTo>
                  <a:lnTo>
                    <a:pt x="3125" y="1249"/>
                  </a:lnTo>
                  <a:lnTo>
                    <a:pt x="3125" y="1249"/>
                  </a:lnTo>
                  <a:lnTo>
                    <a:pt x="3127" y="1248"/>
                  </a:lnTo>
                  <a:lnTo>
                    <a:pt x="3128" y="1246"/>
                  </a:lnTo>
                  <a:lnTo>
                    <a:pt x="3128" y="1246"/>
                  </a:lnTo>
                  <a:lnTo>
                    <a:pt x="3128" y="1246"/>
                  </a:lnTo>
                  <a:lnTo>
                    <a:pt x="3128" y="1245"/>
                  </a:lnTo>
                  <a:lnTo>
                    <a:pt x="3131" y="1244"/>
                  </a:lnTo>
                  <a:lnTo>
                    <a:pt x="3137" y="1241"/>
                  </a:lnTo>
                  <a:lnTo>
                    <a:pt x="3138" y="1240"/>
                  </a:lnTo>
                  <a:lnTo>
                    <a:pt x="3138" y="1239"/>
                  </a:lnTo>
                  <a:lnTo>
                    <a:pt x="3138" y="1239"/>
                  </a:lnTo>
                  <a:lnTo>
                    <a:pt x="3138" y="1237"/>
                  </a:lnTo>
                  <a:lnTo>
                    <a:pt x="3137" y="1235"/>
                  </a:lnTo>
                  <a:lnTo>
                    <a:pt x="3134" y="1232"/>
                  </a:lnTo>
                  <a:lnTo>
                    <a:pt x="3134" y="1232"/>
                  </a:lnTo>
                  <a:lnTo>
                    <a:pt x="3136" y="1233"/>
                  </a:lnTo>
                  <a:lnTo>
                    <a:pt x="3138" y="1236"/>
                  </a:lnTo>
                  <a:lnTo>
                    <a:pt x="3141" y="1238"/>
                  </a:lnTo>
                  <a:lnTo>
                    <a:pt x="3144" y="1237"/>
                  </a:lnTo>
                  <a:lnTo>
                    <a:pt x="3144" y="1237"/>
                  </a:lnTo>
                  <a:lnTo>
                    <a:pt x="3144" y="1237"/>
                  </a:lnTo>
                  <a:lnTo>
                    <a:pt x="3144" y="1235"/>
                  </a:lnTo>
                  <a:lnTo>
                    <a:pt x="3141" y="1231"/>
                  </a:lnTo>
                  <a:lnTo>
                    <a:pt x="3140" y="1231"/>
                  </a:lnTo>
                  <a:lnTo>
                    <a:pt x="3139" y="1230"/>
                  </a:lnTo>
                  <a:lnTo>
                    <a:pt x="3138" y="1229"/>
                  </a:lnTo>
                  <a:lnTo>
                    <a:pt x="3140" y="1230"/>
                  </a:lnTo>
                  <a:lnTo>
                    <a:pt x="3140" y="1231"/>
                  </a:lnTo>
                  <a:lnTo>
                    <a:pt x="3141" y="1231"/>
                  </a:lnTo>
                  <a:lnTo>
                    <a:pt x="3144" y="1233"/>
                  </a:lnTo>
                  <a:lnTo>
                    <a:pt x="3144" y="1233"/>
                  </a:lnTo>
                  <a:lnTo>
                    <a:pt x="3144" y="1233"/>
                  </a:lnTo>
                  <a:lnTo>
                    <a:pt x="3144" y="1231"/>
                  </a:lnTo>
                  <a:lnTo>
                    <a:pt x="3142" y="1231"/>
                  </a:lnTo>
                  <a:lnTo>
                    <a:pt x="3144" y="1231"/>
                  </a:lnTo>
                  <a:lnTo>
                    <a:pt x="3145" y="1231"/>
                  </a:lnTo>
                  <a:lnTo>
                    <a:pt x="3146" y="1230"/>
                  </a:lnTo>
                  <a:lnTo>
                    <a:pt x="3146" y="1230"/>
                  </a:lnTo>
                  <a:lnTo>
                    <a:pt x="3144" y="1228"/>
                  </a:lnTo>
                  <a:lnTo>
                    <a:pt x="3142" y="1228"/>
                  </a:lnTo>
                  <a:lnTo>
                    <a:pt x="3142" y="1228"/>
                  </a:lnTo>
                  <a:lnTo>
                    <a:pt x="3145" y="1228"/>
                  </a:lnTo>
                  <a:lnTo>
                    <a:pt x="3145" y="1228"/>
                  </a:lnTo>
                  <a:lnTo>
                    <a:pt x="3145" y="1228"/>
                  </a:lnTo>
                  <a:lnTo>
                    <a:pt x="3145" y="1224"/>
                  </a:lnTo>
                  <a:lnTo>
                    <a:pt x="3145" y="1224"/>
                  </a:lnTo>
                  <a:lnTo>
                    <a:pt x="3147" y="1222"/>
                  </a:lnTo>
                  <a:lnTo>
                    <a:pt x="3147" y="1222"/>
                  </a:lnTo>
                  <a:lnTo>
                    <a:pt x="3148" y="1222"/>
                  </a:lnTo>
                  <a:lnTo>
                    <a:pt x="3149" y="1222"/>
                  </a:lnTo>
                  <a:lnTo>
                    <a:pt x="3150" y="1224"/>
                  </a:lnTo>
                  <a:lnTo>
                    <a:pt x="3154" y="1225"/>
                  </a:lnTo>
                  <a:lnTo>
                    <a:pt x="3157" y="1224"/>
                  </a:lnTo>
                  <a:lnTo>
                    <a:pt x="3161" y="1222"/>
                  </a:lnTo>
                  <a:lnTo>
                    <a:pt x="3163" y="1222"/>
                  </a:lnTo>
                  <a:lnTo>
                    <a:pt x="3165" y="1220"/>
                  </a:lnTo>
                  <a:lnTo>
                    <a:pt x="3166" y="1219"/>
                  </a:lnTo>
                  <a:lnTo>
                    <a:pt x="3168" y="1218"/>
                  </a:lnTo>
                  <a:lnTo>
                    <a:pt x="3171" y="1215"/>
                  </a:lnTo>
                  <a:lnTo>
                    <a:pt x="3175" y="1213"/>
                  </a:lnTo>
                  <a:lnTo>
                    <a:pt x="3178" y="1211"/>
                  </a:lnTo>
                  <a:lnTo>
                    <a:pt x="3178" y="1211"/>
                  </a:lnTo>
                  <a:lnTo>
                    <a:pt x="3178" y="1211"/>
                  </a:lnTo>
                  <a:lnTo>
                    <a:pt x="3178" y="1210"/>
                  </a:lnTo>
                  <a:lnTo>
                    <a:pt x="3180" y="1207"/>
                  </a:lnTo>
                  <a:lnTo>
                    <a:pt x="3180" y="1207"/>
                  </a:lnTo>
                  <a:lnTo>
                    <a:pt x="3181" y="1207"/>
                  </a:lnTo>
                  <a:lnTo>
                    <a:pt x="3179" y="1206"/>
                  </a:lnTo>
                  <a:lnTo>
                    <a:pt x="3180" y="1204"/>
                  </a:lnTo>
                  <a:lnTo>
                    <a:pt x="3180" y="1204"/>
                  </a:lnTo>
                  <a:lnTo>
                    <a:pt x="3180" y="1204"/>
                  </a:lnTo>
                  <a:lnTo>
                    <a:pt x="3180" y="1203"/>
                  </a:lnTo>
                  <a:lnTo>
                    <a:pt x="3181" y="1201"/>
                  </a:lnTo>
                  <a:lnTo>
                    <a:pt x="3180" y="1201"/>
                  </a:lnTo>
                  <a:lnTo>
                    <a:pt x="3180" y="1201"/>
                  </a:lnTo>
                  <a:lnTo>
                    <a:pt x="3180" y="1201"/>
                  </a:lnTo>
                  <a:lnTo>
                    <a:pt x="3180" y="1199"/>
                  </a:lnTo>
                  <a:lnTo>
                    <a:pt x="3180" y="1199"/>
                  </a:lnTo>
                  <a:lnTo>
                    <a:pt x="3180" y="1197"/>
                  </a:lnTo>
                  <a:lnTo>
                    <a:pt x="3181" y="1197"/>
                  </a:lnTo>
                  <a:lnTo>
                    <a:pt x="3181" y="1197"/>
                  </a:lnTo>
                  <a:lnTo>
                    <a:pt x="3181" y="1197"/>
                  </a:lnTo>
                  <a:lnTo>
                    <a:pt x="3181" y="1195"/>
                  </a:lnTo>
                  <a:lnTo>
                    <a:pt x="3183" y="1195"/>
                  </a:lnTo>
                  <a:lnTo>
                    <a:pt x="3183" y="1195"/>
                  </a:lnTo>
                  <a:lnTo>
                    <a:pt x="3183" y="1195"/>
                  </a:lnTo>
                  <a:lnTo>
                    <a:pt x="3183" y="1191"/>
                  </a:lnTo>
                  <a:lnTo>
                    <a:pt x="3183" y="1191"/>
                  </a:lnTo>
                  <a:lnTo>
                    <a:pt x="3183" y="1191"/>
                  </a:lnTo>
                  <a:lnTo>
                    <a:pt x="3183" y="1191"/>
                  </a:lnTo>
                  <a:lnTo>
                    <a:pt x="3182" y="1189"/>
                  </a:lnTo>
                  <a:lnTo>
                    <a:pt x="3182" y="1189"/>
                  </a:lnTo>
                  <a:lnTo>
                    <a:pt x="3182" y="1186"/>
                  </a:lnTo>
                  <a:lnTo>
                    <a:pt x="3181" y="1184"/>
                  </a:lnTo>
                  <a:lnTo>
                    <a:pt x="3181" y="1177"/>
                  </a:lnTo>
                  <a:lnTo>
                    <a:pt x="3181" y="1174"/>
                  </a:lnTo>
                  <a:lnTo>
                    <a:pt x="3180" y="1172"/>
                  </a:lnTo>
                  <a:lnTo>
                    <a:pt x="3179" y="1169"/>
                  </a:lnTo>
                  <a:lnTo>
                    <a:pt x="3179" y="1167"/>
                  </a:lnTo>
                  <a:lnTo>
                    <a:pt x="3178" y="1164"/>
                  </a:lnTo>
                  <a:lnTo>
                    <a:pt x="3176" y="1162"/>
                  </a:lnTo>
                  <a:lnTo>
                    <a:pt x="3175" y="1160"/>
                  </a:lnTo>
                  <a:lnTo>
                    <a:pt x="3175" y="1158"/>
                  </a:lnTo>
                  <a:lnTo>
                    <a:pt x="3174" y="1158"/>
                  </a:lnTo>
                  <a:lnTo>
                    <a:pt x="3174" y="1156"/>
                  </a:lnTo>
                  <a:lnTo>
                    <a:pt x="3172" y="1155"/>
                  </a:lnTo>
                  <a:lnTo>
                    <a:pt x="3171" y="1153"/>
                  </a:lnTo>
                  <a:lnTo>
                    <a:pt x="3170" y="1150"/>
                  </a:lnTo>
                  <a:lnTo>
                    <a:pt x="3168" y="1150"/>
                  </a:lnTo>
                  <a:lnTo>
                    <a:pt x="3167" y="1147"/>
                  </a:lnTo>
                  <a:lnTo>
                    <a:pt x="3167" y="1147"/>
                  </a:lnTo>
                  <a:lnTo>
                    <a:pt x="3167" y="1147"/>
                  </a:lnTo>
                  <a:lnTo>
                    <a:pt x="3167" y="1147"/>
                  </a:lnTo>
                  <a:lnTo>
                    <a:pt x="3166" y="1146"/>
                  </a:lnTo>
                  <a:lnTo>
                    <a:pt x="3167" y="1147"/>
                  </a:lnTo>
                  <a:lnTo>
                    <a:pt x="3166" y="1147"/>
                  </a:lnTo>
                  <a:lnTo>
                    <a:pt x="3166" y="1147"/>
                  </a:lnTo>
                  <a:lnTo>
                    <a:pt x="3166" y="1147"/>
                  </a:lnTo>
                  <a:lnTo>
                    <a:pt x="3166" y="1147"/>
                  </a:lnTo>
                  <a:lnTo>
                    <a:pt x="3167" y="1147"/>
                  </a:lnTo>
                  <a:lnTo>
                    <a:pt x="3167" y="1147"/>
                  </a:lnTo>
                  <a:lnTo>
                    <a:pt x="3166" y="1145"/>
                  </a:lnTo>
                  <a:lnTo>
                    <a:pt x="3165" y="1145"/>
                  </a:lnTo>
                  <a:lnTo>
                    <a:pt x="3162" y="1144"/>
                  </a:lnTo>
                  <a:lnTo>
                    <a:pt x="3161" y="1141"/>
                  </a:lnTo>
                  <a:lnTo>
                    <a:pt x="3159" y="1141"/>
                  </a:lnTo>
                  <a:lnTo>
                    <a:pt x="3158" y="1141"/>
                  </a:lnTo>
                  <a:lnTo>
                    <a:pt x="3156" y="1138"/>
                  </a:lnTo>
                  <a:lnTo>
                    <a:pt x="3156" y="1139"/>
                  </a:lnTo>
                  <a:lnTo>
                    <a:pt x="3156" y="1139"/>
                  </a:lnTo>
                  <a:lnTo>
                    <a:pt x="3156" y="1138"/>
                  </a:lnTo>
                  <a:lnTo>
                    <a:pt x="3154" y="1136"/>
                  </a:lnTo>
                  <a:lnTo>
                    <a:pt x="3151" y="1136"/>
                  </a:lnTo>
                  <a:lnTo>
                    <a:pt x="3151" y="1133"/>
                  </a:lnTo>
                  <a:lnTo>
                    <a:pt x="3147" y="1129"/>
                  </a:lnTo>
                  <a:lnTo>
                    <a:pt x="3145" y="1127"/>
                  </a:lnTo>
                  <a:lnTo>
                    <a:pt x="3144" y="1125"/>
                  </a:lnTo>
                  <a:lnTo>
                    <a:pt x="3142" y="1124"/>
                  </a:lnTo>
                  <a:lnTo>
                    <a:pt x="3142" y="1124"/>
                  </a:lnTo>
                  <a:lnTo>
                    <a:pt x="3141" y="1124"/>
                  </a:lnTo>
                  <a:lnTo>
                    <a:pt x="3141" y="1124"/>
                  </a:lnTo>
                  <a:lnTo>
                    <a:pt x="3142" y="1124"/>
                  </a:lnTo>
                  <a:lnTo>
                    <a:pt x="3142" y="1121"/>
                  </a:lnTo>
                  <a:lnTo>
                    <a:pt x="3144" y="1120"/>
                  </a:lnTo>
                  <a:lnTo>
                    <a:pt x="3138" y="1117"/>
                  </a:lnTo>
                  <a:lnTo>
                    <a:pt x="3134" y="1113"/>
                  </a:lnTo>
                  <a:lnTo>
                    <a:pt x="3133" y="1110"/>
                  </a:lnTo>
                  <a:lnTo>
                    <a:pt x="3132" y="1110"/>
                  </a:lnTo>
                  <a:lnTo>
                    <a:pt x="3131" y="1105"/>
                  </a:lnTo>
                  <a:lnTo>
                    <a:pt x="3133" y="1102"/>
                  </a:lnTo>
                  <a:lnTo>
                    <a:pt x="3133" y="1096"/>
                  </a:lnTo>
                  <a:lnTo>
                    <a:pt x="3134" y="1095"/>
                  </a:lnTo>
                  <a:lnTo>
                    <a:pt x="3136" y="1092"/>
                  </a:lnTo>
                  <a:lnTo>
                    <a:pt x="3138" y="1092"/>
                  </a:lnTo>
                  <a:lnTo>
                    <a:pt x="3139" y="1092"/>
                  </a:lnTo>
                  <a:lnTo>
                    <a:pt x="3144" y="1087"/>
                  </a:lnTo>
                  <a:lnTo>
                    <a:pt x="3144" y="1087"/>
                  </a:lnTo>
                  <a:lnTo>
                    <a:pt x="3144" y="1087"/>
                  </a:lnTo>
                  <a:lnTo>
                    <a:pt x="3142" y="1087"/>
                  </a:lnTo>
                  <a:lnTo>
                    <a:pt x="3145" y="1084"/>
                  </a:lnTo>
                  <a:lnTo>
                    <a:pt x="3145" y="1082"/>
                  </a:lnTo>
                  <a:lnTo>
                    <a:pt x="3145" y="1082"/>
                  </a:lnTo>
                  <a:lnTo>
                    <a:pt x="3146" y="1082"/>
                  </a:lnTo>
                  <a:lnTo>
                    <a:pt x="3146" y="1082"/>
                  </a:lnTo>
                  <a:lnTo>
                    <a:pt x="3146" y="1082"/>
                  </a:lnTo>
                  <a:lnTo>
                    <a:pt x="3146" y="1079"/>
                  </a:lnTo>
                  <a:lnTo>
                    <a:pt x="3146" y="1079"/>
                  </a:lnTo>
                  <a:lnTo>
                    <a:pt x="3147" y="1078"/>
                  </a:lnTo>
                  <a:lnTo>
                    <a:pt x="3147" y="1078"/>
                  </a:lnTo>
                  <a:lnTo>
                    <a:pt x="3147" y="1078"/>
                  </a:lnTo>
                  <a:lnTo>
                    <a:pt x="3146" y="1077"/>
                  </a:lnTo>
                  <a:lnTo>
                    <a:pt x="3146" y="1077"/>
                  </a:lnTo>
                  <a:lnTo>
                    <a:pt x="3148" y="1078"/>
                  </a:lnTo>
                  <a:lnTo>
                    <a:pt x="3150" y="1077"/>
                  </a:lnTo>
                  <a:lnTo>
                    <a:pt x="3150" y="1078"/>
                  </a:lnTo>
                  <a:lnTo>
                    <a:pt x="3154" y="1077"/>
                  </a:lnTo>
                  <a:lnTo>
                    <a:pt x="3154" y="1077"/>
                  </a:lnTo>
                  <a:lnTo>
                    <a:pt x="3154" y="1077"/>
                  </a:lnTo>
                  <a:lnTo>
                    <a:pt x="3155" y="1075"/>
                  </a:lnTo>
                  <a:lnTo>
                    <a:pt x="3155" y="1074"/>
                  </a:lnTo>
                  <a:lnTo>
                    <a:pt x="3156" y="1074"/>
                  </a:lnTo>
                  <a:lnTo>
                    <a:pt x="3156" y="1074"/>
                  </a:lnTo>
                  <a:lnTo>
                    <a:pt x="3156" y="1074"/>
                  </a:lnTo>
                  <a:lnTo>
                    <a:pt x="3156" y="1074"/>
                  </a:lnTo>
                  <a:lnTo>
                    <a:pt x="3157" y="1073"/>
                  </a:lnTo>
                  <a:lnTo>
                    <a:pt x="3161" y="1071"/>
                  </a:lnTo>
                  <a:lnTo>
                    <a:pt x="3164" y="1070"/>
                  </a:lnTo>
                  <a:lnTo>
                    <a:pt x="3164" y="1070"/>
                  </a:lnTo>
                  <a:lnTo>
                    <a:pt x="3164" y="1070"/>
                  </a:lnTo>
                  <a:lnTo>
                    <a:pt x="3164" y="1070"/>
                  </a:lnTo>
                  <a:lnTo>
                    <a:pt x="3164" y="1069"/>
                  </a:lnTo>
                  <a:lnTo>
                    <a:pt x="3166" y="1069"/>
                  </a:lnTo>
                  <a:lnTo>
                    <a:pt x="3168" y="1067"/>
                  </a:lnTo>
                  <a:lnTo>
                    <a:pt x="3171" y="1069"/>
                  </a:lnTo>
                  <a:lnTo>
                    <a:pt x="3171" y="1066"/>
                  </a:lnTo>
                  <a:lnTo>
                    <a:pt x="3170" y="1065"/>
                  </a:lnTo>
                  <a:lnTo>
                    <a:pt x="3170" y="1064"/>
                  </a:lnTo>
                  <a:lnTo>
                    <a:pt x="3170" y="1065"/>
                  </a:lnTo>
                  <a:lnTo>
                    <a:pt x="3172" y="1065"/>
                  </a:lnTo>
                  <a:lnTo>
                    <a:pt x="3173" y="1067"/>
                  </a:lnTo>
                  <a:lnTo>
                    <a:pt x="3173" y="1068"/>
                  </a:lnTo>
                  <a:lnTo>
                    <a:pt x="3176" y="1066"/>
                  </a:lnTo>
                  <a:lnTo>
                    <a:pt x="3179" y="1068"/>
                  </a:lnTo>
                  <a:lnTo>
                    <a:pt x="3178" y="1070"/>
                  </a:lnTo>
                  <a:lnTo>
                    <a:pt x="3181" y="1070"/>
                  </a:lnTo>
                  <a:lnTo>
                    <a:pt x="3181" y="1070"/>
                  </a:lnTo>
                  <a:lnTo>
                    <a:pt x="3183" y="1070"/>
                  </a:lnTo>
                  <a:lnTo>
                    <a:pt x="3183" y="1067"/>
                  </a:lnTo>
                  <a:lnTo>
                    <a:pt x="3187" y="1068"/>
                  </a:lnTo>
                  <a:lnTo>
                    <a:pt x="3188" y="1070"/>
                  </a:lnTo>
                  <a:lnTo>
                    <a:pt x="3188" y="1068"/>
                  </a:lnTo>
                  <a:lnTo>
                    <a:pt x="3190" y="1070"/>
                  </a:lnTo>
                  <a:lnTo>
                    <a:pt x="3190" y="1071"/>
                  </a:lnTo>
                  <a:lnTo>
                    <a:pt x="3188" y="1074"/>
                  </a:lnTo>
                  <a:lnTo>
                    <a:pt x="3187" y="1076"/>
                  </a:lnTo>
                  <a:lnTo>
                    <a:pt x="3187" y="1077"/>
                  </a:lnTo>
                  <a:lnTo>
                    <a:pt x="3189" y="1083"/>
                  </a:lnTo>
                  <a:lnTo>
                    <a:pt x="3191" y="1085"/>
                  </a:lnTo>
                  <a:lnTo>
                    <a:pt x="3191" y="1087"/>
                  </a:lnTo>
                  <a:lnTo>
                    <a:pt x="3195" y="1087"/>
                  </a:lnTo>
                  <a:lnTo>
                    <a:pt x="3197" y="1086"/>
                  </a:lnTo>
                  <a:lnTo>
                    <a:pt x="3198" y="1084"/>
                  </a:lnTo>
                  <a:lnTo>
                    <a:pt x="3196" y="1081"/>
                  </a:lnTo>
                  <a:lnTo>
                    <a:pt x="3197" y="1081"/>
                  </a:lnTo>
                  <a:lnTo>
                    <a:pt x="3197" y="1079"/>
                  </a:lnTo>
                  <a:lnTo>
                    <a:pt x="3193" y="1079"/>
                  </a:lnTo>
                  <a:lnTo>
                    <a:pt x="3193" y="1076"/>
                  </a:lnTo>
                  <a:lnTo>
                    <a:pt x="3195" y="1075"/>
                  </a:lnTo>
                  <a:lnTo>
                    <a:pt x="3197" y="1074"/>
                  </a:lnTo>
                  <a:lnTo>
                    <a:pt x="3196" y="1071"/>
                  </a:lnTo>
                  <a:lnTo>
                    <a:pt x="3197" y="1074"/>
                  </a:lnTo>
                  <a:lnTo>
                    <a:pt x="3199" y="1074"/>
                  </a:lnTo>
                  <a:lnTo>
                    <a:pt x="3200" y="1071"/>
                  </a:lnTo>
                  <a:lnTo>
                    <a:pt x="3201" y="1070"/>
                  </a:lnTo>
                  <a:lnTo>
                    <a:pt x="3200" y="1071"/>
                  </a:lnTo>
                  <a:lnTo>
                    <a:pt x="3204" y="1071"/>
                  </a:lnTo>
                  <a:lnTo>
                    <a:pt x="3207" y="1070"/>
                  </a:lnTo>
                  <a:lnTo>
                    <a:pt x="3207" y="1070"/>
                  </a:lnTo>
                  <a:lnTo>
                    <a:pt x="3208" y="1070"/>
                  </a:lnTo>
                  <a:lnTo>
                    <a:pt x="3210" y="1069"/>
                  </a:lnTo>
                  <a:lnTo>
                    <a:pt x="3210" y="1069"/>
                  </a:lnTo>
                  <a:lnTo>
                    <a:pt x="3213" y="1069"/>
                  </a:lnTo>
                  <a:lnTo>
                    <a:pt x="3215" y="1067"/>
                  </a:lnTo>
                  <a:lnTo>
                    <a:pt x="3217" y="1067"/>
                  </a:lnTo>
                  <a:lnTo>
                    <a:pt x="3217" y="1066"/>
                  </a:lnTo>
                  <a:lnTo>
                    <a:pt x="3217" y="1065"/>
                  </a:lnTo>
                  <a:lnTo>
                    <a:pt x="3217" y="1065"/>
                  </a:lnTo>
                  <a:lnTo>
                    <a:pt x="3218" y="1065"/>
                  </a:lnTo>
                  <a:lnTo>
                    <a:pt x="3218" y="1065"/>
                  </a:lnTo>
                  <a:lnTo>
                    <a:pt x="3218" y="1065"/>
                  </a:lnTo>
                  <a:lnTo>
                    <a:pt x="3218" y="1065"/>
                  </a:lnTo>
                  <a:lnTo>
                    <a:pt x="3221" y="1067"/>
                  </a:lnTo>
                  <a:lnTo>
                    <a:pt x="3223" y="1067"/>
                  </a:lnTo>
                  <a:lnTo>
                    <a:pt x="3224" y="1065"/>
                  </a:lnTo>
                  <a:lnTo>
                    <a:pt x="3224" y="1064"/>
                  </a:lnTo>
                  <a:lnTo>
                    <a:pt x="3224" y="1065"/>
                  </a:lnTo>
                  <a:lnTo>
                    <a:pt x="3226" y="1066"/>
                  </a:lnTo>
                  <a:lnTo>
                    <a:pt x="3230" y="1064"/>
                  </a:lnTo>
                  <a:lnTo>
                    <a:pt x="3232" y="1064"/>
                  </a:lnTo>
                  <a:lnTo>
                    <a:pt x="3232" y="1061"/>
                  </a:lnTo>
                  <a:lnTo>
                    <a:pt x="3233" y="1059"/>
                  </a:lnTo>
                  <a:lnTo>
                    <a:pt x="3236" y="1060"/>
                  </a:lnTo>
                  <a:lnTo>
                    <a:pt x="3235" y="1058"/>
                  </a:lnTo>
                  <a:lnTo>
                    <a:pt x="3234" y="1054"/>
                  </a:lnTo>
                  <a:lnTo>
                    <a:pt x="3235" y="1057"/>
                  </a:lnTo>
                  <a:lnTo>
                    <a:pt x="3238" y="1059"/>
                  </a:lnTo>
                  <a:lnTo>
                    <a:pt x="3238" y="1060"/>
                  </a:lnTo>
                  <a:lnTo>
                    <a:pt x="3240" y="1060"/>
                  </a:lnTo>
                  <a:lnTo>
                    <a:pt x="3240" y="1054"/>
                  </a:lnTo>
                  <a:lnTo>
                    <a:pt x="3238" y="1052"/>
                  </a:lnTo>
                  <a:lnTo>
                    <a:pt x="3238" y="1052"/>
                  </a:lnTo>
                  <a:lnTo>
                    <a:pt x="3238" y="1052"/>
                  </a:lnTo>
                  <a:lnTo>
                    <a:pt x="3239" y="1051"/>
                  </a:lnTo>
                  <a:lnTo>
                    <a:pt x="3236" y="1050"/>
                  </a:lnTo>
                  <a:lnTo>
                    <a:pt x="3235" y="1050"/>
                  </a:lnTo>
                  <a:lnTo>
                    <a:pt x="3236" y="1050"/>
                  </a:lnTo>
                  <a:lnTo>
                    <a:pt x="3238" y="1049"/>
                  </a:lnTo>
                  <a:lnTo>
                    <a:pt x="3238" y="1048"/>
                  </a:lnTo>
                  <a:lnTo>
                    <a:pt x="3238" y="1047"/>
                  </a:lnTo>
                  <a:lnTo>
                    <a:pt x="3239" y="1048"/>
                  </a:lnTo>
                  <a:lnTo>
                    <a:pt x="3241" y="1047"/>
                  </a:lnTo>
                  <a:lnTo>
                    <a:pt x="3242" y="1047"/>
                  </a:lnTo>
                  <a:lnTo>
                    <a:pt x="3241" y="1047"/>
                  </a:lnTo>
                  <a:lnTo>
                    <a:pt x="3239" y="1048"/>
                  </a:lnTo>
                  <a:lnTo>
                    <a:pt x="3240" y="1048"/>
                  </a:lnTo>
                  <a:lnTo>
                    <a:pt x="3241" y="1048"/>
                  </a:lnTo>
                  <a:lnTo>
                    <a:pt x="3241" y="1049"/>
                  </a:lnTo>
                  <a:lnTo>
                    <a:pt x="3241" y="1052"/>
                  </a:lnTo>
                  <a:lnTo>
                    <a:pt x="3242" y="1052"/>
                  </a:lnTo>
                  <a:lnTo>
                    <a:pt x="3244" y="1056"/>
                  </a:lnTo>
                  <a:lnTo>
                    <a:pt x="3247" y="1056"/>
                  </a:lnTo>
                  <a:lnTo>
                    <a:pt x="3248" y="1058"/>
                  </a:lnTo>
                  <a:lnTo>
                    <a:pt x="3248" y="1058"/>
                  </a:lnTo>
                  <a:lnTo>
                    <a:pt x="3249" y="1058"/>
                  </a:lnTo>
                  <a:lnTo>
                    <a:pt x="3250" y="1059"/>
                  </a:lnTo>
                  <a:lnTo>
                    <a:pt x="3250" y="1056"/>
                  </a:lnTo>
                  <a:lnTo>
                    <a:pt x="3249" y="1054"/>
                  </a:lnTo>
                  <a:lnTo>
                    <a:pt x="3251" y="1054"/>
                  </a:lnTo>
                  <a:lnTo>
                    <a:pt x="3252" y="1054"/>
                  </a:lnTo>
                  <a:lnTo>
                    <a:pt x="3252" y="1056"/>
                  </a:lnTo>
                  <a:lnTo>
                    <a:pt x="3253" y="1053"/>
                  </a:lnTo>
                  <a:lnTo>
                    <a:pt x="3252" y="1053"/>
                  </a:lnTo>
                  <a:lnTo>
                    <a:pt x="3256" y="1051"/>
                  </a:lnTo>
                  <a:lnTo>
                    <a:pt x="3256" y="1053"/>
                  </a:lnTo>
                  <a:lnTo>
                    <a:pt x="3256" y="1054"/>
                  </a:lnTo>
                  <a:lnTo>
                    <a:pt x="3259" y="1053"/>
                  </a:lnTo>
                  <a:lnTo>
                    <a:pt x="3262" y="1051"/>
                  </a:lnTo>
                  <a:lnTo>
                    <a:pt x="3264" y="1051"/>
                  </a:lnTo>
                  <a:lnTo>
                    <a:pt x="3265" y="1052"/>
                  </a:lnTo>
                  <a:lnTo>
                    <a:pt x="3267" y="1053"/>
                  </a:lnTo>
                  <a:lnTo>
                    <a:pt x="3267" y="1053"/>
                  </a:lnTo>
                  <a:lnTo>
                    <a:pt x="3268" y="1050"/>
                  </a:lnTo>
                  <a:lnTo>
                    <a:pt x="3270" y="1051"/>
                  </a:lnTo>
                  <a:lnTo>
                    <a:pt x="3273" y="1050"/>
                  </a:lnTo>
                  <a:lnTo>
                    <a:pt x="3274" y="1050"/>
                  </a:lnTo>
                  <a:lnTo>
                    <a:pt x="3274" y="1049"/>
                  </a:lnTo>
                  <a:lnTo>
                    <a:pt x="3274" y="1050"/>
                  </a:lnTo>
                  <a:lnTo>
                    <a:pt x="3275" y="1050"/>
                  </a:lnTo>
                  <a:lnTo>
                    <a:pt x="3278" y="1049"/>
                  </a:lnTo>
                  <a:lnTo>
                    <a:pt x="3281" y="1049"/>
                  </a:lnTo>
                  <a:lnTo>
                    <a:pt x="3281" y="1047"/>
                  </a:lnTo>
                  <a:lnTo>
                    <a:pt x="3281" y="1045"/>
                  </a:lnTo>
                  <a:lnTo>
                    <a:pt x="3281" y="1045"/>
                  </a:lnTo>
                  <a:lnTo>
                    <a:pt x="3282" y="1045"/>
                  </a:lnTo>
                  <a:lnTo>
                    <a:pt x="3282" y="1043"/>
                  </a:lnTo>
                  <a:lnTo>
                    <a:pt x="3284" y="1042"/>
                  </a:lnTo>
                  <a:lnTo>
                    <a:pt x="3285" y="1042"/>
                  </a:lnTo>
                  <a:lnTo>
                    <a:pt x="3285" y="1039"/>
                  </a:lnTo>
                  <a:lnTo>
                    <a:pt x="3289" y="1040"/>
                  </a:lnTo>
                  <a:lnTo>
                    <a:pt x="3292" y="1036"/>
                  </a:lnTo>
                  <a:lnTo>
                    <a:pt x="3292" y="1036"/>
                  </a:lnTo>
                  <a:lnTo>
                    <a:pt x="3295" y="1035"/>
                  </a:lnTo>
                  <a:lnTo>
                    <a:pt x="3296" y="1033"/>
                  </a:lnTo>
                  <a:lnTo>
                    <a:pt x="3296" y="1033"/>
                  </a:lnTo>
                  <a:lnTo>
                    <a:pt x="3299" y="1033"/>
                  </a:lnTo>
                  <a:lnTo>
                    <a:pt x="3301" y="1031"/>
                  </a:lnTo>
                  <a:lnTo>
                    <a:pt x="3301" y="1027"/>
                  </a:lnTo>
                  <a:lnTo>
                    <a:pt x="3299" y="1027"/>
                  </a:lnTo>
                  <a:lnTo>
                    <a:pt x="3298" y="1027"/>
                  </a:lnTo>
                  <a:lnTo>
                    <a:pt x="3300" y="1027"/>
                  </a:lnTo>
                  <a:lnTo>
                    <a:pt x="3302" y="1026"/>
                  </a:lnTo>
                  <a:lnTo>
                    <a:pt x="3303" y="1025"/>
                  </a:lnTo>
                  <a:lnTo>
                    <a:pt x="3306" y="1025"/>
                  </a:lnTo>
                  <a:lnTo>
                    <a:pt x="3308" y="1025"/>
                  </a:lnTo>
                  <a:lnTo>
                    <a:pt x="3310" y="1025"/>
                  </a:lnTo>
                  <a:lnTo>
                    <a:pt x="3309" y="1023"/>
                  </a:lnTo>
                  <a:lnTo>
                    <a:pt x="3311" y="1020"/>
                  </a:lnTo>
                  <a:lnTo>
                    <a:pt x="3315" y="1019"/>
                  </a:lnTo>
                  <a:lnTo>
                    <a:pt x="3313" y="1017"/>
                  </a:lnTo>
                  <a:lnTo>
                    <a:pt x="3316" y="1017"/>
                  </a:lnTo>
                  <a:lnTo>
                    <a:pt x="3318" y="1017"/>
                  </a:lnTo>
                  <a:lnTo>
                    <a:pt x="3317" y="1014"/>
                  </a:lnTo>
                  <a:lnTo>
                    <a:pt x="3317" y="1013"/>
                  </a:lnTo>
                  <a:lnTo>
                    <a:pt x="3320" y="1011"/>
                  </a:lnTo>
                  <a:lnTo>
                    <a:pt x="3320" y="1014"/>
                  </a:lnTo>
                  <a:lnTo>
                    <a:pt x="3323" y="1011"/>
                  </a:lnTo>
                  <a:lnTo>
                    <a:pt x="3320" y="1010"/>
                  </a:lnTo>
                  <a:lnTo>
                    <a:pt x="3321" y="1009"/>
                  </a:lnTo>
                  <a:lnTo>
                    <a:pt x="3323" y="1006"/>
                  </a:lnTo>
                  <a:lnTo>
                    <a:pt x="3320" y="1005"/>
                  </a:lnTo>
                  <a:lnTo>
                    <a:pt x="3320" y="1005"/>
                  </a:lnTo>
                  <a:lnTo>
                    <a:pt x="3319" y="1006"/>
                  </a:lnTo>
                  <a:lnTo>
                    <a:pt x="3318" y="1005"/>
                  </a:lnTo>
                  <a:lnTo>
                    <a:pt x="3316" y="1002"/>
                  </a:lnTo>
                  <a:lnTo>
                    <a:pt x="3320" y="1005"/>
                  </a:lnTo>
                  <a:lnTo>
                    <a:pt x="3321" y="1002"/>
                  </a:lnTo>
                  <a:lnTo>
                    <a:pt x="3325" y="1000"/>
                  </a:lnTo>
                  <a:lnTo>
                    <a:pt x="3327" y="999"/>
                  </a:lnTo>
                  <a:lnTo>
                    <a:pt x="3325" y="999"/>
                  </a:lnTo>
                  <a:lnTo>
                    <a:pt x="3325" y="997"/>
                  </a:lnTo>
                  <a:lnTo>
                    <a:pt x="3325" y="997"/>
                  </a:lnTo>
                  <a:lnTo>
                    <a:pt x="3323" y="996"/>
                  </a:lnTo>
                  <a:lnTo>
                    <a:pt x="3321" y="993"/>
                  </a:lnTo>
                  <a:lnTo>
                    <a:pt x="3328" y="993"/>
                  </a:lnTo>
                  <a:lnTo>
                    <a:pt x="3328" y="994"/>
                  </a:lnTo>
                  <a:lnTo>
                    <a:pt x="3326" y="997"/>
                  </a:lnTo>
                  <a:lnTo>
                    <a:pt x="3328" y="996"/>
                  </a:lnTo>
                  <a:lnTo>
                    <a:pt x="3329" y="993"/>
                  </a:lnTo>
                  <a:lnTo>
                    <a:pt x="3332" y="989"/>
                  </a:lnTo>
                  <a:lnTo>
                    <a:pt x="3334" y="988"/>
                  </a:lnTo>
                  <a:lnTo>
                    <a:pt x="3330" y="987"/>
                  </a:lnTo>
                  <a:lnTo>
                    <a:pt x="3334" y="988"/>
                  </a:lnTo>
                  <a:lnTo>
                    <a:pt x="3335" y="984"/>
                  </a:lnTo>
                  <a:lnTo>
                    <a:pt x="3336" y="981"/>
                  </a:lnTo>
                  <a:lnTo>
                    <a:pt x="3337" y="981"/>
                  </a:lnTo>
                  <a:lnTo>
                    <a:pt x="3338" y="979"/>
                  </a:lnTo>
                  <a:lnTo>
                    <a:pt x="3337" y="975"/>
                  </a:lnTo>
                  <a:lnTo>
                    <a:pt x="3336" y="974"/>
                  </a:lnTo>
                  <a:lnTo>
                    <a:pt x="3338" y="975"/>
                  </a:lnTo>
                  <a:lnTo>
                    <a:pt x="3341" y="975"/>
                  </a:lnTo>
                  <a:lnTo>
                    <a:pt x="3343" y="973"/>
                  </a:lnTo>
                  <a:lnTo>
                    <a:pt x="3343" y="971"/>
                  </a:lnTo>
                  <a:lnTo>
                    <a:pt x="3344" y="970"/>
                  </a:lnTo>
                  <a:lnTo>
                    <a:pt x="3345" y="972"/>
                  </a:lnTo>
                  <a:lnTo>
                    <a:pt x="3347" y="971"/>
                  </a:lnTo>
                  <a:lnTo>
                    <a:pt x="3349" y="967"/>
                  </a:lnTo>
                  <a:lnTo>
                    <a:pt x="3349" y="965"/>
                  </a:lnTo>
                  <a:lnTo>
                    <a:pt x="3345" y="965"/>
                  </a:lnTo>
                  <a:lnTo>
                    <a:pt x="3344" y="963"/>
                  </a:lnTo>
                  <a:lnTo>
                    <a:pt x="3346" y="965"/>
                  </a:lnTo>
                  <a:lnTo>
                    <a:pt x="3347" y="965"/>
                  </a:lnTo>
                  <a:lnTo>
                    <a:pt x="3351" y="964"/>
                  </a:lnTo>
                  <a:lnTo>
                    <a:pt x="3350" y="959"/>
                  </a:lnTo>
                  <a:lnTo>
                    <a:pt x="3347" y="958"/>
                  </a:lnTo>
                  <a:lnTo>
                    <a:pt x="3350" y="956"/>
                  </a:lnTo>
                  <a:lnTo>
                    <a:pt x="3352" y="957"/>
                  </a:lnTo>
                  <a:lnTo>
                    <a:pt x="3353" y="958"/>
                  </a:lnTo>
                  <a:lnTo>
                    <a:pt x="3354" y="955"/>
                  </a:lnTo>
                  <a:lnTo>
                    <a:pt x="3354" y="953"/>
                  </a:lnTo>
                  <a:lnTo>
                    <a:pt x="3351" y="953"/>
                  </a:lnTo>
                  <a:lnTo>
                    <a:pt x="3349" y="954"/>
                  </a:lnTo>
                  <a:lnTo>
                    <a:pt x="3347" y="954"/>
                  </a:lnTo>
                  <a:lnTo>
                    <a:pt x="3351" y="953"/>
                  </a:lnTo>
                  <a:lnTo>
                    <a:pt x="3352" y="951"/>
                  </a:lnTo>
                  <a:lnTo>
                    <a:pt x="3353" y="949"/>
                  </a:lnTo>
                  <a:lnTo>
                    <a:pt x="3355" y="948"/>
                  </a:lnTo>
                  <a:lnTo>
                    <a:pt x="3353" y="946"/>
                  </a:lnTo>
                  <a:lnTo>
                    <a:pt x="3351" y="946"/>
                  </a:lnTo>
                  <a:lnTo>
                    <a:pt x="3350" y="945"/>
                  </a:lnTo>
                  <a:lnTo>
                    <a:pt x="3350" y="945"/>
                  </a:lnTo>
                  <a:lnTo>
                    <a:pt x="3347" y="942"/>
                  </a:lnTo>
                  <a:lnTo>
                    <a:pt x="3345" y="941"/>
                  </a:lnTo>
                  <a:lnTo>
                    <a:pt x="3343" y="941"/>
                  </a:lnTo>
                  <a:lnTo>
                    <a:pt x="3342" y="942"/>
                  </a:lnTo>
                  <a:lnTo>
                    <a:pt x="3337" y="943"/>
                  </a:lnTo>
                  <a:lnTo>
                    <a:pt x="3338" y="945"/>
                  </a:lnTo>
                  <a:lnTo>
                    <a:pt x="3337" y="943"/>
                  </a:lnTo>
                  <a:lnTo>
                    <a:pt x="3336" y="940"/>
                  </a:lnTo>
                  <a:lnTo>
                    <a:pt x="3334" y="941"/>
                  </a:lnTo>
                  <a:lnTo>
                    <a:pt x="3332" y="941"/>
                  </a:lnTo>
                  <a:lnTo>
                    <a:pt x="3333" y="940"/>
                  </a:lnTo>
                  <a:lnTo>
                    <a:pt x="3336" y="939"/>
                  </a:lnTo>
                  <a:lnTo>
                    <a:pt x="3338" y="940"/>
                  </a:lnTo>
                  <a:lnTo>
                    <a:pt x="3340" y="940"/>
                  </a:lnTo>
                  <a:lnTo>
                    <a:pt x="3341" y="938"/>
                  </a:lnTo>
                  <a:lnTo>
                    <a:pt x="3345" y="936"/>
                  </a:lnTo>
                  <a:lnTo>
                    <a:pt x="3349" y="933"/>
                  </a:lnTo>
                  <a:lnTo>
                    <a:pt x="3353" y="932"/>
                  </a:lnTo>
                  <a:lnTo>
                    <a:pt x="3353" y="930"/>
                  </a:lnTo>
                  <a:lnTo>
                    <a:pt x="3352" y="928"/>
                  </a:lnTo>
                  <a:lnTo>
                    <a:pt x="3350" y="925"/>
                  </a:lnTo>
                  <a:lnTo>
                    <a:pt x="3349" y="924"/>
                  </a:lnTo>
                  <a:lnTo>
                    <a:pt x="3346" y="923"/>
                  </a:lnTo>
                  <a:lnTo>
                    <a:pt x="3343" y="920"/>
                  </a:lnTo>
                  <a:lnTo>
                    <a:pt x="3338" y="919"/>
                  </a:lnTo>
                  <a:lnTo>
                    <a:pt x="3337" y="915"/>
                  </a:lnTo>
                  <a:lnTo>
                    <a:pt x="3335" y="915"/>
                  </a:lnTo>
                  <a:lnTo>
                    <a:pt x="3332" y="916"/>
                  </a:lnTo>
                  <a:lnTo>
                    <a:pt x="3328" y="916"/>
                  </a:lnTo>
                  <a:lnTo>
                    <a:pt x="3328" y="916"/>
                  </a:lnTo>
                  <a:lnTo>
                    <a:pt x="3326" y="914"/>
                  </a:lnTo>
                  <a:lnTo>
                    <a:pt x="3324" y="912"/>
                  </a:lnTo>
                  <a:lnTo>
                    <a:pt x="3323" y="913"/>
                  </a:lnTo>
                  <a:lnTo>
                    <a:pt x="3324" y="911"/>
                  </a:lnTo>
                  <a:lnTo>
                    <a:pt x="3323" y="910"/>
                  </a:lnTo>
                  <a:lnTo>
                    <a:pt x="3325" y="911"/>
                  </a:lnTo>
                  <a:lnTo>
                    <a:pt x="3327" y="913"/>
                  </a:lnTo>
                  <a:lnTo>
                    <a:pt x="3328" y="915"/>
                  </a:lnTo>
                  <a:lnTo>
                    <a:pt x="3330" y="916"/>
                  </a:lnTo>
                  <a:lnTo>
                    <a:pt x="3330" y="916"/>
                  </a:lnTo>
                  <a:lnTo>
                    <a:pt x="3334" y="914"/>
                  </a:lnTo>
                  <a:lnTo>
                    <a:pt x="3334" y="914"/>
                  </a:lnTo>
                  <a:lnTo>
                    <a:pt x="3337" y="914"/>
                  </a:lnTo>
                  <a:lnTo>
                    <a:pt x="3340" y="915"/>
                  </a:lnTo>
                  <a:lnTo>
                    <a:pt x="3341" y="917"/>
                  </a:lnTo>
                  <a:lnTo>
                    <a:pt x="3343" y="917"/>
                  </a:lnTo>
                  <a:lnTo>
                    <a:pt x="3346" y="917"/>
                  </a:lnTo>
                  <a:lnTo>
                    <a:pt x="3349" y="917"/>
                  </a:lnTo>
                  <a:lnTo>
                    <a:pt x="3351" y="919"/>
                  </a:lnTo>
                  <a:lnTo>
                    <a:pt x="3353" y="920"/>
                  </a:lnTo>
                  <a:lnTo>
                    <a:pt x="3353" y="917"/>
                  </a:lnTo>
                  <a:lnTo>
                    <a:pt x="3351" y="914"/>
                  </a:lnTo>
                  <a:lnTo>
                    <a:pt x="3351" y="914"/>
                  </a:lnTo>
                  <a:lnTo>
                    <a:pt x="3347" y="913"/>
                  </a:lnTo>
                  <a:lnTo>
                    <a:pt x="3347" y="910"/>
                  </a:lnTo>
                  <a:lnTo>
                    <a:pt x="3344" y="908"/>
                  </a:lnTo>
                  <a:lnTo>
                    <a:pt x="3342" y="906"/>
                  </a:lnTo>
                  <a:lnTo>
                    <a:pt x="3340" y="906"/>
                  </a:lnTo>
                  <a:lnTo>
                    <a:pt x="3340" y="903"/>
                  </a:lnTo>
                  <a:lnTo>
                    <a:pt x="3341" y="900"/>
                  </a:lnTo>
                  <a:lnTo>
                    <a:pt x="3338" y="898"/>
                  </a:lnTo>
                  <a:lnTo>
                    <a:pt x="3337" y="895"/>
                  </a:lnTo>
                  <a:lnTo>
                    <a:pt x="3336" y="893"/>
                  </a:lnTo>
                  <a:lnTo>
                    <a:pt x="3335" y="890"/>
                  </a:lnTo>
                  <a:lnTo>
                    <a:pt x="3333" y="885"/>
                  </a:lnTo>
                  <a:lnTo>
                    <a:pt x="3333" y="883"/>
                  </a:lnTo>
                  <a:lnTo>
                    <a:pt x="3332" y="880"/>
                  </a:lnTo>
                  <a:lnTo>
                    <a:pt x="3328" y="878"/>
                  </a:lnTo>
                  <a:lnTo>
                    <a:pt x="3325" y="878"/>
                  </a:lnTo>
                  <a:lnTo>
                    <a:pt x="3325" y="877"/>
                  </a:lnTo>
                  <a:lnTo>
                    <a:pt x="3323" y="876"/>
                  </a:lnTo>
                  <a:lnTo>
                    <a:pt x="3319" y="873"/>
                  </a:lnTo>
                  <a:lnTo>
                    <a:pt x="3317" y="873"/>
                  </a:lnTo>
                  <a:lnTo>
                    <a:pt x="3317" y="871"/>
                  </a:lnTo>
                  <a:lnTo>
                    <a:pt x="3317" y="869"/>
                  </a:lnTo>
                  <a:lnTo>
                    <a:pt x="3318" y="868"/>
                  </a:lnTo>
                  <a:lnTo>
                    <a:pt x="3319" y="866"/>
                  </a:lnTo>
                  <a:lnTo>
                    <a:pt x="3321" y="863"/>
                  </a:lnTo>
                  <a:lnTo>
                    <a:pt x="3324" y="860"/>
                  </a:lnTo>
                  <a:lnTo>
                    <a:pt x="3326" y="860"/>
                  </a:lnTo>
                  <a:lnTo>
                    <a:pt x="3328" y="857"/>
                  </a:lnTo>
                  <a:lnTo>
                    <a:pt x="3329" y="855"/>
                  </a:lnTo>
                  <a:lnTo>
                    <a:pt x="3330" y="855"/>
                  </a:lnTo>
                  <a:lnTo>
                    <a:pt x="3330" y="853"/>
                  </a:lnTo>
                  <a:lnTo>
                    <a:pt x="3329" y="852"/>
                  </a:lnTo>
                  <a:lnTo>
                    <a:pt x="3329" y="851"/>
                  </a:lnTo>
                  <a:lnTo>
                    <a:pt x="3333" y="849"/>
                  </a:lnTo>
                  <a:lnTo>
                    <a:pt x="3333" y="852"/>
                  </a:lnTo>
                  <a:lnTo>
                    <a:pt x="3335" y="853"/>
                  </a:lnTo>
                  <a:lnTo>
                    <a:pt x="3337" y="852"/>
                  </a:lnTo>
                  <a:lnTo>
                    <a:pt x="3337" y="848"/>
                  </a:lnTo>
                  <a:lnTo>
                    <a:pt x="3340" y="847"/>
                  </a:lnTo>
                  <a:lnTo>
                    <a:pt x="3340" y="844"/>
                  </a:lnTo>
                  <a:lnTo>
                    <a:pt x="3338" y="845"/>
                  </a:lnTo>
                  <a:lnTo>
                    <a:pt x="3340" y="844"/>
                  </a:lnTo>
                  <a:lnTo>
                    <a:pt x="3341" y="845"/>
                  </a:lnTo>
                  <a:lnTo>
                    <a:pt x="3346" y="843"/>
                  </a:lnTo>
                  <a:lnTo>
                    <a:pt x="3349" y="842"/>
                  </a:lnTo>
                  <a:lnTo>
                    <a:pt x="3351" y="840"/>
                  </a:lnTo>
                  <a:lnTo>
                    <a:pt x="3353" y="839"/>
                  </a:lnTo>
                  <a:lnTo>
                    <a:pt x="3355" y="839"/>
                  </a:lnTo>
                  <a:lnTo>
                    <a:pt x="3358" y="838"/>
                  </a:lnTo>
                  <a:lnTo>
                    <a:pt x="3358" y="840"/>
                  </a:lnTo>
                  <a:lnTo>
                    <a:pt x="3361" y="840"/>
                  </a:lnTo>
                  <a:lnTo>
                    <a:pt x="3362" y="838"/>
                  </a:lnTo>
                  <a:lnTo>
                    <a:pt x="3363" y="836"/>
                  </a:lnTo>
                  <a:lnTo>
                    <a:pt x="3363" y="833"/>
                  </a:lnTo>
                  <a:lnTo>
                    <a:pt x="3360" y="831"/>
                  </a:lnTo>
                  <a:lnTo>
                    <a:pt x="3360" y="831"/>
                  </a:lnTo>
                  <a:lnTo>
                    <a:pt x="3356" y="829"/>
                  </a:lnTo>
                  <a:lnTo>
                    <a:pt x="3355" y="831"/>
                  </a:lnTo>
                  <a:lnTo>
                    <a:pt x="3354" y="830"/>
                  </a:lnTo>
                  <a:lnTo>
                    <a:pt x="3349" y="831"/>
                  </a:lnTo>
                  <a:lnTo>
                    <a:pt x="3346" y="828"/>
                  </a:lnTo>
                  <a:lnTo>
                    <a:pt x="3344" y="829"/>
                  </a:lnTo>
                  <a:lnTo>
                    <a:pt x="3342" y="826"/>
                  </a:lnTo>
                  <a:lnTo>
                    <a:pt x="3338" y="825"/>
                  </a:lnTo>
                  <a:lnTo>
                    <a:pt x="3336" y="826"/>
                  </a:lnTo>
                  <a:lnTo>
                    <a:pt x="3333" y="827"/>
                  </a:lnTo>
                  <a:lnTo>
                    <a:pt x="3330" y="830"/>
                  </a:lnTo>
                  <a:lnTo>
                    <a:pt x="3328" y="831"/>
                  </a:lnTo>
                  <a:lnTo>
                    <a:pt x="3326" y="834"/>
                  </a:lnTo>
                  <a:lnTo>
                    <a:pt x="3324" y="836"/>
                  </a:lnTo>
                  <a:lnTo>
                    <a:pt x="3323" y="836"/>
                  </a:lnTo>
                  <a:lnTo>
                    <a:pt x="3319" y="836"/>
                  </a:lnTo>
                  <a:lnTo>
                    <a:pt x="3317" y="836"/>
                  </a:lnTo>
                  <a:lnTo>
                    <a:pt x="3313" y="834"/>
                  </a:lnTo>
                  <a:lnTo>
                    <a:pt x="3313" y="833"/>
                  </a:lnTo>
                  <a:lnTo>
                    <a:pt x="3313" y="830"/>
                  </a:lnTo>
                  <a:lnTo>
                    <a:pt x="3315" y="827"/>
                  </a:lnTo>
                  <a:lnTo>
                    <a:pt x="3316" y="825"/>
                  </a:lnTo>
                  <a:lnTo>
                    <a:pt x="3313" y="822"/>
                  </a:lnTo>
                  <a:lnTo>
                    <a:pt x="3311" y="819"/>
                  </a:lnTo>
                  <a:lnTo>
                    <a:pt x="3310" y="820"/>
                  </a:lnTo>
                  <a:lnTo>
                    <a:pt x="3309" y="822"/>
                  </a:lnTo>
                  <a:lnTo>
                    <a:pt x="3306" y="820"/>
                  </a:lnTo>
                  <a:lnTo>
                    <a:pt x="3303" y="820"/>
                  </a:lnTo>
                  <a:lnTo>
                    <a:pt x="3301" y="820"/>
                  </a:lnTo>
                  <a:lnTo>
                    <a:pt x="3299" y="818"/>
                  </a:lnTo>
                  <a:lnTo>
                    <a:pt x="3299" y="818"/>
                  </a:lnTo>
                  <a:lnTo>
                    <a:pt x="3295" y="816"/>
                  </a:lnTo>
                  <a:lnTo>
                    <a:pt x="3294" y="812"/>
                  </a:lnTo>
                  <a:lnTo>
                    <a:pt x="3294" y="810"/>
                  </a:lnTo>
                  <a:lnTo>
                    <a:pt x="3296" y="808"/>
                  </a:lnTo>
                  <a:lnTo>
                    <a:pt x="3296" y="806"/>
                  </a:lnTo>
                  <a:lnTo>
                    <a:pt x="3298" y="804"/>
                  </a:lnTo>
                  <a:lnTo>
                    <a:pt x="3301" y="803"/>
                  </a:lnTo>
                  <a:lnTo>
                    <a:pt x="3307" y="805"/>
                  </a:lnTo>
                  <a:lnTo>
                    <a:pt x="3309" y="803"/>
                  </a:lnTo>
                  <a:lnTo>
                    <a:pt x="3311" y="804"/>
                  </a:lnTo>
                  <a:lnTo>
                    <a:pt x="3315" y="803"/>
                  </a:lnTo>
                  <a:lnTo>
                    <a:pt x="3318" y="800"/>
                  </a:lnTo>
                  <a:lnTo>
                    <a:pt x="3318" y="797"/>
                  </a:lnTo>
                  <a:lnTo>
                    <a:pt x="3319" y="794"/>
                  </a:lnTo>
                  <a:lnTo>
                    <a:pt x="3323" y="792"/>
                  </a:lnTo>
                  <a:lnTo>
                    <a:pt x="3325" y="791"/>
                  </a:lnTo>
                  <a:lnTo>
                    <a:pt x="3326" y="791"/>
                  </a:lnTo>
                  <a:lnTo>
                    <a:pt x="3327" y="791"/>
                  </a:lnTo>
                  <a:lnTo>
                    <a:pt x="3328" y="789"/>
                  </a:lnTo>
                  <a:lnTo>
                    <a:pt x="3332" y="787"/>
                  </a:lnTo>
                  <a:lnTo>
                    <a:pt x="3336" y="785"/>
                  </a:lnTo>
                  <a:lnTo>
                    <a:pt x="3337" y="782"/>
                  </a:lnTo>
                  <a:lnTo>
                    <a:pt x="3340" y="779"/>
                  </a:lnTo>
                  <a:lnTo>
                    <a:pt x="3342" y="779"/>
                  </a:lnTo>
                  <a:lnTo>
                    <a:pt x="3343" y="776"/>
                  </a:lnTo>
                  <a:lnTo>
                    <a:pt x="3344" y="775"/>
                  </a:lnTo>
                  <a:lnTo>
                    <a:pt x="3346" y="775"/>
                  </a:lnTo>
                  <a:lnTo>
                    <a:pt x="3350" y="777"/>
                  </a:lnTo>
                  <a:lnTo>
                    <a:pt x="3351" y="777"/>
                  </a:lnTo>
                  <a:lnTo>
                    <a:pt x="3353" y="774"/>
                  </a:lnTo>
                  <a:lnTo>
                    <a:pt x="3353" y="775"/>
                  </a:lnTo>
                  <a:lnTo>
                    <a:pt x="3355" y="778"/>
                  </a:lnTo>
                  <a:lnTo>
                    <a:pt x="3358" y="779"/>
                  </a:lnTo>
                  <a:lnTo>
                    <a:pt x="3358" y="780"/>
                  </a:lnTo>
                  <a:lnTo>
                    <a:pt x="3359" y="783"/>
                  </a:lnTo>
                  <a:lnTo>
                    <a:pt x="3356" y="785"/>
                  </a:lnTo>
                  <a:lnTo>
                    <a:pt x="3355" y="788"/>
                  </a:lnTo>
                  <a:lnTo>
                    <a:pt x="3354" y="791"/>
                  </a:lnTo>
                  <a:lnTo>
                    <a:pt x="3353" y="791"/>
                  </a:lnTo>
                  <a:lnTo>
                    <a:pt x="3351" y="792"/>
                  </a:lnTo>
                  <a:lnTo>
                    <a:pt x="3349" y="794"/>
                  </a:lnTo>
                  <a:lnTo>
                    <a:pt x="3349" y="796"/>
                  </a:lnTo>
                  <a:lnTo>
                    <a:pt x="3347" y="796"/>
                  </a:lnTo>
                  <a:lnTo>
                    <a:pt x="3345" y="797"/>
                  </a:lnTo>
                  <a:lnTo>
                    <a:pt x="3347" y="797"/>
                  </a:lnTo>
                  <a:lnTo>
                    <a:pt x="3349" y="801"/>
                  </a:lnTo>
                  <a:lnTo>
                    <a:pt x="3354" y="800"/>
                  </a:lnTo>
                  <a:lnTo>
                    <a:pt x="3353" y="801"/>
                  </a:lnTo>
                  <a:lnTo>
                    <a:pt x="3350" y="803"/>
                  </a:lnTo>
                  <a:lnTo>
                    <a:pt x="3349" y="805"/>
                  </a:lnTo>
                  <a:lnTo>
                    <a:pt x="3346" y="806"/>
                  </a:lnTo>
                  <a:lnTo>
                    <a:pt x="3344" y="808"/>
                  </a:lnTo>
                  <a:lnTo>
                    <a:pt x="3344" y="811"/>
                  </a:lnTo>
                  <a:lnTo>
                    <a:pt x="3347" y="810"/>
                  </a:lnTo>
                  <a:lnTo>
                    <a:pt x="3350" y="808"/>
                  </a:lnTo>
                  <a:lnTo>
                    <a:pt x="3355" y="805"/>
                  </a:lnTo>
                  <a:lnTo>
                    <a:pt x="3358" y="803"/>
                  </a:lnTo>
                  <a:lnTo>
                    <a:pt x="3360" y="801"/>
                  </a:lnTo>
                  <a:lnTo>
                    <a:pt x="3362" y="799"/>
                  </a:lnTo>
                  <a:lnTo>
                    <a:pt x="3366" y="797"/>
                  </a:lnTo>
                  <a:lnTo>
                    <a:pt x="3371" y="795"/>
                  </a:lnTo>
                  <a:lnTo>
                    <a:pt x="3373" y="794"/>
                  </a:lnTo>
                  <a:lnTo>
                    <a:pt x="3376" y="793"/>
                  </a:lnTo>
                  <a:lnTo>
                    <a:pt x="3377" y="793"/>
                  </a:lnTo>
                  <a:lnTo>
                    <a:pt x="3379" y="793"/>
                  </a:lnTo>
                  <a:lnTo>
                    <a:pt x="3385" y="793"/>
                  </a:lnTo>
                  <a:lnTo>
                    <a:pt x="3387" y="791"/>
                  </a:lnTo>
                  <a:lnTo>
                    <a:pt x="3387" y="791"/>
                  </a:lnTo>
                  <a:lnTo>
                    <a:pt x="3388" y="788"/>
                  </a:lnTo>
                  <a:lnTo>
                    <a:pt x="3389" y="789"/>
                  </a:lnTo>
                  <a:lnTo>
                    <a:pt x="3389" y="789"/>
                  </a:lnTo>
                  <a:lnTo>
                    <a:pt x="3389" y="789"/>
                  </a:lnTo>
                  <a:lnTo>
                    <a:pt x="3388" y="791"/>
                  </a:lnTo>
                  <a:lnTo>
                    <a:pt x="3388" y="791"/>
                  </a:lnTo>
                  <a:lnTo>
                    <a:pt x="3388" y="793"/>
                  </a:lnTo>
                  <a:lnTo>
                    <a:pt x="3390" y="795"/>
                  </a:lnTo>
                  <a:lnTo>
                    <a:pt x="3394" y="794"/>
                  </a:lnTo>
                  <a:lnTo>
                    <a:pt x="3396" y="796"/>
                  </a:lnTo>
                  <a:lnTo>
                    <a:pt x="3397" y="796"/>
                  </a:lnTo>
                  <a:lnTo>
                    <a:pt x="3400" y="797"/>
                  </a:lnTo>
                  <a:lnTo>
                    <a:pt x="3403" y="797"/>
                  </a:lnTo>
                  <a:lnTo>
                    <a:pt x="3402" y="800"/>
                  </a:lnTo>
                  <a:lnTo>
                    <a:pt x="3402" y="802"/>
                  </a:lnTo>
                  <a:lnTo>
                    <a:pt x="3401" y="804"/>
                  </a:lnTo>
                  <a:lnTo>
                    <a:pt x="3398" y="808"/>
                  </a:lnTo>
                  <a:lnTo>
                    <a:pt x="3400" y="810"/>
                  </a:lnTo>
                  <a:lnTo>
                    <a:pt x="3400" y="811"/>
                  </a:lnTo>
                  <a:lnTo>
                    <a:pt x="3403" y="810"/>
                  </a:lnTo>
                  <a:lnTo>
                    <a:pt x="3405" y="812"/>
                  </a:lnTo>
                  <a:lnTo>
                    <a:pt x="3405" y="812"/>
                  </a:lnTo>
                  <a:lnTo>
                    <a:pt x="3404" y="812"/>
                  </a:lnTo>
                  <a:lnTo>
                    <a:pt x="3402" y="811"/>
                  </a:lnTo>
                  <a:lnTo>
                    <a:pt x="3400" y="811"/>
                  </a:lnTo>
                  <a:lnTo>
                    <a:pt x="3396" y="813"/>
                  </a:lnTo>
                  <a:lnTo>
                    <a:pt x="3396" y="814"/>
                  </a:lnTo>
                  <a:lnTo>
                    <a:pt x="3395" y="816"/>
                  </a:lnTo>
                  <a:lnTo>
                    <a:pt x="3395" y="818"/>
                  </a:lnTo>
                  <a:lnTo>
                    <a:pt x="3394" y="820"/>
                  </a:lnTo>
                  <a:lnTo>
                    <a:pt x="3396" y="821"/>
                  </a:lnTo>
                  <a:lnTo>
                    <a:pt x="3400" y="821"/>
                  </a:lnTo>
                  <a:lnTo>
                    <a:pt x="3396" y="822"/>
                  </a:lnTo>
                  <a:lnTo>
                    <a:pt x="3396" y="823"/>
                  </a:lnTo>
                  <a:lnTo>
                    <a:pt x="3398" y="825"/>
                  </a:lnTo>
                  <a:lnTo>
                    <a:pt x="3401" y="826"/>
                  </a:lnTo>
                  <a:lnTo>
                    <a:pt x="3403" y="823"/>
                  </a:lnTo>
                  <a:lnTo>
                    <a:pt x="3403" y="827"/>
                  </a:lnTo>
                  <a:lnTo>
                    <a:pt x="3405" y="825"/>
                  </a:lnTo>
                  <a:lnTo>
                    <a:pt x="3405" y="822"/>
                  </a:lnTo>
                  <a:lnTo>
                    <a:pt x="3407" y="822"/>
                  </a:lnTo>
                  <a:lnTo>
                    <a:pt x="3410" y="825"/>
                  </a:lnTo>
                  <a:lnTo>
                    <a:pt x="3413" y="825"/>
                  </a:lnTo>
                  <a:lnTo>
                    <a:pt x="3415" y="823"/>
                  </a:lnTo>
                  <a:lnTo>
                    <a:pt x="3419" y="826"/>
                  </a:lnTo>
                  <a:lnTo>
                    <a:pt x="3420" y="825"/>
                  </a:lnTo>
                  <a:lnTo>
                    <a:pt x="3420" y="825"/>
                  </a:lnTo>
                  <a:lnTo>
                    <a:pt x="3420" y="827"/>
                  </a:lnTo>
                  <a:lnTo>
                    <a:pt x="3418" y="826"/>
                  </a:lnTo>
                  <a:lnTo>
                    <a:pt x="3418" y="827"/>
                  </a:lnTo>
                  <a:lnTo>
                    <a:pt x="3419" y="829"/>
                  </a:lnTo>
                  <a:lnTo>
                    <a:pt x="3420" y="831"/>
                  </a:lnTo>
                  <a:lnTo>
                    <a:pt x="3420" y="831"/>
                  </a:lnTo>
                  <a:lnTo>
                    <a:pt x="3421" y="835"/>
                  </a:lnTo>
                  <a:lnTo>
                    <a:pt x="3420" y="836"/>
                  </a:lnTo>
                  <a:lnTo>
                    <a:pt x="3422" y="836"/>
                  </a:lnTo>
                  <a:lnTo>
                    <a:pt x="3424" y="839"/>
                  </a:lnTo>
                  <a:lnTo>
                    <a:pt x="3422" y="842"/>
                  </a:lnTo>
                  <a:lnTo>
                    <a:pt x="3421" y="838"/>
                  </a:lnTo>
                  <a:lnTo>
                    <a:pt x="3418" y="839"/>
                  </a:lnTo>
                  <a:lnTo>
                    <a:pt x="3415" y="840"/>
                  </a:lnTo>
                  <a:lnTo>
                    <a:pt x="3413" y="840"/>
                  </a:lnTo>
                  <a:lnTo>
                    <a:pt x="3413" y="843"/>
                  </a:lnTo>
                  <a:lnTo>
                    <a:pt x="3414" y="843"/>
                  </a:lnTo>
                  <a:lnTo>
                    <a:pt x="3417" y="844"/>
                  </a:lnTo>
                  <a:lnTo>
                    <a:pt x="3419" y="846"/>
                  </a:lnTo>
                  <a:lnTo>
                    <a:pt x="3418" y="849"/>
                  </a:lnTo>
                  <a:lnTo>
                    <a:pt x="3418" y="852"/>
                  </a:lnTo>
                  <a:lnTo>
                    <a:pt x="3420" y="853"/>
                  </a:lnTo>
                  <a:lnTo>
                    <a:pt x="3419" y="854"/>
                  </a:lnTo>
                  <a:lnTo>
                    <a:pt x="3421" y="856"/>
                  </a:lnTo>
                  <a:lnTo>
                    <a:pt x="3418" y="859"/>
                  </a:lnTo>
                  <a:lnTo>
                    <a:pt x="3420" y="861"/>
                  </a:lnTo>
                  <a:lnTo>
                    <a:pt x="3417" y="862"/>
                  </a:lnTo>
                  <a:lnTo>
                    <a:pt x="3417" y="862"/>
                  </a:lnTo>
                  <a:lnTo>
                    <a:pt x="3415" y="865"/>
                  </a:lnTo>
                  <a:lnTo>
                    <a:pt x="3417" y="868"/>
                  </a:lnTo>
                  <a:lnTo>
                    <a:pt x="3413" y="866"/>
                  </a:lnTo>
                  <a:lnTo>
                    <a:pt x="3414" y="869"/>
                  </a:lnTo>
                  <a:lnTo>
                    <a:pt x="3415" y="871"/>
                  </a:lnTo>
                  <a:lnTo>
                    <a:pt x="3417" y="872"/>
                  </a:lnTo>
                  <a:lnTo>
                    <a:pt x="3419" y="872"/>
                  </a:lnTo>
                  <a:lnTo>
                    <a:pt x="3417" y="873"/>
                  </a:lnTo>
                  <a:lnTo>
                    <a:pt x="3417" y="876"/>
                  </a:lnTo>
                  <a:lnTo>
                    <a:pt x="3414" y="874"/>
                  </a:lnTo>
                  <a:lnTo>
                    <a:pt x="3417" y="877"/>
                  </a:lnTo>
                  <a:lnTo>
                    <a:pt x="3417" y="879"/>
                  </a:lnTo>
                  <a:lnTo>
                    <a:pt x="3419" y="879"/>
                  </a:lnTo>
                  <a:lnTo>
                    <a:pt x="3420" y="877"/>
                  </a:lnTo>
                  <a:lnTo>
                    <a:pt x="3423" y="877"/>
                  </a:lnTo>
                  <a:lnTo>
                    <a:pt x="3426" y="874"/>
                  </a:lnTo>
                  <a:lnTo>
                    <a:pt x="3428" y="873"/>
                  </a:lnTo>
                  <a:lnTo>
                    <a:pt x="3427" y="876"/>
                  </a:lnTo>
                  <a:lnTo>
                    <a:pt x="3429" y="878"/>
                  </a:lnTo>
                  <a:lnTo>
                    <a:pt x="3429" y="877"/>
                  </a:lnTo>
                  <a:lnTo>
                    <a:pt x="3430" y="876"/>
                  </a:lnTo>
                  <a:lnTo>
                    <a:pt x="3430" y="876"/>
                  </a:lnTo>
                  <a:lnTo>
                    <a:pt x="3429" y="872"/>
                  </a:lnTo>
                  <a:lnTo>
                    <a:pt x="3430" y="871"/>
                  </a:lnTo>
                  <a:lnTo>
                    <a:pt x="3431" y="874"/>
                  </a:lnTo>
                  <a:lnTo>
                    <a:pt x="3434" y="873"/>
                  </a:lnTo>
                  <a:lnTo>
                    <a:pt x="3431" y="871"/>
                  </a:lnTo>
                  <a:lnTo>
                    <a:pt x="3435" y="870"/>
                  </a:lnTo>
                  <a:lnTo>
                    <a:pt x="3436" y="870"/>
                  </a:lnTo>
                  <a:lnTo>
                    <a:pt x="3438" y="868"/>
                  </a:lnTo>
                  <a:lnTo>
                    <a:pt x="3439" y="871"/>
                  </a:lnTo>
                  <a:lnTo>
                    <a:pt x="3441" y="871"/>
                  </a:lnTo>
                  <a:lnTo>
                    <a:pt x="3443" y="872"/>
                  </a:lnTo>
                  <a:lnTo>
                    <a:pt x="3444" y="871"/>
                  </a:lnTo>
                  <a:lnTo>
                    <a:pt x="3444" y="869"/>
                  </a:lnTo>
                  <a:lnTo>
                    <a:pt x="3446" y="866"/>
                  </a:lnTo>
                  <a:lnTo>
                    <a:pt x="3448" y="868"/>
                  </a:lnTo>
                  <a:lnTo>
                    <a:pt x="3451" y="868"/>
                  </a:lnTo>
                  <a:lnTo>
                    <a:pt x="3451" y="866"/>
                  </a:lnTo>
                  <a:lnTo>
                    <a:pt x="3454" y="866"/>
                  </a:lnTo>
                  <a:lnTo>
                    <a:pt x="3455" y="866"/>
                  </a:lnTo>
                  <a:lnTo>
                    <a:pt x="3456" y="863"/>
                  </a:lnTo>
                  <a:lnTo>
                    <a:pt x="3456" y="861"/>
                  </a:lnTo>
                  <a:lnTo>
                    <a:pt x="3457" y="859"/>
                  </a:lnTo>
                  <a:lnTo>
                    <a:pt x="3458" y="856"/>
                  </a:lnTo>
                  <a:lnTo>
                    <a:pt x="3460" y="854"/>
                  </a:lnTo>
                  <a:lnTo>
                    <a:pt x="3457" y="854"/>
                  </a:lnTo>
                  <a:lnTo>
                    <a:pt x="3456" y="851"/>
                  </a:lnTo>
                  <a:lnTo>
                    <a:pt x="3456" y="848"/>
                  </a:lnTo>
                  <a:lnTo>
                    <a:pt x="3457" y="845"/>
                  </a:lnTo>
                  <a:lnTo>
                    <a:pt x="3457" y="843"/>
                  </a:lnTo>
                  <a:lnTo>
                    <a:pt x="3457" y="840"/>
                  </a:lnTo>
                  <a:lnTo>
                    <a:pt x="3457" y="837"/>
                  </a:lnTo>
                  <a:lnTo>
                    <a:pt x="3456" y="836"/>
                  </a:lnTo>
                  <a:lnTo>
                    <a:pt x="3455" y="833"/>
                  </a:lnTo>
                  <a:lnTo>
                    <a:pt x="3454" y="831"/>
                  </a:lnTo>
                  <a:lnTo>
                    <a:pt x="3451" y="826"/>
                  </a:lnTo>
                  <a:lnTo>
                    <a:pt x="3448" y="823"/>
                  </a:lnTo>
                  <a:lnTo>
                    <a:pt x="3447" y="820"/>
                  </a:lnTo>
                  <a:lnTo>
                    <a:pt x="3445" y="818"/>
                  </a:lnTo>
                  <a:lnTo>
                    <a:pt x="3445" y="817"/>
                  </a:lnTo>
                  <a:lnTo>
                    <a:pt x="3444" y="814"/>
                  </a:lnTo>
                  <a:lnTo>
                    <a:pt x="3443" y="812"/>
                  </a:lnTo>
                  <a:lnTo>
                    <a:pt x="3440" y="810"/>
                  </a:lnTo>
                  <a:lnTo>
                    <a:pt x="3437" y="808"/>
                  </a:lnTo>
                  <a:lnTo>
                    <a:pt x="3435" y="805"/>
                  </a:lnTo>
                  <a:lnTo>
                    <a:pt x="3432" y="804"/>
                  </a:lnTo>
                  <a:lnTo>
                    <a:pt x="3430" y="803"/>
                  </a:lnTo>
                  <a:lnTo>
                    <a:pt x="3429" y="802"/>
                  </a:lnTo>
                  <a:lnTo>
                    <a:pt x="3430" y="800"/>
                  </a:lnTo>
                  <a:lnTo>
                    <a:pt x="3430" y="800"/>
                  </a:lnTo>
                  <a:lnTo>
                    <a:pt x="3431" y="796"/>
                  </a:lnTo>
                  <a:lnTo>
                    <a:pt x="3431" y="794"/>
                  </a:lnTo>
                  <a:lnTo>
                    <a:pt x="3434" y="793"/>
                  </a:lnTo>
                  <a:lnTo>
                    <a:pt x="3437" y="791"/>
                  </a:lnTo>
                  <a:lnTo>
                    <a:pt x="3437" y="791"/>
                  </a:lnTo>
                  <a:lnTo>
                    <a:pt x="3439" y="789"/>
                  </a:lnTo>
                  <a:lnTo>
                    <a:pt x="3443" y="789"/>
                  </a:lnTo>
                  <a:lnTo>
                    <a:pt x="3445" y="787"/>
                  </a:lnTo>
                  <a:lnTo>
                    <a:pt x="3447" y="785"/>
                  </a:lnTo>
                  <a:lnTo>
                    <a:pt x="3451" y="784"/>
                  </a:lnTo>
                  <a:lnTo>
                    <a:pt x="3453" y="783"/>
                  </a:lnTo>
                  <a:lnTo>
                    <a:pt x="3454" y="780"/>
                  </a:lnTo>
                  <a:lnTo>
                    <a:pt x="3456" y="778"/>
                  </a:lnTo>
                  <a:lnTo>
                    <a:pt x="3458" y="777"/>
                  </a:lnTo>
                  <a:lnTo>
                    <a:pt x="3462" y="776"/>
                  </a:lnTo>
                  <a:lnTo>
                    <a:pt x="3461" y="772"/>
                  </a:lnTo>
                  <a:lnTo>
                    <a:pt x="3462" y="770"/>
                  </a:lnTo>
                  <a:lnTo>
                    <a:pt x="3462" y="769"/>
                  </a:lnTo>
                  <a:lnTo>
                    <a:pt x="3462" y="768"/>
                  </a:lnTo>
                  <a:lnTo>
                    <a:pt x="3461" y="765"/>
                  </a:lnTo>
                  <a:lnTo>
                    <a:pt x="3462" y="762"/>
                  </a:lnTo>
                  <a:lnTo>
                    <a:pt x="3463" y="759"/>
                  </a:lnTo>
                  <a:lnTo>
                    <a:pt x="3465" y="758"/>
                  </a:lnTo>
                  <a:lnTo>
                    <a:pt x="3465" y="758"/>
                  </a:lnTo>
                  <a:lnTo>
                    <a:pt x="3468" y="756"/>
                  </a:lnTo>
                  <a:lnTo>
                    <a:pt x="3470" y="753"/>
                  </a:lnTo>
                  <a:lnTo>
                    <a:pt x="3473" y="753"/>
                  </a:lnTo>
                  <a:lnTo>
                    <a:pt x="3474" y="753"/>
                  </a:lnTo>
                  <a:lnTo>
                    <a:pt x="3475" y="750"/>
                  </a:lnTo>
                  <a:lnTo>
                    <a:pt x="3474" y="748"/>
                  </a:lnTo>
                  <a:lnTo>
                    <a:pt x="3480" y="746"/>
                  </a:lnTo>
                  <a:lnTo>
                    <a:pt x="3483" y="744"/>
                  </a:lnTo>
                  <a:lnTo>
                    <a:pt x="3484" y="742"/>
                  </a:lnTo>
                  <a:lnTo>
                    <a:pt x="3487" y="740"/>
                  </a:lnTo>
                  <a:lnTo>
                    <a:pt x="3488" y="737"/>
                  </a:lnTo>
                  <a:lnTo>
                    <a:pt x="3489" y="736"/>
                  </a:lnTo>
                  <a:lnTo>
                    <a:pt x="3492" y="736"/>
                  </a:lnTo>
                  <a:lnTo>
                    <a:pt x="3490" y="739"/>
                  </a:lnTo>
                  <a:lnTo>
                    <a:pt x="3494" y="739"/>
                  </a:lnTo>
                  <a:lnTo>
                    <a:pt x="3496" y="736"/>
                  </a:lnTo>
                  <a:lnTo>
                    <a:pt x="3497" y="740"/>
                  </a:lnTo>
                  <a:lnTo>
                    <a:pt x="3496" y="742"/>
                  </a:lnTo>
                  <a:lnTo>
                    <a:pt x="3501" y="743"/>
                  </a:lnTo>
                  <a:lnTo>
                    <a:pt x="3506" y="744"/>
                  </a:lnTo>
                  <a:lnTo>
                    <a:pt x="3508" y="746"/>
                  </a:lnTo>
                  <a:lnTo>
                    <a:pt x="3514" y="744"/>
                  </a:lnTo>
                  <a:lnTo>
                    <a:pt x="3516" y="743"/>
                  </a:lnTo>
                  <a:lnTo>
                    <a:pt x="3518" y="743"/>
                  </a:lnTo>
                  <a:lnTo>
                    <a:pt x="3522" y="741"/>
                  </a:lnTo>
                  <a:lnTo>
                    <a:pt x="3524" y="740"/>
                  </a:lnTo>
                  <a:lnTo>
                    <a:pt x="3526" y="737"/>
                  </a:lnTo>
                  <a:lnTo>
                    <a:pt x="3528" y="737"/>
                  </a:lnTo>
                  <a:lnTo>
                    <a:pt x="3530" y="736"/>
                  </a:lnTo>
                  <a:lnTo>
                    <a:pt x="3531" y="735"/>
                  </a:lnTo>
                  <a:lnTo>
                    <a:pt x="3535" y="733"/>
                  </a:lnTo>
                  <a:lnTo>
                    <a:pt x="3537" y="729"/>
                  </a:lnTo>
                  <a:lnTo>
                    <a:pt x="3539" y="728"/>
                  </a:lnTo>
                  <a:lnTo>
                    <a:pt x="3539" y="728"/>
                  </a:lnTo>
                  <a:lnTo>
                    <a:pt x="3540" y="725"/>
                  </a:lnTo>
                  <a:lnTo>
                    <a:pt x="3542" y="723"/>
                  </a:lnTo>
                  <a:lnTo>
                    <a:pt x="3547" y="717"/>
                  </a:lnTo>
                  <a:lnTo>
                    <a:pt x="3549" y="716"/>
                  </a:lnTo>
                  <a:lnTo>
                    <a:pt x="3550" y="714"/>
                  </a:lnTo>
                  <a:lnTo>
                    <a:pt x="3552" y="711"/>
                  </a:lnTo>
                  <a:lnTo>
                    <a:pt x="3555" y="709"/>
                  </a:lnTo>
                  <a:lnTo>
                    <a:pt x="3556" y="708"/>
                  </a:lnTo>
                  <a:lnTo>
                    <a:pt x="3558" y="705"/>
                  </a:lnTo>
                  <a:lnTo>
                    <a:pt x="3564" y="700"/>
                  </a:lnTo>
                  <a:lnTo>
                    <a:pt x="3568" y="695"/>
                  </a:lnTo>
                  <a:lnTo>
                    <a:pt x="3575" y="688"/>
                  </a:lnTo>
                  <a:lnTo>
                    <a:pt x="3577" y="683"/>
                  </a:lnTo>
                  <a:lnTo>
                    <a:pt x="3577" y="682"/>
                  </a:lnTo>
                  <a:lnTo>
                    <a:pt x="3580" y="680"/>
                  </a:lnTo>
                  <a:lnTo>
                    <a:pt x="3580" y="677"/>
                  </a:lnTo>
                  <a:lnTo>
                    <a:pt x="3582" y="674"/>
                  </a:lnTo>
                  <a:lnTo>
                    <a:pt x="3586" y="668"/>
                  </a:lnTo>
                  <a:lnTo>
                    <a:pt x="3589" y="666"/>
                  </a:lnTo>
                  <a:lnTo>
                    <a:pt x="3590" y="664"/>
                  </a:lnTo>
                  <a:lnTo>
                    <a:pt x="3591" y="662"/>
                  </a:lnTo>
                  <a:lnTo>
                    <a:pt x="3593" y="658"/>
                  </a:lnTo>
                  <a:lnTo>
                    <a:pt x="3596" y="656"/>
                  </a:lnTo>
                  <a:lnTo>
                    <a:pt x="3598" y="654"/>
                  </a:lnTo>
                  <a:lnTo>
                    <a:pt x="3601" y="651"/>
                  </a:lnTo>
                  <a:lnTo>
                    <a:pt x="3602" y="650"/>
                  </a:lnTo>
                  <a:lnTo>
                    <a:pt x="3605" y="648"/>
                  </a:lnTo>
                  <a:lnTo>
                    <a:pt x="3605" y="643"/>
                  </a:lnTo>
                  <a:lnTo>
                    <a:pt x="3606" y="640"/>
                  </a:lnTo>
                  <a:lnTo>
                    <a:pt x="3606" y="638"/>
                  </a:lnTo>
                  <a:lnTo>
                    <a:pt x="3607" y="638"/>
                  </a:lnTo>
                  <a:lnTo>
                    <a:pt x="3607" y="635"/>
                  </a:lnTo>
                  <a:lnTo>
                    <a:pt x="3607" y="633"/>
                  </a:lnTo>
                  <a:lnTo>
                    <a:pt x="3607" y="633"/>
                  </a:lnTo>
                  <a:lnTo>
                    <a:pt x="3608" y="631"/>
                  </a:lnTo>
                  <a:lnTo>
                    <a:pt x="3609" y="628"/>
                  </a:lnTo>
                  <a:lnTo>
                    <a:pt x="3609" y="625"/>
                  </a:lnTo>
                  <a:lnTo>
                    <a:pt x="3608" y="623"/>
                  </a:lnTo>
                  <a:lnTo>
                    <a:pt x="3609" y="621"/>
                  </a:lnTo>
                  <a:lnTo>
                    <a:pt x="3609" y="618"/>
                  </a:lnTo>
                  <a:lnTo>
                    <a:pt x="3609" y="615"/>
                  </a:lnTo>
                  <a:lnTo>
                    <a:pt x="3609" y="613"/>
                  </a:lnTo>
                  <a:lnTo>
                    <a:pt x="3609" y="612"/>
                  </a:lnTo>
                  <a:lnTo>
                    <a:pt x="3608" y="607"/>
                  </a:lnTo>
                  <a:lnTo>
                    <a:pt x="3611" y="601"/>
                  </a:lnTo>
                  <a:lnTo>
                    <a:pt x="3611" y="599"/>
                  </a:lnTo>
                  <a:lnTo>
                    <a:pt x="3614" y="597"/>
                  </a:lnTo>
                  <a:lnTo>
                    <a:pt x="3615" y="594"/>
                  </a:lnTo>
                  <a:lnTo>
                    <a:pt x="3615" y="591"/>
                  </a:lnTo>
                  <a:lnTo>
                    <a:pt x="3618" y="589"/>
                  </a:lnTo>
                  <a:lnTo>
                    <a:pt x="3620" y="587"/>
                  </a:lnTo>
                  <a:lnTo>
                    <a:pt x="3620" y="583"/>
                  </a:lnTo>
                  <a:lnTo>
                    <a:pt x="3623" y="581"/>
                  </a:lnTo>
                  <a:lnTo>
                    <a:pt x="3623" y="580"/>
                  </a:lnTo>
                  <a:lnTo>
                    <a:pt x="3620" y="579"/>
                  </a:lnTo>
                  <a:lnTo>
                    <a:pt x="3617" y="578"/>
                  </a:lnTo>
                  <a:lnTo>
                    <a:pt x="3619" y="574"/>
                  </a:lnTo>
                  <a:lnTo>
                    <a:pt x="3619" y="572"/>
                  </a:lnTo>
                  <a:lnTo>
                    <a:pt x="3619" y="570"/>
                  </a:lnTo>
                  <a:lnTo>
                    <a:pt x="3611" y="564"/>
                  </a:lnTo>
                  <a:lnTo>
                    <a:pt x="3617" y="566"/>
                  </a:lnTo>
                  <a:lnTo>
                    <a:pt x="3619" y="564"/>
                  </a:lnTo>
                  <a:lnTo>
                    <a:pt x="3620" y="562"/>
                  </a:lnTo>
                  <a:lnTo>
                    <a:pt x="3618" y="560"/>
                  </a:lnTo>
                  <a:lnTo>
                    <a:pt x="3616" y="558"/>
                  </a:lnTo>
                  <a:lnTo>
                    <a:pt x="3612" y="555"/>
                  </a:lnTo>
                  <a:lnTo>
                    <a:pt x="3609" y="554"/>
                  </a:lnTo>
                  <a:lnTo>
                    <a:pt x="3607" y="552"/>
                  </a:lnTo>
                  <a:lnTo>
                    <a:pt x="3606" y="548"/>
                  </a:lnTo>
                  <a:lnTo>
                    <a:pt x="3605" y="546"/>
                  </a:lnTo>
                  <a:lnTo>
                    <a:pt x="3602" y="545"/>
                  </a:lnTo>
                  <a:lnTo>
                    <a:pt x="3599" y="543"/>
                  </a:lnTo>
                  <a:lnTo>
                    <a:pt x="3597" y="543"/>
                  </a:lnTo>
                  <a:lnTo>
                    <a:pt x="3593" y="544"/>
                  </a:lnTo>
                  <a:lnTo>
                    <a:pt x="3591" y="544"/>
                  </a:lnTo>
                  <a:lnTo>
                    <a:pt x="3588" y="543"/>
                  </a:lnTo>
                  <a:lnTo>
                    <a:pt x="3585" y="541"/>
                  </a:lnTo>
                  <a:lnTo>
                    <a:pt x="3584" y="545"/>
                  </a:lnTo>
                  <a:lnTo>
                    <a:pt x="3585" y="547"/>
                  </a:lnTo>
                  <a:lnTo>
                    <a:pt x="3584" y="549"/>
                  </a:lnTo>
                  <a:lnTo>
                    <a:pt x="3583" y="553"/>
                  </a:lnTo>
                  <a:lnTo>
                    <a:pt x="3582" y="555"/>
                  </a:lnTo>
                  <a:lnTo>
                    <a:pt x="3579" y="556"/>
                  </a:lnTo>
                  <a:lnTo>
                    <a:pt x="3580" y="554"/>
                  </a:lnTo>
                  <a:lnTo>
                    <a:pt x="3582" y="551"/>
                  </a:lnTo>
                  <a:lnTo>
                    <a:pt x="3582" y="548"/>
                  </a:lnTo>
                  <a:lnTo>
                    <a:pt x="3580" y="549"/>
                  </a:lnTo>
                  <a:lnTo>
                    <a:pt x="3579" y="552"/>
                  </a:lnTo>
                  <a:lnTo>
                    <a:pt x="3573" y="555"/>
                  </a:lnTo>
                  <a:lnTo>
                    <a:pt x="3568" y="556"/>
                  </a:lnTo>
                  <a:lnTo>
                    <a:pt x="3568" y="556"/>
                  </a:lnTo>
                  <a:lnTo>
                    <a:pt x="3565" y="556"/>
                  </a:lnTo>
                  <a:lnTo>
                    <a:pt x="3567" y="553"/>
                  </a:lnTo>
                  <a:lnTo>
                    <a:pt x="3568" y="551"/>
                  </a:lnTo>
                  <a:lnTo>
                    <a:pt x="3572" y="549"/>
                  </a:lnTo>
                  <a:lnTo>
                    <a:pt x="3568" y="548"/>
                  </a:lnTo>
                  <a:lnTo>
                    <a:pt x="3566" y="547"/>
                  </a:lnTo>
                  <a:lnTo>
                    <a:pt x="3568" y="544"/>
                  </a:lnTo>
                  <a:lnTo>
                    <a:pt x="3571" y="541"/>
                  </a:lnTo>
                  <a:lnTo>
                    <a:pt x="3567" y="541"/>
                  </a:lnTo>
                  <a:lnTo>
                    <a:pt x="3565" y="543"/>
                  </a:lnTo>
                  <a:lnTo>
                    <a:pt x="3562" y="545"/>
                  </a:lnTo>
                  <a:lnTo>
                    <a:pt x="3565" y="546"/>
                  </a:lnTo>
                  <a:lnTo>
                    <a:pt x="3564" y="549"/>
                  </a:lnTo>
                  <a:lnTo>
                    <a:pt x="3560" y="551"/>
                  </a:lnTo>
                  <a:lnTo>
                    <a:pt x="3558" y="552"/>
                  </a:lnTo>
                  <a:lnTo>
                    <a:pt x="3558" y="552"/>
                  </a:lnTo>
                  <a:lnTo>
                    <a:pt x="3556" y="548"/>
                  </a:lnTo>
                  <a:lnTo>
                    <a:pt x="3558" y="546"/>
                  </a:lnTo>
                  <a:lnTo>
                    <a:pt x="3557" y="540"/>
                  </a:lnTo>
                  <a:lnTo>
                    <a:pt x="3558" y="538"/>
                  </a:lnTo>
                  <a:lnTo>
                    <a:pt x="3558" y="536"/>
                  </a:lnTo>
                  <a:lnTo>
                    <a:pt x="3556" y="535"/>
                  </a:lnTo>
                  <a:lnTo>
                    <a:pt x="3552" y="536"/>
                  </a:lnTo>
                  <a:lnTo>
                    <a:pt x="3550" y="536"/>
                  </a:lnTo>
                  <a:lnTo>
                    <a:pt x="3545" y="537"/>
                  </a:lnTo>
                  <a:lnTo>
                    <a:pt x="3542" y="535"/>
                  </a:lnTo>
                  <a:lnTo>
                    <a:pt x="3539" y="535"/>
                  </a:lnTo>
                  <a:lnTo>
                    <a:pt x="3537" y="534"/>
                  </a:lnTo>
                  <a:lnTo>
                    <a:pt x="3535" y="531"/>
                  </a:lnTo>
                  <a:lnTo>
                    <a:pt x="3538" y="529"/>
                  </a:lnTo>
                  <a:lnTo>
                    <a:pt x="3541" y="527"/>
                  </a:lnTo>
                  <a:lnTo>
                    <a:pt x="3543" y="526"/>
                  </a:lnTo>
                  <a:lnTo>
                    <a:pt x="3549" y="522"/>
                  </a:lnTo>
                  <a:lnTo>
                    <a:pt x="3551" y="520"/>
                  </a:lnTo>
                  <a:lnTo>
                    <a:pt x="3554" y="518"/>
                  </a:lnTo>
                  <a:lnTo>
                    <a:pt x="3556" y="517"/>
                  </a:lnTo>
                  <a:lnTo>
                    <a:pt x="3559" y="514"/>
                  </a:lnTo>
                  <a:lnTo>
                    <a:pt x="3562" y="513"/>
                  </a:lnTo>
                  <a:lnTo>
                    <a:pt x="3566" y="510"/>
                  </a:lnTo>
                  <a:lnTo>
                    <a:pt x="3567" y="509"/>
                  </a:lnTo>
                  <a:lnTo>
                    <a:pt x="3569" y="506"/>
                  </a:lnTo>
                  <a:lnTo>
                    <a:pt x="3575" y="502"/>
                  </a:lnTo>
                  <a:lnTo>
                    <a:pt x="3577" y="501"/>
                  </a:lnTo>
                  <a:lnTo>
                    <a:pt x="3576" y="497"/>
                  </a:lnTo>
                  <a:lnTo>
                    <a:pt x="3580" y="495"/>
                  </a:lnTo>
                  <a:lnTo>
                    <a:pt x="3580" y="494"/>
                  </a:lnTo>
                  <a:lnTo>
                    <a:pt x="3585" y="491"/>
                  </a:lnTo>
                  <a:lnTo>
                    <a:pt x="3588" y="488"/>
                  </a:lnTo>
                  <a:lnTo>
                    <a:pt x="3590" y="486"/>
                  </a:lnTo>
                  <a:lnTo>
                    <a:pt x="3592" y="484"/>
                  </a:lnTo>
                  <a:lnTo>
                    <a:pt x="3594" y="484"/>
                  </a:lnTo>
                  <a:lnTo>
                    <a:pt x="3598" y="480"/>
                  </a:lnTo>
                  <a:lnTo>
                    <a:pt x="3600" y="479"/>
                  </a:lnTo>
                  <a:lnTo>
                    <a:pt x="3602" y="476"/>
                  </a:lnTo>
                  <a:lnTo>
                    <a:pt x="3608" y="475"/>
                  </a:lnTo>
                  <a:lnTo>
                    <a:pt x="3609" y="471"/>
                  </a:lnTo>
                  <a:lnTo>
                    <a:pt x="3610" y="469"/>
                  </a:lnTo>
                  <a:lnTo>
                    <a:pt x="3611" y="466"/>
                  </a:lnTo>
                  <a:lnTo>
                    <a:pt x="3614" y="463"/>
                  </a:lnTo>
                  <a:lnTo>
                    <a:pt x="3616" y="461"/>
                  </a:lnTo>
                  <a:lnTo>
                    <a:pt x="3619" y="461"/>
                  </a:lnTo>
                  <a:lnTo>
                    <a:pt x="3625" y="457"/>
                  </a:lnTo>
                  <a:lnTo>
                    <a:pt x="3627" y="454"/>
                  </a:lnTo>
                  <a:lnTo>
                    <a:pt x="3628" y="451"/>
                  </a:lnTo>
                  <a:lnTo>
                    <a:pt x="3631" y="449"/>
                  </a:lnTo>
                  <a:lnTo>
                    <a:pt x="3636" y="445"/>
                  </a:lnTo>
                  <a:lnTo>
                    <a:pt x="3642" y="444"/>
                  </a:lnTo>
                  <a:lnTo>
                    <a:pt x="3645" y="443"/>
                  </a:lnTo>
                  <a:lnTo>
                    <a:pt x="3645" y="443"/>
                  </a:lnTo>
                  <a:lnTo>
                    <a:pt x="3649" y="443"/>
                  </a:lnTo>
                  <a:lnTo>
                    <a:pt x="3651" y="443"/>
                  </a:lnTo>
                  <a:lnTo>
                    <a:pt x="3651" y="443"/>
                  </a:lnTo>
                  <a:lnTo>
                    <a:pt x="3657" y="442"/>
                  </a:lnTo>
                  <a:lnTo>
                    <a:pt x="3660" y="442"/>
                  </a:lnTo>
                  <a:lnTo>
                    <a:pt x="3662" y="442"/>
                  </a:lnTo>
                  <a:lnTo>
                    <a:pt x="3665" y="443"/>
                  </a:lnTo>
                  <a:lnTo>
                    <a:pt x="3670" y="443"/>
                  </a:lnTo>
                  <a:lnTo>
                    <a:pt x="3673" y="442"/>
                  </a:lnTo>
                  <a:lnTo>
                    <a:pt x="3676" y="442"/>
                  </a:lnTo>
                  <a:lnTo>
                    <a:pt x="3678" y="442"/>
                  </a:lnTo>
                  <a:lnTo>
                    <a:pt x="3682" y="442"/>
                  </a:lnTo>
                  <a:lnTo>
                    <a:pt x="3682" y="445"/>
                  </a:lnTo>
                  <a:lnTo>
                    <a:pt x="3684" y="447"/>
                  </a:lnTo>
                  <a:lnTo>
                    <a:pt x="3686" y="446"/>
                  </a:lnTo>
                  <a:lnTo>
                    <a:pt x="3688" y="443"/>
                  </a:lnTo>
                  <a:lnTo>
                    <a:pt x="3691" y="441"/>
                  </a:lnTo>
                  <a:lnTo>
                    <a:pt x="3694" y="443"/>
                  </a:lnTo>
                  <a:lnTo>
                    <a:pt x="3696" y="443"/>
                  </a:lnTo>
                  <a:lnTo>
                    <a:pt x="3702" y="444"/>
                  </a:lnTo>
                  <a:lnTo>
                    <a:pt x="3704" y="445"/>
                  </a:lnTo>
                  <a:lnTo>
                    <a:pt x="3708" y="444"/>
                  </a:lnTo>
                  <a:lnTo>
                    <a:pt x="3710" y="442"/>
                  </a:lnTo>
                  <a:lnTo>
                    <a:pt x="3712" y="442"/>
                  </a:lnTo>
                  <a:lnTo>
                    <a:pt x="3716" y="442"/>
                  </a:lnTo>
                  <a:lnTo>
                    <a:pt x="3717" y="444"/>
                  </a:lnTo>
                  <a:lnTo>
                    <a:pt x="3720" y="445"/>
                  </a:lnTo>
                  <a:lnTo>
                    <a:pt x="3722" y="444"/>
                  </a:lnTo>
                  <a:lnTo>
                    <a:pt x="3721" y="442"/>
                  </a:lnTo>
                  <a:lnTo>
                    <a:pt x="3722" y="440"/>
                  </a:lnTo>
                  <a:lnTo>
                    <a:pt x="3726" y="441"/>
                  </a:lnTo>
                  <a:lnTo>
                    <a:pt x="3726" y="437"/>
                  </a:lnTo>
                  <a:lnTo>
                    <a:pt x="3728" y="436"/>
                  </a:lnTo>
                  <a:lnTo>
                    <a:pt x="3731" y="435"/>
                  </a:lnTo>
                  <a:lnTo>
                    <a:pt x="3734" y="435"/>
                  </a:lnTo>
                  <a:lnTo>
                    <a:pt x="3737" y="435"/>
                  </a:lnTo>
                  <a:lnTo>
                    <a:pt x="3738" y="436"/>
                  </a:lnTo>
                  <a:lnTo>
                    <a:pt x="3740" y="436"/>
                  </a:lnTo>
                  <a:lnTo>
                    <a:pt x="3743" y="437"/>
                  </a:lnTo>
                  <a:lnTo>
                    <a:pt x="3746" y="438"/>
                  </a:lnTo>
                  <a:lnTo>
                    <a:pt x="3748" y="440"/>
                  </a:lnTo>
                  <a:lnTo>
                    <a:pt x="3746" y="440"/>
                  </a:lnTo>
                  <a:lnTo>
                    <a:pt x="3748" y="441"/>
                  </a:lnTo>
                  <a:lnTo>
                    <a:pt x="3751" y="441"/>
                  </a:lnTo>
                  <a:lnTo>
                    <a:pt x="3753" y="438"/>
                  </a:lnTo>
                  <a:lnTo>
                    <a:pt x="3756" y="438"/>
                  </a:lnTo>
                  <a:lnTo>
                    <a:pt x="3759" y="440"/>
                  </a:lnTo>
                  <a:lnTo>
                    <a:pt x="3761" y="442"/>
                  </a:lnTo>
                  <a:lnTo>
                    <a:pt x="3762" y="444"/>
                  </a:lnTo>
                  <a:lnTo>
                    <a:pt x="3764" y="444"/>
                  </a:lnTo>
                  <a:lnTo>
                    <a:pt x="3768" y="446"/>
                  </a:lnTo>
                  <a:lnTo>
                    <a:pt x="3762" y="447"/>
                  </a:lnTo>
                  <a:lnTo>
                    <a:pt x="3760" y="447"/>
                  </a:lnTo>
                  <a:lnTo>
                    <a:pt x="3756" y="447"/>
                  </a:lnTo>
                  <a:lnTo>
                    <a:pt x="3754" y="447"/>
                  </a:lnTo>
                  <a:lnTo>
                    <a:pt x="3755" y="451"/>
                  </a:lnTo>
                  <a:lnTo>
                    <a:pt x="3756" y="453"/>
                  </a:lnTo>
                  <a:lnTo>
                    <a:pt x="3761" y="453"/>
                  </a:lnTo>
                  <a:lnTo>
                    <a:pt x="3762" y="453"/>
                  </a:lnTo>
                  <a:lnTo>
                    <a:pt x="3765" y="452"/>
                  </a:lnTo>
                  <a:lnTo>
                    <a:pt x="3768" y="451"/>
                  </a:lnTo>
                  <a:lnTo>
                    <a:pt x="3770" y="450"/>
                  </a:lnTo>
                  <a:lnTo>
                    <a:pt x="3776" y="452"/>
                  </a:lnTo>
                  <a:lnTo>
                    <a:pt x="3779" y="451"/>
                  </a:lnTo>
                  <a:lnTo>
                    <a:pt x="3781" y="449"/>
                  </a:lnTo>
                  <a:lnTo>
                    <a:pt x="3785" y="449"/>
                  </a:lnTo>
                  <a:lnTo>
                    <a:pt x="3785" y="445"/>
                  </a:lnTo>
                  <a:lnTo>
                    <a:pt x="3788" y="446"/>
                  </a:lnTo>
                  <a:lnTo>
                    <a:pt x="3790" y="446"/>
                  </a:lnTo>
                  <a:lnTo>
                    <a:pt x="3793" y="449"/>
                  </a:lnTo>
                  <a:lnTo>
                    <a:pt x="3796" y="449"/>
                  </a:lnTo>
                  <a:lnTo>
                    <a:pt x="3798" y="446"/>
                  </a:lnTo>
                  <a:lnTo>
                    <a:pt x="3802" y="446"/>
                  </a:lnTo>
                  <a:lnTo>
                    <a:pt x="3807" y="446"/>
                  </a:lnTo>
                  <a:lnTo>
                    <a:pt x="3810" y="445"/>
                  </a:lnTo>
                  <a:lnTo>
                    <a:pt x="3808" y="442"/>
                  </a:lnTo>
                  <a:lnTo>
                    <a:pt x="3806" y="441"/>
                  </a:lnTo>
                  <a:lnTo>
                    <a:pt x="3803" y="440"/>
                  </a:lnTo>
                  <a:lnTo>
                    <a:pt x="3801" y="441"/>
                  </a:lnTo>
                  <a:lnTo>
                    <a:pt x="3798" y="441"/>
                  </a:lnTo>
                  <a:lnTo>
                    <a:pt x="3795" y="440"/>
                  </a:lnTo>
                  <a:lnTo>
                    <a:pt x="3798" y="437"/>
                  </a:lnTo>
                  <a:lnTo>
                    <a:pt x="3797" y="435"/>
                  </a:lnTo>
                  <a:lnTo>
                    <a:pt x="3797" y="432"/>
                  </a:lnTo>
                  <a:lnTo>
                    <a:pt x="3799" y="433"/>
                  </a:lnTo>
                  <a:lnTo>
                    <a:pt x="3801" y="429"/>
                  </a:lnTo>
                  <a:lnTo>
                    <a:pt x="3802" y="427"/>
                  </a:lnTo>
                  <a:lnTo>
                    <a:pt x="3804" y="425"/>
                  </a:lnTo>
                  <a:lnTo>
                    <a:pt x="3807" y="423"/>
                  </a:lnTo>
                  <a:lnTo>
                    <a:pt x="3813" y="419"/>
                  </a:lnTo>
                  <a:lnTo>
                    <a:pt x="3815" y="417"/>
                  </a:lnTo>
                  <a:lnTo>
                    <a:pt x="3819" y="416"/>
                  </a:lnTo>
                  <a:lnTo>
                    <a:pt x="3821" y="410"/>
                  </a:lnTo>
                  <a:lnTo>
                    <a:pt x="3824" y="408"/>
                  </a:lnTo>
                  <a:lnTo>
                    <a:pt x="3827" y="406"/>
                  </a:lnTo>
                  <a:lnTo>
                    <a:pt x="3830" y="404"/>
                  </a:lnTo>
                  <a:lnTo>
                    <a:pt x="3830" y="402"/>
                  </a:lnTo>
                  <a:lnTo>
                    <a:pt x="3830" y="399"/>
                  </a:lnTo>
                  <a:lnTo>
                    <a:pt x="3833" y="398"/>
                  </a:lnTo>
                  <a:lnTo>
                    <a:pt x="3836" y="395"/>
                  </a:lnTo>
                  <a:lnTo>
                    <a:pt x="3838" y="394"/>
                  </a:lnTo>
                  <a:lnTo>
                    <a:pt x="3841" y="392"/>
                  </a:lnTo>
                  <a:lnTo>
                    <a:pt x="3847" y="393"/>
                  </a:lnTo>
                  <a:lnTo>
                    <a:pt x="3849" y="394"/>
                  </a:lnTo>
                  <a:lnTo>
                    <a:pt x="3852" y="392"/>
                  </a:lnTo>
                  <a:lnTo>
                    <a:pt x="3855" y="392"/>
                  </a:lnTo>
                  <a:lnTo>
                    <a:pt x="3859" y="392"/>
                  </a:lnTo>
                  <a:lnTo>
                    <a:pt x="3863" y="390"/>
                  </a:lnTo>
                  <a:lnTo>
                    <a:pt x="3865" y="390"/>
                  </a:lnTo>
                  <a:lnTo>
                    <a:pt x="3867" y="392"/>
                  </a:lnTo>
                  <a:lnTo>
                    <a:pt x="3870" y="395"/>
                  </a:lnTo>
                  <a:lnTo>
                    <a:pt x="3872" y="394"/>
                  </a:lnTo>
                  <a:lnTo>
                    <a:pt x="3879" y="390"/>
                  </a:lnTo>
                  <a:lnTo>
                    <a:pt x="3881" y="393"/>
                  </a:lnTo>
                  <a:lnTo>
                    <a:pt x="3876" y="401"/>
                  </a:lnTo>
                  <a:lnTo>
                    <a:pt x="3875" y="401"/>
                  </a:lnTo>
                  <a:lnTo>
                    <a:pt x="3873" y="403"/>
                  </a:lnTo>
                  <a:lnTo>
                    <a:pt x="3875" y="406"/>
                  </a:lnTo>
                  <a:lnTo>
                    <a:pt x="3874" y="409"/>
                  </a:lnTo>
                  <a:lnTo>
                    <a:pt x="3875" y="409"/>
                  </a:lnTo>
                  <a:lnTo>
                    <a:pt x="3879" y="408"/>
                  </a:lnTo>
                  <a:lnTo>
                    <a:pt x="3881" y="408"/>
                  </a:lnTo>
                  <a:lnTo>
                    <a:pt x="3881" y="411"/>
                  </a:lnTo>
                  <a:lnTo>
                    <a:pt x="3879" y="414"/>
                  </a:lnTo>
                  <a:lnTo>
                    <a:pt x="3878" y="416"/>
                  </a:lnTo>
                  <a:lnTo>
                    <a:pt x="3880" y="416"/>
                  </a:lnTo>
                  <a:lnTo>
                    <a:pt x="3883" y="415"/>
                  </a:lnTo>
                  <a:lnTo>
                    <a:pt x="3885" y="415"/>
                  </a:lnTo>
                  <a:lnTo>
                    <a:pt x="3888" y="411"/>
                  </a:lnTo>
                  <a:lnTo>
                    <a:pt x="3893" y="408"/>
                  </a:lnTo>
                  <a:lnTo>
                    <a:pt x="3896" y="404"/>
                  </a:lnTo>
                  <a:lnTo>
                    <a:pt x="3901" y="401"/>
                  </a:lnTo>
                  <a:lnTo>
                    <a:pt x="3905" y="400"/>
                  </a:lnTo>
                  <a:lnTo>
                    <a:pt x="3907" y="397"/>
                  </a:lnTo>
                  <a:lnTo>
                    <a:pt x="3909" y="395"/>
                  </a:lnTo>
                  <a:lnTo>
                    <a:pt x="3910" y="395"/>
                  </a:lnTo>
                  <a:lnTo>
                    <a:pt x="3913" y="397"/>
                  </a:lnTo>
                  <a:lnTo>
                    <a:pt x="3916" y="394"/>
                  </a:lnTo>
                  <a:lnTo>
                    <a:pt x="3916" y="398"/>
                  </a:lnTo>
                  <a:lnTo>
                    <a:pt x="3919" y="397"/>
                  </a:lnTo>
                  <a:lnTo>
                    <a:pt x="3919" y="393"/>
                  </a:lnTo>
                  <a:lnTo>
                    <a:pt x="3916" y="393"/>
                  </a:lnTo>
                  <a:lnTo>
                    <a:pt x="3917" y="390"/>
                  </a:lnTo>
                  <a:lnTo>
                    <a:pt x="3918" y="387"/>
                  </a:lnTo>
                  <a:lnTo>
                    <a:pt x="3918" y="384"/>
                  </a:lnTo>
                  <a:lnTo>
                    <a:pt x="3918" y="382"/>
                  </a:lnTo>
                  <a:lnTo>
                    <a:pt x="3922" y="381"/>
                  </a:lnTo>
                  <a:lnTo>
                    <a:pt x="3919" y="378"/>
                  </a:lnTo>
                  <a:lnTo>
                    <a:pt x="3923" y="376"/>
                  </a:lnTo>
                  <a:lnTo>
                    <a:pt x="3925" y="375"/>
                  </a:lnTo>
                  <a:lnTo>
                    <a:pt x="3929" y="375"/>
                  </a:lnTo>
                  <a:lnTo>
                    <a:pt x="3931" y="374"/>
                  </a:lnTo>
                  <a:lnTo>
                    <a:pt x="3934" y="374"/>
                  </a:lnTo>
                  <a:lnTo>
                    <a:pt x="3936" y="374"/>
                  </a:lnTo>
                  <a:lnTo>
                    <a:pt x="3939" y="375"/>
                  </a:lnTo>
                  <a:lnTo>
                    <a:pt x="3942" y="376"/>
                  </a:lnTo>
                  <a:lnTo>
                    <a:pt x="3944" y="377"/>
                  </a:lnTo>
                  <a:lnTo>
                    <a:pt x="3950" y="378"/>
                  </a:lnTo>
                  <a:lnTo>
                    <a:pt x="3952" y="378"/>
                  </a:lnTo>
                  <a:lnTo>
                    <a:pt x="3953" y="378"/>
                  </a:lnTo>
                  <a:lnTo>
                    <a:pt x="3952" y="378"/>
                  </a:lnTo>
                  <a:lnTo>
                    <a:pt x="3948" y="378"/>
                  </a:lnTo>
                  <a:lnTo>
                    <a:pt x="3948" y="381"/>
                  </a:lnTo>
                  <a:lnTo>
                    <a:pt x="3946" y="380"/>
                  </a:lnTo>
                  <a:lnTo>
                    <a:pt x="3942" y="380"/>
                  </a:lnTo>
                  <a:lnTo>
                    <a:pt x="3940" y="378"/>
                  </a:lnTo>
                  <a:lnTo>
                    <a:pt x="3938" y="378"/>
                  </a:lnTo>
                  <a:lnTo>
                    <a:pt x="3934" y="381"/>
                  </a:lnTo>
                  <a:lnTo>
                    <a:pt x="3932" y="383"/>
                  </a:lnTo>
                  <a:lnTo>
                    <a:pt x="3932" y="385"/>
                  </a:lnTo>
                  <a:lnTo>
                    <a:pt x="3931" y="389"/>
                  </a:lnTo>
                  <a:lnTo>
                    <a:pt x="3931" y="394"/>
                  </a:lnTo>
                  <a:lnTo>
                    <a:pt x="3929" y="395"/>
                  </a:lnTo>
                  <a:lnTo>
                    <a:pt x="3927" y="399"/>
                  </a:lnTo>
                  <a:lnTo>
                    <a:pt x="3930" y="401"/>
                  </a:lnTo>
                  <a:lnTo>
                    <a:pt x="3930" y="403"/>
                  </a:lnTo>
                  <a:lnTo>
                    <a:pt x="3927" y="406"/>
                  </a:lnTo>
                  <a:lnTo>
                    <a:pt x="3924" y="408"/>
                  </a:lnTo>
                  <a:lnTo>
                    <a:pt x="3927" y="410"/>
                  </a:lnTo>
                  <a:lnTo>
                    <a:pt x="3922" y="414"/>
                  </a:lnTo>
                  <a:lnTo>
                    <a:pt x="3919" y="414"/>
                  </a:lnTo>
                  <a:lnTo>
                    <a:pt x="3916" y="414"/>
                  </a:lnTo>
                  <a:lnTo>
                    <a:pt x="3914" y="417"/>
                  </a:lnTo>
                  <a:lnTo>
                    <a:pt x="3910" y="417"/>
                  </a:lnTo>
                  <a:lnTo>
                    <a:pt x="3908" y="418"/>
                  </a:lnTo>
                  <a:lnTo>
                    <a:pt x="3906" y="419"/>
                  </a:lnTo>
                  <a:lnTo>
                    <a:pt x="3902" y="420"/>
                  </a:lnTo>
                  <a:lnTo>
                    <a:pt x="3902" y="424"/>
                  </a:lnTo>
                  <a:lnTo>
                    <a:pt x="3900" y="426"/>
                  </a:lnTo>
                  <a:lnTo>
                    <a:pt x="3898" y="428"/>
                  </a:lnTo>
                  <a:lnTo>
                    <a:pt x="3895" y="429"/>
                  </a:lnTo>
                  <a:lnTo>
                    <a:pt x="3893" y="433"/>
                  </a:lnTo>
                  <a:lnTo>
                    <a:pt x="3890" y="435"/>
                  </a:lnTo>
                  <a:lnTo>
                    <a:pt x="3888" y="437"/>
                  </a:lnTo>
                  <a:lnTo>
                    <a:pt x="3885" y="438"/>
                  </a:lnTo>
                  <a:lnTo>
                    <a:pt x="3882" y="440"/>
                  </a:lnTo>
                  <a:lnTo>
                    <a:pt x="3881" y="442"/>
                  </a:lnTo>
                  <a:lnTo>
                    <a:pt x="3879" y="444"/>
                  </a:lnTo>
                  <a:lnTo>
                    <a:pt x="3875" y="446"/>
                  </a:lnTo>
                  <a:lnTo>
                    <a:pt x="3873" y="449"/>
                  </a:lnTo>
                  <a:lnTo>
                    <a:pt x="3873" y="451"/>
                  </a:lnTo>
                  <a:lnTo>
                    <a:pt x="3871" y="453"/>
                  </a:lnTo>
                  <a:lnTo>
                    <a:pt x="3868" y="457"/>
                  </a:lnTo>
                  <a:lnTo>
                    <a:pt x="3865" y="459"/>
                  </a:lnTo>
                  <a:lnTo>
                    <a:pt x="3863" y="461"/>
                  </a:lnTo>
                  <a:lnTo>
                    <a:pt x="3861" y="463"/>
                  </a:lnTo>
                  <a:lnTo>
                    <a:pt x="3857" y="464"/>
                  </a:lnTo>
                  <a:lnTo>
                    <a:pt x="3855" y="467"/>
                  </a:lnTo>
                  <a:lnTo>
                    <a:pt x="3852" y="469"/>
                  </a:lnTo>
                  <a:lnTo>
                    <a:pt x="3849" y="470"/>
                  </a:lnTo>
                  <a:lnTo>
                    <a:pt x="3847" y="470"/>
                  </a:lnTo>
                  <a:lnTo>
                    <a:pt x="3844" y="470"/>
                  </a:lnTo>
                  <a:lnTo>
                    <a:pt x="3842" y="472"/>
                  </a:lnTo>
                  <a:lnTo>
                    <a:pt x="3839" y="475"/>
                  </a:lnTo>
                  <a:lnTo>
                    <a:pt x="3837" y="475"/>
                  </a:lnTo>
                  <a:lnTo>
                    <a:pt x="3833" y="474"/>
                  </a:lnTo>
                  <a:lnTo>
                    <a:pt x="3831" y="475"/>
                  </a:lnTo>
                  <a:lnTo>
                    <a:pt x="3833" y="478"/>
                  </a:lnTo>
                  <a:lnTo>
                    <a:pt x="3835" y="480"/>
                  </a:lnTo>
                  <a:lnTo>
                    <a:pt x="3833" y="484"/>
                  </a:lnTo>
                  <a:lnTo>
                    <a:pt x="3831" y="486"/>
                  </a:lnTo>
                  <a:lnTo>
                    <a:pt x="3830" y="488"/>
                  </a:lnTo>
                  <a:lnTo>
                    <a:pt x="3828" y="489"/>
                  </a:lnTo>
                  <a:lnTo>
                    <a:pt x="3825" y="492"/>
                  </a:lnTo>
                  <a:lnTo>
                    <a:pt x="3822" y="495"/>
                  </a:lnTo>
                  <a:lnTo>
                    <a:pt x="3820" y="497"/>
                  </a:lnTo>
                  <a:lnTo>
                    <a:pt x="3820" y="501"/>
                  </a:lnTo>
                  <a:lnTo>
                    <a:pt x="3819" y="503"/>
                  </a:lnTo>
                  <a:lnTo>
                    <a:pt x="3818" y="505"/>
                  </a:lnTo>
                  <a:lnTo>
                    <a:pt x="3816" y="509"/>
                  </a:lnTo>
                  <a:lnTo>
                    <a:pt x="3816" y="511"/>
                  </a:lnTo>
                  <a:lnTo>
                    <a:pt x="3816" y="513"/>
                  </a:lnTo>
                  <a:lnTo>
                    <a:pt x="3816" y="515"/>
                  </a:lnTo>
                  <a:lnTo>
                    <a:pt x="3815" y="519"/>
                  </a:lnTo>
                  <a:lnTo>
                    <a:pt x="3815" y="521"/>
                  </a:lnTo>
                  <a:lnTo>
                    <a:pt x="3815" y="523"/>
                  </a:lnTo>
                  <a:lnTo>
                    <a:pt x="3815" y="527"/>
                  </a:lnTo>
                  <a:lnTo>
                    <a:pt x="3815" y="529"/>
                  </a:lnTo>
                  <a:lnTo>
                    <a:pt x="3816" y="532"/>
                  </a:lnTo>
                  <a:lnTo>
                    <a:pt x="3816" y="535"/>
                  </a:lnTo>
                  <a:lnTo>
                    <a:pt x="3816" y="537"/>
                  </a:lnTo>
                  <a:lnTo>
                    <a:pt x="3818" y="540"/>
                  </a:lnTo>
                  <a:lnTo>
                    <a:pt x="3818" y="543"/>
                  </a:lnTo>
                  <a:lnTo>
                    <a:pt x="3819" y="546"/>
                  </a:lnTo>
                  <a:lnTo>
                    <a:pt x="3820" y="548"/>
                  </a:lnTo>
                  <a:lnTo>
                    <a:pt x="3820" y="551"/>
                  </a:lnTo>
                  <a:lnTo>
                    <a:pt x="3821" y="554"/>
                  </a:lnTo>
                  <a:lnTo>
                    <a:pt x="3821" y="556"/>
                  </a:lnTo>
                  <a:lnTo>
                    <a:pt x="3821" y="560"/>
                  </a:lnTo>
                  <a:lnTo>
                    <a:pt x="3822" y="562"/>
                  </a:lnTo>
                  <a:lnTo>
                    <a:pt x="3822" y="564"/>
                  </a:lnTo>
                  <a:lnTo>
                    <a:pt x="3822" y="568"/>
                  </a:lnTo>
                  <a:lnTo>
                    <a:pt x="3823" y="570"/>
                  </a:lnTo>
                  <a:lnTo>
                    <a:pt x="3824" y="573"/>
                  </a:lnTo>
                  <a:lnTo>
                    <a:pt x="3827" y="574"/>
                  </a:lnTo>
                  <a:lnTo>
                    <a:pt x="3825" y="578"/>
                  </a:lnTo>
                  <a:lnTo>
                    <a:pt x="3827" y="580"/>
                  </a:lnTo>
                  <a:lnTo>
                    <a:pt x="3828" y="583"/>
                  </a:lnTo>
                  <a:lnTo>
                    <a:pt x="3828" y="586"/>
                  </a:lnTo>
                  <a:lnTo>
                    <a:pt x="3828" y="588"/>
                  </a:lnTo>
                  <a:lnTo>
                    <a:pt x="3828" y="591"/>
                  </a:lnTo>
                  <a:lnTo>
                    <a:pt x="3828" y="594"/>
                  </a:lnTo>
                  <a:lnTo>
                    <a:pt x="3828" y="597"/>
                  </a:lnTo>
                  <a:lnTo>
                    <a:pt x="3831" y="599"/>
                  </a:lnTo>
                  <a:lnTo>
                    <a:pt x="3831" y="601"/>
                  </a:lnTo>
                  <a:lnTo>
                    <a:pt x="3830" y="605"/>
                  </a:lnTo>
                  <a:lnTo>
                    <a:pt x="3832" y="603"/>
                  </a:lnTo>
                  <a:lnTo>
                    <a:pt x="3836" y="600"/>
                  </a:lnTo>
                  <a:lnTo>
                    <a:pt x="3837" y="599"/>
                  </a:lnTo>
                  <a:lnTo>
                    <a:pt x="3840" y="597"/>
                  </a:lnTo>
                  <a:lnTo>
                    <a:pt x="3842" y="594"/>
                  </a:lnTo>
                  <a:lnTo>
                    <a:pt x="3845" y="592"/>
                  </a:lnTo>
                  <a:lnTo>
                    <a:pt x="3847" y="590"/>
                  </a:lnTo>
                  <a:lnTo>
                    <a:pt x="3850" y="588"/>
                  </a:lnTo>
                  <a:lnTo>
                    <a:pt x="3853" y="585"/>
                  </a:lnTo>
                  <a:lnTo>
                    <a:pt x="3853" y="582"/>
                  </a:lnTo>
                  <a:lnTo>
                    <a:pt x="3854" y="580"/>
                  </a:lnTo>
                  <a:lnTo>
                    <a:pt x="3856" y="577"/>
                  </a:lnTo>
                  <a:lnTo>
                    <a:pt x="3856" y="574"/>
                  </a:lnTo>
                  <a:lnTo>
                    <a:pt x="3856" y="571"/>
                  </a:lnTo>
                  <a:lnTo>
                    <a:pt x="3857" y="569"/>
                  </a:lnTo>
                  <a:lnTo>
                    <a:pt x="3855" y="568"/>
                  </a:lnTo>
                  <a:lnTo>
                    <a:pt x="3856" y="565"/>
                  </a:lnTo>
                  <a:lnTo>
                    <a:pt x="3858" y="568"/>
                  </a:lnTo>
                  <a:lnTo>
                    <a:pt x="3861" y="566"/>
                  </a:lnTo>
                  <a:lnTo>
                    <a:pt x="3863" y="564"/>
                  </a:lnTo>
                  <a:lnTo>
                    <a:pt x="3866" y="563"/>
                  </a:lnTo>
                  <a:lnTo>
                    <a:pt x="3868" y="562"/>
                  </a:lnTo>
                  <a:lnTo>
                    <a:pt x="3872" y="562"/>
                  </a:lnTo>
                  <a:lnTo>
                    <a:pt x="3874" y="563"/>
                  </a:lnTo>
                  <a:lnTo>
                    <a:pt x="3875" y="564"/>
                  </a:lnTo>
                  <a:lnTo>
                    <a:pt x="3876" y="562"/>
                  </a:lnTo>
                  <a:lnTo>
                    <a:pt x="3875" y="561"/>
                  </a:lnTo>
                  <a:lnTo>
                    <a:pt x="3874" y="558"/>
                  </a:lnTo>
                  <a:lnTo>
                    <a:pt x="3875" y="555"/>
                  </a:lnTo>
                  <a:lnTo>
                    <a:pt x="3873" y="553"/>
                  </a:lnTo>
                  <a:lnTo>
                    <a:pt x="3874" y="549"/>
                  </a:lnTo>
                  <a:lnTo>
                    <a:pt x="3874" y="547"/>
                  </a:lnTo>
                  <a:lnTo>
                    <a:pt x="3875" y="545"/>
                  </a:lnTo>
                  <a:lnTo>
                    <a:pt x="3879" y="543"/>
                  </a:lnTo>
                  <a:lnTo>
                    <a:pt x="3881" y="540"/>
                  </a:lnTo>
                  <a:lnTo>
                    <a:pt x="3884" y="538"/>
                  </a:lnTo>
                  <a:lnTo>
                    <a:pt x="3887" y="537"/>
                  </a:lnTo>
                  <a:lnTo>
                    <a:pt x="3890" y="536"/>
                  </a:lnTo>
                  <a:lnTo>
                    <a:pt x="3892" y="537"/>
                  </a:lnTo>
                  <a:lnTo>
                    <a:pt x="3895" y="538"/>
                  </a:lnTo>
                  <a:lnTo>
                    <a:pt x="3898" y="537"/>
                  </a:lnTo>
                  <a:lnTo>
                    <a:pt x="3900" y="536"/>
                  </a:lnTo>
                  <a:lnTo>
                    <a:pt x="3904" y="534"/>
                  </a:lnTo>
                  <a:lnTo>
                    <a:pt x="3905" y="531"/>
                  </a:lnTo>
                  <a:lnTo>
                    <a:pt x="3904" y="529"/>
                  </a:lnTo>
                  <a:lnTo>
                    <a:pt x="3900" y="526"/>
                  </a:lnTo>
                  <a:lnTo>
                    <a:pt x="3899" y="523"/>
                  </a:lnTo>
                  <a:lnTo>
                    <a:pt x="3899" y="520"/>
                  </a:lnTo>
                  <a:lnTo>
                    <a:pt x="3899" y="518"/>
                  </a:lnTo>
                  <a:lnTo>
                    <a:pt x="3900" y="514"/>
                  </a:lnTo>
                  <a:lnTo>
                    <a:pt x="3902" y="512"/>
                  </a:lnTo>
                  <a:lnTo>
                    <a:pt x="3904" y="510"/>
                  </a:lnTo>
                  <a:lnTo>
                    <a:pt x="3905" y="506"/>
                  </a:lnTo>
                  <a:lnTo>
                    <a:pt x="3908" y="505"/>
                  </a:lnTo>
                  <a:lnTo>
                    <a:pt x="3909" y="505"/>
                  </a:lnTo>
                  <a:lnTo>
                    <a:pt x="3908" y="502"/>
                  </a:lnTo>
                  <a:lnTo>
                    <a:pt x="3912" y="501"/>
                  </a:lnTo>
                  <a:lnTo>
                    <a:pt x="3914" y="501"/>
                  </a:lnTo>
                  <a:lnTo>
                    <a:pt x="3917" y="498"/>
                  </a:lnTo>
                  <a:lnTo>
                    <a:pt x="3916" y="501"/>
                  </a:lnTo>
                  <a:lnTo>
                    <a:pt x="3913" y="502"/>
                  </a:lnTo>
                  <a:lnTo>
                    <a:pt x="3912" y="505"/>
                  </a:lnTo>
                  <a:lnTo>
                    <a:pt x="3914" y="508"/>
                  </a:lnTo>
                  <a:lnTo>
                    <a:pt x="3916" y="509"/>
                  </a:lnTo>
                  <a:lnTo>
                    <a:pt x="3919" y="506"/>
                  </a:lnTo>
                  <a:lnTo>
                    <a:pt x="3922" y="504"/>
                  </a:lnTo>
                  <a:lnTo>
                    <a:pt x="3921" y="501"/>
                  </a:lnTo>
                  <a:lnTo>
                    <a:pt x="3921" y="498"/>
                  </a:lnTo>
                  <a:lnTo>
                    <a:pt x="3921" y="496"/>
                  </a:lnTo>
                  <a:lnTo>
                    <a:pt x="3917" y="495"/>
                  </a:lnTo>
                  <a:lnTo>
                    <a:pt x="3915" y="495"/>
                  </a:lnTo>
                  <a:lnTo>
                    <a:pt x="3914" y="492"/>
                  </a:lnTo>
                  <a:lnTo>
                    <a:pt x="3914" y="489"/>
                  </a:lnTo>
                  <a:lnTo>
                    <a:pt x="3914" y="487"/>
                  </a:lnTo>
                  <a:lnTo>
                    <a:pt x="3914" y="486"/>
                  </a:lnTo>
                  <a:lnTo>
                    <a:pt x="3914" y="483"/>
                  </a:lnTo>
                  <a:lnTo>
                    <a:pt x="3916" y="480"/>
                  </a:lnTo>
                  <a:lnTo>
                    <a:pt x="3919" y="478"/>
                  </a:lnTo>
                  <a:lnTo>
                    <a:pt x="3921" y="476"/>
                  </a:lnTo>
                  <a:lnTo>
                    <a:pt x="3918" y="474"/>
                  </a:lnTo>
                  <a:lnTo>
                    <a:pt x="3915" y="472"/>
                  </a:lnTo>
                  <a:lnTo>
                    <a:pt x="3913" y="470"/>
                  </a:lnTo>
                  <a:lnTo>
                    <a:pt x="3909" y="472"/>
                  </a:lnTo>
                  <a:lnTo>
                    <a:pt x="3909" y="475"/>
                  </a:lnTo>
                  <a:lnTo>
                    <a:pt x="3907" y="475"/>
                  </a:lnTo>
                  <a:lnTo>
                    <a:pt x="3905" y="472"/>
                  </a:lnTo>
                  <a:lnTo>
                    <a:pt x="3902" y="470"/>
                  </a:lnTo>
                  <a:lnTo>
                    <a:pt x="3902" y="467"/>
                  </a:lnTo>
                  <a:lnTo>
                    <a:pt x="3905" y="461"/>
                  </a:lnTo>
                  <a:lnTo>
                    <a:pt x="3907" y="459"/>
                  </a:lnTo>
                  <a:lnTo>
                    <a:pt x="3909" y="457"/>
                  </a:lnTo>
                  <a:lnTo>
                    <a:pt x="3912" y="454"/>
                  </a:lnTo>
                  <a:lnTo>
                    <a:pt x="3915" y="452"/>
                  </a:lnTo>
                  <a:lnTo>
                    <a:pt x="3917" y="450"/>
                  </a:lnTo>
                  <a:lnTo>
                    <a:pt x="3915" y="447"/>
                  </a:lnTo>
                  <a:lnTo>
                    <a:pt x="3917" y="447"/>
                  </a:lnTo>
                  <a:lnTo>
                    <a:pt x="3918" y="444"/>
                  </a:lnTo>
                  <a:lnTo>
                    <a:pt x="3921" y="444"/>
                  </a:lnTo>
                  <a:lnTo>
                    <a:pt x="3921" y="442"/>
                  </a:lnTo>
                  <a:lnTo>
                    <a:pt x="3919" y="438"/>
                  </a:lnTo>
                  <a:lnTo>
                    <a:pt x="3922" y="437"/>
                  </a:lnTo>
                  <a:lnTo>
                    <a:pt x="3922" y="435"/>
                  </a:lnTo>
                  <a:lnTo>
                    <a:pt x="3923" y="433"/>
                  </a:lnTo>
                  <a:lnTo>
                    <a:pt x="3926" y="432"/>
                  </a:lnTo>
                  <a:lnTo>
                    <a:pt x="3925" y="429"/>
                  </a:lnTo>
                  <a:lnTo>
                    <a:pt x="3929" y="428"/>
                  </a:lnTo>
                  <a:lnTo>
                    <a:pt x="3931" y="429"/>
                  </a:lnTo>
                  <a:lnTo>
                    <a:pt x="3932" y="429"/>
                  </a:lnTo>
                  <a:lnTo>
                    <a:pt x="3931" y="433"/>
                  </a:lnTo>
                  <a:lnTo>
                    <a:pt x="3934" y="430"/>
                  </a:lnTo>
                  <a:lnTo>
                    <a:pt x="3935" y="429"/>
                  </a:lnTo>
                  <a:lnTo>
                    <a:pt x="3938" y="428"/>
                  </a:lnTo>
                  <a:lnTo>
                    <a:pt x="3940" y="429"/>
                  </a:lnTo>
                  <a:lnTo>
                    <a:pt x="3941" y="433"/>
                  </a:lnTo>
                  <a:lnTo>
                    <a:pt x="3943" y="433"/>
                  </a:lnTo>
                  <a:lnTo>
                    <a:pt x="3947" y="430"/>
                  </a:lnTo>
                  <a:lnTo>
                    <a:pt x="3947" y="429"/>
                  </a:lnTo>
                  <a:lnTo>
                    <a:pt x="3944" y="428"/>
                  </a:lnTo>
                  <a:lnTo>
                    <a:pt x="3947" y="428"/>
                  </a:lnTo>
                  <a:lnTo>
                    <a:pt x="3950" y="426"/>
                  </a:lnTo>
                  <a:lnTo>
                    <a:pt x="3952" y="425"/>
                  </a:lnTo>
                  <a:lnTo>
                    <a:pt x="3956" y="424"/>
                  </a:lnTo>
                  <a:lnTo>
                    <a:pt x="3958" y="421"/>
                  </a:lnTo>
                  <a:lnTo>
                    <a:pt x="3960" y="420"/>
                  </a:lnTo>
                  <a:lnTo>
                    <a:pt x="3961" y="423"/>
                  </a:lnTo>
                  <a:lnTo>
                    <a:pt x="3961" y="426"/>
                  </a:lnTo>
                  <a:lnTo>
                    <a:pt x="3960" y="428"/>
                  </a:lnTo>
                  <a:lnTo>
                    <a:pt x="3960" y="429"/>
                  </a:lnTo>
                  <a:lnTo>
                    <a:pt x="3959" y="433"/>
                  </a:lnTo>
                  <a:lnTo>
                    <a:pt x="3963" y="433"/>
                  </a:lnTo>
                  <a:lnTo>
                    <a:pt x="3965" y="430"/>
                  </a:lnTo>
                  <a:lnTo>
                    <a:pt x="3965" y="429"/>
                  </a:lnTo>
                  <a:lnTo>
                    <a:pt x="3968" y="427"/>
                  </a:lnTo>
                  <a:lnTo>
                    <a:pt x="3970" y="425"/>
                  </a:lnTo>
                  <a:lnTo>
                    <a:pt x="3973" y="421"/>
                  </a:lnTo>
                  <a:lnTo>
                    <a:pt x="3975" y="423"/>
                  </a:lnTo>
                  <a:lnTo>
                    <a:pt x="3977" y="421"/>
                  </a:lnTo>
                  <a:lnTo>
                    <a:pt x="3981" y="420"/>
                  </a:lnTo>
                  <a:lnTo>
                    <a:pt x="3983" y="419"/>
                  </a:lnTo>
                  <a:lnTo>
                    <a:pt x="3986" y="418"/>
                  </a:lnTo>
                  <a:lnTo>
                    <a:pt x="3989" y="418"/>
                  </a:lnTo>
                  <a:lnTo>
                    <a:pt x="3992" y="418"/>
                  </a:lnTo>
                  <a:lnTo>
                    <a:pt x="3994" y="418"/>
                  </a:lnTo>
                  <a:lnTo>
                    <a:pt x="3998" y="418"/>
                  </a:lnTo>
                  <a:lnTo>
                    <a:pt x="4000" y="418"/>
                  </a:lnTo>
                  <a:lnTo>
                    <a:pt x="4002" y="417"/>
                  </a:lnTo>
                  <a:lnTo>
                    <a:pt x="4006" y="419"/>
                  </a:lnTo>
                  <a:lnTo>
                    <a:pt x="4007" y="420"/>
                  </a:lnTo>
                  <a:lnTo>
                    <a:pt x="4009" y="423"/>
                  </a:lnTo>
                  <a:lnTo>
                    <a:pt x="4011" y="425"/>
                  </a:lnTo>
                  <a:lnTo>
                    <a:pt x="4011" y="427"/>
                  </a:lnTo>
                  <a:lnTo>
                    <a:pt x="4012" y="428"/>
                  </a:lnTo>
                  <a:lnTo>
                    <a:pt x="4015" y="429"/>
                  </a:lnTo>
                  <a:lnTo>
                    <a:pt x="4017" y="432"/>
                  </a:lnTo>
                  <a:lnTo>
                    <a:pt x="4018" y="429"/>
                  </a:lnTo>
                  <a:lnTo>
                    <a:pt x="4019" y="427"/>
                  </a:lnTo>
                  <a:lnTo>
                    <a:pt x="4019" y="425"/>
                  </a:lnTo>
                  <a:lnTo>
                    <a:pt x="4021" y="421"/>
                  </a:lnTo>
                  <a:lnTo>
                    <a:pt x="4024" y="419"/>
                  </a:lnTo>
                  <a:lnTo>
                    <a:pt x="4026" y="419"/>
                  </a:lnTo>
                  <a:lnTo>
                    <a:pt x="4029" y="418"/>
                  </a:lnTo>
                  <a:lnTo>
                    <a:pt x="4032" y="415"/>
                  </a:lnTo>
                  <a:lnTo>
                    <a:pt x="4035" y="415"/>
                  </a:lnTo>
                  <a:lnTo>
                    <a:pt x="4037" y="412"/>
                  </a:lnTo>
                  <a:lnTo>
                    <a:pt x="4041" y="412"/>
                  </a:lnTo>
                  <a:lnTo>
                    <a:pt x="4042" y="411"/>
                  </a:lnTo>
                  <a:lnTo>
                    <a:pt x="4042" y="409"/>
                  </a:lnTo>
                  <a:lnTo>
                    <a:pt x="4045" y="409"/>
                  </a:lnTo>
                  <a:lnTo>
                    <a:pt x="4043" y="407"/>
                  </a:lnTo>
                  <a:lnTo>
                    <a:pt x="4046" y="404"/>
                  </a:lnTo>
                  <a:lnTo>
                    <a:pt x="4049" y="406"/>
                  </a:lnTo>
                  <a:lnTo>
                    <a:pt x="4050" y="402"/>
                  </a:lnTo>
                  <a:lnTo>
                    <a:pt x="4052" y="403"/>
                  </a:lnTo>
                  <a:lnTo>
                    <a:pt x="4051" y="401"/>
                  </a:lnTo>
                  <a:lnTo>
                    <a:pt x="4053" y="400"/>
                  </a:lnTo>
                  <a:lnTo>
                    <a:pt x="4055" y="401"/>
                  </a:lnTo>
                  <a:lnTo>
                    <a:pt x="4058" y="398"/>
                  </a:lnTo>
                  <a:lnTo>
                    <a:pt x="4061" y="395"/>
                  </a:lnTo>
                  <a:lnTo>
                    <a:pt x="4063" y="394"/>
                  </a:lnTo>
                  <a:lnTo>
                    <a:pt x="4066" y="394"/>
                  </a:lnTo>
                  <a:lnTo>
                    <a:pt x="4069" y="393"/>
                  </a:lnTo>
                  <a:lnTo>
                    <a:pt x="4071" y="392"/>
                  </a:lnTo>
                  <a:lnTo>
                    <a:pt x="4074" y="392"/>
                  </a:lnTo>
                  <a:lnTo>
                    <a:pt x="4077" y="392"/>
                  </a:lnTo>
                  <a:lnTo>
                    <a:pt x="4076" y="389"/>
                  </a:lnTo>
                  <a:lnTo>
                    <a:pt x="4078" y="390"/>
                  </a:lnTo>
                  <a:lnTo>
                    <a:pt x="4081" y="389"/>
                  </a:lnTo>
                  <a:lnTo>
                    <a:pt x="4084" y="387"/>
                  </a:lnTo>
                  <a:lnTo>
                    <a:pt x="4085" y="385"/>
                  </a:lnTo>
                  <a:lnTo>
                    <a:pt x="4087" y="385"/>
                  </a:lnTo>
                  <a:lnTo>
                    <a:pt x="4091" y="384"/>
                  </a:lnTo>
                  <a:lnTo>
                    <a:pt x="4093" y="383"/>
                  </a:lnTo>
                  <a:lnTo>
                    <a:pt x="4096" y="383"/>
                  </a:lnTo>
                  <a:lnTo>
                    <a:pt x="4098" y="382"/>
                  </a:lnTo>
                  <a:lnTo>
                    <a:pt x="4102" y="380"/>
                  </a:lnTo>
                  <a:lnTo>
                    <a:pt x="4104" y="377"/>
                  </a:lnTo>
                  <a:lnTo>
                    <a:pt x="4107" y="377"/>
                  </a:lnTo>
                  <a:lnTo>
                    <a:pt x="4110" y="376"/>
                  </a:lnTo>
                  <a:lnTo>
                    <a:pt x="4107" y="374"/>
                  </a:lnTo>
                  <a:lnTo>
                    <a:pt x="4109" y="370"/>
                  </a:lnTo>
                  <a:lnTo>
                    <a:pt x="4109" y="370"/>
                  </a:lnTo>
                  <a:lnTo>
                    <a:pt x="4111" y="373"/>
                  </a:lnTo>
                  <a:lnTo>
                    <a:pt x="4113" y="372"/>
                  </a:lnTo>
                  <a:lnTo>
                    <a:pt x="4113" y="374"/>
                  </a:lnTo>
                  <a:lnTo>
                    <a:pt x="4115" y="376"/>
                  </a:lnTo>
                  <a:lnTo>
                    <a:pt x="4119" y="376"/>
                  </a:lnTo>
                  <a:lnTo>
                    <a:pt x="4121" y="376"/>
                  </a:lnTo>
                  <a:lnTo>
                    <a:pt x="4124" y="377"/>
                  </a:lnTo>
                  <a:lnTo>
                    <a:pt x="4127" y="378"/>
                  </a:lnTo>
                  <a:lnTo>
                    <a:pt x="4130" y="380"/>
                  </a:lnTo>
                  <a:lnTo>
                    <a:pt x="4132" y="380"/>
                  </a:lnTo>
                  <a:lnTo>
                    <a:pt x="4135" y="381"/>
                  </a:lnTo>
                  <a:lnTo>
                    <a:pt x="4138" y="382"/>
                  </a:lnTo>
                  <a:lnTo>
                    <a:pt x="4137" y="378"/>
                  </a:lnTo>
                  <a:lnTo>
                    <a:pt x="4140" y="377"/>
                  </a:lnTo>
                  <a:lnTo>
                    <a:pt x="4143" y="375"/>
                  </a:lnTo>
                  <a:lnTo>
                    <a:pt x="4144" y="373"/>
                  </a:lnTo>
                  <a:lnTo>
                    <a:pt x="4143" y="369"/>
                  </a:lnTo>
                  <a:lnTo>
                    <a:pt x="4140" y="369"/>
                  </a:lnTo>
                  <a:lnTo>
                    <a:pt x="4139" y="366"/>
                  </a:lnTo>
                  <a:lnTo>
                    <a:pt x="4140" y="364"/>
                  </a:lnTo>
                  <a:lnTo>
                    <a:pt x="4138" y="361"/>
                  </a:lnTo>
                  <a:lnTo>
                    <a:pt x="4135" y="360"/>
                  </a:lnTo>
                  <a:lnTo>
                    <a:pt x="4135" y="359"/>
                  </a:lnTo>
                  <a:lnTo>
                    <a:pt x="4134" y="356"/>
                  </a:lnTo>
                  <a:lnTo>
                    <a:pt x="4132" y="359"/>
                  </a:lnTo>
                  <a:lnTo>
                    <a:pt x="4132" y="356"/>
                  </a:lnTo>
                  <a:lnTo>
                    <a:pt x="4130" y="355"/>
                  </a:lnTo>
                  <a:lnTo>
                    <a:pt x="4127" y="356"/>
                  </a:lnTo>
                  <a:lnTo>
                    <a:pt x="4130" y="353"/>
                  </a:lnTo>
                  <a:lnTo>
                    <a:pt x="4132" y="353"/>
                  </a:lnTo>
                  <a:lnTo>
                    <a:pt x="4132" y="351"/>
                  </a:lnTo>
                  <a:lnTo>
                    <a:pt x="4131" y="348"/>
                  </a:lnTo>
                  <a:lnTo>
                    <a:pt x="4130" y="346"/>
                  </a:lnTo>
                  <a:lnTo>
                    <a:pt x="4129" y="343"/>
                  </a:lnTo>
                  <a:lnTo>
                    <a:pt x="4128" y="340"/>
                  </a:lnTo>
                  <a:lnTo>
                    <a:pt x="4127" y="338"/>
                  </a:lnTo>
                  <a:lnTo>
                    <a:pt x="4123" y="340"/>
                  </a:lnTo>
                  <a:lnTo>
                    <a:pt x="4121" y="340"/>
                  </a:lnTo>
                  <a:lnTo>
                    <a:pt x="4118" y="339"/>
                  </a:lnTo>
                  <a:lnTo>
                    <a:pt x="4115" y="337"/>
                  </a:lnTo>
                  <a:lnTo>
                    <a:pt x="4113" y="334"/>
                  </a:lnTo>
                  <a:lnTo>
                    <a:pt x="4114" y="331"/>
                  </a:lnTo>
                  <a:lnTo>
                    <a:pt x="4113" y="329"/>
                  </a:lnTo>
                  <a:lnTo>
                    <a:pt x="4111" y="330"/>
                  </a:lnTo>
                  <a:lnTo>
                    <a:pt x="4109" y="330"/>
                  </a:lnTo>
                  <a:lnTo>
                    <a:pt x="4105" y="332"/>
                  </a:lnTo>
                  <a:lnTo>
                    <a:pt x="4103" y="331"/>
                  </a:lnTo>
                  <a:lnTo>
                    <a:pt x="4100" y="331"/>
                  </a:lnTo>
                  <a:lnTo>
                    <a:pt x="4097" y="332"/>
                  </a:lnTo>
                  <a:lnTo>
                    <a:pt x="4100" y="331"/>
                  </a:lnTo>
                  <a:lnTo>
                    <a:pt x="4098" y="327"/>
                  </a:lnTo>
                  <a:lnTo>
                    <a:pt x="4096" y="325"/>
                  </a:lnTo>
                  <a:lnTo>
                    <a:pt x="4094" y="325"/>
                  </a:lnTo>
                  <a:lnTo>
                    <a:pt x="4097" y="325"/>
                  </a:lnTo>
                  <a:lnTo>
                    <a:pt x="4100" y="326"/>
                  </a:lnTo>
                  <a:lnTo>
                    <a:pt x="4103" y="326"/>
                  </a:lnTo>
                  <a:lnTo>
                    <a:pt x="4105" y="326"/>
                  </a:lnTo>
                  <a:lnTo>
                    <a:pt x="4109" y="327"/>
                  </a:lnTo>
                  <a:lnTo>
                    <a:pt x="4111" y="327"/>
                  </a:lnTo>
                  <a:lnTo>
                    <a:pt x="4112" y="325"/>
                  </a:lnTo>
                  <a:lnTo>
                    <a:pt x="4109" y="323"/>
                  </a:lnTo>
                  <a:lnTo>
                    <a:pt x="4106" y="322"/>
                  </a:lnTo>
                  <a:lnTo>
                    <a:pt x="4103" y="323"/>
                  </a:lnTo>
                  <a:lnTo>
                    <a:pt x="4101" y="322"/>
                  </a:lnTo>
                  <a:lnTo>
                    <a:pt x="4103" y="323"/>
                  </a:lnTo>
                  <a:lnTo>
                    <a:pt x="4106" y="322"/>
                  </a:lnTo>
                  <a:lnTo>
                    <a:pt x="4109" y="322"/>
                  </a:lnTo>
                  <a:lnTo>
                    <a:pt x="4112" y="324"/>
                  </a:lnTo>
                  <a:lnTo>
                    <a:pt x="4114" y="325"/>
                  </a:lnTo>
                  <a:lnTo>
                    <a:pt x="4115" y="327"/>
                  </a:lnTo>
                  <a:lnTo>
                    <a:pt x="4118" y="330"/>
                  </a:lnTo>
                  <a:lnTo>
                    <a:pt x="4121" y="330"/>
                  </a:lnTo>
                  <a:lnTo>
                    <a:pt x="4123" y="331"/>
                  </a:lnTo>
                  <a:lnTo>
                    <a:pt x="4127" y="331"/>
                  </a:lnTo>
                  <a:lnTo>
                    <a:pt x="4129" y="331"/>
                  </a:lnTo>
                  <a:lnTo>
                    <a:pt x="4132" y="330"/>
                  </a:lnTo>
                  <a:lnTo>
                    <a:pt x="4130" y="332"/>
                  </a:lnTo>
                  <a:lnTo>
                    <a:pt x="4132" y="331"/>
                  </a:lnTo>
                  <a:lnTo>
                    <a:pt x="4135" y="330"/>
                  </a:lnTo>
                  <a:lnTo>
                    <a:pt x="4138" y="329"/>
                  </a:lnTo>
                  <a:lnTo>
                    <a:pt x="4140" y="327"/>
                  </a:lnTo>
                  <a:lnTo>
                    <a:pt x="4143" y="326"/>
                  </a:lnTo>
                  <a:lnTo>
                    <a:pt x="4146" y="324"/>
                  </a:lnTo>
                  <a:lnTo>
                    <a:pt x="4148" y="322"/>
                  </a:lnTo>
                  <a:lnTo>
                    <a:pt x="4149" y="322"/>
                  </a:lnTo>
                  <a:lnTo>
                    <a:pt x="4152" y="322"/>
                  </a:lnTo>
                  <a:lnTo>
                    <a:pt x="4154" y="320"/>
                  </a:lnTo>
                  <a:lnTo>
                    <a:pt x="4156" y="317"/>
                  </a:lnTo>
                  <a:lnTo>
                    <a:pt x="4155" y="314"/>
                  </a:lnTo>
                  <a:lnTo>
                    <a:pt x="4153" y="315"/>
                  </a:lnTo>
                  <a:lnTo>
                    <a:pt x="4149" y="316"/>
                  </a:lnTo>
                  <a:lnTo>
                    <a:pt x="4149" y="314"/>
                  </a:lnTo>
                  <a:lnTo>
                    <a:pt x="4151" y="314"/>
                  </a:lnTo>
                  <a:lnTo>
                    <a:pt x="4154" y="314"/>
                  </a:lnTo>
                  <a:lnTo>
                    <a:pt x="4156" y="314"/>
                  </a:lnTo>
                  <a:lnTo>
                    <a:pt x="4160" y="312"/>
                  </a:lnTo>
                  <a:lnTo>
                    <a:pt x="4157" y="308"/>
                  </a:lnTo>
                  <a:lnTo>
                    <a:pt x="4155" y="306"/>
                  </a:lnTo>
                  <a:lnTo>
                    <a:pt x="4153" y="304"/>
                  </a:lnTo>
                  <a:lnTo>
                    <a:pt x="4152" y="300"/>
                  </a:lnTo>
                  <a:lnTo>
                    <a:pt x="4154" y="298"/>
                  </a:lnTo>
                  <a:lnTo>
                    <a:pt x="4156" y="298"/>
                  </a:lnTo>
                  <a:lnTo>
                    <a:pt x="4160" y="297"/>
                  </a:lnTo>
                  <a:lnTo>
                    <a:pt x="4160" y="295"/>
                  </a:lnTo>
                  <a:lnTo>
                    <a:pt x="4162" y="292"/>
                  </a:lnTo>
                  <a:lnTo>
                    <a:pt x="4162" y="296"/>
                  </a:lnTo>
                  <a:lnTo>
                    <a:pt x="4164" y="297"/>
                  </a:lnTo>
                  <a:lnTo>
                    <a:pt x="4168" y="295"/>
                  </a:lnTo>
                  <a:lnTo>
                    <a:pt x="4170" y="293"/>
                  </a:lnTo>
                  <a:lnTo>
                    <a:pt x="4169" y="296"/>
                  </a:lnTo>
                  <a:lnTo>
                    <a:pt x="4168" y="299"/>
                  </a:lnTo>
                  <a:lnTo>
                    <a:pt x="4165" y="301"/>
                  </a:lnTo>
                  <a:lnTo>
                    <a:pt x="4166" y="305"/>
                  </a:lnTo>
                  <a:lnTo>
                    <a:pt x="4170" y="306"/>
                  </a:lnTo>
                  <a:lnTo>
                    <a:pt x="4170" y="309"/>
                  </a:lnTo>
                  <a:lnTo>
                    <a:pt x="4169" y="312"/>
                  </a:lnTo>
                  <a:lnTo>
                    <a:pt x="4172" y="313"/>
                  </a:lnTo>
                  <a:lnTo>
                    <a:pt x="4181" y="313"/>
                  </a:lnTo>
                  <a:lnTo>
                    <a:pt x="4183" y="313"/>
                  </a:lnTo>
                  <a:lnTo>
                    <a:pt x="4186" y="312"/>
                  </a:lnTo>
                  <a:lnTo>
                    <a:pt x="4189" y="309"/>
                  </a:lnTo>
                  <a:lnTo>
                    <a:pt x="4191" y="309"/>
                  </a:lnTo>
                  <a:lnTo>
                    <a:pt x="4195" y="310"/>
                  </a:lnTo>
                  <a:lnTo>
                    <a:pt x="4197" y="312"/>
                  </a:lnTo>
                  <a:lnTo>
                    <a:pt x="4199" y="313"/>
                  </a:lnTo>
                  <a:lnTo>
                    <a:pt x="4203" y="313"/>
                  </a:lnTo>
                  <a:lnTo>
                    <a:pt x="4205" y="314"/>
                  </a:lnTo>
                  <a:lnTo>
                    <a:pt x="4206" y="317"/>
                  </a:lnTo>
                  <a:lnTo>
                    <a:pt x="4207" y="320"/>
                  </a:lnTo>
                  <a:lnTo>
                    <a:pt x="4206" y="323"/>
                  </a:lnTo>
                  <a:lnTo>
                    <a:pt x="4208" y="325"/>
                  </a:lnTo>
                  <a:lnTo>
                    <a:pt x="4212" y="326"/>
                  </a:lnTo>
                  <a:lnTo>
                    <a:pt x="4214" y="327"/>
                  </a:lnTo>
                  <a:lnTo>
                    <a:pt x="4217" y="329"/>
                  </a:lnTo>
                  <a:lnTo>
                    <a:pt x="4220" y="329"/>
                  </a:lnTo>
                  <a:lnTo>
                    <a:pt x="4223" y="330"/>
                  </a:lnTo>
                  <a:lnTo>
                    <a:pt x="4225" y="331"/>
                  </a:lnTo>
                  <a:lnTo>
                    <a:pt x="4228" y="331"/>
                  </a:lnTo>
                  <a:lnTo>
                    <a:pt x="4230" y="333"/>
                  </a:lnTo>
                  <a:lnTo>
                    <a:pt x="4231" y="335"/>
                  </a:lnTo>
                  <a:lnTo>
                    <a:pt x="4233" y="337"/>
                  </a:lnTo>
                  <a:lnTo>
                    <a:pt x="4237" y="338"/>
                  </a:lnTo>
                  <a:lnTo>
                    <a:pt x="4239" y="337"/>
                  </a:lnTo>
                  <a:lnTo>
                    <a:pt x="4240" y="334"/>
                  </a:lnTo>
                  <a:lnTo>
                    <a:pt x="4240" y="332"/>
                  </a:lnTo>
                  <a:lnTo>
                    <a:pt x="4241" y="334"/>
                  </a:lnTo>
                  <a:lnTo>
                    <a:pt x="4240" y="338"/>
                  </a:lnTo>
                  <a:lnTo>
                    <a:pt x="4242" y="340"/>
                  </a:lnTo>
                  <a:lnTo>
                    <a:pt x="4242" y="340"/>
                  </a:lnTo>
                  <a:lnTo>
                    <a:pt x="4246" y="339"/>
                  </a:lnTo>
                  <a:lnTo>
                    <a:pt x="4247" y="337"/>
                  </a:lnTo>
                  <a:lnTo>
                    <a:pt x="4252" y="337"/>
                  </a:lnTo>
                  <a:lnTo>
                    <a:pt x="4255" y="335"/>
                  </a:lnTo>
                  <a:lnTo>
                    <a:pt x="4252" y="333"/>
                  </a:lnTo>
                  <a:lnTo>
                    <a:pt x="4250" y="332"/>
                  </a:lnTo>
                  <a:lnTo>
                    <a:pt x="4248" y="331"/>
                  </a:lnTo>
                  <a:lnTo>
                    <a:pt x="4245" y="331"/>
                  </a:lnTo>
                  <a:lnTo>
                    <a:pt x="4247" y="330"/>
                  </a:lnTo>
                  <a:lnTo>
                    <a:pt x="4247" y="326"/>
                  </a:lnTo>
                  <a:lnTo>
                    <a:pt x="4243" y="327"/>
                  </a:lnTo>
                  <a:lnTo>
                    <a:pt x="4247" y="326"/>
                  </a:lnTo>
                  <a:lnTo>
                    <a:pt x="4249" y="326"/>
                  </a:lnTo>
                  <a:lnTo>
                    <a:pt x="4252" y="325"/>
                  </a:lnTo>
                  <a:lnTo>
                    <a:pt x="4255" y="324"/>
                  </a:lnTo>
                  <a:lnTo>
                    <a:pt x="4257" y="321"/>
                  </a:lnTo>
                  <a:lnTo>
                    <a:pt x="4255" y="318"/>
                  </a:lnTo>
                  <a:lnTo>
                    <a:pt x="4251" y="318"/>
                  </a:lnTo>
                  <a:lnTo>
                    <a:pt x="4255" y="317"/>
                  </a:lnTo>
                  <a:lnTo>
                    <a:pt x="4256" y="318"/>
                  </a:lnTo>
                  <a:lnTo>
                    <a:pt x="4256" y="315"/>
                  </a:lnTo>
                  <a:lnTo>
                    <a:pt x="4257" y="313"/>
                  </a:lnTo>
                  <a:lnTo>
                    <a:pt x="4255" y="314"/>
                  </a:lnTo>
                  <a:lnTo>
                    <a:pt x="4254" y="310"/>
                  </a:lnTo>
                  <a:lnTo>
                    <a:pt x="4250" y="309"/>
                  </a:lnTo>
                  <a:lnTo>
                    <a:pt x="4248" y="308"/>
                  </a:lnTo>
                  <a:lnTo>
                    <a:pt x="4250" y="307"/>
                  </a:lnTo>
                  <a:lnTo>
                    <a:pt x="4254" y="308"/>
                  </a:lnTo>
                  <a:lnTo>
                    <a:pt x="4255" y="310"/>
                  </a:lnTo>
                  <a:lnTo>
                    <a:pt x="4257" y="310"/>
                  </a:lnTo>
                  <a:lnTo>
                    <a:pt x="4260" y="312"/>
                  </a:lnTo>
                  <a:lnTo>
                    <a:pt x="4263" y="312"/>
                  </a:lnTo>
                  <a:lnTo>
                    <a:pt x="4266" y="312"/>
                  </a:lnTo>
                  <a:lnTo>
                    <a:pt x="4268" y="312"/>
                  </a:lnTo>
                  <a:lnTo>
                    <a:pt x="4272" y="313"/>
                  </a:lnTo>
                  <a:lnTo>
                    <a:pt x="4273" y="309"/>
                  </a:lnTo>
                  <a:lnTo>
                    <a:pt x="4269" y="309"/>
                  </a:lnTo>
                  <a:lnTo>
                    <a:pt x="4267" y="306"/>
                  </a:lnTo>
                  <a:lnTo>
                    <a:pt x="4269" y="307"/>
                  </a:lnTo>
                  <a:lnTo>
                    <a:pt x="4273" y="308"/>
                  </a:lnTo>
                  <a:lnTo>
                    <a:pt x="4275" y="309"/>
                  </a:lnTo>
                  <a:lnTo>
                    <a:pt x="4279" y="309"/>
                  </a:lnTo>
                  <a:lnTo>
                    <a:pt x="4280" y="307"/>
                  </a:lnTo>
                  <a:lnTo>
                    <a:pt x="4280" y="305"/>
                  </a:lnTo>
                  <a:lnTo>
                    <a:pt x="4282" y="301"/>
                  </a:lnTo>
                  <a:lnTo>
                    <a:pt x="4285" y="300"/>
                  </a:lnTo>
                  <a:lnTo>
                    <a:pt x="4286" y="300"/>
                  </a:lnTo>
                  <a:lnTo>
                    <a:pt x="4290" y="301"/>
                  </a:lnTo>
                  <a:lnTo>
                    <a:pt x="4291" y="298"/>
                  </a:lnTo>
                  <a:lnTo>
                    <a:pt x="4288" y="297"/>
                  </a:lnTo>
                  <a:close/>
                  <a:moveTo>
                    <a:pt x="2110" y="1489"/>
                  </a:moveTo>
                  <a:lnTo>
                    <a:pt x="2107" y="1487"/>
                  </a:lnTo>
                  <a:lnTo>
                    <a:pt x="2106" y="1486"/>
                  </a:lnTo>
                  <a:lnTo>
                    <a:pt x="2103" y="1486"/>
                  </a:lnTo>
                  <a:lnTo>
                    <a:pt x="2101" y="1484"/>
                  </a:lnTo>
                  <a:lnTo>
                    <a:pt x="2104" y="1481"/>
                  </a:lnTo>
                  <a:lnTo>
                    <a:pt x="2103" y="1479"/>
                  </a:lnTo>
                  <a:lnTo>
                    <a:pt x="2099" y="1477"/>
                  </a:lnTo>
                  <a:lnTo>
                    <a:pt x="2098" y="1475"/>
                  </a:lnTo>
                  <a:lnTo>
                    <a:pt x="2098" y="1469"/>
                  </a:lnTo>
                  <a:lnTo>
                    <a:pt x="2096" y="1467"/>
                  </a:lnTo>
                  <a:lnTo>
                    <a:pt x="2092" y="1466"/>
                  </a:lnTo>
                  <a:lnTo>
                    <a:pt x="2089" y="1460"/>
                  </a:lnTo>
                  <a:lnTo>
                    <a:pt x="2087" y="1454"/>
                  </a:lnTo>
                  <a:lnTo>
                    <a:pt x="2084" y="1452"/>
                  </a:lnTo>
                  <a:lnTo>
                    <a:pt x="2084" y="1450"/>
                  </a:lnTo>
                  <a:lnTo>
                    <a:pt x="2087" y="1447"/>
                  </a:lnTo>
                  <a:lnTo>
                    <a:pt x="2087" y="1444"/>
                  </a:lnTo>
                  <a:lnTo>
                    <a:pt x="2084" y="1442"/>
                  </a:lnTo>
                  <a:lnTo>
                    <a:pt x="2083" y="1439"/>
                  </a:lnTo>
                  <a:lnTo>
                    <a:pt x="2083" y="1435"/>
                  </a:lnTo>
                  <a:lnTo>
                    <a:pt x="2083" y="1432"/>
                  </a:lnTo>
                  <a:lnTo>
                    <a:pt x="2086" y="1426"/>
                  </a:lnTo>
                  <a:lnTo>
                    <a:pt x="2082" y="1428"/>
                  </a:lnTo>
                  <a:lnTo>
                    <a:pt x="2083" y="1425"/>
                  </a:lnTo>
                  <a:lnTo>
                    <a:pt x="2084" y="1417"/>
                  </a:lnTo>
                  <a:lnTo>
                    <a:pt x="2084" y="1415"/>
                  </a:lnTo>
                  <a:lnTo>
                    <a:pt x="2086" y="1415"/>
                  </a:lnTo>
                  <a:lnTo>
                    <a:pt x="2087" y="1417"/>
                  </a:lnTo>
                  <a:lnTo>
                    <a:pt x="2087" y="1420"/>
                  </a:lnTo>
                  <a:lnTo>
                    <a:pt x="2091" y="1429"/>
                  </a:lnTo>
                  <a:lnTo>
                    <a:pt x="2090" y="1435"/>
                  </a:lnTo>
                  <a:lnTo>
                    <a:pt x="2092" y="1437"/>
                  </a:lnTo>
                  <a:lnTo>
                    <a:pt x="2092" y="1439"/>
                  </a:lnTo>
                  <a:lnTo>
                    <a:pt x="2092" y="1442"/>
                  </a:lnTo>
                  <a:lnTo>
                    <a:pt x="2092" y="1445"/>
                  </a:lnTo>
                  <a:lnTo>
                    <a:pt x="2095" y="1447"/>
                  </a:lnTo>
                  <a:lnTo>
                    <a:pt x="2095" y="1450"/>
                  </a:lnTo>
                  <a:lnTo>
                    <a:pt x="2091" y="1453"/>
                  </a:lnTo>
                  <a:lnTo>
                    <a:pt x="2092" y="1455"/>
                  </a:lnTo>
                  <a:lnTo>
                    <a:pt x="2096" y="1458"/>
                  </a:lnTo>
                  <a:lnTo>
                    <a:pt x="2098" y="1459"/>
                  </a:lnTo>
                  <a:lnTo>
                    <a:pt x="2103" y="1463"/>
                  </a:lnTo>
                  <a:lnTo>
                    <a:pt x="2104" y="1469"/>
                  </a:lnTo>
                  <a:lnTo>
                    <a:pt x="2104" y="1471"/>
                  </a:lnTo>
                  <a:lnTo>
                    <a:pt x="2108" y="1479"/>
                  </a:lnTo>
                  <a:lnTo>
                    <a:pt x="2108" y="1481"/>
                  </a:lnTo>
                  <a:lnTo>
                    <a:pt x="2110" y="1484"/>
                  </a:lnTo>
                  <a:lnTo>
                    <a:pt x="2112" y="1487"/>
                  </a:lnTo>
                  <a:lnTo>
                    <a:pt x="2110" y="1489"/>
                  </a:lnTo>
                  <a:close/>
                  <a:moveTo>
                    <a:pt x="2115" y="1336"/>
                  </a:moveTo>
                  <a:lnTo>
                    <a:pt x="2114" y="1338"/>
                  </a:lnTo>
                  <a:lnTo>
                    <a:pt x="2115" y="1342"/>
                  </a:lnTo>
                  <a:lnTo>
                    <a:pt x="2114" y="1344"/>
                  </a:lnTo>
                  <a:lnTo>
                    <a:pt x="2112" y="1347"/>
                  </a:lnTo>
                  <a:lnTo>
                    <a:pt x="2108" y="1348"/>
                  </a:lnTo>
                  <a:lnTo>
                    <a:pt x="2105" y="1353"/>
                  </a:lnTo>
                  <a:lnTo>
                    <a:pt x="2103" y="1351"/>
                  </a:lnTo>
                  <a:lnTo>
                    <a:pt x="2103" y="1355"/>
                  </a:lnTo>
                  <a:lnTo>
                    <a:pt x="2101" y="1352"/>
                  </a:lnTo>
                  <a:lnTo>
                    <a:pt x="2101" y="1350"/>
                  </a:lnTo>
                  <a:lnTo>
                    <a:pt x="2104" y="1347"/>
                  </a:lnTo>
                  <a:lnTo>
                    <a:pt x="2112" y="1340"/>
                  </a:lnTo>
                  <a:lnTo>
                    <a:pt x="2113" y="1339"/>
                  </a:lnTo>
                  <a:lnTo>
                    <a:pt x="2114" y="1338"/>
                  </a:lnTo>
                  <a:lnTo>
                    <a:pt x="2115" y="1335"/>
                  </a:lnTo>
                  <a:lnTo>
                    <a:pt x="2115" y="1336"/>
                  </a:lnTo>
                  <a:close/>
                  <a:moveTo>
                    <a:pt x="2150" y="1501"/>
                  </a:moveTo>
                  <a:lnTo>
                    <a:pt x="2152" y="1501"/>
                  </a:lnTo>
                  <a:lnTo>
                    <a:pt x="2155" y="1502"/>
                  </a:lnTo>
                  <a:lnTo>
                    <a:pt x="2157" y="1505"/>
                  </a:lnTo>
                  <a:lnTo>
                    <a:pt x="2157" y="1506"/>
                  </a:lnTo>
                  <a:lnTo>
                    <a:pt x="2158" y="1506"/>
                  </a:lnTo>
                  <a:lnTo>
                    <a:pt x="2158" y="1507"/>
                  </a:lnTo>
                  <a:lnTo>
                    <a:pt x="2158" y="1507"/>
                  </a:lnTo>
                  <a:lnTo>
                    <a:pt x="2158" y="1513"/>
                  </a:lnTo>
                  <a:lnTo>
                    <a:pt x="2159" y="1514"/>
                  </a:lnTo>
                  <a:lnTo>
                    <a:pt x="2159" y="1516"/>
                  </a:lnTo>
                  <a:lnTo>
                    <a:pt x="2158" y="1520"/>
                  </a:lnTo>
                  <a:lnTo>
                    <a:pt x="2159" y="1522"/>
                  </a:lnTo>
                  <a:lnTo>
                    <a:pt x="2163" y="1526"/>
                  </a:lnTo>
                  <a:lnTo>
                    <a:pt x="2164" y="1528"/>
                  </a:lnTo>
                  <a:lnTo>
                    <a:pt x="2164" y="1530"/>
                  </a:lnTo>
                  <a:lnTo>
                    <a:pt x="2163" y="1532"/>
                  </a:lnTo>
                  <a:lnTo>
                    <a:pt x="2160" y="1536"/>
                  </a:lnTo>
                  <a:lnTo>
                    <a:pt x="2160" y="1538"/>
                  </a:lnTo>
                  <a:lnTo>
                    <a:pt x="2160" y="1541"/>
                  </a:lnTo>
                  <a:lnTo>
                    <a:pt x="2161" y="1544"/>
                  </a:lnTo>
                  <a:lnTo>
                    <a:pt x="2160" y="1546"/>
                  </a:lnTo>
                  <a:lnTo>
                    <a:pt x="2161" y="1549"/>
                  </a:lnTo>
                  <a:lnTo>
                    <a:pt x="2161" y="1552"/>
                  </a:lnTo>
                  <a:lnTo>
                    <a:pt x="2163" y="1555"/>
                  </a:lnTo>
                  <a:lnTo>
                    <a:pt x="2164" y="1557"/>
                  </a:lnTo>
                  <a:lnTo>
                    <a:pt x="2165" y="1560"/>
                  </a:lnTo>
                  <a:lnTo>
                    <a:pt x="2167" y="1564"/>
                  </a:lnTo>
                  <a:lnTo>
                    <a:pt x="2167" y="1567"/>
                  </a:lnTo>
                  <a:lnTo>
                    <a:pt x="2164" y="1564"/>
                  </a:lnTo>
                  <a:lnTo>
                    <a:pt x="2163" y="1563"/>
                  </a:lnTo>
                  <a:lnTo>
                    <a:pt x="2160" y="1565"/>
                  </a:lnTo>
                  <a:lnTo>
                    <a:pt x="2159" y="1565"/>
                  </a:lnTo>
                  <a:lnTo>
                    <a:pt x="2158" y="1563"/>
                  </a:lnTo>
                  <a:lnTo>
                    <a:pt x="2158" y="1557"/>
                  </a:lnTo>
                  <a:lnTo>
                    <a:pt x="2156" y="1555"/>
                  </a:lnTo>
                  <a:lnTo>
                    <a:pt x="2155" y="1553"/>
                  </a:lnTo>
                  <a:lnTo>
                    <a:pt x="2155" y="1549"/>
                  </a:lnTo>
                  <a:lnTo>
                    <a:pt x="2154" y="1544"/>
                  </a:lnTo>
                  <a:lnTo>
                    <a:pt x="2154" y="1543"/>
                  </a:lnTo>
                  <a:lnTo>
                    <a:pt x="2152" y="1540"/>
                  </a:lnTo>
                  <a:lnTo>
                    <a:pt x="2150" y="1537"/>
                  </a:lnTo>
                  <a:lnTo>
                    <a:pt x="2151" y="1533"/>
                  </a:lnTo>
                  <a:lnTo>
                    <a:pt x="2155" y="1528"/>
                  </a:lnTo>
                  <a:lnTo>
                    <a:pt x="2154" y="1522"/>
                  </a:lnTo>
                  <a:lnTo>
                    <a:pt x="2154" y="1516"/>
                  </a:lnTo>
                  <a:lnTo>
                    <a:pt x="2152" y="1514"/>
                  </a:lnTo>
                  <a:lnTo>
                    <a:pt x="2154" y="1511"/>
                  </a:lnTo>
                  <a:lnTo>
                    <a:pt x="2151" y="1509"/>
                  </a:lnTo>
                  <a:lnTo>
                    <a:pt x="2150" y="1506"/>
                  </a:lnTo>
                  <a:lnTo>
                    <a:pt x="2149" y="1502"/>
                  </a:lnTo>
                  <a:lnTo>
                    <a:pt x="2150" y="1501"/>
                  </a:lnTo>
                  <a:close/>
                  <a:moveTo>
                    <a:pt x="2434" y="776"/>
                  </a:moveTo>
                  <a:lnTo>
                    <a:pt x="2434" y="776"/>
                  </a:lnTo>
                  <a:lnTo>
                    <a:pt x="2434" y="777"/>
                  </a:lnTo>
                  <a:lnTo>
                    <a:pt x="2434" y="777"/>
                  </a:lnTo>
                  <a:lnTo>
                    <a:pt x="2434" y="777"/>
                  </a:lnTo>
                  <a:lnTo>
                    <a:pt x="2433" y="777"/>
                  </a:lnTo>
                  <a:lnTo>
                    <a:pt x="2433" y="777"/>
                  </a:lnTo>
                  <a:lnTo>
                    <a:pt x="2433" y="777"/>
                  </a:lnTo>
                  <a:lnTo>
                    <a:pt x="2433" y="778"/>
                  </a:lnTo>
                  <a:lnTo>
                    <a:pt x="2432" y="778"/>
                  </a:lnTo>
                  <a:lnTo>
                    <a:pt x="2432" y="778"/>
                  </a:lnTo>
                  <a:lnTo>
                    <a:pt x="2431" y="778"/>
                  </a:lnTo>
                  <a:lnTo>
                    <a:pt x="2431" y="778"/>
                  </a:lnTo>
                  <a:lnTo>
                    <a:pt x="2431" y="778"/>
                  </a:lnTo>
                  <a:lnTo>
                    <a:pt x="2431" y="778"/>
                  </a:lnTo>
                  <a:lnTo>
                    <a:pt x="2431" y="778"/>
                  </a:lnTo>
                  <a:lnTo>
                    <a:pt x="2431" y="777"/>
                  </a:lnTo>
                  <a:lnTo>
                    <a:pt x="2431" y="777"/>
                  </a:lnTo>
                  <a:lnTo>
                    <a:pt x="2431" y="777"/>
                  </a:lnTo>
                  <a:lnTo>
                    <a:pt x="2431" y="777"/>
                  </a:lnTo>
                  <a:lnTo>
                    <a:pt x="2431" y="777"/>
                  </a:lnTo>
                  <a:lnTo>
                    <a:pt x="2430" y="777"/>
                  </a:lnTo>
                  <a:lnTo>
                    <a:pt x="2430" y="777"/>
                  </a:lnTo>
                  <a:lnTo>
                    <a:pt x="2430" y="777"/>
                  </a:lnTo>
                  <a:lnTo>
                    <a:pt x="2430" y="777"/>
                  </a:lnTo>
                  <a:lnTo>
                    <a:pt x="2430" y="776"/>
                  </a:lnTo>
                  <a:lnTo>
                    <a:pt x="2429" y="776"/>
                  </a:lnTo>
                  <a:lnTo>
                    <a:pt x="2429" y="776"/>
                  </a:lnTo>
                  <a:lnTo>
                    <a:pt x="2429" y="776"/>
                  </a:lnTo>
                  <a:lnTo>
                    <a:pt x="2429" y="776"/>
                  </a:lnTo>
                  <a:lnTo>
                    <a:pt x="2429" y="776"/>
                  </a:lnTo>
                  <a:lnTo>
                    <a:pt x="2429" y="777"/>
                  </a:lnTo>
                  <a:lnTo>
                    <a:pt x="2428" y="777"/>
                  </a:lnTo>
                  <a:lnTo>
                    <a:pt x="2428" y="777"/>
                  </a:lnTo>
                  <a:lnTo>
                    <a:pt x="2429" y="777"/>
                  </a:lnTo>
                  <a:lnTo>
                    <a:pt x="2429" y="778"/>
                  </a:lnTo>
                  <a:lnTo>
                    <a:pt x="2429" y="778"/>
                  </a:lnTo>
                  <a:lnTo>
                    <a:pt x="2429" y="778"/>
                  </a:lnTo>
                  <a:lnTo>
                    <a:pt x="2429" y="778"/>
                  </a:lnTo>
                  <a:lnTo>
                    <a:pt x="2429" y="779"/>
                  </a:lnTo>
                  <a:lnTo>
                    <a:pt x="2430" y="779"/>
                  </a:lnTo>
                  <a:lnTo>
                    <a:pt x="2430" y="779"/>
                  </a:lnTo>
                  <a:lnTo>
                    <a:pt x="2430" y="779"/>
                  </a:lnTo>
                  <a:lnTo>
                    <a:pt x="2430" y="780"/>
                  </a:lnTo>
                  <a:lnTo>
                    <a:pt x="2430" y="780"/>
                  </a:lnTo>
                  <a:lnTo>
                    <a:pt x="2430" y="780"/>
                  </a:lnTo>
                  <a:lnTo>
                    <a:pt x="2428" y="780"/>
                  </a:lnTo>
                  <a:lnTo>
                    <a:pt x="2428" y="780"/>
                  </a:lnTo>
                  <a:lnTo>
                    <a:pt x="2428" y="780"/>
                  </a:lnTo>
                  <a:lnTo>
                    <a:pt x="2428" y="779"/>
                  </a:lnTo>
                  <a:lnTo>
                    <a:pt x="2428" y="779"/>
                  </a:lnTo>
                  <a:lnTo>
                    <a:pt x="2428" y="779"/>
                  </a:lnTo>
                  <a:lnTo>
                    <a:pt x="2428" y="779"/>
                  </a:lnTo>
                  <a:lnTo>
                    <a:pt x="2427" y="779"/>
                  </a:lnTo>
                  <a:lnTo>
                    <a:pt x="2425" y="779"/>
                  </a:lnTo>
                  <a:lnTo>
                    <a:pt x="2425" y="779"/>
                  </a:lnTo>
                  <a:lnTo>
                    <a:pt x="2425" y="779"/>
                  </a:lnTo>
                  <a:lnTo>
                    <a:pt x="2425" y="780"/>
                  </a:lnTo>
                  <a:lnTo>
                    <a:pt x="2425" y="780"/>
                  </a:lnTo>
                  <a:lnTo>
                    <a:pt x="2425" y="780"/>
                  </a:lnTo>
                  <a:lnTo>
                    <a:pt x="2424" y="780"/>
                  </a:lnTo>
                  <a:lnTo>
                    <a:pt x="2424" y="780"/>
                  </a:lnTo>
                  <a:lnTo>
                    <a:pt x="2423" y="780"/>
                  </a:lnTo>
                  <a:lnTo>
                    <a:pt x="2423" y="780"/>
                  </a:lnTo>
                  <a:lnTo>
                    <a:pt x="2423" y="780"/>
                  </a:lnTo>
                  <a:lnTo>
                    <a:pt x="2423" y="780"/>
                  </a:lnTo>
                  <a:lnTo>
                    <a:pt x="2423" y="780"/>
                  </a:lnTo>
                  <a:lnTo>
                    <a:pt x="2423" y="782"/>
                  </a:lnTo>
                  <a:lnTo>
                    <a:pt x="2422" y="782"/>
                  </a:lnTo>
                  <a:lnTo>
                    <a:pt x="2422" y="780"/>
                  </a:lnTo>
                  <a:lnTo>
                    <a:pt x="2421" y="780"/>
                  </a:lnTo>
                  <a:lnTo>
                    <a:pt x="2421" y="782"/>
                  </a:lnTo>
                  <a:lnTo>
                    <a:pt x="2421" y="782"/>
                  </a:lnTo>
                  <a:lnTo>
                    <a:pt x="2421" y="780"/>
                  </a:lnTo>
                  <a:lnTo>
                    <a:pt x="2421" y="780"/>
                  </a:lnTo>
                  <a:lnTo>
                    <a:pt x="2421" y="780"/>
                  </a:lnTo>
                  <a:lnTo>
                    <a:pt x="2421" y="779"/>
                  </a:lnTo>
                  <a:lnTo>
                    <a:pt x="2420" y="779"/>
                  </a:lnTo>
                  <a:lnTo>
                    <a:pt x="2420" y="779"/>
                  </a:lnTo>
                  <a:lnTo>
                    <a:pt x="2420" y="779"/>
                  </a:lnTo>
                  <a:lnTo>
                    <a:pt x="2420" y="778"/>
                  </a:lnTo>
                  <a:lnTo>
                    <a:pt x="2420" y="778"/>
                  </a:lnTo>
                  <a:lnTo>
                    <a:pt x="2420" y="778"/>
                  </a:lnTo>
                  <a:lnTo>
                    <a:pt x="2420" y="778"/>
                  </a:lnTo>
                  <a:lnTo>
                    <a:pt x="2420" y="778"/>
                  </a:lnTo>
                  <a:lnTo>
                    <a:pt x="2420" y="778"/>
                  </a:lnTo>
                  <a:lnTo>
                    <a:pt x="2420" y="777"/>
                  </a:lnTo>
                  <a:lnTo>
                    <a:pt x="2420" y="777"/>
                  </a:lnTo>
                  <a:lnTo>
                    <a:pt x="2420" y="777"/>
                  </a:lnTo>
                  <a:lnTo>
                    <a:pt x="2419" y="777"/>
                  </a:lnTo>
                  <a:lnTo>
                    <a:pt x="2419" y="777"/>
                  </a:lnTo>
                  <a:lnTo>
                    <a:pt x="2419" y="777"/>
                  </a:lnTo>
                  <a:lnTo>
                    <a:pt x="2419" y="777"/>
                  </a:lnTo>
                  <a:lnTo>
                    <a:pt x="2419" y="778"/>
                  </a:lnTo>
                  <a:lnTo>
                    <a:pt x="2419" y="778"/>
                  </a:lnTo>
                  <a:lnTo>
                    <a:pt x="2419" y="778"/>
                  </a:lnTo>
                  <a:lnTo>
                    <a:pt x="2419" y="778"/>
                  </a:lnTo>
                  <a:lnTo>
                    <a:pt x="2419" y="779"/>
                  </a:lnTo>
                  <a:lnTo>
                    <a:pt x="2417" y="779"/>
                  </a:lnTo>
                  <a:lnTo>
                    <a:pt x="2417" y="779"/>
                  </a:lnTo>
                  <a:lnTo>
                    <a:pt x="2417" y="779"/>
                  </a:lnTo>
                  <a:lnTo>
                    <a:pt x="2416" y="779"/>
                  </a:lnTo>
                  <a:lnTo>
                    <a:pt x="2416" y="779"/>
                  </a:lnTo>
                  <a:lnTo>
                    <a:pt x="2416" y="778"/>
                  </a:lnTo>
                  <a:lnTo>
                    <a:pt x="2416" y="778"/>
                  </a:lnTo>
                  <a:lnTo>
                    <a:pt x="2416" y="778"/>
                  </a:lnTo>
                  <a:lnTo>
                    <a:pt x="2415" y="778"/>
                  </a:lnTo>
                  <a:lnTo>
                    <a:pt x="2415" y="778"/>
                  </a:lnTo>
                  <a:lnTo>
                    <a:pt x="2415" y="778"/>
                  </a:lnTo>
                  <a:lnTo>
                    <a:pt x="2415" y="778"/>
                  </a:lnTo>
                  <a:lnTo>
                    <a:pt x="2414" y="778"/>
                  </a:lnTo>
                  <a:lnTo>
                    <a:pt x="2414" y="778"/>
                  </a:lnTo>
                  <a:lnTo>
                    <a:pt x="2414" y="778"/>
                  </a:lnTo>
                  <a:lnTo>
                    <a:pt x="2414" y="778"/>
                  </a:lnTo>
                  <a:lnTo>
                    <a:pt x="2414" y="778"/>
                  </a:lnTo>
                  <a:lnTo>
                    <a:pt x="2414" y="778"/>
                  </a:lnTo>
                  <a:lnTo>
                    <a:pt x="2414" y="778"/>
                  </a:lnTo>
                  <a:lnTo>
                    <a:pt x="2413" y="778"/>
                  </a:lnTo>
                  <a:lnTo>
                    <a:pt x="2412" y="778"/>
                  </a:lnTo>
                  <a:lnTo>
                    <a:pt x="2412" y="778"/>
                  </a:lnTo>
                  <a:lnTo>
                    <a:pt x="2412" y="778"/>
                  </a:lnTo>
                  <a:lnTo>
                    <a:pt x="2412" y="778"/>
                  </a:lnTo>
                  <a:lnTo>
                    <a:pt x="2412" y="777"/>
                  </a:lnTo>
                  <a:lnTo>
                    <a:pt x="2412" y="777"/>
                  </a:lnTo>
                  <a:lnTo>
                    <a:pt x="2412" y="777"/>
                  </a:lnTo>
                  <a:lnTo>
                    <a:pt x="2412" y="777"/>
                  </a:lnTo>
                  <a:lnTo>
                    <a:pt x="2412" y="777"/>
                  </a:lnTo>
                  <a:lnTo>
                    <a:pt x="2412" y="777"/>
                  </a:lnTo>
                  <a:lnTo>
                    <a:pt x="2412" y="777"/>
                  </a:lnTo>
                  <a:lnTo>
                    <a:pt x="2411" y="777"/>
                  </a:lnTo>
                  <a:lnTo>
                    <a:pt x="2411" y="776"/>
                  </a:lnTo>
                  <a:lnTo>
                    <a:pt x="2411" y="776"/>
                  </a:lnTo>
                  <a:lnTo>
                    <a:pt x="2411" y="776"/>
                  </a:lnTo>
                  <a:lnTo>
                    <a:pt x="2411" y="775"/>
                  </a:lnTo>
                  <a:lnTo>
                    <a:pt x="2411" y="775"/>
                  </a:lnTo>
                  <a:lnTo>
                    <a:pt x="2411" y="775"/>
                  </a:lnTo>
                  <a:lnTo>
                    <a:pt x="2411" y="775"/>
                  </a:lnTo>
                  <a:lnTo>
                    <a:pt x="2410" y="774"/>
                  </a:lnTo>
                  <a:lnTo>
                    <a:pt x="2410" y="775"/>
                  </a:lnTo>
                  <a:lnTo>
                    <a:pt x="2410" y="775"/>
                  </a:lnTo>
                  <a:lnTo>
                    <a:pt x="2410" y="776"/>
                  </a:lnTo>
                  <a:lnTo>
                    <a:pt x="2410" y="776"/>
                  </a:lnTo>
                  <a:lnTo>
                    <a:pt x="2410" y="777"/>
                  </a:lnTo>
                  <a:lnTo>
                    <a:pt x="2410" y="777"/>
                  </a:lnTo>
                  <a:lnTo>
                    <a:pt x="2410" y="777"/>
                  </a:lnTo>
                  <a:lnTo>
                    <a:pt x="2410" y="778"/>
                  </a:lnTo>
                  <a:lnTo>
                    <a:pt x="2410" y="779"/>
                  </a:lnTo>
                  <a:lnTo>
                    <a:pt x="2408" y="779"/>
                  </a:lnTo>
                  <a:lnTo>
                    <a:pt x="2408" y="779"/>
                  </a:lnTo>
                  <a:lnTo>
                    <a:pt x="2410" y="779"/>
                  </a:lnTo>
                  <a:lnTo>
                    <a:pt x="2410" y="780"/>
                  </a:lnTo>
                  <a:lnTo>
                    <a:pt x="2408" y="780"/>
                  </a:lnTo>
                  <a:lnTo>
                    <a:pt x="2408" y="780"/>
                  </a:lnTo>
                  <a:lnTo>
                    <a:pt x="2408" y="782"/>
                  </a:lnTo>
                  <a:lnTo>
                    <a:pt x="2408" y="782"/>
                  </a:lnTo>
                  <a:lnTo>
                    <a:pt x="2408" y="782"/>
                  </a:lnTo>
                  <a:lnTo>
                    <a:pt x="2407" y="782"/>
                  </a:lnTo>
                  <a:lnTo>
                    <a:pt x="2407" y="783"/>
                  </a:lnTo>
                  <a:lnTo>
                    <a:pt x="2407" y="783"/>
                  </a:lnTo>
                  <a:lnTo>
                    <a:pt x="2407" y="783"/>
                  </a:lnTo>
                  <a:lnTo>
                    <a:pt x="2407" y="784"/>
                  </a:lnTo>
                  <a:lnTo>
                    <a:pt x="2407" y="784"/>
                  </a:lnTo>
                  <a:lnTo>
                    <a:pt x="2407" y="785"/>
                  </a:lnTo>
                  <a:lnTo>
                    <a:pt x="2407" y="785"/>
                  </a:lnTo>
                  <a:lnTo>
                    <a:pt x="2407" y="785"/>
                  </a:lnTo>
                  <a:lnTo>
                    <a:pt x="2407" y="786"/>
                  </a:lnTo>
                  <a:lnTo>
                    <a:pt x="2406" y="786"/>
                  </a:lnTo>
                  <a:lnTo>
                    <a:pt x="2406" y="786"/>
                  </a:lnTo>
                  <a:lnTo>
                    <a:pt x="2407" y="786"/>
                  </a:lnTo>
                  <a:lnTo>
                    <a:pt x="2407" y="787"/>
                  </a:lnTo>
                  <a:lnTo>
                    <a:pt x="2407" y="787"/>
                  </a:lnTo>
                  <a:lnTo>
                    <a:pt x="2407" y="787"/>
                  </a:lnTo>
                  <a:lnTo>
                    <a:pt x="2407" y="787"/>
                  </a:lnTo>
                  <a:lnTo>
                    <a:pt x="2407" y="788"/>
                  </a:lnTo>
                  <a:lnTo>
                    <a:pt x="2407" y="788"/>
                  </a:lnTo>
                  <a:lnTo>
                    <a:pt x="2407" y="788"/>
                  </a:lnTo>
                  <a:lnTo>
                    <a:pt x="2407" y="789"/>
                  </a:lnTo>
                  <a:lnTo>
                    <a:pt x="2407" y="789"/>
                  </a:lnTo>
                  <a:lnTo>
                    <a:pt x="2407" y="789"/>
                  </a:lnTo>
                  <a:lnTo>
                    <a:pt x="2407" y="791"/>
                  </a:lnTo>
                  <a:lnTo>
                    <a:pt x="2407" y="791"/>
                  </a:lnTo>
                  <a:lnTo>
                    <a:pt x="2408" y="791"/>
                  </a:lnTo>
                  <a:lnTo>
                    <a:pt x="2408" y="792"/>
                  </a:lnTo>
                  <a:lnTo>
                    <a:pt x="2408" y="792"/>
                  </a:lnTo>
                  <a:lnTo>
                    <a:pt x="2408" y="792"/>
                  </a:lnTo>
                  <a:lnTo>
                    <a:pt x="2410" y="792"/>
                  </a:lnTo>
                  <a:lnTo>
                    <a:pt x="2410" y="792"/>
                  </a:lnTo>
                  <a:lnTo>
                    <a:pt x="2410" y="792"/>
                  </a:lnTo>
                  <a:lnTo>
                    <a:pt x="2410" y="793"/>
                  </a:lnTo>
                  <a:lnTo>
                    <a:pt x="2410" y="793"/>
                  </a:lnTo>
                  <a:lnTo>
                    <a:pt x="2410" y="793"/>
                  </a:lnTo>
                  <a:lnTo>
                    <a:pt x="2410" y="793"/>
                  </a:lnTo>
                  <a:lnTo>
                    <a:pt x="2410" y="793"/>
                  </a:lnTo>
                  <a:lnTo>
                    <a:pt x="2410" y="792"/>
                  </a:lnTo>
                  <a:lnTo>
                    <a:pt x="2410" y="792"/>
                  </a:lnTo>
                  <a:lnTo>
                    <a:pt x="2410" y="792"/>
                  </a:lnTo>
                  <a:lnTo>
                    <a:pt x="2410" y="791"/>
                  </a:lnTo>
                  <a:lnTo>
                    <a:pt x="2410" y="791"/>
                  </a:lnTo>
                  <a:lnTo>
                    <a:pt x="2410" y="791"/>
                  </a:lnTo>
                  <a:lnTo>
                    <a:pt x="2410" y="791"/>
                  </a:lnTo>
                  <a:lnTo>
                    <a:pt x="2410" y="791"/>
                  </a:lnTo>
                  <a:lnTo>
                    <a:pt x="2410" y="791"/>
                  </a:lnTo>
                  <a:lnTo>
                    <a:pt x="2410" y="791"/>
                  </a:lnTo>
                  <a:lnTo>
                    <a:pt x="2410" y="791"/>
                  </a:lnTo>
                  <a:lnTo>
                    <a:pt x="2410" y="792"/>
                  </a:lnTo>
                  <a:lnTo>
                    <a:pt x="2410" y="791"/>
                  </a:lnTo>
                  <a:lnTo>
                    <a:pt x="2411" y="792"/>
                  </a:lnTo>
                  <a:lnTo>
                    <a:pt x="2411" y="792"/>
                  </a:lnTo>
                  <a:lnTo>
                    <a:pt x="2411" y="791"/>
                  </a:lnTo>
                  <a:lnTo>
                    <a:pt x="2411" y="791"/>
                  </a:lnTo>
                  <a:lnTo>
                    <a:pt x="2411" y="792"/>
                  </a:lnTo>
                  <a:lnTo>
                    <a:pt x="2411" y="791"/>
                  </a:lnTo>
                  <a:lnTo>
                    <a:pt x="2412" y="791"/>
                  </a:lnTo>
                  <a:lnTo>
                    <a:pt x="2412" y="792"/>
                  </a:lnTo>
                  <a:lnTo>
                    <a:pt x="2412" y="792"/>
                  </a:lnTo>
                  <a:lnTo>
                    <a:pt x="2412" y="792"/>
                  </a:lnTo>
                  <a:lnTo>
                    <a:pt x="2412" y="792"/>
                  </a:lnTo>
                  <a:lnTo>
                    <a:pt x="2413" y="792"/>
                  </a:lnTo>
                  <a:lnTo>
                    <a:pt x="2413" y="791"/>
                  </a:lnTo>
                  <a:lnTo>
                    <a:pt x="2414" y="791"/>
                  </a:lnTo>
                  <a:lnTo>
                    <a:pt x="2414" y="792"/>
                  </a:lnTo>
                  <a:lnTo>
                    <a:pt x="2414" y="792"/>
                  </a:lnTo>
                  <a:lnTo>
                    <a:pt x="2414" y="792"/>
                  </a:lnTo>
                  <a:lnTo>
                    <a:pt x="2414" y="792"/>
                  </a:lnTo>
                  <a:lnTo>
                    <a:pt x="2415" y="792"/>
                  </a:lnTo>
                  <a:lnTo>
                    <a:pt x="2415" y="792"/>
                  </a:lnTo>
                  <a:lnTo>
                    <a:pt x="2415" y="792"/>
                  </a:lnTo>
                  <a:lnTo>
                    <a:pt x="2416" y="792"/>
                  </a:lnTo>
                  <a:lnTo>
                    <a:pt x="2416" y="792"/>
                  </a:lnTo>
                  <a:lnTo>
                    <a:pt x="2416" y="792"/>
                  </a:lnTo>
                  <a:lnTo>
                    <a:pt x="2416" y="792"/>
                  </a:lnTo>
                  <a:lnTo>
                    <a:pt x="2416" y="792"/>
                  </a:lnTo>
                  <a:lnTo>
                    <a:pt x="2416" y="792"/>
                  </a:lnTo>
                  <a:lnTo>
                    <a:pt x="2417" y="792"/>
                  </a:lnTo>
                  <a:lnTo>
                    <a:pt x="2417" y="792"/>
                  </a:lnTo>
                  <a:lnTo>
                    <a:pt x="2416" y="792"/>
                  </a:lnTo>
                  <a:lnTo>
                    <a:pt x="2416" y="792"/>
                  </a:lnTo>
                  <a:lnTo>
                    <a:pt x="2417" y="792"/>
                  </a:lnTo>
                  <a:lnTo>
                    <a:pt x="2417" y="792"/>
                  </a:lnTo>
                  <a:lnTo>
                    <a:pt x="2417" y="793"/>
                  </a:lnTo>
                  <a:lnTo>
                    <a:pt x="2417" y="793"/>
                  </a:lnTo>
                  <a:lnTo>
                    <a:pt x="2417" y="793"/>
                  </a:lnTo>
                  <a:lnTo>
                    <a:pt x="2417" y="794"/>
                  </a:lnTo>
                  <a:lnTo>
                    <a:pt x="2417" y="794"/>
                  </a:lnTo>
                  <a:lnTo>
                    <a:pt x="2416" y="794"/>
                  </a:lnTo>
                  <a:lnTo>
                    <a:pt x="2416" y="794"/>
                  </a:lnTo>
                  <a:lnTo>
                    <a:pt x="2416" y="794"/>
                  </a:lnTo>
                  <a:lnTo>
                    <a:pt x="2416" y="794"/>
                  </a:lnTo>
                  <a:lnTo>
                    <a:pt x="2416" y="795"/>
                  </a:lnTo>
                  <a:lnTo>
                    <a:pt x="2416" y="795"/>
                  </a:lnTo>
                  <a:lnTo>
                    <a:pt x="2416" y="795"/>
                  </a:lnTo>
                  <a:lnTo>
                    <a:pt x="2416" y="795"/>
                  </a:lnTo>
                  <a:lnTo>
                    <a:pt x="2416" y="796"/>
                  </a:lnTo>
                  <a:lnTo>
                    <a:pt x="2417" y="796"/>
                  </a:lnTo>
                  <a:lnTo>
                    <a:pt x="2417" y="796"/>
                  </a:lnTo>
                  <a:lnTo>
                    <a:pt x="2417" y="796"/>
                  </a:lnTo>
                  <a:lnTo>
                    <a:pt x="2417" y="796"/>
                  </a:lnTo>
                  <a:lnTo>
                    <a:pt x="2419" y="796"/>
                  </a:lnTo>
                  <a:lnTo>
                    <a:pt x="2419" y="796"/>
                  </a:lnTo>
                  <a:lnTo>
                    <a:pt x="2419" y="796"/>
                  </a:lnTo>
                  <a:lnTo>
                    <a:pt x="2419" y="796"/>
                  </a:lnTo>
                  <a:lnTo>
                    <a:pt x="2419" y="796"/>
                  </a:lnTo>
                  <a:lnTo>
                    <a:pt x="2419" y="797"/>
                  </a:lnTo>
                  <a:lnTo>
                    <a:pt x="2419" y="796"/>
                  </a:lnTo>
                  <a:lnTo>
                    <a:pt x="2419" y="797"/>
                  </a:lnTo>
                  <a:lnTo>
                    <a:pt x="2420" y="797"/>
                  </a:lnTo>
                  <a:lnTo>
                    <a:pt x="2420" y="797"/>
                  </a:lnTo>
                  <a:lnTo>
                    <a:pt x="2420" y="797"/>
                  </a:lnTo>
                  <a:lnTo>
                    <a:pt x="2420" y="797"/>
                  </a:lnTo>
                  <a:lnTo>
                    <a:pt x="2421" y="797"/>
                  </a:lnTo>
                  <a:lnTo>
                    <a:pt x="2421" y="799"/>
                  </a:lnTo>
                  <a:lnTo>
                    <a:pt x="2420" y="799"/>
                  </a:lnTo>
                  <a:lnTo>
                    <a:pt x="2420" y="797"/>
                  </a:lnTo>
                  <a:lnTo>
                    <a:pt x="2420" y="799"/>
                  </a:lnTo>
                  <a:lnTo>
                    <a:pt x="2420" y="799"/>
                  </a:lnTo>
                  <a:lnTo>
                    <a:pt x="2420" y="799"/>
                  </a:lnTo>
                  <a:lnTo>
                    <a:pt x="2420" y="799"/>
                  </a:lnTo>
                  <a:lnTo>
                    <a:pt x="2420" y="799"/>
                  </a:lnTo>
                  <a:lnTo>
                    <a:pt x="2420" y="799"/>
                  </a:lnTo>
                  <a:lnTo>
                    <a:pt x="2420" y="799"/>
                  </a:lnTo>
                  <a:lnTo>
                    <a:pt x="2419" y="799"/>
                  </a:lnTo>
                  <a:lnTo>
                    <a:pt x="2419" y="799"/>
                  </a:lnTo>
                  <a:lnTo>
                    <a:pt x="2419" y="799"/>
                  </a:lnTo>
                  <a:lnTo>
                    <a:pt x="2419" y="799"/>
                  </a:lnTo>
                  <a:lnTo>
                    <a:pt x="2419" y="799"/>
                  </a:lnTo>
                  <a:lnTo>
                    <a:pt x="2419" y="800"/>
                  </a:lnTo>
                  <a:lnTo>
                    <a:pt x="2417" y="799"/>
                  </a:lnTo>
                  <a:lnTo>
                    <a:pt x="2419" y="799"/>
                  </a:lnTo>
                  <a:lnTo>
                    <a:pt x="2419" y="799"/>
                  </a:lnTo>
                  <a:lnTo>
                    <a:pt x="2419" y="799"/>
                  </a:lnTo>
                  <a:lnTo>
                    <a:pt x="2419" y="797"/>
                  </a:lnTo>
                  <a:lnTo>
                    <a:pt x="2419" y="797"/>
                  </a:lnTo>
                  <a:lnTo>
                    <a:pt x="2419" y="797"/>
                  </a:lnTo>
                  <a:lnTo>
                    <a:pt x="2417" y="797"/>
                  </a:lnTo>
                  <a:lnTo>
                    <a:pt x="2417" y="797"/>
                  </a:lnTo>
                  <a:lnTo>
                    <a:pt x="2417" y="797"/>
                  </a:lnTo>
                  <a:lnTo>
                    <a:pt x="2417" y="797"/>
                  </a:lnTo>
                  <a:lnTo>
                    <a:pt x="2417" y="797"/>
                  </a:lnTo>
                  <a:lnTo>
                    <a:pt x="2417" y="797"/>
                  </a:lnTo>
                  <a:lnTo>
                    <a:pt x="2417" y="797"/>
                  </a:lnTo>
                  <a:lnTo>
                    <a:pt x="2417" y="799"/>
                  </a:lnTo>
                  <a:lnTo>
                    <a:pt x="2417" y="797"/>
                  </a:lnTo>
                  <a:lnTo>
                    <a:pt x="2417" y="797"/>
                  </a:lnTo>
                  <a:lnTo>
                    <a:pt x="2416" y="799"/>
                  </a:lnTo>
                  <a:lnTo>
                    <a:pt x="2415" y="799"/>
                  </a:lnTo>
                  <a:lnTo>
                    <a:pt x="2415" y="799"/>
                  </a:lnTo>
                  <a:lnTo>
                    <a:pt x="2414" y="799"/>
                  </a:lnTo>
                  <a:lnTo>
                    <a:pt x="2414" y="797"/>
                  </a:lnTo>
                  <a:lnTo>
                    <a:pt x="2414" y="797"/>
                  </a:lnTo>
                  <a:lnTo>
                    <a:pt x="2414" y="797"/>
                  </a:lnTo>
                  <a:lnTo>
                    <a:pt x="2415" y="797"/>
                  </a:lnTo>
                  <a:lnTo>
                    <a:pt x="2415" y="796"/>
                  </a:lnTo>
                  <a:lnTo>
                    <a:pt x="2415" y="796"/>
                  </a:lnTo>
                  <a:lnTo>
                    <a:pt x="2415" y="796"/>
                  </a:lnTo>
                  <a:lnTo>
                    <a:pt x="2415" y="796"/>
                  </a:lnTo>
                  <a:lnTo>
                    <a:pt x="2414" y="796"/>
                  </a:lnTo>
                  <a:lnTo>
                    <a:pt x="2414" y="796"/>
                  </a:lnTo>
                  <a:lnTo>
                    <a:pt x="2414" y="797"/>
                  </a:lnTo>
                  <a:lnTo>
                    <a:pt x="2414" y="797"/>
                  </a:lnTo>
                  <a:lnTo>
                    <a:pt x="2414" y="797"/>
                  </a:lnTo>
                  <a:lnTo>
                    <a:pt x="2414" y="797"/>
                  </a:lnTo>
                  <a:lnTo>
                    <a:pt x="2414" y="799"/>
                  </a:lnTo>
                  <a:lnTo>
                    <a:pt x="2413" y="799"/>
                  </a:lnTo>
                  <a:lnTo>
                    <a:pt x="2413" y="799"/>
                  </a:lnTo>
                  <a:lnTo>
                    <a:pt x="2413" y="799"/>
                  </a:lnTo>
                  <a:lnTo>
                    <a:pt x="2413" y="800"/>
                  </a:lnTo>
                  <a:lnTo>
                    <a:pt x="2413" y="800"/>
                  </a:lnTo>
                  <a:lnTo>
                    <a:pt x="2413" y="800"/>
                  </a:lnTo>
                  <a:lnTo>
                    <a:pt x="2412" y="800"/>
                  </a:lnTo>
                  <a:lnTo>
                    <a:pt x="2412" y="801"/>
                  </a:lnTo>
                  <a:lnTo>
                    <a:pt x="2413" y="801"/>
                  </a:lnTo>
                  <a:lnTo>
                    <a:pt x="2413" y="802"/>
                  </a:lnTo>
                  <a:lnTo>
                    <a:pt x="2413" y="802"/>
                  </a:lnTo>
                  <a:lnTo>
                    <a:pt x="2413" y="803"/>
                  </a:lnTo>
                  <a:lnTo>
                    <a:pt x="2413" y="803"/>
                  </a:lnTo>
                  <a:lnTo>
                    <a:pt x="2413" y="802"/>
                  </a:lnTo>
                  <a:lnTo>
                    <a:pt x="2414" y="802"/>
                  </a:lnTo>
                  <a:lnTo>
                    <a:pt x="2414" y="802"/>
                  </a:lnTo>
                  <a:lnTo>
                    <a:pt x="2414" y="802"/>
                  </a:lnTo>
                  <a:lnTo>
                    <a:pt x="2414" y="801"/>
                  </a:lnTo>
                  <a:lnTo>
                    <a:pt x="2413" y="801"/>
                  </a:lnTo>
                  <a:lnTo>
                    <a:pt x="2413" y="801"/>
                  </a:lnTo>
                  <a:lnTo>
                    <a:pt x="2414" y="801"/>
                  </a:lnTo>
                  <a:lnTo>
                    <a:pt x="2414" y="801"/>
                  </a:lnTo>
                  <a:lnTo>
                    <a:pt x="2414" y="801"/>
                  </a:lnTo>
                  <a:lnTo>
                    <a:pt x="2415" y="801"/>
                  </a:lnTo>
                  <a:lnTo>
                    <a:pt x="2415" y="801"/>
                  </a:lnTo>
                  <a:lnTo>
                    <a:pt x="2416" y="801"/>
                  </a:lnTo>
                  <a:lnTo>
                    <a:pt x="2416" y="802"/>
                  </a:lnTo>
                  <a:lnTo>
                    <a:pt x="2416" y="802"/>
                  </a:lnTo>
                  <a:lnTo>
                    <a:pt x="2416" y="802"/>
                  </a:lnTo>
                  <a:lnTo>
                    <a:pt x="2417" y="802"/>
                  </a:lnTo>
                  <a:lnTo>
                    <a:pt x="2417" y="802"/>
                  </a:lnTo>
                  <a:lnTo>
                    <a:pt x="2417" y="802"/>
                  </a:lnTo>
                  <a:lnTo>
                    <a:pt x="2417" y="802"/>
                  </a:lnTo>
                  <a:lnTo>
                    <a:pt x="2419" y="802"/>
                  </a:lnTo>
                  <a:lnTo>
                    <a:pt x="2417" y="802"/>
                  </a:lnTo>
                  <a:lnTo>
                    <a:pt x="2419" y="802"/>
                  </a:lnTo>
                  <a:lnTo>
                    <a:pt x="2419" y="803"/>
                  </a:lnTo>
                  <a:lnTo>
                    <a:pt x="2419" y="803"/>
                  </a:lnTo>
                  <a:lnTo>
                    <a:pt x="2419" y="803"/>
                  </a:lnTo>
                  <a:lnTo>
                    <a:pt x="2419" y="803"/>
                  </a:lnTo>
                  <a:lnTo>
                    <a:pt x="2419" y="803"/>
                  </a:lnTo>
                  <a:lnTo>
                    <a:pt x="2419" y="803"/>
                  </a:lnTo>
                  <a:lnTo>
                    <a:pt x="2419" y="803"/>
                  </a:lnTo>
                  <a:lnTo>
                    <a:pt x="2419" y="803"/>
                  </a:lnTo>
                  <a:lnTo>
                    <a:pt x="2419" y="804"/>
                  </a:lnTo>
                  <a:lnTo>
                    <a:pt x="2419" y="804"/>
                  </a:lnTo>
                  <a:lnTo>
                    <a:pt x="2419" y="803"/>
                  </a:lnTo>
                  <a:lnTo>
                    <a:pt x="2420" y="803"/>
                  </a:lnTo>
                  <a:lnTo>
                    <a:pt x="2420" y="804"/>
                  </a:lnTo>
                  <a:lnTo>
                    <a:pt x="2419" y="804"/>
                  </a:lnTo>
                  <a:lnTo>
                    <a:pt x="2420" y="804"/>
                  </a:lnTo>
                  <a:lnTo>
                    <a:pt x="2420" y="804"/>
                  </a:lnTo>
                  <a:lnTo>
                    <a:pt x="2420" y="804"/>
                  </a:lnTo>
                  <a:lnTo>
                    <a:pt x="2420" y="805"/>
                  </a:lnTo>
                  <a:lnTo>
                    <a:pt x="2420" y="805"/>
                  </a:lnTo>
                  <a:lnTo>
                    <a:pt x="2420" y="805"/>
                  </a:lnTo>
                  <a:lnTo>
                    <a:pt x="2420" y="805"/>
                  </a:lnTo>
                  <a:lnTo>
                    <a:pt x="2420" y="805"/>
                  </a:lnTo>
                  <a:lnTo>
                    <a:pt x="2420" y="804"/>
                  </a:lnTo>
                  <a:lnTo>
                    <a:pt x="2421" y="804"/>
                  </a:lnTo>
                  <a:lnTo>
                    <a:pt x="2421" y="804"/>
                  </a:lnTo>
                  <a:lnTo>
                    <a:pt x="2421" y="804"/>
                  </a:lnTo>
                  <a:lnTo>
                    <a:pt x="2421" y="804"/>
                  </a:lnTo>
                  <a:lnTo>
                    <a:pt x="2421" y="804"/>
                  </a:lnTo>
                  <a:lnTo>
                    <a:pt x="2421" y="806"/>
                  </a:lnTo>
                  <a:lnTo>
                    <a:pt x="2421" y="806"/>
                  </a:lnTo>
                  <a:lnTo>
                    <a:pt x="2421" y="806"/>
                  </a:lnTo>
                  <a:lnTo>
                    <a:pt x="2421" y="806"/>
                  </a:lnTo>
                  <a:lnTo>
                    <a:pt x="2421" y="806"/>
                  </a:lnTo>
                  <a:lnTo>
                    <a:pt x="2421" y="806"/>
                  </a:lnTo>
                  <a:lnTo>
                    <a:pt x="2421" y="806"/>
                  </a:lnTo>
                  <a:lnTo>
                    <a:pt x="2422" y="806"/>
                  </a:lnTo>
                  <a:lnTo>
                    <a:pt x="2422" y="806"/>
                  </a:lnTo>
                  <a:lnTo>
                    <a:pt x="2423" y="806"/>
                  </a:lnTo>
                  <a:lnTo>
                    <a:pt x="2423" y="806"/>
                  </a:lnTo>
                  <a:lnTo>
                    <a:pt x="2423" y="806"/>
                  </a:lnTo>
                  <a:lnTo>
                    <a:pt x="2423" y="808"/>
                  </a:lnTo>
                  <a:lnTo>
                    <a:pt x="2423" y="808"/>
                  </a:lnTo>
                  <a:lnTo>
                    <a:pt x="2423" y="808"/>
                  </a:lnTo>
                  <a:lnTo>
                    <a:pt x="2423" y="808"/>
                  </a:lnTo>
                  <a:lnTo>
                    <a:pt x="2423" y="808"/>
                  </a:lnTo>
                  <a:lnTo>
                    <a:pt x="2424" y="809"/>
                  </a:lnTo>
                  <a:lnTo>
                    <a:pt x="2424" y="809"/>
                  </a:lnTo>
                  <a:lnTo>
                    <a:pt x="2424" y="809"/>
                  </a:lnTo>
                  <a:lnTo>
                    <a:pt x="2424" y="809"/>
                  </a:lnTo>
                  <a:lnTo>
                    <a:pt x="2424" y="809"/>
                  </a:lnTo>
                  <a:lnTo>
                    <a:pt x="2424" y="809"/>
                  </a:lnTo>
                  <a:lnTo>
                    <a:pt x="2424" y="809"/>
                  </a:lnTo>
                  <a:lnTo>
                    <a:pt x="2424" y="809"/>
                  </a:lnTo>
                  <a:lnTo>
                    <a:pt x="2424" y="809"/>
                  </a:lnTo>
                  <a:lnTo>
                    <a:pt x="2424" y="809"/>
                  </a:lnTo>
                  <a:lnTo>
                    <a:pt x="2424" y="810"/>
                  </a:lnTo>
                  <a:lnTo>
                    <a:pt x="2424" y="810"/>
                  </a:lnTo>
                  <a:lnTo>
                    <a:pt x="2423" y="810"/>
                  </a:lnTo>
                  <a:lnTo>
                    <a:pt x="2423" y="811"/>
                  </a:lnTo>
                  <a:lnTo>
                    <a:pt x="2423" y="811"/>
                  </a:lnTo>
                  <a:lnTo>
                    <a:pt x="2423" y="812"/>
                  </a:lnTo>
                  <a:lnTo>
                    <a:pt x="2423" y="812"/>
                  </a:lnTo>
                  <a:lnTo>
                    <a:pt x="2423" y="812"/>
                  </a:lnTo>
                  <a:lnTo>
                    <a:pt x="2423" y="812"/>
                  </a:lnTo>
                  <a:lnTo>
                    <a:pt x="2423" y="813"/>
                  </a:lnTo>
                  <a:lnTo>
                    <a:pt x="2422" y="813"/>
                  </a:lnTo>
                  <a:lnTo>
                    <a:pt x="2422" y="814"/>
                  </a:lnTo>
                  <a:lnTo>
                    <a:pt x="2422" y="814"/>
                  </a:lnTo>
                  <a:lnTo>
                    <a:pt x="2422" y="816"/>
                  </a:lnTo>
                  <a:lnTo>
                    <a:pt x="2422" y="816"/>
                  </a:lnTo>
                  <a:lnTo>
                    <a:pt x="2422" y="817"/>
                  </a:lnTo>
                  <a:lnTo>
                    <a:pt x="2423" y="817"/>
                  </a:lnTo>
                  <a:lnTo>
                    <a:pt x="2423" y="818"/>
                  </a:lnTo>
                  <a:lnTo>
                    <a:pt x="2423" y="818"/>
                  </a:lnTo>
                  <a:lnTo>
                    <a:pt x="2423" y="818"/>
                  </a:lnTo>
                  <a:lnTo>
                    <a:pt x="2423" y="820"/>
                  </a:lnTo>
                  <a:lnTo>
                    <a:pt x="2422" y="821"/>
                  </a:lnTo>
                  <a:lnTo>
                    <a:pt x="2422" y="821"/>
                  </a:lnTo>
                  <a:lnTo>
                    <a:pt x="2422" y="821"/>
                  </a:lnTo>
                  <a:lnTo>
                    <a:pt x="2422" y="822"/>
                  </a:lnTo>
                  <a:lnTo>
                    <a:pt x="2422" y="822"/>
                  </a:lnTo>
                  <a:lnTo>
                    <a:pt x="2422" y="826"/>
                  </a:lnTo>
                  <a:lnTo>
                    <a:pt x="2422" y="826"/>
                  </a:lnTo>
                  <a:lnTo>
                    <a:pt x="2422" y="827"/>
                  </a:lnTo>
                  <a:lnTo>
                    <a:pt x="2422" y="828"/>
                  </a:lnTo>
                  <a:lnTo>
                    <a:pt x="2422" y="829"/>
                  </a:lnTo>
                  <a:lnTo>
                    <a:pt x="2423" y="829"/>
                  </a:lnTo>
                  <a:lnTo>
                    <a:pt x="2423" y="830"/>
                  </a:lnTo>
                  <a:lnTo>
                    <a:pt x="2423" y="830"/>
                  </a:lnTo>
                  <a:lnTo>
                    <a:pt x="2423" y="830"/>
                  </a:lnTo>
                  <a:lnTo>
                    <a:pt x="2423" y="831"/>
                  </a:lnTo>
                  <a:lnTo>
                    <a:pt x="2423" y="834"/>
                  </a:lnTo>
                  <a:lnTo>
                    <a:pt x="2423" y="834"/>
                  </a:lnTo>
                  <a:lnTo>
                    <a:pt x="2423" y="835"/>
                  </a:lnTo>
                  <a:lnTo>
                    <a:pt x="2424" y="835"/>
                  </a:lnTo>
                  <a:lnTo>
                    <a:pt x="2424" y="835"/>
                  </a:lnTo>
                  <a:lnTo>
                    <a:pt x="2424" y="836"/>
                  </a:lnTo>
                  <a:lnTo>
                    <a:pt x="2424" y="837"/>
                  </a:lnTo>
                  <a:lnTo>
                    <a:pt x="2424" y="837"/>
                  </a:lnTo>
                  <a:lnTo>
                    <a:pt x="2424" y="838"/>
                  </a:lnTo>
                  <a:lnTo>
                    <a:pt x="2424" y="838"/>
                  </a:lnTo>
                  <a:lnTo>
                    <a:pt x="2424" y="838"/>
                  </a:lnTo>
                  <a:lnTo>
                    <a:pt x="2424" y="838"/>
                  </a:lnTo>
                  <a:lnTo>
                    <a:pt x="2424" y="839"/>
                  </a:lnTo>
                  <a:lnTo>
                    <a:pt x="2424" y="839"/>
                  </a:lnTo>
                  <a:lnTo>
                    <a:pt x="2424" y="839"/>
                  </a:lnTo>
                  <a:lnTo>
                    <a:pt x="2425" y="839"/>
                  </a:lnTo>
                  <a:lnTo>
                    <a:pt x="2425" y="842"/>
                  </a:lnTo>
                  <a:lnTo>
                    <a:pt x="2424" y="842"/>
                  </a:lnTo>
                  <a:lnTo>
                    <a:pt x="2424" y="842"/>
                  </a:lnTo>
                  <a:lnTo>
                    <a:pt x="2421" y="842"/>
                  </a:lnTo>
                  <a:lnTo>
                    <a:pt x="2421" y="842"/>
                  </a:lnTo>
                  <a:lnTo>
                    <a:pt x="2420" y="842"/>
                  </a:lnTo>
                  <a:lnTo>
                    <a:pt x="2420" y="842"/>
                  </a:lnTo>
                  <a:lnTo>
                    <a:pt x="2420" y="842"/>
                  </a:lnTo>
                  <a:lnTo>
                    <a:pt x="2420" y="842"/>
                  </a:lnTo>
                  <a:lnTo>
                    <a:pt x="2420" y="840"/>
                  </a:lnTo>
                  <a:lnTo>
                    <a:pt x="2420" y="840"/>
                  </a:lnTo>
                  <a:lnTo>
                    <a:pt x="2420" y="840"/>
                  </a:lnTo>
                  <a:lnTo>
                    <a:pt x="2416" y="840"/>
                  </a:lnTo>
                  <a:lnTo>
                    <a:pt x="2416" y="840"/>
                  </a:lnTo>
                  <a:lnTo>
                    <a:pt x="2415" y="840"/>
                  </a:lnTo>
                  <a:lnTo>
                    <a:pt x="2415" y="842"/>
                  </a:lnTo>
                  <a:lnTo>
                    <a:pt x="2414" y="842"/>
                  </a:lnTo>
                  <a:lnTo>
                    <a:pt x="2413" y="842"/>
                  </a:lnTo>
                  <a:lnTo>
                    <a:pt x="2413" y="842"/>
                  </a:lnTo>
                  <a:lnTo>
                    <a:pt x="2413" y="842"/>
                  </a:lnTo>
                  <a:lnTo>
                    <a:pt x="2412" y="842"/>
                  </a:lnTo>
                  <a:lnTo>
                    <a:pt x="2412" y="842"/>
                  </a:lnTo>
                  <a:lnTo>
                    <a:pt x="2411" y="842"/>
                  </a:lnTo>
                  <a:lnTo>
                    <a:pt x="2411" y="843"/>
                  </a:lnTo>
                  <a:lnTo>
                    <a:pt x="2411" y="843"/>
                  </a:lnTo>
                  <a:lnTo>
                    <a:pt x="2410" y="843"/>
                  </a:lnTo>
                  <a:lnTo>
                    <a:pt x="2410" y="843"/>
                  </a:lnTo>
                  <a:lnTo>
                    <a:pt x="2408" y="843"/>
                  </a:lnTo>
                  <a:lnTo>
                    <a:pt x="2408" y="843"/>
                  </a:lnTo>
                  <a:lnTo>
                    <a:pt x="2408" y="843"/>
                  </a:lnTo>
                  <a:lnTo>
                    <a:pt x="2406" y="843"/>
                  </a:lnTo>
                  <a:lnTo>
                    <a:pt x="2406" y="844"/>
                  </a:lnTo>
                  <a:lnTo>
                    <a:pt x="2406" y="844"/>
                  </a:lnTo>
                  <a:lnTo>
                    <a:pt x="2405" y="844"/>
                  </a:lnTo>
                  <a:lnTo>
                    <a:pt x="2404" y="844"/>
                  </a:lnTo>
                  <a:lnTo>
                    <a:pt x="2404" y="844"/>
                  </a:lnTo>
                  <a:lnTo>
                    <a:pt x="2403" y="844"/>
                  </a:lnTo>
                  <a:lnTo>
                    <a:pt x="2402" y="844"/>
                  </a:lnTo>
                  <a:lnTo>
                    <a:pt x="2402" y="844"/>
                  </a:lnTo>
                  <a:lnTo>
                    <a:pt x="2402" y="844"/>
                  </a:lnTo>
                  <a:lnTo>
                    <a:pt x="2400" y="844"/>
                  </a:lnTo>
                  <a:lnTo>
                    <a:pt x="2400" y="845"/>
                  </a:lnTo>
                  <a:lnTo>
                    <a:pt x="2399" y="845"/>
                  </a:lnTo>
                  <a:lnTo>
                    <a:pt x="2399" y="845"/>
                  </a:lnTo>
                  <a:lnTo>
                    <a:pt x="2399" y="845"/>
                  </a:lnTo>
                  <a:lnTo>
                    <a:pt x="2398" y="845"/>
                  </a:lnTo>
                  <a:lnTo>
                    <a:pt x="2398" y="845"/>
                  </a:lnTo>
                  <a:lnTo>
                    <a:pt x="2397" y="845"/>
                  </a:lnTo>
                  <a:lnTo>
                    <a:pt x="2395" y="845"/>
                  </a:lnTo>
                  <a:lnTo>
                    <a:pt x="2395" y="845"/>
                  </a:lnTo>
                  <a:lnTo>
                    <a:pt x="2394" y="845"/>
                  </a:lnTo>
                  <a:lnTo>
                    <a:pt x="2394" y="845"/>
                  </a:lnTo>
                  <a:lnTo>
                    <a:pt x="2394" y="845"/>
                  </a:lnTo>
                  <a:lnTo>
                    <a:pt x="2393" y="845"/>
                  </a:lnTo>
                  <a:lnTo>
                    <a:pt x="2391" y="845"/>
                  </a:lnTo>
                  <a:lnTo>
                    <a:pt x="2391" y="844"/>
                  </a:lnTo>
                  <a:lnTo>
                    <a:pt x="2390" y="844"/>
                  </a:lnTo>
                  <a:lnTo>
                    <a:pt x="2390" y="844"/>
                  </a:lnTo>
                  <a:lnTo>
                    <a:pt x="2389" y="844"/>
                  </a:lnTo>
                  <a:lnTo>
                    <a:pt x="2389" y="844"/>
                  </a:lnTo>
                  <a:lnTo>
                    <a:pt x="2389" y="844"/>
                  </a:lnTo>
                  <a:lnTo>
                    <a:pt x="2388" y="844"/>
                  </a:lnTo>
                  <a:lnTo>
                    <a:pt x="2387" y="844"/>
                  </a:lnTo>
                  <a:lnTo>
                    <a:pt x="2387" y="844"/>
                  </a:lnTo>
                  <a:lnTo>
                    <a:pt x="2386" y="844"/>
                  </a:lnTo>
                  <a:lnTo>
                    <a:pt x="2385" y="843"/>
                  </a:lnTo>
                  <a:lnTo>
                    <a:pt x="2385" y="843"/>
                  </a:lnTo>
                  <a:lnTo>
                    <a:pt x="2385" y="843"/>
                  </a:lnTo>
                  <a:lnTo>
                    <a:pt x="2383" y="843"/>
                  </a:lnTo>
                  <a:lnTo>
                    <a:pt x="2383" y="843"/>
                  </a:lnTo>
                  <a:lnTo>
                    <a:pt x="2383" y="843"/>
                  </a:lnTo>
                  <a:lnTo>
                    <a:pt x="2383" y="843"/>
                  </a:lnTo>
                  <a:lnTo>
                    <a:pt x="2383" y="843"/>
                  </a:lnTo>
                  <a:lnTo>
                    <a:pt x="2382" y="842"/>
                  </a:lnTo>
                  <a:lnTo>
                    <a:pt x="2382" y="842"/>
                  </a:lnTo>
                  <a:lnTo>
                    <a:pt x="2382" y="842"/>
                  </a:lnTo>
                  <a:lnTo>
                    <a:pt x="2381" y="842"/>
                  </a:lnTo>
                  <a:lnTo>
                    <a:pt x="2381" y="842"/>
                  </a:lnTo>
                  <a:lnTo>
                    <a:pt x="2381" y="842"/>
                  </a:lnTo>
                  <a:lnTo>
                    <a:pt x="2381" y="840"/>
                  </a:lnTo>
                  <a:lnTo>
                    <a:pt x="2380" y="840"/>
                  </a:lnTo>
                  <a:lnTo>
                    <a:pt x="2380" y="840"/>
                  </a:lnTo>
                  <a:lnTo>
                    <a:pt x="2380" y="840"/>
                  </a:lnTo>
                  <a:lnTo>
                    <a:pt x="2380" y="840"/>
                  </a:lnTo>
                  <a:lnTo>
                    <a:pt x="2379" y="840"/>
                  </a:lnTo>
                  <a:lnTo>
                    <a:pt x="2379" y="839"/>
                  </a:lnTo>
                  <a:lnTo>
                    <a:pt x="2379" y="839"/>
                  </a:lnTo>
                  <a:lnTo>
                    <a:pt x="2379" y="839"/>
                  </a:lnTo>
                  <a:lnTo>
                    <a:pt x="2379" y="839"/>
                  </a:lnTo>
                  <a:lnTo>
                    <a:pt x="2378" y="839"/>
                  </a:lnTo>
                  <a:lnTo>
                    <a:pt x="2378" y="839"/>
                  </a:lnTo>
                  <a:lnTo>
                    <a:pt x="2378" y="839"/>
                  </a:lnTo>
                  <a:lnTo>
                    <a:pt x="2377" y="838"/>
                  </a:lnTo>
                  <a:lnTo>
                    <a:pt x="2377" y="838"/>
                  </a:lnTo>
                  <a:lnTo>
                    <a:pt x="2376" y="838"/>
                  </a:lnTo>
                  <a:lnTo>
                    <a:pt x="2376" y="838"/>
                  </a:lnTo>
                  <a:lnTo>
                    <a:pt x="2376" y="838"/>
                  </a:lnTo>
                  <a:lnTo>
                    <a:pt x="2376" y="837"/>
                  </a:lnTo>
                  <a:lnTo>
                    <a:pt x="2376" y="837"/>
                  </a:lnTo>
                  <a:lnTo>
                    <a:pt x="2376" y="837"/>
                  </a:lnTo>
                  <a:lnTo>
                    <a:pt x="2374" y="837"/>
                  </a:lnTo>
                  <a:lnTo>
                    <a:pt x="2374" y="837"/>
                  </a:lnTo>
                  <a:lnTo>
                    <a:pt x="2374" y="837"/>
                  </a:lnTo>
                  <a:lnTo>
                    <a:pt x="2374" y="836"/>
                  </a:lnTo>
                  <a:lnTo>
                    <a:pt x="2374" y="836"/>
                  </a:lnTo>
                  <a:lnTo>
                    <a:pt x="2374" y="836"/>
                  </a:lnTo>
                  <a:lnTo>
                    <a:pt x="2373" y="836"/>
                  </a:lnTo>
                  <a:lnTo>
                    <a:pt x="2373" y="835"/>
                  </a:lnTo>
                  <a:lnTo>
                    <a:pt x="2373" y="835"/>
                  </a:lnTo>
                  <a:lnTo>
                    <a:pt x="2373" y="835"/>
                  </a:lnTo>
                  <a:lnTo>
                    <a:pt x="2373" y="835"/>
                  </a:lnTo>
                  <a:lnTo>
                    <a:pt x="2373" y="835"/>
                  </a:lnTo>
                  <a:lnTo>
                    <a:pt x="2373" y="834"/>
                  </a:lnTo>
                  <a:lnTo>
                    <a:pt x="2373" y="833"/>
                  </a:lnTo>
                  <a:lnTo>
                    <a:pt x="2372" y="833"/>
                  </a:lnTo>
                  <a:lnTo>
                    <a:pt x="2372" y="833"/>
                  </a:lnTo>
                  <a:lnTo>
                    <a:pt x="2372" y="833"/>
                  </a:lnTo>
                  <a:lnTo>
                    <a:pt x="2372" y="833"/>
                  </a:lnTo>
                  <a:lnTo>
                    <a:pt x="2371" y="833"/>
                  </a:lnTo>
                  <a:lnTo>
                    <a:pt x="2371" y="833"/>
                  </a:lnTo>
                  <a:lnTo>
                    <a:pt x="2370" y="833"/>
                  </a:lnTo>
                  <a:lnTo>
                    <a:pt x="2370" y="831"/>
                  </a:lnTo>
                  <a:lnTo>
                    <a:pt x="2369" y="831"/>
                  </a:lnTo>
                  <a:lnTo>
                    <a:pt x="2369" y="831"/>
                  </a:lnTo>
                  <a:lnTo>
                    <a:pt x="2369" y="831"/>
                  </a:lnTo>
                  <a:lnTo>
                    <a:pt x="2369" y="831"/>
                  </a:lnTo>
                  <a:lnTo>
                    <a:pt x="2369" y="831"/>
                  </a:lnTo>
                  <a:lnTo>
                    <a:pt x="2369" y="831"/>
                  </a:lnTo>
                  <a:lnTo>
                    <a:pt x="2366" y="831"/>
                  </a:lnTo>
                  <a:lnTo>
                    <a:pt x="2365" y="831"/>
                  </a:lnTo>
                  <a:lnTo>
                    <a:pt x="2363" y="831"/>
                  </a:lnTo>
                  <a:lnTo>
                    <a:pt x="2363" y="831"/>
                  </a:lnTo>
                  <a:lnTo>
                    <a:pt x="2362" y="831"/>
                  </a:lnTo>
                  <a:lnTo>
                    <a:pt x="2362" y="830"/>
                  </a:lnTo>
                  <a:lnTo>
                    <a:pt x="2361" y="830"/>
                  </a:lnTo>
                  <a:lnTo>
                    <a:pt x="2361" y="830"/>
                  </a:lnTo>
                  <a:lnTo>
                    <a:pt x="2361" y="830"/>
                  </a:lnTo>
                  <a:lnTo>
                    <a:pt x="2360" y="830"/>
                  </a:lnTo>
                  <a:lnTo>
                    <a:pt x="2360" y="830"/>
                  </a:lnTo>
                  <a:lnTo>
                    <a:pt x="2359" y="830"/>
                  </a:lnTo>
                  <a:lnTo>
                    <a:pt x="2359" y="829"/>
                  </a:lnTo>
                  <a:lnTo>
                    <a:pt x="2359" y="829"/>
                  </a:lnTo>
                  <a:lnTo>
                    <a:pt x="2359" y="829"/>
                  </a:lnTo>
                  <a:lnTo>
                    <a:pt x="2359" y="829"/>
                  </a:lnTo>
                  <a:lnTo>
                    <a:pt x="2359" y="829"/>
                  </a:lnTo>
                  <a:lnTo>
                    <a:pt x="2357" y="829"/>
                  </a:lnTo>
                  <a:lnTo>
                    <a:pt x="2357" y="829"/>
                  </a:lnTo>
                  <a:lnTo>
                    <a:pt x="2357" y="829"/>
                  </a:lnTo>
                  <a:lnTo>
                    <a:pt x="2357" y="828"/>
                  </a:lnTo>
                  <a:lnTo>
                    <a:pt x="2356" y="828"/>
                  </a:lnTo>
                  <a:lnTo>
                    <a:pt x="2356" y="828"/>
                  </a:lnTo>
                  <a:lnTo>
                    <a:pt x="2356" y="827"/>
                  </a:lnTo>
                  <a:lnTo>
                    <a:pt x="2356" y="827"/>
                  </a:lnTo>
                  <a:lnTo>
                    <a:pt x="2356" y="827"/>
                  </a:lnTo>
                  <a:lnTo>
                    <a:pt x="2356" y="826"/>
                  </a:lnTo>
                  <a:lnTo>
                    <a:pt x="2355" y="826"/>
                  </a:lnTo>
                  <a:lnTo>
                    <a:pt x="2355" y="825"/>
                  </a:lnTo>
                  <a:lnTo>
                    <a:pt x="2355" y="825"/>
                  </a:lnTo>
                  <a:lnTo>
                    <a:pt x="2355" y="823"/>
                  </a:lnTo>
                  <a:lnTo>
                    <a:pt x="2355" y="823"/>
                  </a:lnTo>
                  <a:lnTo>
                    <a:pt x="2355" y="822"/>
                  </a:lnTo>
                  <a:lnTo>
                    <a:pt x="2355" y="822"/>
                  </a:lnTo>
                  <a:lnTo>
                    <a:pt x="2355" y="821"/>
                  </a:lnTo>
                  <a:lnTo>
                    <a:pt x="2354" y="821"/>
                  </a:lnTo>
                  <a:lnTo>
                    <a:pt x="2354" y="819"/>
                  </a:lnTo>
                  <a:lnTo>
                    <a:pt x="2354" y="819"/>
                  </a:lnTo>
                  <a:lnTo>
                    <a:pt x="2354" y="817"/>
                  </a:lnTo>
                  <a:lnTo>
                    <a:pt x="2354" y="817"/>
                  </a:lnTo>
                  <a:lnTo>
                    <a:pt x="2354" y="816"/>
                  </a:lnTo>
                  <a:lnTo>
                    <a:pt x="2354" y="816"/>
                  </a:lnTo>
                  <a:lnTo>
                    <a:pt x="2354" y="816"/>
                  </a:lnTo>
                  <a:lnTo>
                    <a:pt x="2354" y="816"/>
                  </a:lnTo>
                  <a:lnTo>
                    <a:pt x="2354" y="816"/>
                  </a:lnTo>
                  <a:lnTo>
                    <a:pt x="2354" y="814"/>
                  </a:lnTo>
                  <a:lnTo>
                    <a:pt x="2354" y="811"/>
                  </a:lnTo>
                  <a:lnTo>
                    <a:pt x="2354" y="811"/>
                  </a:lnTo>
                  <a:lnTo>
                    <a:pt x="2354" y="810"/>
                  </a:lnTo>
                  <a:lnTo>
                    <a:pt x="2354" y="810"/>
                  </a:lnTo>
                  <a:lnTo>
                    <a:pt x="2354" y="809"/>
                  </a:lnTo>
                  <a:lnTo>
                    <a:pt x="2354" y="809"/>
                  </a:lnTo>
                  <a:lnTo>
                    <a:pt x="2354" y="809"/>
                  </a:lnTo>
                  <a:lnTo>
                    <a:pt x="2354" y="809"/>
                  </a:lnTo>
                  <a:lnTo>
                    <a:pt x="2355" y="809"/>
                  </a:lnTo>
                  <a:lnTo>
                    <a:pt x="2355" y="809"/>
                  </a:lnTo>
                  <a:lnTo>
                    <a:pt x="2355" y="809"/>
                  </a:lnTo>
                  <a:lnTo>
                    <a:pt x="2355" y="808"/>
                  </a:lnTo>
                  <a:lnTo>
                    <a:pt x="2355" y="808"/>
                  </a:lnTo>
                  <a:lnTo>
                    <a:pt x="2355" y="806"/>
                  </a:lnTo>
                  <a:lnTo>
                    <a:pt x="2355" y="806"/>
                  </a:lnTo>
                  <a:lnTo>
                    <a:pt x="2355" y="805"/>
                  </a:lnTo>
                  <a:lnTo>
                    <a:pt x="2355" y="805"/>
                  </a:lnTo>
                  <a:lnTo>
                    <a:pt x="2355" y="804"/>
                  </a:lnTo>
                  <a:lnTo>
                    <a:pt x="2355" y="804"/>
                  </a:lnTo>
                  <a:lnTo>
                    <a:pt x="2356" y="804"/>
                  </a:lnTo>
                  <a:lnTo>
                    <a:pt x="2356" y="804"/>
                  </a:lnTo>
                  <a:lnTo>
                    <a:pt x="2356" y="804"/>
                  </a:lnTo>
                  <a:lnTo>
                    <a:pt x="2357" y="804"/>
                  </a:lnTo>
                  <a:lnTo>
                    <a:pt x="2357" y="805"/>
                  </a:lnTo>
                  <a:lnTo>
                    <a:pt x="2357" y="805"/>
                  </a:lnTo>
                  <a:lnTo>
                    <a:pt x="2359" y="805"/>
                  </a:lnTo>
                  <a:lnTo>
                    <a:pt x="2359" y="806"/>
                  </a:lnTo>
                  <a:lnTo>
                    <a:pt x="2357" y="806"/>
                  </a:lnTo>
                  <a:lnTo>
                    <a:pt x="2356" y="806"/>
                  </a:lnTo>
                  <a:lnTo>
                    <a:pt x="2356" y="808"/>
                  </a:lnTo>
                  <a:lnTo>
                    <a:pt x="2357" y="808"/>
                  </a:lnTo>
                  <a:lnTo>
                    <a:pt x="2357" y="808"/>
                  </a:lnTo>
                  <a:lnTo>
                    <a:pt x="2356" y="808"/>
                  </a:lnTo>
                  <a:lnTo>
                    <a:pt x="2357" y="808"/>
                  </a:lnTo>
                  <a:lnTo>
                    <a:pt x="2357" y="808"/>
                  </a:lnTo>
                  <a:lnTo>
                    <a:pt x="2357" y="808"/>
                  </a:lnTo>
                  <a:lnTo>
                    <a:pt x="2359" y="808"/>
                  </a:lnTo>
                  <a:lnTo>
                    <a:pt x="2359" y="808"/>
                  </a:lnTo>
                  <a:lnTo>
                    <a:pt x="2359" y="806"/>
                  </a:lnTo>
                  <a:lnTo>
                    <a:pt x="2359" y="806"/>
                  </a:lnTo>
                  <a:lnTo>
                    <a:pt x="2359" y="805"/>
                  </a:lnTo>
                  <a:lnTo>
                    <a:pt x="2359" y="805"/>
                  </a:lnTo>
                  <a:lnTo>
                    <a:pt x="2359" y="805"/>
                  </a:lnTo>
                  <a:lnTo>
                    <a:pt x="2360" y="804"/>
                  </a:lnTo>
                  <a:lnTo>
                    <a:pt x="2360" y="802"/>
                  </a:lnTo>
                  <a:lnTo>
                    <a:pt x="2360" y="802"/>
                  </a:lnTo>
                  <a:lnTo>
                    <a:pt x="2360" y="802"/>
                  </a:lnTo>
                  <a:lnTo>
                    <a:pt x="2361" y="802"/>
                  </a:lnTo>
                  <a:lnTo>
                    <a:pt x="2361" y="802"/>
                  </a:lnTo>
                  <a:lnTo>
                    <a:pt x="2361" y="802"/>
                  </a:lnTo>
                  <a:lnTo>
                    <a:pt x="2361" y="802"/>
                  </a:lnTo>
                  <a:lnTo>
                    <a:pt x="2361" y="802"/>
                  </a:lnTo>
                  <a:lnTo>
                    <a:pt x="2362" y="802"/>
                  </a:lnTo>
                  <a:lnTo>
                    <a:pt x="2361" y="802"/>
                  </a:lnTo>
                  <a:lnTo>
                    <a:pt x="2361" y="802"/>
                  </a:lnTo>
                  <a:lnTo>
                    <a:pt x="2361" y="802"/>
                  </a:lnTo>
                  <a:lnTo>
                    <a:pt x="2361" y="802"/>
                  </a:lnTo>
                  <a:lnTo>
                    <a:pt x="2362" y="802"/>
                  </a:lnTo>
                  <a:lnTo>
                    <a:pt x="2362" y="801"/>
                  </a:lnTo>
                  <a:lnTo>
                    <a:pt x="2362" y="801"/>
                  </a:lnTo>
                  <a:lnTo>
                    <a:pt x="2362" y="801"/>
                  </a:lnTo>
                  <a:lnTo>
                    <a:pt x="2362" y="801"/>
                  </a:lnTo>
                  <a:lnTo>
                    <a:pt x="2361" y="801"/>
                  </a:lnTo>
                  <a:lnTo>
                    <a:pt x="2361" y="800"/>
                  </a:lnTo>
                  <a:lnTo>
                    <a:pt x="2361" y="800"/>
                  </a:lnTo>
                  <a:lnTo>
                    <a:pt x="2361" y="800"/>
                  </a:lnTo>
                  <a:lnTo>
                    <a:pt x="2361" y="800"/>
                  </a:lnTo>
                  <a:lnTo>
                    <a:pt x="2360" y="800"/>
                  </a:lnTo>
                  <a:lnTo>
                    <a:pt x="2360" y="800"/>
                  </a:lnTo>
                  <a:lnTo>
                    <a:pt x="2360" y="800"/>
                  </a:lnTo>
                  <a:lnTo>
                    <a:pt x="2360" y="799"/>
                  </a:lnTo>
                  <a:lnTo>
                    <a:pt x="2360" y="799"/>
                  </a:lnTo>
                  <a:lnTo>
                    <a:pt x="2360" y="797"/>
                  </a:lnTo>
                  <a:lnTo>
                    <a:pt x="2361" y="797"/>
                  </a:lnTo>
                  <a:lnTo>
                    <a:pt x="2361" y="797"/>
                  </a:lnTo>
                  <a:lnTo>
                    <a:pt x="2361" y="796"/>
                  </a:lnTo>
                  <a:lnTo>
                    <a:pt x="2361" y="796"/>
                  </a:lnTo>
                  <a:lnTo>
                    <a:pt x="2361" y="796"/>
                  </a:lnTo>
                  <a:lnTo>
                    <a:pt x="2361" y="796"/>
                  </a:lnTo>
                  <a:lnTo>
                    <a:pt x="2361" y="796"/>
                  </a:lnTo>
                  <a:lnTo>
                    <a:pt x="2362" y="796"/>
                  </a:lnTo>
                  <a:lnTo>
                    <a:pt x="2362" y="795"/>
                  </a:lnTo>
                  <a:lnTo>
                    <a:pt x="2362" y="795"/>
                  </a:lnTo>
                  <a:lnTo>
                    <a:pt x="2362" y="794"/>
                  </a:lnTo>
                  <a:lnTo>
                    <a:pt x="2362" y="794"/>
                  </a:lnTo>
                  <a:lnTo>
                    <a:pt x="2362" y="794"/>
                  </a:lnTo>
                  <a:lnTo>
                    <a:pt x="2362" y="793"/>
                  </a:lnTo>
                  <a:lnTo>
                    <a:pt x="2362" y="793"/>
                  </a:lnTo>
                  <a:lnTo>
                    <a:pt x="2362" y="793"/>
                  </a:lnTo>
                  <a:lnTo>
                    <a:pt x="2362" y="793"/>
                  </a:lnTo>
                  <a:lnTo>
                    <a:pt x="2362" y="793"/>
                  </a:lnTo>
                  <a:lnTo>
                    <a:pt x="2362" y="792"/>
                  </a:lnTo>
                  <a:lnTo>
                    <a:pt x="2362" y="792"/>
                  </a:lnTo>
                  <a:lnTo>
                    <a:pt x="2362" y="792"/>
                  </a:lnTo>
                  <a:lnTo>
                    <a:pt x="2362" y="792"/>
                  </a:lnTo>
                  <a:lnTo>
                    <a:pt x="2363" y="792"/>
                  </a:lnTo>
                  <a:lnTo>
                    <a:pt x="2363" y="791"/>
                  </a:lnTo>
                  <a:lnTo>
                    <a:pt x="2362" y="791"/>
                  </a:lnTo>
                  <a:lnTo>
                    <a:pt x="2362" y="791"/>
                  </a:lnTo>
                  <a:lnTo>
                    <a:pt x="2362" y="791"/>
                  </a:lnTo>
                  <a:lnTo>
                    <a:pt x="2362" y="789"/>
                  </a:lnTo>
                  <a:lnTo>
                    <a:pt x="2362" y="789"/>
                  </a:lnTo>
                  <a:lnTo>
                    <a:pt x="2362" y="789"/>
                  </a:lnTo>
                  <a:lnTo>
                    <a:pt x="2363" y="789"/>
                  </a:lnTo>
                  <a:lnTo>
                    <a:pt x="2363" y="788"/>
                  </a:lnTo>
                  <a:lnTo>
                    <a:pt x="2363" y="788"/>
                  </a:lnTo>
                  <a:lnTo>
                    <a:pt x="2363" y="788"/>
                  </a:lnTo>
                  <a:lnTo>
                    <a:pt x="2363" y="788"/>
                  </a:lnTo>
                  <a:lnTo>
                    <a:pt x="2363" y="787"/>
                  </a:lnTo>
                  <a:lnTo>
                    <a:pt x="2364" y="787"/>
                  </a:lnTo>
                  <a:lnTo>
                    <a:pt x="2364" y="787"/>
                  </a:lnTo>
                  <a:lnTo>
                    <a:pt x="2364" y="787"/>
                  </a:lnTo>
                  <a:lnTo>
                    <a:pt x="2364" y="787"/>
                  </a:lnTo>
                  <a:lnTo>
                    <a:pt x="2365" y="787"/>
                  </a:lnTo>
                  <a:lnTo>
                    <a:pt x="2365" y="787"/>
                  </a:lnTo>
                  <a:lnTo>
                    <a:pt x="2365" y="787"/>
                  </a:lnTo>
                  <a:lnTo>
                    <a:pt x="2365" y="787"/>
                  </a:lnTo>
                  <a:lnTo>
                    <a:pt x="2366" y="787"/>
                  </a:lnTo>
                  <a:lnTo>
                    <a:pt x="2366" y="786"/>
                  </a:lnTo>
                  <a:lnTo>
                    <a:pt x="2368" y="786"/>
                  </a:lnTo>
                  <a:lnTo>
                    <a:pt x="2368" y="786"/>
                  </a:lnTo>
                  <a:lnTo>
                    <a:pt x="2368" y="786"/>
                  </a:lnTo>
                  <a:lnTo>
                    <a:pt x="2368" y="786"/>
                  </a:lnTo>
                  <a:lnTo>
                    <a:pt x="2368" y="785"/>
                  </a:lnTo>
                  <a:lnTo>
                    <a:pt x="2368" y="785"/>
                  </a:lnTo>
                  <a:lnTo>
                    <a:pt x="2368" y="785"/>
                  </a:lnTo>
                  <a:lnTo>
                    <a:pt x="2369" y="785"/>
                  </a:lnTo>
                  <a:lnTo>
                    <a:pt x="2369" y="785"/>
                  </a:lnTo>
                  <a:lnTo>
                    <a:pt x="2369" y="785"/>
                  </a:lnTo>
                  <a:lnTo>
                    <a:pt x="2370" y="786"/>
                  </a:lnTo>
                  <a:lnTo>
                    <a:pt x="2370" y="786"/>
                  </a:lnTo>
                  <a:lnTo>
                    <a:pt x="2370" y="786"/>
                  </a:lnTo>
                  <a:lnTo>
                    <a:pt x="2370" y="786"/>
                  </a:lnTo>
                  <a:lnTo>
                    <a:pt x="2370" y="786"/>
                  </a:lnTo>
                  <a:lnTo>
                    <a:pt x="2370" y="785"/>
                  </a:lnTo>
                  <a:lnTo>
                    <a:pt x="2371" y="785"/>
                  </a:lnTo>
                  <a:lnTo>
                    <a:pt x="2371" y="786"/>
                  </a:lnTo>
                  <a:lnTo>
                    <a:pt x="2371" y="786"/>
                  </a:lnTo>
                  <a:lnTo>
                    <a:pt x="2371" y="785"/>
                  </a:lnTo>
                  <a:lnTo>
                    <a:pt x="2372" y="785"/>
                  </a:lnTo>
                  <a:lnTo>
                    <a:pt x="2372" y="786"/>
                  </a:lnTo>
                  <a:lnTo>
                    <a:pt x="2373" y="786"/>
                  </a:lnTo>
                  <a:lnTo>
                    <a:pt x="2373" y="786"/>
                  </a:lnTo>
                  <a:lnTo>
                    <a:pt x="2373" y="786"/>
                  </a:lnTo>
                  <a:lnTo>
                    <a:pt x="2374" y="786"/>
                  </a:lnTo>
                  <a:lnTo>
                    <a:pt x="2374" y="786"/>
                  </a:lnTo>
                  <a:lnTo>
                    <a:pt x="2374" y="786"/>
                  </a:lnTo>
                  <a:lnTo>
                    <a:pt x="2374" y="786"/>
                  </a:lnTo>
                  <a:lnTo>
                    <a:pt x="2374" y="787"/>
                  </a:lnTo>
                  <a:lnTo>
                    <a:pt x="2374" y="787"/>
                  </a:lnTo>
                  <a:lnTo>
                    <a:pt x="2374" y="787"/>
                  </a:lnTo>
                  <a:lnTo>
                    <a:pt x="2376" y="787"/>
                  </a:lnTo>
                  <a:lnTo>
                    <a:pt x="2376" y="787"/>
                  </a:lnTo>
                  <a:lnTo>
                    <a:pt x="2374" y="787"/>
                  </a:lnTo>
                  <a:lnTo>
                    <a:pt x="2374" y="785"/>
                  </a:lnTo>
                  <a:lnTo>
                    <a:pt x="2374" y="785"/>
                  </a:lnTo>
                  <a:lnTo>
                    <a:pt x="2374" y="785"/>
                  </a:lnTo>
                  <a:lnTo>
                    <a:pt x="2374" y="785"/>
                  </a:lnTo>
                  <a:lnTo>
                    <a:pt x="2374" y="784"/>
                  </a:lnTo>
                  <a:lnTo>
                    <a:pt x="2373" y="784"/>
                  </a:lnTo>
                  <a:lnTo>
                    <a:pt x="2373" y="784"/>
                  </a:lnTo>
                  <a:lnTo>
                    <a:pt x="2373" y="784"/>
                  </a:lnTo>
                  <a:lnTo>
                    <a:pt x="2373" y="784"/>
                  </a:lnTo>
                  <a:lnTo>
                    <a:pt x="2373" y="784"/>
                  </a:lnTo>
                  <a:lnTo>
                    <a:pt x="2373" y="783"/>
                  </a:lnTo>
                  <a:lnTo>
                    <a:pt x="2373" y="783"/>
                  </a:lnTo>
                  <a:lnTo>
                    <a:pt x="2372" y="783"/>
                  </a:lnTo>
                  <a:lnTo>
                    <a:pt x="2372" y="783"/>
                  </a:lnTo>
                  <a:lnTo>
                    <a:pt x="2371" y="783"/>
                  </a:lnTo>
                  <a:lnTo>
                    <a:pt x="2371" y="783"/>
                  </a:lnTo>
                  <a:lnTo>
                    <a:pt x="2371" y="783"/>
                  </a:lnTo>
                  <a:lnTo>
                    <a:pt x="2371" y="783"/>
                  </a:lnTo>
                  <a:lnTo>
                    <a:pt x="2371" y="782"/>
                  </a:lnTo>
                  <a:lnTo>
                    <a:pt x="2371" y="782"/>
                  </a:lnTo>
                  <a:lnTo>
                    <a:pt x="2369" y="782"/>
                  </a:lnTo>
                  <a:lnTo>
                    <a:pt x="2368" y="782"/>
                  </a:lnTo>
                  <a:lnTo>
                    <a:pt x="2366" y="782"/>
                  </a:lnTo>
                  <a:lnTo>
                    <a:pt x="2366" y="782"/>
                  </a:lnTo>
                  <a:lnTo>
                    <a:pt x="2365" y="782"/>
                  </a:lnTo>
                  <a:lnTo>
                    <a:pt x="2365" y="782"/>
                  </a:lnTo>
                  <a:lnTo>
                    <a:pt x="2365" y="782"/>
                  </a:lnTo>
                  <a:lnTo>
                    <a:pt x="2365" y="782"/>
                  </a:lnTo>
                  <a:lnTo>
                    <a:pt x="2364" y="782"/>
                  </a:lnTo>
                  <a:lnTo>
                    <a:pt x="2364" y="780"/>
                  </a:lnTo>
                  <a:lnTo>
                    <a:pt x="2364" y="780"/>
                  </a:lnTo>
                  <a:lnTo>
                    <a:pt x="2363" y="780"/>
                  </a:lnTo>
                  <a:lnTo>
                    <a:pt x="2363" y="780"/>
                  </a:lnTo>
                  <a:lnTo>
                    <a:pt x="2363" y="780"/>
                  </a:lnTo>
                  <a:lnTo>
                    <a:pt x="2363" y="779"/>
                  </a:lnTo>
                  <a:lnTo>
                    <a:pt x="2363" y="779"/>
                  </a:lnTo>
                  <a:lnTo>
                    <a:pt x="2363" y="778"/>
                  </a:lnTo>
                  <a:lnTo>
                    <a:pt x="2363" y="778"/>
                  </a:lnTo>
                  <a:lnTo>
                    <a:pt x="2363" y="778"/>
                  </a:lnTo>
                  <a:lnTo>
                    <a:pt x="2363" y="778"/>
                  </a:lnTo>
                  <a:lnTo>
                    <a:pt x="2363" y="778"/>
                  </a:lnTo>
                  <a:lnTo>
                    <a:pt x="2362" y="778"/>
                  </a:lnTo>
                  <a:lnTo>
                    <a:pt x="2362" y="777"/>
                  </a:lnTo>
                  <a:lnTo>
                    <a:pt x="2362" y="777"/>
                  </a:lnTo>
                  <a:lnTo>
                    <a:pt x="2362" y="777"/>
                  </a:lnTo>
                  <a:lnTo>
                    <a:pt x="2361" y="777"/>
                  </a:lnTo>
                  <a:lnTo>
                    <a:pt x="2361" y="777"/>
                  </a:lnTo>
                  <a:lnTo>
                    <a:pt x="2361" y="777"/>
                  </a:lnTo>
                  <a:lnTo>
                    <a:pt x="2361" y="776"/>
                  </a:lnTo>
                  <a:lnTo>
                    <a:pt x="2361" y="776"/>
                  </a:lnTo>
                  <a:lnTo>
                    <a:pt x="2361" y="776"/>
                  </a:lnTo>
                  <a:lnTo>
                    <a:pt x="2361" y="776"/>
                  </a:lnTo>
                  <a:lnTo>
                    <a:pt x="2360" y="776"/>
                  </a:lnTo>
                  <a:lnTo>
                    <a:pt x="2360" y="776"/>
                  </a:lnTo>
                  <a:lnTo>
                    <a:pt x="2360" y="776"/>
                  </a:lnTo>
                  <a:lnTo>
                    <a:pt x="2360" y="775"/>
                  </a:lnTo>
                  <a:lnTo>
                    <a:pt x="2360" y="775"/>
                  </a:lnTo>
                  <a:lnTo>
                    <a:pt x="2360" y="775"/>
                  </a:lnTo>
                  <a:lnTo>
                    <a:pt x="2360" y="775"/>
                  </a:lnTo>
                  <a:lnTo>
                    <a:pt x="2359" y="775"/>
                  </a:lnTo>
                  <a:lnTo>
                    <a:pt x="2359" y="775"/>
                  </a:lnTo>
                  <a:lnTo>
                    <a:pt x="2359" y="774"/>
                  </a:lnTo>
                  <a:lnTo>
                    <a:pt x="2359" y="774"/>
                  </a:lnTo>
                  <a:lnTo>
                    <a:pt x="2359" y="774"/>
                  </a:lnTo>
                  <a:lnTo>
                    <a:pt x="2359" y="772"/>
                  </a:lnTo>
                  <a:lnTo>
                    <a:pt x="2359" y="772"/>
                  </a:lnTo>
                  <a:lnTo>
                    <a:pt x="2357" y="769"/>
                  </a:lnTo>
                  <a:lnTo>
                    <a:pt x="2357" y="769"/>
                  </a:lnTo>
                  <a:lnTo>
                    <a:pt x="2357" y="769"/>
                  </a:lnTo>
                  <a:lnTo>
                    <a:pt x="2357" y="769"/>
                  </a:lnTo>
                  <a:lnTo>
                    <a:pt x="2356" y="768"/>
                  </a:lnTo>
                  <a:lnTo>
                    <a:pt x="2356" y="768"/>
                  </a:lnTo>
                  <a:lnTo>
                    <a:pt x="2356" y="768"/>
                  </a:lnTo>
                  <a:lnTo>
                    <a:pt x="2356" y="768"/>
                  </a:lnTo>
                  <a:lnTo>
                    <a:pt x="2356" y="768"/>
                  </a:lnTo>
                  <a:lnTo>
                    <a:pt x="2356" y="768"/>
                  </a:lnTo>
                  <a:lnTo>
                    <a:pt x="2356" y="768"/>
                  </a:lnTo>
                  <a:lnTo>
                    <a:pt x="2355" y="768"/>
                  </a:lnTo>
                  <a:lnTo>
                    <a:pt x="2355" y="767"/>
                  </a:lnTo>
                  <a:lnTo>
                    <a:pt x="2355" y="767"/>
                  </a:lnTo>
                  <a:lnTo>
                    <a:pt x="2355" y="767"/>
                  </a:lnTo>
                  <a:lnTo>
                    <a:pt x="2355" y="767"/>
                  </a:lnTo>
                  <a:lnTo>
                    <a:pt x="2355" y="767"/>
                  </a:lnTo>
                  <a:lnTo>
                    <a:pt x="2355" y="767"/>
                  </a:lnTo>
                  <a:lnTo>
                    <a:pt x="2354" y="766"/>
                  </a:lnTo>
                  <a:lnTo>
                    <a:pt x="2354" y="766"/>
                  </a:lnTo>
                  <a:lnTo>
                    <a:pt x="2354" y="766"/>
                  </a:lnTo>
                  <a:lnTo>
                    <a:pt x="2354" y="766"/>
                  </a:lnTo>
                  <a:lnTo>
                    <a:pt x="2354" y="766"/>
                  </a:lnTo>
                  <a:lnTo>
                    <a:pt x="2354" y="765"/>
                  </a:lnTo>
                  <a:lnTo>
                    <a:pt x="2354" y="765"/>
                  </a:lnTo>
                  <a:lnTo>
                    <a:pt x="2354" y="765"/>
                  </a:lnTo>
                  <a:lnTo>
                    <a:pt x="2353" y="765"/>
                  </a:lnTo>
                  <a:lnTo>
                    <a:pt x="2353" y="763"/>
                  </a:lnTo>
                  <a:lnTo>
                    <a:pt x="2353" y="763"/>
                  </a:lnTo>
                  <a:lnTo>
                    <a:pt x="2353" y="763"/>
                  </a:lnTo>
                  <a:lnTo>
                    <a:pt x="2353" y="763"/>
                  </a:lnTo>
                  <a:lnTo>
                    <a:pt x="2353" y="763"/>
                  </a:lnTo>
                  <a:lnTo>
                    <a:pt x="2352" y="761"/>
                  </a:lnTo>
                  <a:lnTo>
                    <a:pt x="2352" y="761"/>
                  </a:lnTo>
                  <a:lnTo>
                    <a:pt x="2352" y="761"/>
                  </a:lnTo>
                  <a:lnTo>
                    <a:pt x="2351" y="761"/>
                  </a:lnTo>
                  <a:lnTo>
                    <a:pt x="2351" y="761"/>
                  </a:lnTo>
                  <a:lnTo>
                    <a:pt x="2351" y="761"/>
                  </a:lnTo>
                  <a:lnTo>
                    <a:pt x="2351" y="761"/>
                  </a:lnTo>
                  <a:lnTo>
                    <a:pt x="2351" y="761"/>
                  </a:lnTo>
                  <a:lnTo>
                    <a:pt x="2349" y="761"/>
                  </a:lnTo>
                  <a:lnTo>
                    <a:pt x="2349" y="760"/>
                  </a:lnTo>
                  <a:lnTo>
                    <a:pt x="2349" y="760"/>
                  </a:lnTo>
                  <a:lnTo>
                    <a:pt x="2349" y="760"/>
                  </a:lnTo>
                  <a:lnTo>
                    <a:pt x="2349" y="760"/>
                  </a:lnTo>
                  <a:lnTo>
                    <a:pt x="2349" y="760"/>
                  </a:lnTo>
                  <a:lnTo>
                    <a:pt x="2348" y="760"/>
                  </a:lnTo>
                  <a:lnTo>
                    <a:pt x="2347" y="759"/>
                  </a:lnTo>
                  <a:lnTo>
                    <a:pt x="2347" y="759"/>
                  </a:lnTo>
                  <a:lnTo>
                    <a:pt x="2347" y="759"/>
                  </a:lnTo>
                  <a:lnTo>
                    <a:pt x="2347" y="759"/>
                  </a:lnTo>
                  <a:lnTo>
                    <a:pt x="2347" y="758"/>
                  </a:lnTo>
                  <a:lnTo>
                    <a:pt x="2347" y="758"/>
                  </a:lnTo>
                  <a:lnTo>
                    <a:pt x="2347" y="757"/>
                  </a:lnTo>
                  <a:lnTo>
                    <a:pt x="2346" y="757"/>
                  </a:lnTo>
                  <a:lnTo>
                    <a:pt x="2346" y="757"/>
                  </a:lnTo>
                  <a:lnTo>
                    <a:pt x="2346" y="757"/>
                  </a:lnTo>
                  <a:lnTo>
                    <a:pt x="2346" y="757"/>
                  </a:lnTo>
                  <a:lnTo>
                    <a:pt x="2346" y="757"/>
                  </a:lnTo>
                  <a:lnTo>
                    <a:pt x="2345" y="757"/>
                  </a:lnTo>
                  <a:lnTo>
                    <a:pt x="2345" y="756"/>
                  </a:lnTo>
                  <a:lnTo>
                    <a:pt x="2345" y="756"/>
                  </a:lnTo>
                  <a:lnTo>
                    <a:pt x="2345" y="756"/>
                  </a:lnTo>
                  <a:lnTo>
                    <a:pt x="2345" y="756"/>
                  </a:lnTo>
                  <a:lnTo>
                    <a:pt x="2345" y="754"/>
                  </a:lnTo>
                  <a:lnTo>
                    <a:pt x="2345" y="754"/>
                  </a:lnTo>
                  <a:lnTo>
                    <a:pt x="2345" y="754"/>
                  </a:lnTo>
                  <a:lnTo>
                    <a:pt x="2345" y="754"/>
                  </a:lnTo>
                  <a:lnTo>
                    <a:pt x="2344" y="753"/>
                  </a:lnTo>
                  <a:lnTo>
                    <a:pt x="2344" y="753"/>
                  </a:lnTo>
                  <a:lnTo>
                    <a:pt x="2344" y="753"/>
                  </a:lnTo>
                  <a:lnTo>
                    <a:pt x="2344" y="753"/>
                  </a:lnTo>
                  <a:lnTo>
                    <a:pt x="2344" y="753"/>
                  </a:lnTo>
                  <a:lnTo>
                    <a:pt x="2344" y="752"/>
                  </a:lnTo>
                  <a:lnTo>
                    <a:pt x="2343" y="752"/>
                  </a:lnTo>
                  <a:lnTo>
                    <a:pt x="2343" y="752"/>
                  </a:lnTo>
                  <a:lnTo>
                    <a:pt x="2343" y="752"/>
                  </a:lnTo>
                  <a:lnTo>
                    <a:pt x="2343" y="752"/>
                  </a:lnTo>
                  <a:lnTo>
                    <a:pt x="2343" y="752"/>
                  </a:lnTo>
                  <a:lnTo>
                    <a:pt x="2343" y="752"/>
                  </a:lnTo>
                  <a:lnTo>
                    <a:pt x="2342" y="751"/>
                  </a:lnTo>
                  <a:lnTo>
                    <a:pt x="2342" y="751"/>
                  </a:lnTo>
                  <a:lnTo>
                    <a:pt x="2342" y="751"/>
                  </a:lnTo>
                  <a:lnTo>
                    <a:pt x="2342" y="751"/>
                  </a:lnTo>
                  <a:lnTo>
                    <a:pt x="2342" y="751"/>
                  </a:lnTo>
                  <a:lnTo>
                    <a:pt x="2342" y="751"/>
                  </a:lnTo>
                  <a:lnTo>
                    <a:pt x="2342" y="750"/>
                  </a:lnTo>
                  <a:lnTo>
                    <a:pt x="2340" y="750"/>
                  </a:lnTo>
                  <a:lnTo>
                    <a:pt x="2340" y="750"/>
                  </a:lnTo>
                  <a:lnTo>
                    <a:pt x="2340" y="749"/>
                  </a:lnTo>
                  <a:lnTo>
                    <a:pt x="2340" y="749"/>
                  </a:lnTo>
                  <a:lnTo>
                    <a:pt x="2340" y="749"/>
                  </a:lnTo>
                  <a:lnTo>
                    <a:pt x="2340" y="749"/>
                  </a:lnTo>
                  <a:lnTo>
                    <a:pt x="2340" y="749"/>
                  </a:lnTo>
                  <a:lnTo>
                    <a:pt x="2339" y="749"/>
                  </a:lnTo>
                  <a:lnTo>
                    <a:pt x="2339" y="748"/>
                  </a:lnTo>
                  <a:lnTo>
                    <a:pt x="2339" y="748"/>
                  </a:lnTo>
                  <a:lnTo>
                    <a:pt x="2338" y="748"/>
                  </a:lnTo>
                  <a:lnTo>
                    <a:pt x="2338" y="748"/>
                  </a:lnTo>
                  <a:lnTo>
                    <a:pt x="2338" y="748"/>
                  </a:lnTo>
                  <a:lnTo>
                    <a:pt x="2338" y="746"/>
                  </a:lnTo>
                  <a:lnTo>
                    <a:pt x="2338" y="746"/>
                  </a:lnTo>
                  <a:lnTo>
                    <a:pt x="2338" y="746"/>
                  </a:lnTo>
                  <a:lnTo>
                    <a:pt x="2338" y="745"/>
                  </a:lnTo>
                  <a:lnTo>
                    <a:pt x="2337" y="744"/>
                  </a:lnTo>
                  <a:lnTo>
                    <a:pt x="2337" y="744"/>
                  </a:lnTo>
                  <a:lnTo>
                    <a:pt x="2337" y="744"/>
                  </a:lnTo>
                  <a:lnTo>
                    <a:pt x="2337" y="744"/>
                  </a:lnTo>
                  <a:lnTo>
                    <a:pt x="2337" y="744"/>
                  </a:lnTo>
                  <a:lnTo>
                    <a:pt x="2337" y="743"/>
                  </a:lnTo>
                  <a:lnTo>
                    <a:pt x="2337" y="743"/>
                  </a:lnTo>
                  <a:lnTo>
                    <a:pt x="2336" y="743"/>
                  </a:lnTo>
                  <a:lnTo>
                    <a:pt x="2336" y="742"/>
                  </a:lnTo>
                  <a:lnTo>
                    <a:pt x="2336" y="742"/>
                  </a:lnTo>
                  <a:lnTo>
                    <a:pt x="2336" y="742"/>
                  </a:lnTo>
                  <a:lnTo>
                    <a:pt x="2335" y="742"/>
                  </a:lnTo>
                  <a:lnTo>
                    <a:pt x="2335" y="742"/>
                  </a:lnTo>
                  <a:lnTo>
                    <a:pt x="2335" y="741"/>
                  </a:lnTo>
                  <a:lnTo>
                    <a:pt x="2335" y="740"/>
                  </a:lnTo>
                  <a:lnTo>
                    <a:pt x="2335" y="737"/>
                  </a:lnTo>
                  <a:lnTo>
                    <a:pt x="2335" y="735"/>
                  </a:lnTo>
                  <a:lnTo>
                    <a:pt x="2336" y="732"/>
                  </a:lnTo>
                  <a:lnTo>
                    <a:pt x="2336" y="729"/>
                  </a:lnTo>
                  <a:lnTo>
                    <a:pt x="2337" y="727"/>
                  </a:lnTo>
                  <a:lnTo>
                    <a:pt x="2337" y="727"/>
                  </a:lnTo>
                  <a:lnTo>
                    <a:pt x="2336" y="728"/>
                  </a:lnTo>
                  <a:lnTo>
                    <a:pt x="2336" y="729"/>
                  </a:lnTo>
                  <a:lnTo>
                    <a:pt x="2336" y="729"/>
                  </a:lnTo>
                  <a:lnTo>
                    <a:pt x="2336" y="731"/>
                  </a:lnTo>
                  <a:lnTo>
                    <a:pt x="2336" y="731"/>
                  </a:lnTo>
                  <a:lnTo>
                    <a:pt x="2336" y="731"/>
                  </a:lnTo>
                  <a:lnTo>
                    <a:pt x="2336" y="731"/>
                  </a:lnTo>
                  <a:lnTo>
                    <a:pt x="2336" y="731"/>
                  </a:lnTo>
                  <a:lnTo>
                    <a:pt x="2336" y="731"/>
                  </a:lnTo>
                  <a:lnTo>
                    <a:pt x="2335" y="731"/>
                  </a:lnTo>
                  <a:lnTo>
                    <a:pt x="2335" y="732"/>
                  </a:lnTo>
                  <a:lnTo>
                    <a:pt x="2335" y="733"/>
                  </a:lnTo>
                  <a:lnTo>
                    <a:pt x="2335" y="734"/>
                  </a:lnTo>
                  <a:lnTo>
                    <a:pt x="2335" y="734"/>
                  </a:lnTo>
                  <a:lnTo>
                    <a:pt x="2335" y="734"/>
                  </a:lnTo>
                  <a:lnTo>
                    <a:pt x="2335" y="734"/>
                  </a:lnTo>
                  <a:lnTo>
                    <a:pt x="2335" y="734"/>
                  </a:lnTo>
                  <a:lnTo>
                    <a:pt x="2334" y="734"/>
                  </a:lnTo>
                  <a:lnTo>
                    <a:pt x="2334" y="733"/>
                  </a:lnTo>
                  <a:lnTo>
                    <a:pt x="2334" y="733"/>
                  </a:lnTo>
                  <a:lnTo>
                    <a:pt x="2334" y="733"/>
                  </a:lnTo>
                  <a:lnTo>
                    <a:pt x="2334" y="732"/>
                  </a:lnTo>
                  <a:lnTo>
                    <a:pt x="2334" y="732"/>
                  </a:lnTo>
                  <a:lnTo>
                    <a:pt x="2334" y="732"/>
                  </a:lnTo>
                  <a:lnTo>
                    <a:pt x="2334" y="732"/>
                  </a:lnTo>
                  <a:lnTo>
                    <a:pt x="2334" y="732"/>
                  </a:lnTo>
                  <a:lnTo>
                    <a:pt x="2335" y="732"/>
                  </a:lnTo>
                  <a:lnTo>
                    <a:pt x="2335" y="731"/>
                  </a:lnTo>
                  <a:lnTo>
                    <a:pt x="2335" y="731"/>
                  </a:lnTo>
                  <a:lnTo>
                    <a:pt x="2335" y="731"/>
                  </a:lnTo>
                  <a:lnTo>
                    <a:pt x="2335" y="731"/>
                  </a:lnTo>
                  <a:lnTo>
                    <a:pt x="2335" y="729"/>
                  </a:lnTo>
                  <a:lnTo>
                    <a:pt x="2335" y="729"/>
                  </a:lnTo>
                  <a:lnTo>
                    <a:pt x="2335" y="729"/>
                  </a:lnTo>
                  <a:lnTo>
                    <a:pt x="2335" y="728"/>
                  </a:lnTo>
                  <a:lnTo>
                    <a:pt x="2335" y="728"/>
                  </a:lnTo>
                  <a:lnTo>
                    <a:pt x="2335" y="728"/>
                  </a:lnTo>
                  <a:lnTo>
                    <a:pt x="2335" y="728"/>
                  </a:lnTo>
                  <a:lnTo>
                    <a:pt x="2335" y="728"/>
                  </a:lnTo>
                  <a:lnTo>
                    <a:pt x="2335" y="728"/>
                  </a:lnTo>
                  <a:lnTo>
                    <a:pt x="2335" y="727"/>
                  </a:lnTo>
                  <a:lnTo>
                    <a:pt x="2335" y="727"/>
                  </a:lnTo>
                  <a:lnTo>
                    <a:pt x="2335" y="727"/>
                  </a:lnTo>
                  <a:lnTo>
                    <a:pt x="2335" y="726"/>
                  </a:lnTo>
                  <a:lnTo>
                    <a:pt x="2334" y="726"/>
                  </a:lnTo>
                  <a:lnTo>
                    <a:pt x="2334" y="726"/>
                  </a:lnTo>
                  <a:lnTo>
                    <a:pt x="2334" y="726"/>
                  </a:lnTo>
                  <a:lnTo>
                    <a:pt x="2334" y="726"/>
                  </a:lnTo>
                  <a:lnTo>
                    <a:pt x="2334" y="725"/>
                  </a:lnTo>
                  <a:lnTo>
                    <a:pt x="2334" y="725"/>
                  </a:lnTo>
                  <a:lnTo>
                    <a:pt x="2334" y="725"/>
                  </a:lnTo>
                  <a:lnTo>
                    <a:pt x="2333" y="725"/>
                  </a:lnTo>
                  <a:lnTo>
                    <a:pt x="2333" y="724"/>
                  </a:lnTo>
                  <a:lnTo>
                    <a:pt x="2333" y="724"/>
                  </a:lnTo>
                  <a:lnTo>
                    <a:pt x="2333" y="724"/>
                  </a:lnTo>
                  <a:lnTo>
                    <a:pt x="2333" y="723"/>
                  </a:lnTo>
                  <a:lnTo>
                    <a:pt x="2333" y="723"/>
                  </a:lnTo>
                  <a:lnTo>
                    <a:pt x="2333" y="723"/>
                  </a:lnTo>
                  <a:lnTo>
                    <a:pt x="2331" y="722"/>
                  </a:lnTo>
                  <a:lnTo>
                    <a:pt x="2331" y="722"/>
                  </a:lnTo>
                  <a:lnTo>
                    <a:pt x="2331" y="722"/>
                  </a:lnTo>
                  <a:lnTo>
                    <a:pt x="2331" y="722"/>
                  </a:lnTo>
                  <a:lnTo>
                    <a:pt x="2331" y="722"/>
                  </a:lnTo>
                  <a:lnTo>
                    <a:pt x="2330" y="722"/>
                  </a:lnTo>
                  <a:lnTo>
                    <a:pt x="2330" y="722"/>
                  </a:lnTo>
                  <a:lnTo>
                    <a:pt x="2330" y="722"/>
                  </a:lnTo>
                  <a:lnTo>
                    <a:pt x="2330" y="722"/>
                  </a:lnTo>
                  <a:lnTo>
                    <a:pt x="2330" y="722"/>
                  </a:lnTo>
                  <a:lnTo>
                    <a:pt x="2330" y="722"/>
                  </a:lnTo>
                  <a:lnTo>
                    <a:pt x="2329" y="722"/>
                  </a:lnTo>
                  <a:lnTo>
                    <a:pt x="2329" y="720"/>
                  </a:lnTo>
                  <a:lnTo>
                    <a:pt x="2329" y="720"/>
                  </a:lnTo>
                  <a:lnTo>
                    <a:pt x="2328" y="719"/>
                  </a:lnTo>
                  <a:lnTo>
                    <a:pt x="2328" y="719"/>
                  </a:lnTo>
                  <a:lnTo>
                    <a:pt x="2328" y="719"/>
                  </a:lnTo>
                  <a:lnTo>
                    <a:pt x="2327" y="719"/>
                  </a:lnTo>
                  <a:lnTo>
                    <a:pt x="2327" y="718"/>
                  </a:lnTo>
                  <a:lnTo>
                    <a:pt x="2326" y="718"/>
                  </a:lnTo>
                  <a:lnTo>
                    <a:pt x="2326" y="719"/>
                  </a:lnTo>
                  <a:lnTo>
                    <a:pt x="2326" y="719"/>
                  </a:lnTo>
                  <a:lnTo>
                    <a:pt x="2326" y="718"/>
                  </a:lnTo>
                  <a:lnTo>
                    <a:pt x="2326" y="718"/>
                  </a:lnTo>
                  <a:lnTo>
                    <a:pt x="2325" y="718"/>
                  </a:lnTo>
                  <a:lnTo>
                    <a:pt x="2325" y="718"/>
                  </a:lnTo>
                  <a:lnTo>
                    <a:pt x="2325" y="718"/>
                  </a:lnTo>
                  <a:lnTo>
                    <a:pt x="2325" y="717"/>
                  </a:lnTo>
                  <a:lnTo>
                    <a:pt x="2325" y="717"/>
                  </a:lnTo>
                  <a:lnTo>
                    <a:pt x="2325" y="717"/>
                  </a:lnTo>
                  <a:lnTo>
                    <a:pt x="2323" y="717"/>
                  </a:lnTo>
                  <a:lnTo>
                    <a:pt x="2325" y="716"/>
                  </a:lnTo>
                  <a:lnTo>
                    <a:pt x="2325" y="716"/>
                  </a:lnTo>
                  <a:lnTo>
                    <a:pt x="2325" y="716"/>
                  </a:lnTo>
                  <a:lnTo>
                    <a:pt x="2325" y="716"/>
                  </a:lnTo>
                  <a:lnTo>
                    <a:pt x="2325" y="716"/>
                  </a:lnTo>
                  <a:lnTo>
                    <a:pt x="2325" y="716"/>
                  </a:lnTo>
                  <a:lnTo>
                    <a:pt x="2325" y="716"/>
                  </a:lnTo>
                  <a:lnTo>
                    <a:pt x="2325" y="716"/>
                  </a:lnTo>
                  <a:lnTo>
                    <a:pt x="2325" y="715"/>
                  </a:lnTo>
                  <a:lnTo>
                    <a:pt x="2326" y="715"/>
                  </a:lnTo>
                  <a:lnTo>
                    <a:pt x="2326" y="714"/>
                  </a:lnTo>
                  <a:lnTo>
                    <a:pt x="2326" y="714"/>
                  </a:lnTo>
                  <a:lnTo>
                    <a:pt x="2327" y="714"/>
                  </a:lnTo>
                  <a:lnTo>
                    <a:pt x="2327" y="714"/>
                  </a:lnTo>
                  <a:lnTo>
                    <a:pt x="2327" y="712"/>
                  </a:lnTo>
                  <a:lnTo>
                    <a:pt x="2327" y="712"/>
                  </a:lnTo>
                  <a:lnTo>
                    <a:pt x="2327" y="712"/>
                  </a:lnTo>
                  <a:lnTo>
                    <a:pt x="2328" y="712"/>
                  </a:lnTo>
                  <a:lnTo>
                    <a:pt x="2328" y="712"/>
                  </a:lnTo>
                  <a:lnTo>
                    <a:pt x="2328" y="712"/>
                  </a:lnTo>
                  <a:lnTo>
                    <a:pt x="2328" y="712"/>
                  </a:lnTo>
                  <a:lnTo>
                    <a:pt x="2328" y="712"/>
                  </a:lnTo>
                  <a:lnTo>
                    <a:pt x="2328" y="711"/>
                  </a:lnTo>
                  <a:lnTo>
                    <a:pt x="2329" y="711"/>
                  </a:lnTo>
                  <a:lnTo>
                    <a:pt x="2328" y="711"/>
                  </a:lnTo>
                  <a:lnTo>
                    <a:pt x="2328" y="710"/>
                  </a:lnTo>
                  <a:lnTo>
                    <a:pt x="2329" y="710"/>
                  </a:lnTo>
                  <a:lnTo>
                    <a:pt x="2329" y="711"/>
                  </a:lnTo>
                  <a:lnTo>
                    <a:pt x="2329" y="711"/>
                  </a:lnTo>
                  <a:lnTo>
                    <a:pt x="2329" y="711"/>
                  </a:lnTo>
                  <a:lnTo>
                    <a:pt x="2329" y="711"/>
                  </a:lnTo>
                  <a:lnTo>
                    <a:pt x="2329" y="711"/>
                  </a:lnTo>
                  <a:lnTo>
                    <a:pt x="2329" y="712"/>
                  </a:lnTo>
                  <a:lnTo>
                    <a:pt x="2329" y="712"/>
                  </a:lnTo>
                  <a:lnTo>
                    <a:pt x="2330" y="711"/>
                  </a:lnTo>
                  <a:lnTo>
                    <a:pt x="2330" y="711"/>
                  </a:lnTo>
                  <a:lnTo>
                    <a:pt x="2330" y="711"/>
                  </a:lnTo>
                  <a:lnTo>
                    <a:pt x="2330" y="709"/>
                  </a:lnTo>
                  <a:lnTo>
                    <a:pt x="2330" y="709"/>
                  </a:lnTo>
                  <a:lnTo>
                    <a:pt x="2330" y="709"/>
                  </a:lnTo>
                  <a:lnTo>
                    <a:pt x="2330" y="709"/>
                  </a:lnTo>
                  <a:lnTo>
                    <a:pt x="2330" y="709"/>
                  </a:lnTo>
                  <a:lnTo>
                    <a:pt x="2330" y="709"/>
                  </a:lnTo>
                  <a:lnTo>
                    <a:pt x="2331" y="709"/>
                  </a:lnTo>
                  <a:lnTo>
                    <a:pt x="2331" y="709"/>
                  </a:lnTo>
                  <a:lnTo>
                    <a:pt x="2331" y="709"/>
                  </a:lnTo>
                  <a:lnTo>
                    <a:pt x="2331" y="709"/>
                  </a:lnTo>
                  <a:lnTo>
                    <a:pt x="2331" y="709"/>
                  </a:lnTo>
                  <a:lnTo>
                    <a:pt x="2331" y="708"/>
                  </a:lnTo>
                  <a:lnTo>
                    <a:pt x="2333" y="708"/>
                  </a:lnTo>
                  <a:lnTo>
                    <a:pt x="2333" y="707"/>
                  </a:lnTo>
                  <a:lnTo>
                    <a:pt x="2333" y="707"/>
                  </a:lnTo>
                  <a:lnTo>
                    <a:pt x="2333" y="707"/>
                  </a:lnTo>
                  <a:lnTo>
                    <a:pt x="2333" y="707"/>
                  </a:lnTo>
                  <a:lnTo>
                    <a:pt x="2333" y="706"/>
                  </a:lnTo>
                  <a:lnTo>
                    <a:pt x="2334" y="706"/>
                  </a:lnTo>
                  <a:lnTo>
                    <a:pt x="2334" y="706"/>
                  </a:lnTo>
                  <a:lnTo>
                    <a:pt x="2334" y="706"/>
                  </a:lnTo>
                  <a:lnTo>
                    <a:pt x="2334" y="703"/>
                  </a:lnTo>
                  <a:lnTo>
                    <a:pt x="2334" y="703"/>
                  </a:lnTo>
                  <a:lnTo>
                    <a:pt x="2334" y="703"/>
                  </a:lnTo>
                  <a:lnTo>
                    <a:pt x="2335" y="703"/>
                  </a:lnTo>
                  <a:lnTo>
                    <a:pt x="2335" y="702"/>
                  </a:lnTo>
                  <a:lnTo>
                    <a:pt x="2335" y="702"/>
                  </a:lnTo>
                  <a:lnTo>
                    <a:pt x="2335" y="702"/>
                  </a:lnTo>
                  <a:lnTo>
                    <a:pt x="2335" y="702"/>
                  </a:lnTo>
                  <a:lnTo>
                    <a:pt x="2335" y="701"/>
                  </a:lnTo>
                  <a:lnTo>
                    <a:pt x="2335" y="702"/>
                  </a:lnTo>
                  <a:lnTo>
                    <a:pt x="2334" y="702"/>
                  </a:lnTo>
                  <a:lnTo>
                    <a:pt x="2334" y="701"/>
                  </a:lnTo>
                  <a:lnTo>
                    <a:pt x="2334" y="701"/>
                  </a:lnTo>
                  <a:lnTo>
                    <a:pt x="2334" y="701"/>
                  </a:lnTo>
                  <a:lnTo>
                    <a:pt x="2336" y="701"/>
                  </a:lnTo>
                  <a:lnTo>
                    <a:pt x="2336" y="700"/>
                  </a:lnTo>
                  <a:lnTo>
                    <a:pt x="2336" y="700"/>
                  </a:lnTo>
                  <a:lnTo>
                    <a:pt x="2336" y="700"/>
                  </a:lnTo>
                  <a:lnTo>
                    <a:pt x="2336" y="700"/>
                  </a:lnTo>
                  <a:lnTo>
                    <a:pt x="2336" y="700"/>
                  </a:lnTo>
                  <a:lnTo>
                    <a:pt x="2336" y="700"/>
                  </a:lnTo>
                  <a:lnTo>
                    <a:pt x="2336" y="699"/>
                  </a:lnTo>
                  <a:lnTo>
                    <a:pt x="2336" y="699"/>
                  </a:lnTo>
                  <a:lnTo>
                    <a:pt x="2336" y="699"/>
                  </a:lnTo>
                  <a:lnTo>
                    <a:pt x="2335" y="699"/>
                  </a:lnTo>
                  <a:lnTo>
                    <a:pt x="2336" y="699"/>
                  </a:lnTo>
                  <a:lnTo>
                    <a:pt x="2335" y="698"/>
                  </a:lnTo>
                  <a:lnTo>
                    <a:pt x="2335" y="697"/>
                  </a:lnTo>
                  <a:lnTo>
                    <a:pt x="2335" y="697"/>
                  </a:lnTo>
                  <a:lnTo>
                    <a:pt x="2335" y="697"/>
                  </a:lnTo>
                  <a:lnTo>
                    <a:pt x="2335" y="697"/>
                  </a:lnTo>
                  <a:lnTo>
                    <a:pt x="2334" y="697"/>
                  </a:lnTo>
                  <a:lnTo>
                    <a:pt x="2334" y="697"/>
                  </a:lnTo>
                  <a:lnTo>
                    <a:pt x="2334" y="695"/>
                  </a:lnTo>
                  <a:lnTo>
                    <a:pt x="2334" y="695"/>
                  </a:lnTo>
                  <a:lnTo>
                    <a:pt x="2334" y="695"/>
                  </a:lnTo>
                  <a:lnTo>
                    <a:pt x="2334" y="695"/>
                  </a:lnTo>
                  <a:lnTo>
                    <a:pt x="2335" y="695"/>
                  </a:lnTo>
                  <a:lnTo>
                    <a:pt x="2335" y="695"/>
                  </a:lnTo>
                  <a:lnTo>
                    <a:pt x="2336" y="697"/>
                  </a:lnTo>
                  <a:lnTo>
                    <a:pt x="2336" y="697"/>
                  </a:lnTo>
                  <a:lnTo>
                    <a:pt x="2336" y="697"/>
                  </a:lnTo>
                  <a:lnTo>
                    <a:pt x="2336" y="694"/>
                  </a:lnTo>
                  <a:lnTo>
                    <a:pt x="2337" y="695"/>
                  </a:lnTo>
                  <a:lnTo>
                    <a:pt x="2337" y="695"/>
                  </a:lnTo>
                  <a:lnTo>
                    <a:pt x="2337" y="695"/>
                  </a:lnTo>
                  <a:lnTo>
                    <a:pt x="2337" y="695"/>
                  </a:lnTo>
                  <a:lnTo>
                    <a:pt x="2337" y="695"/>
                  </a:lnTo>
                  <a:lnTo>
                    <a:pt x="2337" y="695"/>
                  </a:lnTo>
                  <a:lnTo>
                    <a:pt x="2337" y="697"/>
                  </a:lnTo>
                  <a:lnTo>
                    <a:pt x="2338" y="697"/>
                  </a:lnTo>
                  <a:lnTo>
                    <a:pt x="2338" y="697"/>
                  </a:lnTo>
                  <a:lnTo>
                    <a:pt x="2339" y="697"/>
                  </a:lnTo>
                  <a:lnTo>
                    <a:pt x="2339" y="698"/>
                  </a:lnTo>
                  <a:lnTo>
                    <a:pt x="2339" y="698"/>
                  </a:lnTo>
                  <a:lnTo>
                    <a:pt x="2339" y="698"/>
                  </a:lnTo>
                  <a:lnTo>
                    <a:pt x="2339" y="698"/>
                  </a:lnTo>
                  <a:lnTo>
                    <a:pt x="2340" y="698"/>
                  </a:lnTo>
                  <a:lnTo>
                    <a:pt x="2340" y="698"/>
                  </a:lnTo>
                  <a:lnTo>
                    <a:pt x="2340" y="698"/>
                  </a:lnTo>
                  <a:lnTo>
                    <a:pt x="2340" y="698"/>
                  </a:lnTo>
                  <a:lnTo>
                    <a:pt x="2340" y="698"/>
                  </a:lnTo>
                  <a:lnTo>
                    <a:pt x="2340" y="697"/>
                  </a:lnTo>
                  <a:lnTo>
                    <a:pt x="2340" y="697"/>
                  </a:lnTo>
                  <a:lnTo>
                    <a:pt x="2340" y="697"/>
                  </a:lnTo>
                  <a:lnTo>
                    <a:pt x="2340" y="697"/>
                  </a:lnTo>
                  <a:lnTo>
                    <a:pt x="2340" y="697"/>
                  </a:lnTo>
                  <a:lnTo>
                    <a:pt x="2340" y="697"/>
                  </a:lnTo>
                  <a:lnTo>
                    <a:pt x="2342" y="697"/>
                  </a:lnTo>
                  <a:lnTo>
                    <a:pt x="2342" y="697"/>
                  </a:lnTo>
                  <a:lnTo>
                    <a:pt x="2342" y="695"/>
                  </a:lnTo>
                  <a:lnTo>
                    <a:pt x="2342" y="695"/>
                  </a:lnTo>
                  <a:lnTo>
                    <a:pt x="2342" y="697"/>
                  </a:lnTo>
                  <a:lnTo>
                    <a:pt x="2343" y="697"/>
                  </a:lnTo>
                  <a:lnTo>
                    <a:pt x="2343" y="697"/>
                  </a:lnTo>
                  <a:lnTo>
                    <a:pt x="2343" y="697"/>
                  </a:lnTo>
                  <a:lnTo>
                    <a:pt x="2343" y="697"/>
                  </a:lnTo>
                  <a:lnTo>
                    <a:pt x="2343" y="695"/>
                  </a:lnTo>
                  <a:lnTo>
                    <a:pt x="2344" y="695"/>
                  </a:lnTo>
                  <a:lnTo>
                    <a:pt x="2344" y="695"/>
                  </a:lnTo>
                  <a:lnTo>
                    <a:pt x="2344" y="695"/>
                  </a:lnTo>
                  <a:lnTo>
                    <a:pt x="2344" y="697"/>
                  </a:lnTo>
                  <a:lnTo>
                    <a:pt x="2344" y="695"/>
                  </a:lnTo>
                  <a:lnTo>
                    <a:pt x="2345" y="695"/>
                  </a:lnTo>
                  <a:lnTo>
                    <a:pt x="2345" y="697"/>
                  </a:lnTo>
                  <a:lnTo>
                    <a:pt x="2345" y="697"/>
                  </a:lnTo>
                  <a:lnTo>
                    <a:pt x="2345" y="695"/>
                  </a:lnTo>
                  <a:lnTo>
                    <a:pt x="2345" y="695"/>
                  </a:lnTo>
                  <a:lnTo>
                    <a:pt x="2345" y="695"/>
                  </a:lnTo>
                  <a:lnTo>
                    <a:pt x="2346" y="695"/>
                  </a:lnTo>
                  <a:lnTo>
                    <a:pt x="2346" y="695"/>
                  </a:lnTo>
                  <a:lnTo>
                    <a:pt x="2346" y="694"/>
                  </a:lnTo>
                  <a:lnTo>
                    <a:pt x="2346" y="694"/>
                  </a:lnTo>
                  <a:lnTo>
                    <a:pt x="2346" y="694"/>
                  </a:lnTo>
                  <a:lnTo>
                    <a:pt x="2346" y="694"/>
                  </a:lnTo>
                  <a:lnTo>
                    <a:pt x="2347" y="694"/>
                  </a:lnTo>
                  <a:lnTo>
                    <a:pt x="2347" y="694"/>
                  </a:lnTo>
                  <a:lnTo>
                    <a:pt x="2348" y="694"/>
                  </a:lnTo>
                  <a:lnTo>
                    <a:pt x="2348" y="694"/>
                  </a:lnTo>
                  <a:lnTo>
                    <a:pt x="2347" y="694"/>
                  </a:lnTo>
                  <a:lnTo>
                    <a:pt x="2347" y="694"/>
                  </a:lnTo>
                  <a:lnTo>
                    <a:pt x="2347" y="694"/>
                  </a:lnTo>
                  <a:lnTo>
                    <a:pt x="2347" y="693"/>
                  </a:lnTo>
                  <a:lnTo>
                    <a:pt x="2348" y="693"/>
                  </a:lnTo>
                  <a:lnTo>
                    <a:pt x="2348" y="693"/>
                  </a:lnTo>
                  <a:lnTo>
                    <a:pt x="2348" y="693"/>
                  </a:lnTo>
                  <a:lnTo>
                    <a:pt x="2348" y="693"/>
                  </a:lnTo>
                  <a:lnTo>
                    <a:pt x="2348" y="693"/>
                  </a:lnTo>
                  <a:lnTo>
                    <a:pt x="2348" y="692"/>
                  </a:lnTo>
                  <a:lnTo>
                    <a:pt x="2349" y="692"/>
                  </a:lnTo>
                  <a:lnTo>
                    <a:pt x="2349" y="692"/>
                  </a:lnTo>
                  <a:lnTo>
                    <a:pt x="2349" y="692"/>
                  </a:lnTo>
                  <a:lnTo>
                    <a:pt x="2349" y="692"/>
                  </a:lnTo>
                  <a:lnTo>
                    <a:pt x="2349" y="692"/>
                  </a:lnTo>
                  <a:lnTo>
                    <a:pt x="2351" y="692"/>
                  </a:lnTo>
                  <a:lnTo>
                    <a:pt x="2351" y="692"/>
                  </a:lnTo>
                  <a:lnTo>
                    <a:pt x="2351" y="692"/>
                  </a:lnTo>
                  <a:lnTo>
                    <a:pt x="2351" y="693"/>
                  </a:lnTo>
                  <a:lnTo>
                    <a:pt x="2351" y="693"/>
                  </a:lnTo>
                  <a:lnTo>
                    <a:pt x="2351" y="693"/>
                  </a:lnTo>
                  <a:lnTo>
                    <a:pt x="2352" y="693"/>
                  </a:lnTo>
                  <a:lnTo>
                    <a:pt x="2352" y="693"/>
                  </a:lnTo>
                  <a:lnTo>
                    <a:pt x="2352" y="693"/>
                  </a:lnTo>
                  <a:lnTo>
                    <a:pt x="2352" y="692"/>
                  </a:lnTo>
                  <a:lnTo>
                    <a:pt x="2352" y="692"/>
                  </a:lnTo>
                  <a:lnTo>
                    <a:pt x="2352" y="692"/>
                  </a:lnTo>
                  <a:lnTo>
                    <a:pt x="2351" y="692"/>
                  </a:lnTo>
                  <a:lnTo>
                    <a:pt x="2351" y="692"/>
                  </a:lnTo>
                  <a:lnTo>
                    <a:pt x="2352" y="692"/>
                  </a:lnTo>
                  <a:lnTo>
                    <a:pt x="2352" y="692"/>
                  </a:lnTo>
                  <a:lnTo>
                    <a:pt x="2352" y="692"/>
                  </a:lnTo>
                  <a:lnTo>
                    <a:pt x="2352" y="691"/>
                  </a:lnTo>
                  <a:lnTo>
                    <a:pt x="2352" y="691"/>
                  </a:lnTo>
                  <a:lnTo>
                    <a:pt x="2352" y="691"/>
                  </a:lnTo>
                  <a:lnTo>
                    <a:pt x="2352" y="691"/>
                  </a:lnTo>
                  <a:lnTo>
                    <a:pt x="2352" y="691"/>
                  </a:lnTo>
                  <a:lnTo>
                    <a:pt x="2351" y="690"/>
                  </a:lnTo>
                  <a:lnTo>
                    <a:pt x="2351" y="690"/>
                  </a:lnTo>
                  <a:lnTo>
                    <a:pt x="2351" y="690"/>
                  </a:lnTo>
                  <a:lnTo>
                    <a:pt x="2351" y="690"/>
                  </a:lnTo>
                  <a:lnTo>
                    <a:pt x="2352" y="690"/>
                  </a:lnTo>
                  <a:lnTo>
                    <a:pt x="2352" y="690"/>
                  </a:lnTo>
                  <a:lnTo>
                    <a:pt x="2352" y="690"/>
                  </a:lnTo>
                  <a:lnTo>
                    <a:pt x="2352" y="690"/>
                  </a:lnTo>
                  <a:lnTo>
                    <a:pt x="2352" y="690"/>
                  </a:lnTo>
                  <a:lnTo>
                    <a:pt x="2352" y="690"/>
                  </a:lnTo>
                  <a:lnTo>
                    <a:pt x="2353" y="690"/>
                  </a:lnTo>
                  <a:lnTo>
                    <a:pt x="2353" y="690"/>
                  </a:lnTo>
                  <a:lnTo>
                    <a:pt x="2353" y="690"/>
                  </a:lnTo>
                  <a:lnTo>
                    <a:pt x="2353" y="690"/>
                  </a:lnTo>
                  <a:lnTo>
                    <a:pt x="2353" y="690"/>
                  </a:lnTo>
                  <a:lnTo>
                    <a:pt x="2353" y="691"/>
                  </a:lnTo>
                  <a:lnTo>
                    <a:pt x="2354" y="691"/>
                  </a:lnTo>
                  <a:lnTo>
                    <a:pt x="2354" y="691"/>
                  </a:lnTo>
                  <a:lnTo>
                    <a:pt x="2354" y="690"/>
                  </a:lnTo>
                  <a:lnTo>
                    <a:pt x="2354" y="690"/>
                  </a:lnTo>
                  <a:lnTo>
                    <a:pt x="2353" y="690"/>
                  </a:lnTo>
                  <a:lnTo>
                    <a:pt x="2353" y="690"/>
                  </a:lnTo>
                  <a:lnTo>
                    <a:pt x="2354" y="690"/>
                  </a:lnTo>
                  <a:lnTo>
                    <a:pt x="2354" y="690"/>
                  </a:lnTo>
                  <a:lnTo>
                    <a:pt x="2354" y="690"/>
                  </a:lnTo>
                  <a:lnTo>
                    <a:pt x="2354" y="690"/>
                  </a:lnTo>
                  <a:lnTo>
                    <a:pt x="2354" y="690"/>
                  </a:lnTo>
                  <a:lnTo>
                    <a:pt x="2354" y="690"/>
                  </a:lnTo>
                  <a:lnTo>
                    <a:pt x="2354" y="690"/>
                  </a:lnTo>
                  <a:lnTo>
                    <a:pt x="2354" y="690"/>
                  </a:lnTo>
                  <a:lnTo>
                    <a:pt x="2354" y="690"/>
                  </a:lnTo>
                  <a:lnTo>
                    <a:pt x="2354" y="689"/>
                  </a:lnTo>
                  <a:lnTo>
                    <a:pt x="2354" y="689"/>
                  </a:lnTo>
                  <a:lnTo>
                    <a:pt x="2354" y="690"/>
                  </a:lnTo>
                  <a:lnTo>
                    <a:pt x="2354" y="690"/>
                  </a:lnTo>
                  <a:lnTo>
                    <a:pt x="2354" y="689"/>
                  </a:lnTo>
                  <a:lnTo>
                    <a:pt x="2354" y="689"/>
                  </a:lnTo>
                  <a:lnTo>
                    <a:pt x="2354" y="689"/>
                  </a:lnTo>
                  <a:lnTo>
                    <a:pt x="2355" y="689"/>
                  </a:lnTo>
                  <a:lnTo>
                    <a:pt x="2355" y="690"/>
                  </a:lnTo>
                  <a:lnTo>
                    <a:pt x="2355" y="690"/>
                  </a:lnTo>
                  <a:lnTo>
                    <a:pt x="2355" y="690"/>
                  </a:lnTo>
                  <a:lnTo>
                    <a:pt x="2355" y="690"/>
                  </a:lnTo>
                  <a:lnTo>
                    <a:pt x="2355" y="690"/>
                  </a:lnTo>
                  <a:lnTo>
                    <a:pt x="2355" y="690"/>
                  </a:lnTo>
                  <a:lnTo>
                    <a:pt x="2355" y="689"/>
                  </a:lnTo>
                  <a:lnTo>
                    <a:pt x="2355" y="689"/>
                  </a:lnTo>
                  <a:lnTo>
                    <a:pt x="2355" y="689"/>
                  </a:lnTo>
                  <a:lnTo>
                    <a:pt x="2355" y="689"/>
                  </a:lnTo>
                  <a:lnTo>
                    <a:pt x="2355" y="689"/>
                  </a:lnTo>
                  <a:lnTo>
                    <a:pt x="2356" y="689"/>
                  </a:lnTo>
                  <a:lnTo>
                    <a:pt x="2356" y="688"/>
                  </a:lnTo>
                  <a:lnTo>
                    <a:pt x="2356" y="688"/>
                  </a:lnTo>
                  <a:lnTo>
                    <a:pt x="2356" y="689"/>
                  </a:lnTo>
                  <a:lnTo>
                    <a:pt x="2357" y="689"/>
                  </a:lnTo>
                  <a:lnTo>
                    <a:pt x="2357" y="689"/>
                  </a:lnTo>
                  <a:lnTo>
                    <a:pt x="2357" y="689"/>
                  </a:lnTo>
                  <a:lnTo>
                    <a:pt x="2357" y="689"/>
                  </a:lnTo>
                  <a:lnTo>
                    <a:pt x="2357" y="689"/>
                  </a:lnTo>
                  <a:lnTo>
                    <a:pt x="2357" y="689"/>
                  </a:lnTo>
                  <a:lnTo>
                    <a:pt x="2357" y="688"/>
                  </a:lnTo>
                  <a:lnTo>
                    <a:pt x="2356" y="688"/>
                  </a:lnTo>
                  <a:lnTo>
                    <a:pt x="2357" y="686"/>
                  </a:lnTo>
                  <a:lnTo>
                    <a:pt x="2357" y="686"/>
                  </a:lnTo>
                  <a:lnTo>
                    <a:pt x="2357" y="686"/>
                  </a:lnTo>
                  <a:lnTo>
                    <a:pt x="2357" y="686"/>
                  </a:lnTo>
                  <a:lnTo>
                    <a:pt x="2357" y="686"/>
                  </a:lnTo>
                  <a:lnTo>
                    <a:pt x="2357" y="686"/>
                  </a:lnTo>
                  <a:lnTo>
                    <a:pt x="2357" y="686"/>
                  </a:lnTo>
                  <a:lnTo>
                    <a:pt x="2357" y="685"/>
                  </a:lnTo>
                  <a:lnTo>
                    <a:pt x="2359" y="685"/>
                  </a:lnTo>
                  <a:lnTo>
                    <a:pt x="2359" y="684"/>
                  </a:lnTo>
                  <a:lnTo>
                    <a:pt x="2359" y="684"/>
                  </a:lnTo>
                  <a:lnTo>
                    <a:pt x="2359" y="683"/>
                  </a:lnTo>
                  <a:lnTo>
                    <a:pt x="2359" y="683"/>
                  </a:lnTo>
                  <a:lnTo>
                    <a:pt x="2359" y="683"/>
                  </a:lnTo>
                  <a:lnTo>
                    <a:pt x="2360" y="683"/>
                  </a:lnTo>
                  <a:lnTo>
                    <a:pt x="2360" y="683"/>
                  </a:lnTo>
                  <a:lnTo>
                    <a:pt x="2360" y="683"/>
                  </a:lnTo>
                  <a:lnTo>
                    <a:pt x="2361" y="683"/>
                  </a:lnTo>
                  <a:lnTo>
                    <a:pt x="2362" y="683"/>
                  </a:lnTo>
                  <a:lnTo>
                    <a:pt x="2361" y="683"/>
                  </a:lnTo>
                  <a:lnTo>
                    <a:pt x="2361" y="683"/>
                  </a:lnTo>
                  <a:lnTo>
                    <a:pt x="2361" y="683"/>
                  </a:lnTo>
                  <a:lnTo>
                    <a:pt x="2361" y="683"/>
                  </a:lnTo>
                  <a:lnTo>
                    <a:pt x="2361" y="682"/>
                  </a:lnTo>
                  <a:lnTo>
                    <a:pt x="2361" y="682"/>
                  </a:lnTo>
                  <a:lnTo>
                    <a:pt x="2360" y="682"/>
                  </a:lnTo>
                  <a:lnTo>
                    <a:pt x="2360" y="682"/>
                  </a:lnTo>
                  <a:lnTo>
                    <a:pt x="2361" y="682"/>
                  </a:lnTo>
                  <a:lnTo>
                    <a:pt x="2361" y="682"/>
                  </a:lnTo>
                  <a:lnTo>
                    <a:pt x="2361" y="682"/>
                  </a:lnTo>
                  <a:lnTo>
                    <a:pt x="2361" y="682"/>
                  </a:lnTo>
                  <a:lnTo>
                    <a:pt x="2362" y="682"/>
                  </a:lnTo>
                  <a:lnTo>
                    <a:pt x="2362" y="683"/>
                  </a:lnTo>
                  <a:lnTo>
                    <a:pt x="2362" y="683"/>
                  </a:lnTo>
                  <a:lnTo>
                    <a:pt x="2362" y="682"/>
                  </a:lnTo>
                  <a:lnTo>
                    <a:pt x="2362" y="682"/>
                  </a:lnTo>
                  <a:lnTo>
                    <a:pt x="2362" y="682"/>
                  </a:lnTo>
                  <a:lnTo>
                    <a:pt x="2362" y="683"/>
                  </a:lnTo>
                  <a:lnTo>
                    <a:pt x="2362" y="683"/>
                  </a:lnTo>
                  <a:lnTo>
                    <a:pt x="2363" y="683"/>
                  </a:lnTo>
                  <a:lnTo>
                    <a:pt x="2363" y="683"/>
                  </a:lnTo>
                  <a:lnTo>
                    <a:pt x="2363" y="682"/>
                  </a:lnTo>
                  <a:lnTo>
                    <a:pt x="2363" y="682"/>
                  </a:lnTo>
                  <a:lnTo>
                    <a:pt x="2363" y="682"/>
                  </a:lnTo>
                  <a:lnTo>
                    <a:pt x="2363" y="682"/>
                  </a:lnTo>
                  <a:lnTo>
                    <a:pt x="2363" y="682"/>
                  </a:lnTo>
                  <a:lnTo>
                    <a:pt x="2363" y="682"/>
                  </a:lnTo>
                  <a:lnTo>
                    <a:pt x="2364" y="682"/>
                  </a:lnTo>
                  <a:lnTo>
                    <a:pt x="2364" y="682"/>
                  </a:lnTo>
                  <a:lnTo>
                    <a:pt x="2364" y="682"/>
                  </a:lnTo>
                  <a:lnTo>
                    <a:pt x="2364" y="682"/>
                  </a:lnTo>
                  <a:lnTo>
                    <a:pt x="2365" y="682"/>
                  </a:lnTo>
                  <a:lnTo>
                    <a:pt x="2365" y="682"/>
                  </a:lnTo>
                  <a:lnTo>
                    <a:pt x="2365" y="682"/>
                  </a:lnTo>
                  <a:lnTo>
                    <a:pt x="2365" y="682"/>
                  </a:lnTo>
                  <a:lnTo>
                    <a:pt x="2365" y="682"/>
                  </a:lnTo>
                  <a:lnTo>
                    <a:pt x="2366" y="682"/>
                  </a:lnTo>
                  <a:lnTo>
                    <a:pt x="2366" y="682"/>
                  </a:lnTo>
                  <a:lnTo>
                    <a:pt x="2366" y="682"/>
                  </a:lnTo>
                  <a:lnTo>
                    <a:pt x="2366" y="682"/>
                  </a:lnTo>
                  <a:lnTo>
                    <a:pt x="2366" y="683"/>
                  </a:lnTo>
                  <a:lnTo>
                    <a:pt x="2366" y="683"/>
                  </a:lnTo>
                  <a:lnTo>
                    <a:pt x="2368" y="682"/>
                  </a:lnTo>
                  <a:lnTo>
                    <a:pt x="2368" y="682"/>
                  </a:lnTo>
                  <a:lnTo>
                    <a:pt x="2368" y="682"/>
                  </a:lnTo>
                  <a:lnTo>
                    <a:pt x="2368" y="682"/>
                  </a:lnTo>
                  <a:lnTo>
                    <a:pt x="2369" y="682"/>
                  </a:lnTo>
                  <a:lnTo>
                    <a:pt x="2369" y="681"/>
                  </a:lnTo>
                  <a:lnTo>
                    <a:pt x="2369" y="681"/>
                  </a:lnTo>
                  <a:lnTo>
                    <a:pt x="2369" y="681"/>
                  </a:lnTo>
                  <a:lnTo>
                    <a:pt x="2370" y="681"/>
                  </a:lnTo>
                  <a:lnTo>
                    <a:pt x="2370" y="681"/>
                  </a:lnTo>
                  <a:lnTo>
                    <a:pt x="2370" y="681"/>
                  </a:lnTo>
                  <a:lnTo>
                    <a:pt x="2371" y="681"/>
                  </a:lnTo>
                  <a:lnTo>
                    <a:pt x="2371" y="680"/>
                  </a:lnTo>
                  <a:lnTo>
                    <a:pt x="2371" y="680"/>
                  </a:lnTo>
                  <a:lnTo>
                    <a:pt x="2371" y="680"/>
                  </a:lnTo>
                  <a:lnTo>
                    <a:pt x="2371" y="680"/>
                  </a:lnTo>
                  <a:lnTo>
                    <a:pt x="2371" y="680"/>
                  </a:lnTo>
                  <a:lnTo>
                    <a:pt x="2371" y="678"/>
                  </a:lnTo>
                  <a:lnTo>
                    <a:pt x="2372" y="678"/>
                  </a:lnTo>
                  <a:lnTo>
                    <a:pt x="2372" y="678"/>
                  </a:lnTo>
                  <a:lnTo>
                    <a:pt x="2372" y="678"/>
                  </a:lnTo>
                  <a:lnTo>
                    <a:pt x="2372" y="678"/>
                  </a:lnTo>
                  <a:lnTo>
                    <a:pt x="2372" y="678"/>
                  </a:lnTo>
                  <a:lnTo>
                    <a:pt x="2372" y="680"/>
                  </a:lnTo>
                  <a:lnTo>
                    <a:pt x="2372" y="680"/>
                  </a:lnTo>
                  <a:lnTo>
                    <a:pt x="2373" y="680"/>
                  </a:lnTo>
                  <a:lnTo>
                    <a:pt x="2373" y="678"/>
                  </a:lnTo>
                  <a:lnTo>
                    <a:pt x="2373" y="678"/>
                  </a:lnTo>
                  <a:lnTo>
                    <a:pt x="2373" y="678"/>
                  </a:lnTo>
                  <a:lnTo>
                    <a:pt x="2373" y="678"/>
                  </a:lnTo>
                  <a:lnTo>
                    <a:pt x="2373" y="678"/>
                  </a:lnTo>
                  <a:lnTo>
                    <a:pt x="2373" y="677"/>
                  </a:lnTo>
                  <a:lnTo>
                    <a:pt x="2374" y="677"/>
                  </a:lnTo>
                  <a:lnTo>
                    <a:pt x="2374" y="677"/>
                  </a:lnTo>
                  <a:lnTo>
                    <a:pt x="2374" y="677"/>
                  </a:lnTo>
                  <a:lnTo>
                    <a:pt x="2374" y="677"/>
                  </a:lnTo>
                  <a:lnTo>
                    <a:pt x="2374" y="677"/>
                  </a:lnTo>
                  <a:lnTo>
                    <a:pt x="2376" y="677"/>
                  </a:lnTo>
                  <a:lnTo>
                    <a:pt x="2376" y="677"/>
                  </a:lnTo>
                  <a:lnTo>
                    <a:pt x="2376" y="677"/>
                  </a:lnTo>
                  <a:lnTo>
                    <a:pt x="2376" y="677"/>
                  </a:lnTo>
                  <a:lnTo>
                    <a:pt x="2376" y="676"/>
                  </a:lnTo>
                  <a:lnTo>
                    <a:pt x="2376" y="676"/>
                  </a:lnTo>
                  <a:lnTo>
                    <a:pt x="2376" y="676"/>
                  </a:lnTo>
                  <a:lnTo>
                    <a:pt x="2376" y="676"/>
                  </a:lnTo>
                  <a:lnTo>
                    <a:pt x="2376" y="676"/>
                  </a:lnTo>
                  <a:lnTo>
                    <a:pt x="2377" y="676"/>
                  </a:lnTo>
                  <a:lnTo>
                    <a:pt x="2377" y="676"/>
                  </a:lnTo>
                  <a:lnTo>
                    <a:pt x="2378" y="676"/>
                  </a:lnTo>
                  <a:lnTo>
                    <a:pt x="2378" y="676"/>
                  </a:lnTo>
                  <a:lnTo>
                    <a:pt x="2378" y="675"/>
                  </a:lnTo>
                  <a:lnTo>
                    <a:pt x="2379" y="675"/>
                  </a:lnTo>
                  <a:lnTo>
                    <a:pt x="2379" y="675"/>
                  </a:lnTo>
                  <a:lnTo>
                    <a:pt x="2380" y="675"/>
                  </a:lnTo>
                  <a:lnTo>
                    <a:pt x="2380" y="675"/>
                  </a:lnTo>
                  <a:lnTo>
                    <a:pt x="2380" y="675"/>
                  </a:lnTo>
                  <a:lnTo>
                    <a:pt x="2380" y="675"/>
                  </a:lnTo>
                  <a:lnTo>
                    <a:pt x="2380" y="675"/>
                  </a:lnTo>
                  <a:lnTo>
                    <a:pt x="2380" y="675"/>
                  </a:lnTo>
                  <a:lnTo>
                    <a:pt x="2381" y="675"/>
                  </a:lnTo>
                  <a:lnTo>
                    <a:pt x="2381" y="674"/>
                  </a:lnTo>
                  <a:lnTo>
                    <a:pt x="2381" y="674"/>
                  </a:lnTo>
                  <a:lnTo>
                    <a:pt x="2381" y="674"/>
                  </a:lnTo>
                  <a:lnTo>
                    <a:pt x="2381" y="674"/>
                  </a:lnTo>
                  <a:lnTo>
                    <a:pt x="2381" y="674"/>
                  </a:lnTo>
                  <a:lnTo>
                    <a:pt x="2381" y="674"/>
                  </a:lnTo>
                  <a:lnTo>
                    <a:pt x="2381" y="674"/>
                  </a:lnTo>
                  <a:lnTo>
                    <a:pt x="2382" y="674"/>
                  </a:lnTo>
                  <a:lnTo>
                    <a:pt x="2382" y="674"/>
                  </a:lnTo>
                  <a:lnTo>
                    <a:pt x="2382" y="674"/>
                  </a:lnTo>
                  <a:lnTo>
                    <a:pt x="2382" y="674"/>
                  </a:lnTo>
                  <a:lnTo>
                    <a:pt x="2382" y="674"/>
                  </a:lnTo>
                  <a:lnTo>
                    <a:pt x="2382" y="674"/>
                  </a:lnTo>
                  <a:lnTo>
                    <a:pt x="2383" y="674"/>
                  </a:lnTo>
                  <a:lnTo>
                    <a:pt x="2383" y="673"/>
                  </a:lnTo>
                  <a:lnTo>
                    <a:pt x="2385" y="673"/>
                  </a:lnTo>
                  <a:lnTo>
                    <a:pt x="2385" y="673"/>
                  </a:lnTo>
                  <a:lnTo>
                    <a:pt x="2386" y="673"/>
                  </a:lnTo>
                  <a:lnTo>
                    <a:pt x="2386" y="673"/>
                  </a:lnTo>
                  <a:lnTo>
                    <a:pt x="2386" y="673"/>
                  </a:lnTo>
                  <a:lnTo>
                    <a:pt x="2387" y="673"/>
                  </a:lnTo>
                  <a:lnTo>
                    <a:pt x="2387" y="673"/>
                  </a:lnTo>
                  <a:lnTo>
                    <a:pt x="2388" y="673"/>
                  </a:lnTo>
                  <a:lnTo>
                    <a:pt x="2388" y="673"/>
                  </a:lnTo>
                  <a:lnTo>
                    <a:pt x="2389" y="673"/>
                  </a:lnTo>
                  <a:lnTo>
                    <a:pt x="2389" y="673"/>
                  </a:lnTo>
                  <a:lnTo>
                    <a:pt x="2389" y="673"/>
                  </a:lnTo>
                  <a:lnTo>
                    <a:pt x="2389" y="674"/>
                  </a:lnTo>
                  <a:lnTo>
                    <a:pt x="2390" y="674"/>
                  </a:lnTo>
                  <a:lnTo>
                    <a:pt x="2390" y="674"/>
                  </a:lnTo>
                  <a:lnTo>
                    <a:pt x="2391" y="674"/>
                  </a:lnTo>
                  <a:lnTo>
                    <a:pt x="2391" y="674"/>
                  </a:lnTo>
                  <a:lnTo>
                    <a:pt x="2391" y="675"/>
                  </a:lnTo>
                  <a:lnTo>
                    <a:pt x="2391" y="675"/>
                  </a:lnTo>
                  <a:lnTo>
                    <a:pt x="2391" y="674"/>
                  </a:lnTo>
                  <a:lnTo>
                    <a:pt x="2393" y="674"/>
                  </a:lnTo>
                  <a:lnTo>
                    <a:pt x="2393" y="674"/>
                  </a:lnTo>
                  <a:lnTo>
                    <a:pt x="2393" y="674"/>
                  </a:lnTo>
                  <a:lnTo>
                    <a:pt x="2393" y="674"/>
                  </a:lnTo>
                  <a:lnTo>
                    <a:pt x="2393" y="674"/>
                  </a:lnTo>
                  <a:lnTo>
                    <a:pt x="2393" y="675"/>
                  </a:lnTo>
                  <a:lnTo>
                    <a:pt x="2393" y="675"/>
                  </a:lnTo>
                  <a:lnTo>
                    <a:pt x="2394" y="675"/>
                  </a:lnTo>
                  <a:lnTo>
                    <a:pt x="2394" y="675"/>
                  </a:lnTo>
                  <a:lnTo>
                    <a:pt x="2394" y="676"/>
                  </a:lnTo>
                  <a:lnTo>
                    <a:pt x="2394" y="676"/>
                  </a:lnTo>
                  <a:lnTo>
                    <a:pt x="2394" y="676"/>
                  </a:lnTo>
                  <a:lnTo>
                    <a:pt x="2394" y="676"/>
                  </a:lnTo>
                  <a:lnTo>
                    <a:pt x="2395" y="676"/>
                  </a:lnTo>
                  <a:lnTo>
                    <a:pt x="2395" y="676"/>
                  </a:lnTo>
                  <a:lnTo>
                    <a:pt x="2395" y="676"/>
                  </a:lnTo>
                  <a:lnTo>
                    <a:pt x="2395" y="675"/>
                  </a:lnTo>
                  <a:lnTo>
                    <a:pt x="2396" y="675"/>
                  </a:lnTo>
                  <a:lnTo>
                    <a:pt x="2396" y="676"/>
                  </a:lnTo>
                  <a:lnTo>
                    <a:pt x="2395" y="676"/>
                  </a:lnTo>
                  <a:lnTo>
                    <a:pt x="2395" y="676"/>
                  </a:lnTo>
                  <a:lnTo>
                    <a:pt x="2396" y="676"/>
                  </a:lnTo>
                  <a:lnTo>
                    <a:pt x="2396" y="676"/>
                  </a:lnTo>
                  <a:lnTo>
                    <a:pt x="2396" y="676"/>
                  </a:lnTo>
                  <a:lnTo>
                    <a:pt x="2396" y="676"/>
                  </a:lnTo>
                  <a:lnTo>
                    <a:pt x="2397" y="676"/>
                  </a:lnTo>
                  <a:lnTo>
                    <a:pt x="2397" y="676"/>
                  </a:lnTo>
                  <a:lnTo>
                    <a:pt x="2397" y="676"/>
                  </a:lnTo>
                  <a:lnTo>
                    <a:pt x="2397" y="675"/>
                  </a:lnTo>
                  <a:lnTo>
                    <a:pt x="2397" y="675"/>
                  </a:lnTo>
                  <a:lnTo>
                    <a:pt x="2397" y="676"/>
                  </a:lnTo>
                  <a:lnTo>
                    <a:pt x="2397" y="676"/>
                  </a:lnTo>
                  <a:lnTo>
                    <a:pt x="2397" y="676"/>
                  </a:lnTo>
                  <a:lnTo>
                    <a:pt x="2397" y="676"/>
                  </a:lnTo>
                  <a:lnTo>
                    <a:pt x="2397" y="677"/>
                  </a:lnTo>
                  <a:lnTo>
                    <a:pt x="2398" y="677"/>
                  </a:lnTo>
                  <a:lnTo>
                    <a:pt x="2398" y="677"/>
                  </a:lnTo>
                  <a:lnTo>
                    <a:pt x="2398" y="677"/>
                  </a:lnTo>
                  <a:lnTo>
                    <a:pt x="2398" y="677"/>
                  </a:lnTo>
                  <a:lnTo>
                    <a:pt x="2399" y="677"/>
                  </a:lnTo>
                  <a:lnTo>
                    <a:pt x="2400" y="677"/>
                  </a:lnTo>
                  <a:lnTo>
                    <a:pt x="2400" y="677"/>
                  </a:lnTo>
                  <a:lnTo>
                    <a:pt x="2400" y="677"/>
                  </a:lnTo>
                  <a:lnTo>
                    <a:pt x="2400" y="677"/>
                  </a:lnTo>
                  <a:lnTo>
                    <a:pt x="2399" y="677"/>
                  </a:lnTo>
                  <a:lnTo>
                    <a:pt x="2399" y="676"/>
                  </a:lnTo>
                  <a:lnTo>
                    <a:pt x="2402" y="676"/>
                  </a:lnTo>
                  <a:lnTo>
                    <a:pt x="2402" y="676"/>
                  </a:lnTo>
                  <a:lnTo>
                    <a:pt x="2402" y="676"/>
                  </a:lnTo>
                  <a:lnTo>
                    <a:pt x="2402" y="676"/>
                  </a:lnTo>
                  <a:lnTo>
                    <a:pt x="2403" y="676"/>
                  </a:lnTo>
                  <a:lnTo>
                    <a:pt x="2403" y="676"/>
                  </a:lnTo>
                  <a:lnTo>
                    <a:pt x="2403" y="675"/>
                  </a:lnTo>
                  <a:lnTo>
                    <a:pt x="2403" y="675"/>
                  </a:lnTo>
                  <a:lnTo>
                    <a:pt x="2403" y="675"/>
                  </a:lnTo>
                  <a:lnTo>
                    <a:pt x="2403" y="675"/>
                  </a:lnTo>
                  <a:lnTo>
                    <a:pt x="2403" y="675"/>
                  </a:lnTo>
                  <a:lnTo>
                    <a:pt x="2403" y="674"/>
                  </a:lnTo>
                  <a:lnTo>
                    <a:pt x="2404" y="674"/>
                  </a:lnTo>
                  <a:lnTo>
                    <a:pt x="2404" y="675"/>
                  </a:lnTo>
                  <a:lnTo>
                    <a:pt x="2405" y="675"/>
                  </a:lnTo>
                  <a:lnTo>
                    <a:pt x="2405" y="675"/>
                  </a:lnTo>
                  <a:lnTo>
                    <a:pt x="2405" y="675"/>
                  </a:lnTo>
                  <a:lnTo>
                    <a:pt x="2407" y="675"/>
                  </a:lnTo>
                  <a:lnTo>
                    <a:pt x="2407" y="675"/>
                  </a:lnTo>
                  <a:lnTo>
                    <a:pt x="2408" y="675"/>
                  </a:lnTo>
                  <a:lnTo>
                    <a:pt x="2408" y="675"/>
                  </a:lnTo>
                  <a:lnTo>
                    <a:pt x="2408" y="675"/>
                  </a:lnTo>
                  <a:lnTo>
                    <a:pt x="2410" y="675"/>
                  </a:lnTo>
                  <a:lnTo>
                    <a:pt x="2410" y="675"/>
                  </a:lnTo>
                  <a:lnTo>
                    <a:pt x="2410" y="676"/>
                  </a:lnTo>
                  <a:lnTo>
                    <a:pt x="2411" y="676"/>
                  </a:lnTo>
                  <a:lnTo>
                    <a:pt x="2411" y="676"/>
                  </a:lnTo>
                  <a:lnTo>
                    <a:pt x="2412" y="677"/>
                  </a:lnTo>
                  <a:lnTo>
                    <a:pt x="2412" y="677"/>
                  </a:lnTo>
                  <a:lnTo>
                    <a:pt x="2412" y="677"/>
                  </a:lnTo>
                  <a:lnTo>
                    <a:pt x="2412" y="678"/>
                  </a:lnTo>
                  <a:lnTo>
                    <a:pt x="2412" y="678"/>
                  </a:lnTo>
                  <a:lnTo>
                    <a:pt x="2412" y="680"/>
                  </a:lnTo>
                  <a:lnTo>
                    <a:pt x="2412" y="680"/>
                  </a:lnTo>
                  <a:lnTo>
                    <a:pt x="2413" y="681"/>
                  </a:lnTo>
                  <a:lnTo>
                    <a:pt x="2413" y="681"/>
                  </a:lnTo>
                  <a:lnTo>
                    <a:pt x="2413" y="682"/>
                  </a:lnTo>
                  <a:lnTo>
                    <a:pt x="2413" y="682"/>
                  </a:lnTo>
                  <a:lnTo>
                    <a:pt x="2414" y="683"/>
                  </a:lnTo>
                  <a:lnTo>
                    <a:pt x="2414" y="683"/>
                  </a:lnTo>
                  <a:lnTo>
                    <a:pt x="2414" y="684"/>
                  </a:lnTo>
                  <a:lnTo>
                    <a:pt x="2414" y="684"/>
                  </a:lnTo>
                  <a:lnTo>
                    <a:pt x="2414" y="684"/>
                  </a:lnTo>
                  <a:lnTo>
                    <a:pt x="2414" y="685"/>
                  </a:lnTo>
                  <a:lnTo>
                    <a:pt x="2415" y="686"/>
                  </a:lnTo>
                  <a:lnTo>
                    <a:pt x="2415" y="686"/>
                  </a:lnTo>
                  <a:lnTo>
                    <a:pt x="2415" y="688"/>
                  </a:lnTo>
                  <a:lnTo>
                    <a:pt x="2415" y="688"/>
                  </a:lnTo>
                  <a:lnTo>
                    <a:pt x="2415" y="689"/>
                  </a:lnTo>
                  <a:lnTo>
                    <a:pt x="2414" y="690"/>
                  </a:lnTo>
                  <a:lnTo>
                    <a:pt x="2414" y="690"/>
                  </a:lnTo>
                  <a:lnTo>
                    <a:pt x="2414" y="691"/>
                  </a:lnTo>
                  <a:lnTo>
                    <a:pt x="2414" y="691"/>
                  </a:lnTo>
                  <a:lnTo>
                    <a:pt x="2414" y="691"/>
                  </a:lnTo>
                  <a:lnTo>
                    <a:pt x="2414" y="692"/>
                  </a:lnTo>
                  <a:lnTo>
                    <a:pt x="2413" y="693"/>
                  </a:lnTo>
                  <a:lnTo>
                    <a:pt x="2413" y="693"/>
                  </a:lnTo>
                  <a:lnTo>
                    <a:pt x="2413" y="694"/>
                  </a:lnTo>
                  <a:lnTo>
                    <a:pt x="2412" y="694"/>
                  </a:lnTo>
                  <a:lnTo>
                    <a:pt x="2412" y="694"/>
                  </a:lnTo>
                  <a:lnTo>
                    <a:pt x="2412" y="695"/>
                  </a:lnTo>
                  <a:lnTo>
                    <a:pt x="2412" y="697"/>
                  </a:lnTo>
                  <a:lnTo>
                    <a:pt x="2412" y="697"/>
                  </a:lnTo>
                  <a:lnTo>
                    <a:pt x="2412" y="698"/>
                  </a:lnTo>
                  <a:lnTo>
                    <a:pt x="2411" y="698"/>
                  </a:lnTo>
                  <a:lnTo>
                    <a:pt x="2411" y="698"/>
                  </a:lnTo>
                  <a:lnTo>
                    <a:pt x="2411" y="698"/>
                  </a:lnTo>
                  <a:lnTo>
                    <a:pt x="2411" y="699"/>
                  </a:lnTo>
                  <a:lnTo>
                    <a:pt x="2411" y="699"/>
                  </a:lnTo>
                  <a:lnTo>
                    <a:pt x="2412" y="699"/>
                  </a:lnTo>
                  <a:lnTo>
                    <a:pt x="2412" y="699"/>
                  </a:lnTo>
                  <a:lnTo>
                    <a:pt x="2412" y="700"/>
                  </a:lnTo>
                  <a:lnTo>
                    <a:pt x="2412" y="700"/>
                  </a:lnTo>
                  <a:lnTo>
                    <a:pt x="2412" y="701"/>
                  </a:lnTo>
                  <a:lnTo>
                    <a:pt x="2413" y="701"/>
                  </a:lnTo>
                  <a:lnTo>
                    <a:pt x="2413" y="702"/>
                  </a:lnTo>
                  <a:lnTo>
                    <a:pt x="2413" y="702"/>
                  </a:lnTo>
                  <a:lnTo>
                    <a:pt x="2414" y="702"/>
                  </a:lnTo>
                  <a:lnTo>
                    <a:pt x="2414" y="702"/>
                  </a:lnTo>
                  <a:lnTo>
                    <a:pt x="2415" y="702"/>
                  </a:lnTo>
                  <a:lnTo>
                    <a:pt x="2415" y="702"/>
                  </a:lnTo>
                  <a:lnTo>
                    <a:pt x="2415" y="702"/>
                  </a:lnTo>
                  <a:lnTo>
                    <a:pt x="2415" y="702"/>
                  </a:lnTo>
                  <a:lnTo>
                    <a:pt x="2416" y="703"/>
                  </a:lnTo>
                  <a:lnTo>
                    <a:pt x="2416" y="703"/>
                  </a:lnTo>
                  <a:lnTo>
                    <a:pt x="2417" y="703"/>
                  </a:lnTo>
                  <a:lnTo>
                    <a:pt x="2419" y="703"/>
                  </a:lnTo>
                  <a:lnTo>
                    <a:pt x="2421" y="703"/>
                  </a:lnTo>
                  <a:lnTo>
                    <a:pt x="2422" y="702"/>
                  </a:lnTo>
                  <a:lnTo>
                    <a:pt x="2422" y="702"/>
                  </a:lnTo>
                  <a:lnTo>
                    <a:pt x="2423" y="702"/>
                  </a:lnTo>
                  <a:lnTo>
                    <a:pt x="2423" y="702"/>
                  </a:lnTo>
                  <a:lnTo>
                    <a:pt x="2423" y="701"/>
                  </a:lnTo>
                  <a:lnTo>
                    <a:pt x="2424" y="701"/>
                  </a:lnTo>
                  <a:lnTo>
                    <a:pt x="2424" y="701"/>
                  </a:lnTo>
                  <a:lnTo>
                    <a:pt x="2424" y="700"/>
                  </a:lnTo>
                  <a:lnTo>
                    <a:pt x="2424" y="700"/>
                  </a:lnTo>
                  <a:lnTo>
                    <a:pt x="2424" y="700"/>
                  </a:lnTo>
                  <a:lnTo>
                    <a:pt x="2425" y="700"/>
                  </a:lnTo>
                  <a:lnTo>
                    <a:pt x="2425" y="700"/>
                  </a:lnTo>
                  <a:lnTo>
                    <a:pt x="2427" y="700"/>
                  </a:lnTo>
                  <a:lnTo>
                    <a:pt x="2428" y="701"/>
                  </a:lnTo>
                  <a:lnTo>
                    <a:pt x="2428" y="701"/>
                  </a:lnTo>
                  <a:lnTo>
                    <a:pt x="2428" y="701"/>
                  </a:lnTo>
                  <a:lnTo>
                    <a:pt x="2428" y="701"/>
                  </a:lnTo>
                  <a:lnTo>
                    <a:pt x="2428" y="702"/>
                  </a:lnTo>
                  <a:lnTo>
                    <a:pt x="2427" y="702"/>
                  </a:lnTo>
                  <a:lnTo>
                    <a:pt x="2427" y="702"/>
                  </a:lnTo>
                  <a:lnTo>
                    <a:pt x="2427" y="702"/>
                  </a:lnTo>
                  <a:lnTo>
                    <a:pt x="2427" y="703"/>
                  </a:lnTo>
                  <a:lnTo>
                    <a:pt x="2427" y="703"/>
                  </a:lnTo>
                  <a:lnTo>
                    <a:pt x="2427" y="705"/>
                  </a:lnTo>
                  <a:lnTo>
                    <a:pt x="2428" y="705"/>
                  </a:lnTo>
                  <a:lnTo>
                    <a:pt x="2428" y="705"/>
                  </a:lnTo>
                  <a:lnTo>
                    <a:pt x="2428" y="706"/>
                  </a:lnTo>
                  <a:lnTo>
                    <a:pt x="2429" y="706"/>
                  </a:lnTo>
                  <a:lnTo>
                    <a:pt x="2429" y="706"/>
                  </a:lnTo>
                  <a:lnTo>
                    <a:pt x="2429" y="707"/>
                  </a:lnTo>
                  <a:lnTo>
                    <a:pt x="2429" y="707"/>
                  </a:lnTo>
                  <a:lnTo>
                    <a:pt x="2429" y="707"/>
                  </a:lnTo>
                  <a:lnTo>
                    <a:pt x="2430" y="708"/>
                  </a:lnTo>
                  <a:lnTo>
                    <a:pt x="2429" y="708"/>
                  </a:lnTo>
                  <a:lnTo>
                    <a:pt x="2429" y="709"/>
                  </a:lnTo>
                  <a:lnTo>
                    <a:pt x="2429" y="709"/>
                  </a:lnTo>
                  <a:lnTo>
                    <a:pt x="2429" y="709"/>
                  </a:lnTo>
                  <a:lnTo>
                    <a:pt x="2429" y="709"/>
                  </a:lnTo>
                  <a:lnTo>
                    <a:pt x="2429" y="709"/>
                  </a:lnTo>
                  <a:lnTo>
                    <a:pt x="2428" y="709"/>
                  </a:lnTo>
                  <a:lnTo>
                    <a:pt x="2428" y="709"/>
                  </a:lnTo>
                  <a:lnTo>
                    <a:pt x="2427" y="709"/>
                  </a:lnTo>
                  <a:lnTo>
                    <a:pt x="2425" y="709"/>
                  </a:lnTo>
                  <a:lnTo>
                    <a:pt x="2424" y="709"/>
                  </a:lnTo>
                  <a:lnTo>
                    <a:pt x="2424" y="709"/>
                  </a:lnTo>
                  <a:lnTo>
                    <a:pt x="2424" y="709"/>
                  </a:lnTo>
                  <a:lnTo>
                    <a:pt x="2421" y="709"/>
                  </a:lnTo>
                  <a:lnTo>
                    <a:pt x="2420" y="709"/>
                  </a:lnTo>
                  <a:lnTo>
                    <a:pt x="2420" y="710"/>
                  </a:lnTo>
                  <a:lnTo>
                    <a:pt x="2420" y="710"/>
                  </a:lnTo>
                  <a:lnTo>
                    <a:pt x="2420" y="710"/>
                  </a:lnTo>
                  <a:lnTo>
                    <a:pt x="2419" y="711"/>
                  </a:lnTo>
                  <a:lnTo>
                    <a:pt x="2419" y="711"/>
                  </a:lnTo>
                  <a:lnTo>
                    <a:pt x="2417" y="711"/>
                  </a:lnTo>
                  <a:lnTo>
                    <a:pt x="2417" y="712"/>
                  </a:lnTo>
                  <a:lnTo>
                    <a:pt x="2417" y="714"/>
                  </a:lnTo>
                  <a:lnTo>
                    <a:pt x="2417" y="714"/>
                  </a:lnTo>
                  <a:lnTo>
                    <a:pt x="2417" y="714"/>
                  </a:lnTo>
                  <a:lnTo>
                    <a:pt x="2417" y="715"/>
                  </a:lnTo>
                  <a:lnTo>
                    <a:pt x="2416" y="715"/>
                  </a:lnTo>
                  <a:lnTo>
                    <a:pt x="2416" y="716"/>
                  </a:lnTo>
                  <a:lnTo>
                    <a:pt x="2416" y="716"/>
                  </a:lnTo>
                  <a:lnTo>
                    <a:pt x="2416" y="717"/>
                  </a:lnTo>
                  <a:lnTo>
                    <a:pt x="2415" y="717"/>
                  </a:lnTo>
                  <a:lnTo>
                    <a:pt x="2415" y="717"/>
                  </a:lnTo>
                  <a:lnTo>
                    <a:pt x="2415" y="718"/>
                  </a:lnTo>
                  <a:lnTo>
                    <a:pt x="2415" y="718"/>
                  </a:lnTo>
                  <a:lnTo>
                    <a:pt x="2415" y="718"/>
                  </a:lnTo>
                  <a:lnTo>
                    <a:pt x="2414" y="718"/>
                  </a:lnTo>
                  <a:lnTo>
                    <a:pt x="2414" y="718"/>
                  </a:lnTo>
                  <a:lnTo>
                    <a:pt x="2414" y="718"/>
                  </a:lnTo>
                  <a:lnTo>
                    <a:pt x="2414" y="718"/>
                  </a:lnTo>
                  <a:lnTo>
                    <a:pt x="2413" y="718"/>
                  </a:lnTo>
                  <a:lnTo>
                    <a:pt x="2413" y="717"/>
                  </a:lnTo>
                  <a:lnTo>
                    <a:pt x="2413" y="717"/>
                  </a:lnTo>
                  <a:lnTo>
                    <a:pt x="2413" y="717"/>
                  </a:lnTo>
                  <a:lnTo>
                    <a:pt x="2414" y="717"/>
                  </a:lnTo>
                  <a:lnTo>
                    <a:pt x="2414" y="716"/>
                  </a:lnTo>
                  <a:lnTo>
                    <a:pt x="2414" y="716"/>
                  </a:lnTo>
                  <a:lnTo>
                    <a:pt x="2414" y="715"/>
                  </a:lnTo>
                  <a:lnTo>
                    <a:pt x="2415" y="715"/>
                  </a:lnTo>
                  <a:lnTo>
                    <a:pt x="2415" y="714"/>
                  </a:lnTo>
                  <a:lnTo>
                    <a:pt x="2415" y="714"/>
                  </a:lnTo>
                  <a:lnTo>
                    <a:pt x="2415" y="712"/>
                  </a:lnTo>
                  <a:lnTo>
                    <a:pt x="2416" y="712"/>
                  </a:lnTo>
                  <a:lnTo>
                    <a:pt x="2416" y="712"/>
                  </a:lnTo>
                  <a:lnTo>
                    <a:pt x="2416" y="711"/>
                  </a:lnTo>
                  <a:lnTo>
                    <a:pt x="2416" y="711"/>
                  </a:lnTo>
                  <a:lnTo>
                    <a:pt x="2417" y="710"/>
                  </a:lnTo>
                  <a:lnTo>
                    <a:pt x="2417" y="710"/>
                  </a:lnTo>
                  <a:lnTo>
                    <a:pt x="2417" y="710"/>
                  </a:lnTo>
                  <a:lnTo>
                    <a:pt x="2419" y="709"/>
                  </a:lnTo>
                  <a:lnTo>
                    <a:pt x="2419" y="709"/>
                  </a:lnTo>
                  <a:lnTo>
                    <a:pt x="2419" y="709"/>
                  </a:lnTo>
                  <a:lnTo>
                    <a:pt x="2420" y="709"/>
                  </a:lnTo>
                  <a:lnTo>
                    <a:pt x="2420" y="709"/>
                  </a:lnTo>
                  <a:lnTo>
                    <a:pt x="2420" y="708"/>
                  </a:lnTo>
                  <a:lnTo>
                    <a:pt x="2422" y="708"/>
                  </a:lnTo>
                  <a:lnTo>
                    <a:pt x="2423" y="708"/>
                  </a:lnTo>
                  <a:lnTo>
                    <a:pt x="2423" y="708"/>
                  </a:lnTo>
                  <a:lnTo>
                    <a:pt x="2424" y="708"/>
                  </a:lnTo>
                  <a:lnTo>
                    <a:pt x="2424" y="708"/>
                  </a:lnTo>
                  <a:lnTo>
                    <a:pt x="2425" y="707"/>
                  </a:lnTo>
                  <a:lnTo>
                    <a:pt x="2425" y="707"/>
                  </a:lnTo>
                  <a:lnTo>
                    <a:pt x="2425" y="706"/>
                  </a:lnTo>
                  <a:lnTo>
                    <a:pt x="2425" y="706"/>
                  </a:lnTo>
                  <a:lnTo>
                    <a:pt x="2425" y="705"/>
                  </a:lnTo>
                  <a:lnTo>
                    <a:pt x="2424" y="705"/>
                  </a:lnTo>
                  <a:lnTo>
                    <a:pt x="2424" y="705"/>
                  </a:lnTo>
                  <a:lnTo>
                    <a:pt x="2423" y="705"/>
                  </a:lnTo>
                  <a:lnTo>
                    <a:pt x="2423" y="705"/>
                  </a:lnTo>
                  <a:lnTo>
                    <a:pt x="2423" y="705"/>
                  </a:lnTo>
                  <a:lnTo>
                    <a:pt x="2422" y="705"/>
                  </a:lnTo>
                  <a:lnTo>
                    <a:pt x="2422" y="705"/>
                  </a:lnTo>
                  <a:lnTo>
                    <a:pt x="2421" y="705"/>
                  </a:lnTo>
                  <a:lnTo>
                    <a:pt x="2421" y="705"/>
                  </a:lnTo>
                  <a:lnTo>
                    <a:pt x="2420" y="706"/>
                  </a:lnTo>
                  <a:lnTo>
                    <a:pt x="2420" y="706"/>
                  </a:lnTo>
                  <a:lnTo>
                    <a:pt x="2420" y="706"/>
                  </a:lnTo>
                  <a:lnTo>
                    <a:pt x="2419" y="706"/>
                  </a:lnTo>
                  <a:lnTo>
                    <a:pt x="2419" y="705"/>
                  </a:lnTo>
                  <a:lnTo>
                    <a:pt x="2417" y="705"/>
                  </a:lnTo>
                  <a:lnTo>
                    <a:pt x="2416" y="705"/>
                  </a:lnTo>
                  <a:lnTo>
                    <a:pt x="2413" y="705"/>
                  </a:lnTo>
                  <a:lnTo>
                    <a:pt x="2412" y="705"/>
                  </a:lnTo>
                  <a:lnTo>
                    <a:pt x="2408" y="705"/>
                  </a:lnTo>
                  <a:lnTo>
                    <a:pt x="2407" y="705"/>
                  </a:lnTo>
                  <a:lnTo>
                    <a:pt x="2407" y="703"/>
                  </a:lnTo>
                  <a:lnTo>
                    <a:pt x="2406" y="703"/>
                  </a:lnTo>
                  <a:lnTo>
                    <a:pt x="2405" y="703"/>
                  </a:lnTo>
                  <a:lnTo>
                    <a:pt x="2405" y="703"/>
                  </a:lnTo>
                  <a:lnTo>
                    <a:pt x="2403" y="703"/>
                  </a:lnTo>
                  <a:lnTo>
                    <a:pt x="2403" y="703"/>
                  </a:lnTo>
                  <a:lnTo>
                    <a:pt x="2399" y="703"/>
                  </a:lnTo>
                  <a:lnTo>
                    <a:pt x="2398" y="702"/>
                  </a:lnTo>
                  <a:lnTo>
                    <a:pt x="2398" y="702"/>
                  </a:lnTo>
                  <a:lnTo>
                    <a:pt x="2398" y="702"/>
                  </a:lnTo>
                  <a:lnTo>
                    <a:pt x="2398" y="702"/>
                  </a:lnTo>
                  <a:lnTo>
                    <a:pt x="2397" y="702"/>
                  </a:lnTo>
                  <a:lnTo>
                    <a:pt x="2397" y="702"/>
                  </a:lnTo>
                  <a:lnTo>
                    <a:pt x="2396" y="702"/>
                  </a:lnTo>
                  <a:lnTo>
                    <a:pt x="2396" y="702"/>
                  </a:lnTo>
                  <a:lnTo>
                    <a:pt x="2396" y="702"/>
                  </a:lnTo>
                  <a:lnTo>
                    <a:pt x="2396" y="702"/>
                  </a:lnTo>
                  <a:lnTo>
                    <a:pt x="2394" y="702"/>
                  </a:lnTo>
                  <a:lnTo>
                    <a:pt x="2394" y="701"/>
                  </a:lnTo>
                  <a:lnTo>
                    <a:pt x="2394" y="701"/>
                  </a:lnTo>
                  <a:lnTo>
                    <a:pt x="2394" y="701"/>
                  </a:lnTo>
                  <a:lnTo>
                    <a:pt x="2394" y="701"/>
                  </a:lnTo>
                  <a:lnTo>
                    <a:pt x="2394" y="701"/>
                  </a:lnTo>
                  <a:lnTo>
                    <a:pt x="2394" y="701"/>
                  </a:lnTo>
                  <a:lnTo>
                    <a:pt x="2394" y="702"/>
                  </a:lnTo>
                  <a:lnTo>
                    <a:pt x="2393" y="702"/>
                  </a:lnTo>
                  <a:lnTo>
                    <a:pt x="2393" y="702"/>
                  </a:lnTo>
                  <a:lnTo>
                    <a:pt x="2393" y="702"/>
                  </a:lnTo>
                  <a:lnTo>
                    <a:pt x="2393" y="702"/>
                  </a:lnTo>
                  <a:lnTo>
                    <a:pt x="2391" y="702"/>
                  </a:lnTo>
                  <a:lnTo>
                    <a:pt x="2391" y="703"/>
                  </a:lnTo>
                  <a:lnTo>
                    <a:pt x="2390" y="703"/>
                  </a:lnTo>
                  <a:lnTo>
                    <a:pt x="2389" y="702"/>
                  </a:lnTo>
                  <a:lnTo>
                    <a:pt x="2389" y="702"/>
                  </a:lnTo>
                  <a:lnTo>
                    <a:pt x="2389" y="702"/>
                  </a:lnTo>
                  <a:lnTo>
                    <a:pt x="2389" y="703"/>
                  </a:lnTo>
                  <a:lnTo>
                    <a:pt x="2389" y="703"/>
                  </a:lnTo>
                  <a:lnTo>
                    <a:pt x="2388" y="703"/>
                  </a:lnTo>
                  <a:lnTo>
                    <a:pt x="2388" y="703"/>
                  </a:lnTo>
                  <a:lnTo>
                    <a:pt x="2388" y="703"/>
                  </a:lnTo>
                  <a:lnTo>
                    <a:pt x="2388" y="705"/>
                  </a:lnTo>
                  <a:lnTo>
                    <a:pt x="2388" y="705"/>
                  </a:lnTo>
                  <a:lnTo>
                    <a:pt x="2388" y="705"/>
                  </a:lnTo>
                  <a:lnTo>
                    <a:pt x="2388" y="705"/>
                  </a:lnTo>
                  <a:lnTo>
                    <a:pt x="2388" y="705"/>
                  </a:lnTo>
                  <a:lnTo>
                    <a:pt x="2387" y="705"/>
                  </a:lnTo>
                  <a:lnTo>
                    <a:pt x="2387" y="705"/>
                  </a:lnTo>
                  <a:lnTo>
                    <a:pt x="2387" y="706"/>
                  </a:lnTo>
                  <a:lnTo>
                    <a:pt x="2387" y="706"/>
                  </a:lnTo>
                  <a:lnTo>
                    <a:pt x="2387" y="706"/>
                  </a:lnTo>
                  <a:lnTo>
                    <a:pt x="2387" y="706"/>
                  </a:lnTo>
                  <a:lnTo>
                    <a:pt x="2387" y="706"/>
                  </a:lnTo>
                  <a:lnTo>
                    <a:pt x="2387" y="707"/>
                  </a:lnTo>
                  <a:lnTo>
                    <a:pt x="2387" y="707"/>
                  </a:lnTo>
                  <a:lnTo>
                    <a:pt x="2387" y="707"/>
                  </a:lnTo>
                  <a:lnTo>
                    <a:pt x="2387" y="708"/>
                  </a:lnTo>
                  <a:lnTo>
                    <a:pt x="2387" y="708"/>
                  </a:lnTo>
                  <a:lnTo>
                    <a:pt x="2387" y="708"/>
                  </a:lnTo>
                  <a:lnTo>
                    <a:pt x="2387" y="708"/>
                  </a:lnTo>
                  <a:lnTo>
                    <a:pt x="2386" y="708"/>
                  </a:lnTo>
                  <a:lnTo>
                    <a:pt x="2386" y="708"/>
                  </a:lnTo>
                  <a:lnTo>
                    <a:pt x="2386" y="708"/>
                  </a:lnTo>
                  <a:lnTo>
                    <a:pt x="2386" y="708"/>
                  </a:lnTo>
                  <a:lnTo>
                    <a:pt x="2385" y="708"/>
                  </a:lnTo>
                  <a:lnTo>
                    <a:pt x="2385" y="708"/>
                  </a:lnTo>
                  <a:lnTo>
                    <a:pt x="2385" y="709"/>
                  </a:lnTo>
                  <a:lnTo>
                    <a:pt x="2385" y="709"/>
                  </a:lnTo>
                  <a:lnTo>
                    <a:pt x="2385" y="709"/>
                  </a:lnTo>
                  <a:lnTo>
                    <a:pt x="2383" y="709"/>
                  </a:lnTo>
                  <a:lnTo>
                    <a:pt x="2383" y="709"/>
                  </a:lnTo>
                  <a:lnTo>
                    <a:pt x="2383" y="709"/>
                  </a:lnTo>
                  <a:lnTo>
                    <a:pt x="2383" y="709"/>
                  </a:lnTo>
                  <a:lnTo>
                    <a:pt x="2383" y="709"/>
                  </a:lnTo>
                  <a:lnTo>
                    <a:pt x="2383" y="709"/>
                  </a:lnTo>
                  <a:lnTo>
                    <a:pt x="2383" y="709"/>
                  </a:lnTo>
                  <a:lnTo>
                    <a:pt x="2383" y="709"/>
                  </a:lnTo>
                  <a:lnTo>
                    <a:pt x="2383" y="710"/>
                  </a:lnTo>
                  <a:lnTo>
                    <a:pt x="2383" y="710"/>
                  </a:lnTo>
                  <a:lnTo>
                    <a:pt x="2383" y="710"/>
                  </a:lnTo>
                  <a:lnTo>
                    <a:pt x="2386" y="711"/>
                  </a:lnTo>
                  <a:lnTo>
                    <a:pt x="2386" y="712"/>
                  </a:lnTo>
                  <a:lnTo>
                    <a:pt x="2387" y="712"/>
                  </a:lnTo>
                  <a:lnTo>
                    <a:pt x="2387" y="714"/>
                  </a:lnTo>
                  <a:lnTo>
                    <a:pt x="2387" y="714"/>
                  </a:lnTo>
                  <a:lnTo>
                    <a:pt x="2387" y="714"/>
                  </a:lnTo>
                  <a:lnTo>
                    <a:pt x="2387" y="714"/>
                  </a:lnTo>
                  <a:lnTo>
                    <a:pt x="2387" y="714"/>
                  </a:lnTo>
                  <a:lnTo>
                    <a:pt x="2387" y="714"/>
                  </a:lnTo>
                  <a:lnTo>
                    <a:pt x="2387" y="715"/>
                  </a:lnTo>
                  <a:lnTo>
                    <a:pt x="2387" y="715"/>
                  </a:lnTo>
                  <a:lnTo>
                    <a:pt x="2387" y="715"/>
                  </a:lnTo>
                  <a:lnTo>
                    <a:pt x="2389" y="715"/>
                  </a:lnTo>
                  <a:lnTo>
                    <a:pt x="2389" y="715"/>
                  </a:lnTo>
                  <a:lnTo>
                    <a:pt x="2390" y="716"/>
                  </a:lnTo>
                  <a:lnTo>
                    <a:pt x="2390" y="716"/>
                  </a:lnTo>
                  <a:lnTo>
                    <a:pt x="2390" y="716"/>
                  </a:lnTo>
                  <a:lnTo>
                    <a:pt x="2390" y="716"/>
                  </a:lnTo>
                  <a:lnTo>
                    <a:pt x="2391" y="716"/>
                  </a:lnTo>
                  <a:lnTo>
                    <a:pt x="2391" y="717"/>
                  </a:lnTo>
                  <a:lnTo>
                    <a:pt x="2391" y="717"/>
                  </a:lnTo>
                  <a:lnTo>
                    <a:pt x="2390" y="717"/>
                  </a:lnTo>
                  <a:lnTo>
                    <a:pt x="2390" y="717"/>
                  </a:lnTo>
                  <a:lnTo>
                    <a:pt x="2389" y="717"/>
                  </a:lnTo>
                  <a:lnTo>
                    <a:pt x="2389" y="717"/>
                  </a:lnTo>
                  <a:lnTo>
                    <a:pt x="2389" y="717"/>
                  </a:lnTo>
                  <a:lnTo>
                    <a:pt x="2389" y="717"/>
                  </a:lnTo>
                  <a:lnTo>
                    <a:pt x="2389" y="717"/>
                  </a:lnTo>
                  <a:lnTo>
                    <a:pt x="2388" y="717"/>
                  </a:lnTo>
                  <a:lnTo>
                    <a:pt x="2389" y="716"/>
                  </a:lnTo>
                  <a:lnTo>
                    <a:pt x="2389" y="716"/>
                  </a:lnTo>
                  <a:lnTo>
                    <a:pt x="2388" y="716"/>
                  </a:lnTo>
                  <a:lnTo>
                    <a:pt x="2388" y="716"/>
                  </a:lnTo>
                  <a:lnTo>
                    <a:pt x="2387" y="716"/>
                  </a:lnTo>
                  <a:lnTo>
                    <a:pt x="2387" y="717"/>
                  </a:lnTo>
                  <a:lnTo>
                    <a:pt x="2387" y="717"/>
                  </a:lnTo>
                  <a:lnTo>
                    <a:pt x="2387" y="717"/>
                  </a:lnTo>
                  <a:lnTo>
                    <a:pt x="2387" y="717"/>
                  </a:lnTo>
                  <a:lnTo>
                    <a:pt x="2387" y="717"/>
                  </a:lnTo>
                  <a:lnTo>
                    <a:pt x="2387" y="717"/>
                  </a:lnTo>
                  <a:lnTo>
                    <a:pt x="2386" y="717"/>
                  </a:lnTo>
                  <a:lnTo>
                    <a:pt x="2385" y="717"/>
                  </a:lnTo>
                  <a:lnTo>
                    <a:pt x="2385" y="717"/>
                  </a:lnTo>
                  <a:lnTo>
                    <a:pt x="2385" y="717"/>
                  </a:lnTo>
                  <a:lnTo>
                    <a:pt x="2385" y="717"/>
                  </a:lnTo>
                  <a:lnTo>
                    <a:pt x="2383" y="717"/>
                  </a:lnTo>
                  <a:lnTo>
                    <a:pt x="2383" y="717"/>
                  </a:lnTo>
                  <a:lnTo>
                    <a:pt x="2383" y="717"/>
                  </a:lnTo>
                  <a:lnTo>
                    <a:pt x="2383" y="716"/>
                  </a:lnTo>
                  <a:lnTo>
                    <a:pt x="2383" y="716"/>
                  </a:lnTo>
                  <a:lnTo>
                    <a:pt x="2383" y="716"/>
                  </a:lnTo>
                  <a:lnTo>
                    <a:pt x="2382" y="716"/>
                  </a:lnTo>
                  <a:lnTo>
                    <a:pt x="2382" y="716"/>
                  </a:lnTo>
                  <a:lnTo>
                    <a:pt x="2382" y="716"/>
                  </a:lnTo>
                  <a:lnTo>
                    <a:pt x="2382" y="716"/>
                  </a:lnTo>
                  <a:lnTo>
                    <a:pt x="2382" y="716"/>
                  </a:lnTo>
                  <a:lnTo>
                    <a:pt x="2382" y="715"/>
                  </a:lnTo>
                  <a:lnTo>
                    <a:pt x="2382" y="715"/>
                  </a:lnTo>
                  <a:lnTo>
                    <a:pt x="2382" y="715"/>
                  </a:lnTo>
                  <a:lnTo>
                    <a:pt x="2381" y="715"/>
                  </a:lnTo>
                  <a:lnTo>
                    <a:pt x="2381" y="715"/>
                  </a:lnTo>
                  <a:lnTo>
                    <a:pt x="2380" y="715"/>
                  </a:lnTo>
                  <a:lnTo>
                    <a:pt x="2380" y="715"/>
                  </a:lnTo>
                  <a:lnTo>
                    <a:pt x="2380" y="715"/>
                  </a:lnTo>
                  <a:lnTo>
                    <a:pt x="2380" y="715"/>
                  </a:lnTo>
                  <a:lnTo>
                    <a:pt x="2380" y="715"/>
                  </a:lnTo>
                  <a:lnTo>
                    <a:pt x="2379" y="715"/>
                  </a:lnTo>
                  <a:lnTo>
                    <a:pt x="2379" y="715"/>
                  </a:lnTo>
                  <a:lnTo>
                    <a:pt x="2379" y="715"/>
                  </a:lnTo>
                  <a:lnTo>
                    <a:pt x="2379" y="715"/>
                  </a:lnTo>
                  <a:lnTo>
                    <a:pt x="2379" y="715"/>
                  </a:lnTo>
                  <a:lnTo>
                    <a:pt x="2378" y="715"/>
                  </a:lnTo>
                  <a:lnTo>
                    <a:pt x="2378" y="715"/>
                  </a:lnTo>
                  <a:lnTo>
                    <a:pt x="2378" y="715"/>
                  </a:lnTo>
                  <a:lnTo>
                    <a:pt x="2378" y="715"/>
                  </a:lnTo>
                  <a:lnTo>
                    <a:pt x="2377" y="715"/>
                  </a:lnTo>
                  <a:lnTo>
                    <a:pt x="2377" y="715"/>
                  </a:lnTo>
                  <a:lnTo>
                    <a:pt x="2376" y="715"/>
                  </a:lnTo>
                  <a:lnTo>
                    <a:pt x="2376" y="715"/>
                  </a:lnTo>
                  <a:lnTo>
                    <a:pt x="2376" y="715"/>
                  </a:lnTo>
                  <a:lnTo>
                    <a:pt x="2376" y="715"/>
                  </a:lnTo>
                  <a:lnTo>
                    <a:pt x="2374" y="715"/>
                  </a:lnTo>
                  <a:lnTo>
                    <a:pt x="2374" y="715"/>
                  </a:lnTo>
                  <a:lnTo>
                    <a:pt x="2373" y="715"/>
                  </a:lnTo>
                  <a:lnTo>
                    <a:pt x="2373" y="715"/>
                  </a:lnTo>
                  <a:lnTo>
                    <a:pt x="2373" y="715"/>
                  </a:lnTo>
                  <a:lnTo>
                    <a:pt x="2373" y="716"/>
                  </a:lnTo>
                  <a:lnTo>
                    <a:pt x="2373" y="716"/>
                  </a:lnTo>
                  <a:lnTo>
                    <a:pt x="2373" y="716"/>
                  </a:lnTo>
                  <a:lnTo>
                    <a:pt x="2373" y="716"/>
                  </a:lnTo>
                  <a:lnTo>
                    <a:pt x="2373" y="716"/>
                  </a:lnTo>
                  <a:lnTo>
                    <a:pt x="2373" y="716"/>
                  </a:lnTo>
                  <a:lnTo>
                    <a:pt x="2373" y="719"/>
                  </a:lnTo>
                  <a:lnTo>
                    <a:pt x="2373" y="719"/>
                  </a:lnTo>
                  <a:lnTo>
                    <a:pt x="2373" y="719"/>
                  </a:lnTo>
                  <a:lnTo>
                    <a:pt x="2373" y="720"/>
                  </a:lnTo>
                  <a:lnTo>
                    <a:pt x="2374" y="720"/>
                  </a:lnTo>
                  <a:lnTo>
                    <a:pt x="2374" y="720"/>
                  </a:lnTo>
                  <a:lnTo>
                    <a:pt x="2376" y="720"/>
                  </a:lnTo>
                  <a:lnTo>
                    <a:pt x="2376" y="720"/>
                  </a:lnTo>
                  <a:lnTo>
                    <a:pt x="2377" y="720"/>
                  </a:lnTo>
                  <a:lnTo>
                    <a:pt x="2378" y="720"/>
                  </a:lnTo>
                  <a:lnTo>
                    <a:pt x="2379" y="720"/>
                  </a:lnTo>
                  <a:lnTo>
                    <a:pt x="2379" y="722"/>
                  </a:lnTo>
                  <a:lnTo>
                    <a:pt x="2380" y="722"/>
                  </a:lnTo>
                  <a:lnTo>
                    <a:pt x="2380" y="722"/>
                  </a:lnTo>
                  <a:lnTo>
                    <a:pt x="2380" y="722"/>
                  </a:lnTo>
                  <a:lnTo>
                    <a:pt x="2381" y="722"/>
                  </a:lnTo>
                  <a:lnTo>
                    <a:pt x="2381" y="722"/>
                  </a:lnTo>
                  <a:lnTo>
                    <a:pt x="2381" y="722"/>
                  </a:lnTo>
                  <a:lnTo>
                    <a:pt x="2381" y="723"/>
                  </a:lnTo>
                  <a:lnTo>
                    <a:pt x="2381" y="725"/>
                  </a:lnTo>
                  <a:lnTo>
                    <a:pt x="2381" y="725"/>
                  </a:lnTo>
                  <a:lnTo>
                    <a:pt x="2381" y="725"/>
                  </a:lnTo>
                  <a:lnTo>
                    <a:pt x="2382" y="725"/>
                  </a:lnTo>
                  <a:lnTo>
                    <a:pt x="2382" y="726"/>
                  </a:lnTo>
                  <a:lnTo>
                    <a:pt x="2382" y="726"/>
                  </a:lnTo>
                  <a:lnTo>
                    <a:pt x="2382" y="726"/>
                  </a:lnTo>
                  <a:lnTo>
                    <a:pt x="2383" y="726"/>
                  </a:lnTo>
                  <a:lnTo>
                    <a:pt x="2383" y="727"/>
                  </a:lnTo>
                  <a:lnTo>
                    <a:pt x="2383" y="727"/>
                  </a:lnTo>
                  <a:lnTo>
                    <a:pt x="2383" y="727"/>
                  </a:lnTo>
                  <a:lnTo>
                    <a:pt x="2383" y="728"/>
                  </a:lnTo>
                  <a:lnTo>
                    <a:pt x="2383" y="728"/>
                  </a:lnTo>
                  <a:lnTo>
                    <a:pt x="2383" y="729"/>
                  </a:lnTo>
                  <a:lnTo>
                    <a:pt x="2385" y="729"/>
                  </a:lnTo>
                  <a:lnTo>
                    <a:pt x="2385" y="729"/>
                  </a:lnTo>
                  <a:lnTo>
                    <a:pt x="2385" y="729"/>
                  </a:lnTo>
                  <a:lnTo>
                    <a:pt x="2385" y="729"/>
                  </a:lnTo>
                  <a:lnTo>
                    <a:pt x="2385" y="731"/>
                  </a:lnTo>
                  <a:lnTo>
                    <a:pt x="2385" y="731"/>
                  </a:lnTo>
                  <a:lnTo>
                    <a:pt x="2385" y="731"/>
                  </a:lnTo>
                  <a:lnTo>
                    <a:pt x="2385" y="731"/>
                  </a:lnTo>
                  <a:lnTo>
                    <a:pt x="2385" y="732"/>
                  </a:lnTo>
                  <a:lnTo>
                    <a:pt x="2386" y="732"/>
                  </a:lnTo>
                  <a:lnTo>
                    <a:pt x="2386" y="732"/>
                  </a:lnTo>
                  <a:lnTo>
                    <a:pt x="2386" y="732"/>
                  </a:lnTo>
                  <a:lnTo>
                    <a:pt x="2386" y="732"/>
                  </a:lnTo>
                  <a:lnTo>
                    <a:pt x="2387" y="732"/>
                  </a:lnTo>
                  <a:lnTo>
                    <a:pt x="2387" y="733"/>
                  </a:lnTo>
                  <a:lnTo>
                    <a:pt x="2387" y="733"/>
                  </a:lnTo>
                  <a:lnTo>
                    <a:pt x="2387" y="733"/>
                  </a:lnTo>
                  <a:lnTo>
                    <a:pt x="2387" y="733"/>
                  </a:lnTo>
                  <a:lnTo>
                    <a:pt x="2387" y="734"/>
                  </a:lnTo>
                  <a:lnTo>
                    <a:pt x="2388" y="734"/>
                  </a:lnTo>
                  <a:lnTo>
                    <a:pt x="2388" y="734"/>
                  </a:lnTo>
                  <a:lnTo>
                    <a:pt x="2388" y="735"/>
                  </a:lnTo>
                  <a:lnTo>
                    <a:pt x="2388" y="737"/>
                  </a:lnTo>
                  <a:lnTo>
                    <a:pt x="2388" y="737"/>
                  </a:lnTo>
                  <a:lnTo>
                    <a:pt x="2388" y="739"/>
                  </a:lnTo>
                  <a:lnTo>
                    <a:pt x="2387" y="739"/>
                  </a:lnTo>
                  <a:lnTo>
                    <a:pt x="2387" y="739"/>
                  </a:lnTo>
                  <a:lnTo>
                    <a:pt x="2387" y="739"/>
                  </a:lnTo>
                  <a:lnTo>
                    <a:pt x="2387" y="740"/>
                  </a:lnTo>
                  <a:lnTo>
                    <a:pt x="2388" y="740"/>
                  </a:lnTo>
                  <a:lnTo>
                    <a:pt x="2388" y="740"/>
                  </a:lnTo>
                  <a:lnTo>
                    <a:pt x="2390" y="740"/>
                  </a:lnTo>
                  <a:lnTo>
                    <a:pt x="2390" y="740"/>
                  </a:lnTo>
                  <a:lnTo>
                    <a:pt x="2390" y="740"/>
                  </a:lnTo>
                  <a:lnTo>
                    <a:pt x="2390" y="739"/>
                  </a:lnTo>
                  <a:lnTo>
                    <a:pt x="2393" y="739"/>
                  </a:lnTo>
                  <a:lnTo>
                    <a:pt x="2393" y="739"/>
                  </a:lnTo>
                  <a:lnTo>
                    <a:pt x="2393" y="739"/>
                  </a:lnTo>
                  <a:lnTo>
                    <a:pt x="2393" y="739"/>
                  </a:lnTo>
                  <a:lnTo>
                    <a:pt x="2393" y="739"/>
                  </a:lnTo>
                  <a:lnTo>
                    <a:pt x="2393" y="740"/>
                  </a:lnTo>
                  <a:lnTo>
                    <a:pt x="2393" y="740"/>
                  </a:lnTo>
                  <a:lnTo>
                    <a:pt x="2393" y="740"/>
                  </a:lnTo>
                  <a:lnTo>
                    <a:pt x="2393" y="740"/>
                  </a:lnTo>
                  <a:lnTo>
                    <a:pt x="2393" y="741"/>
                  </a:lnTo>
                  <a:lnTo>
                    <a:pt x="2394" y="741"/>
                  </a:lnTo>
                  <a:lnTo>
                    <a:pt x="2394" y="741"/>
                  </a:lnTo>
                  <a:lnTo>
                    <a:pt x="2394" y="742"/>
                  </a:lnTo>
                  <a:lnTo>
                    <a:pt x="2394" y="742"/>
                  </a:lnTo>
                  <a:lnTo>
                    <a:pt x="2394" y="743"/>
                  </a:lnTo>
                  <a:lnTo>
                    <a:pt x="2395" y="743"/>
                  </a:lnTo>
                  <a:lnTo>
                    <a:pt x="2395" y="743"/>
                  </a:lnTo>
                  <a:lnTo>
                    <a:pt x="2395" y="744"/>
                  </a:lnTo>
                  <a:lnTo>
                    <a:pt x="2395" y="744"/>
                  </a:lnTo>
                  <a:lnTo>
                    <a:pt x="2395" y="744"/>
                  </a:lnTo>
                  <a:lnTo>
                    <a:pt x="2395" y="744"/>
                  </a:lnTo>
                  <a:lnTo>
                    <a:pt x="2396" y="744"/>
                  </a:lnTo>
                  <a:lnTo>
                    <a:pt x="2396" y="744"/>
                  </a:lnTo>
                  <a:lnTo>
                    <a:pt x="2397" y="744"/>
                  </a:lnTo>
                  <a:lnTo>
                    <a:pt x="2397" y="744"/>
                  </a:lnTo>
                  <a:lnTo>
                    <a:pt x="2397" y="744"/>
                  </a:lnTo>
                  <a:lnTo>
                    <a:pt x="2398" y="744"/>
                  </a:lnTo>
                  <a:lnTo>
                    <a:pt x="2398" y="744"/>
                  </a:lnTo>
                  <a:lnTo>
                    <a:pt x="2398" y="744"/>
                  </a:lnTo>
                  <a:lnTo>
                    <a:pt x="2399" y="744"/>
                  </a:lnTo>
                  <a:lnTo>
                    <a:pt x="2399" y="744"/>
                  </a:lnTo>
                  <a:lnTo>
                    <a:pt x="2400" y="744"/>
                  </a:lnTo>
                  <a:lnTo>
                    <a:pt x="2400" y="744"/>
                  </a:lnTo>
                  <a:lnTo>
                    <a:pt x="2400" y="745"/>
                  </a:lnTo>
                  <a:lnTo>
                    <a:pt x="2400" y="745"/>
                  </a:lnTo>
                  <a:lnTo>
                    <a:pt x="2400" y="745"/>
                  </a:lnTo>
                  <a:lnTo>
                    <a:pt x="2400" y="745"/>
                  </a:lnTo>
                  <a:lnTo>
                    <a:pt x="2402" y="745"/>
                  </a:lnTo>
                  <a:lnTo>
                    <a:pt x="2402" y="745"/>
                  </a:lnTo>
                  <a:lnTo>
                    <a:pt x="2402" y="745"/>
                  </a:lnTo>
                  <a:lnTo>
                    <a:pt x="2402" y="745"/>
                  </a:lnTo>
                  <a:lnTo>
                    <a:pt x="2403" y="744"/>
                  </a:lnTo>
                  <a:lnTo>
                    <a:pt x="2403" y="744"/>
                  </a:lnTo>
                  <a:lnTo>
                    <a:pt x="2403" y="745"/>
                  </a:lnTo>
                  <a:lnTo>
                    <a:pt x="2404" y="745"/>
                  </a:lnTo>
                  <a:lnTo>
                    <a:pt x="2404" y="745"/>
                  </a:lnTo>
                  <a:lnTo>
                    <a:pt x="2405" y="745"/>
                  </a:lnTo>
                  <a:lnTo>
                    <a:pt x="2405" y="745"/>
                  </a:lnTo>
                  <a:lnTo>
                    <a:pt x="2405" y="745"/>
                  </a:lnTo>
                  <a:lnTo>
                    <a:pt x="2406" y="745"/>
                  </a:lnTo>
                  <a:lnTo>
                    <a:pt x="2406" y="745"/>
                  </a:lnTo>
                  <a:lnTo>
                    <a:pt x="2406" y="746"/>
                  </a:lnTo>
                  <a:lnTo>
                    <a:pt x="2406" y="746"/>
                  </a:lnTo>
                  <a:lnTo>
                    <a:pt x="2406" y="746"/>
                  </a:lnTo>
                  <a:lnTo>
                    <a:pt x="2407" y="746"/>
                  </a:lnTo>
                  <a:lnTo>
                    <a:pt x="2407" y="746"/>
                  </a:lnTo>
                  <a:lnTo>
                    <a:pt x="2407" y="748"/>
                  </a:lnTo>
                  <a:lnTo>
                    <a:pt x="2407" y="749"/>
                  </a:lnTo>
                  <a:lnTo>
                    <a:pt x="2407" y="749"/>
                  </a:lnTo>
                  <a:lnTo>
                    <a:pt x="2406" y="749"/>
                  </a:lnTo>
                  <a:lnTo>
                    <a:pt x="2406" y="749"/>
                  </a:lnTo>
                  <a:lnTo>
                    <a:pt x="2406" y="749"/>
                  </a:lnTo>
                  <a:lnTo>
                    <a:pt x="2406" y="748"/>
                  </a:lnTo>
                  <a:lnTo>
                    <a:pt x="2406" y="748"/>
                  </a:lnTo>
                  <a:lnTo>
                    <a:pt x="2406" y="748"/>
                  </a:lnTo>
                  <a:lnTo>
                    <a:pt x="2406" y="748"/>
                  </a:lnTo>
                  <a:lnTo>
                    <a:pt x="2406" y="748"/>
                  </a:lnTo>
                  <a:lnTo>
                    <a:pt x="2406" y="748"/>
                  </a:lnTo>
                  <a:lnTo>
                    <a:pt x="2406" y="748"/>
                  </a:lnTo>
                  <a:lnTo>
                    <a:pt x="2406" y="749"/>
                  </a:lnTo>
                  <a:lnTo>
                    <a:pt x="2406" y="749"/>
                  </a:lnTo>
                  <a:lnTo>
                    <a:pt x="2406" y="751"/>
                  </a:lnTo>
                  <a:lnTo>
                    <a:pt x="2406" y="751"/>
                  </a:lnTo>
                  <a:lnTo>
                    <a:pt x="2406" y="751"/>
                  </a:lnTo>
                  <a:lnTo>
                    <a:pt x="2406" y="751"/>
                  </a:lnTo>
                  <a:lnTo>
                    <a:pt x="2406" y="752"/>
                  </a:lnTo>
                  <a:lnTo>
                    <a:pt x="2406" y="752"/>
                  </a:lnTo>
                  <a:lnTo>
                    <a:pt x="2405" y="752"/>
                  </a:lnTo>
                  <a:lnTo>
                    <a:pt x="2405" y="753"/>
                  </a:lnTo>
                  <a:lnTo>
                    <a:pt x="2405" y="753"/>
                  </a:lnTo>
                  <a:lnTo>
                    <a:pt x="2405" y="753"/>
                  </a:lnTo>
                  <a:lnTo>
                    <a:pt x="2405" y="753"/>
                  </a:lnTo>
                  <a:lnTo>
                    <a:pt x="2405" y="753"/>
                  </a:lnTo>
                  <a:lnTo>
                    <a:pt x="2405" y="754"/>
                  </a:lnTo>
                  <a:lnTo>
                    <a:pt x="2405" y="754"/>
                  </a:lnTo>
                  <a:lnTo>
                    <a:pt x="2404" y="754"/>
                  </a:lnTo>
                  <a:lnTo>
                    <a:pt x="2404" y="754"/>
                  </a:lnTo>
                  <a:lnTo>
                    <a:pt x="2404" y="754"/>
                  </a:lnTo>
                  <a:lnTo>
                    <a:pt x="2404" y="754"/>
                  </a:lnTo>
                  <a:lnTo>
                    <a:pt x="2404" y="756"/>
                  </a:lnTo>
                  <a:lnTo>
                    <a:pt x="2404" y="756"/>
                  </a:lnTo>
                  <a:lnTo>
                    <a:pt x="2404" y="756"/>
                  </a:lnTo>
                  <a:lnTo>
                    <a:pt x="2404" y="756"/>
                  </a:lnTo>
                  <a:lnTo>
                    <a:pt x="2403" y="756"/>
                  </a:lnTo>
                  <a:lnTo>
                    <a:pt x="2403" y="757"/>
                  </a:lnTo>
                  <a:lnTo>
                    <a:pt x="2403" y="757"/>
                  </a:lnTo>
                  <a:lnTo>
                    <a:pt x="2403" y="757"/>
                  </a:lnTo>
                  <a:lnTo>
                    <a:pt x="2403" y="757"/>
                  </a:lnTo>
                  <a:lnTo>
                    <a:pt x="2403" y="758"/>
                  </a:lnTo>
                  <a:lnTo>
                    <a:pt x="2403" y="758"/>
                  </a:lnTo>
                  <a:lnTo>
                    <a:pt x="2404" y="759"/>
                  </a:lnTo>
                  <a:lnTo>
                    <a:pt x="2404" y="759"/>
                  </a:lnTo>
                  <a:lnTo>
                    <a:pt x="2404" y="759"/>
                  </a:lnTo>
                  <a:lnTo>
                    <a:pt x="2404" y="759"/>
                  </a:lnTo>
                  <a:lnTo>
                    <a:pt x="2404" y="760"/>
                  </a:lnTo>
                  <a:lnTo>
                    <a:pt x="2404" y="760"/>
                  </a:lnTo>
                  <a:lnTo>
                    <a:pt x="2404" y="760"/>
                  </a:lnTo>
                  <a:lnTo>
                    <a:pt x="2404" y="761"/>
                  </a:lnTo>
                  <a:lnTo>
                    <a:pt x="2404" y="761"/>
                  </a:lnTo>
                  <a:lnTo>
                    <a:pt x="2404" y="761"/>
                  </a:lnTo>
                  <a:lnTo>
                    <a:pt x="2403" y="761"/>
                  </a:lnTo>
                  <a:lnTo>
                    <a:pt x="2403" y="762"/>
                  </a:lnTo>
                  <a:lnTo>
                    <a:pt x="2404" y="762"/>
                  </a:lnTo>
                  <a:lnTo>
                    <a:pt x="2404" y="763"/>
                  </a:lnTo>
                  <a:lnTo>
                    <a:pt x="2404" y="763"/>
                  </a:lnTo>
                  <a:lnTo>
                    <a:pt x="2404" y="763"/>
                  </a:lnTo>
                  <a:lnTo>
                    <a:pt x="2405" y="763"/>
                  </a:lnTo>
                  <a:lnTo>
                    <a:pt x="2405" y="763"/>
                  </a:lnTo>
                  <a:lnTo>
                    <a:pt x="2405" y="763"/>
                  </a:lnTo>
                  <a:lnTo>
                    <a:pt x="2405" y="765"/>
                  </a:lnTo>
                  <a:lnTo>
                    <a:pt x="2405" y="765"/>
                  </a:lnTo>
                  <a:lnTo>
                    <a:pt x="2405" y="765"/>
                  </a:lnTo>
                  <a:lnTo>
                    <a:pt x="2405" y="765"/>
                  </a:lnTo>
                  <a:lnTo>
                    <a:pt x="2405" y="766"/>
                  </a:lnTo>
                  <a:lnTo>
                    <a:pt x="2406" y="768"/>
                  </a:lnTo>
                  <a:lnTo>
                    <a:pt x="2407" y="768"/>
                  </a:lnTo>
                  <a:lnTo>
                    <a:pt x="2407" y="768"/>
                  </a:lnTo>
                  <a:lnTo>
                    <a:pt x="2407" y="768"/>
                  </a:lnTo>
                  <a:lnTo>
                    <a:pt x="2407" y="769"/>
                  </a:lnTo>
                  <a:lnTo>
                    <a:pt x="2407" y="769"/>
                  </a:lnTo>
                  <a:lnTo>
                    <a:pt x="2407" y="769"/>
                  </a:lnTo>
                  <a:lnTo>
                    <a:pt x="2407" y="769"/>
                  </a:lnTo>
                  <a:lnTo>
                    <a:pt x="2407" y="769"/>
                  </a:lnTo>
                  <a:lnTo>
                    <a:pt x="2408" y="770"/>
                  </a:lnTo>
                  <a:lnTo>
                    <a:pt x="2408" y="770"/>
                  </a:lnTo>
                  <a:lnTo>
                    <a:pt x="2408" y="770"/>
                  </a:lnTo>
                  <a:lnTo>
                    <a:pt x="2408" y="771"/>
                  </a:lnTo>
                  <a:lnTo>
                    <a:pt x="2408" y="771"/>
                  </a:lnTo>
                  <a:lnTo>
                    <a:pt x="2408" y="772"/>
                  </a:lnTo>
                  <a:lnTo>
                    <a:pt x="2408" y="772"/>
                  </a:lnTo>
                  <a:lnTo>
                    <a:pt x="2410" y="774"/>
                  </a:lnTo>
                  <a:lnTo>
                    <a:pt x="2410" y="774"/>
                  </a:lnTo>
                  <a:lnTo>
                    <a:pt x="2410" y="774"/>
                  </a:lnTo>
                  <a:lnTo>
                    <a:pt x="2410" y="774"/>
                  </a:lnTo>
                  <a:lnTo>
                    <a:pt x="2410" y="774"/>
                  </a:lnTo>
                  <a:lnTo>
                    <a:pt x="2410" y="772"/>
                  </a:lnTo>
                  <a:lnTo>
                    <a:pt x="2410" y="772"/>
                  </a:lnTo>
                  <a:lnTo>
                    <a:pt x="2410" y="772"/>
                  </a:lnTo>
                  <a:lnTo>
                    <a:pt x="2410" y="772"/>
                  </a:lnTo>
                  <a:lnTo>
                    <a:pt x="2410" y="771"/>
                  </a:lnTo>
                  <a:lnTo>
                    <a:pt x="2408" y="771"/>
                  </a:lnTo>
                  <a:lnTo>
                    <a:pt x="2408" y="771"/>
                  </a:lnTo>
                  <a:lnTo>
                    <a:pt x="2408" y="771"/>
                  </a:lnTo>
                  <a:lnTo>
                    <a:pt x="2408" y="769"/>
                  </a:lnTo>
                  <a:lnTo>
                    <a:pt x="2408" y="769"/>
                  </a:lnTo>
                  <a:lnTo>
                    <a:pt x="2408" y="768"/>
                  </a:lnTo>
                  <a:lnTo>
                    <a:pt x="2408" y="768"/>
                  </a:lnTo>
                  <a:lnTo>
                    <a:pt x="2408" y="768"/>
                  </a:lnTo>
                  <a:lnTo>
                    <a:pt x="2408" y="768"/>
                  </a:lnTo>
                  <a:lnTo>
                    <a:pt x="2408" y="767"/>
                  </a:lnTo>
                  <a:lnTo>
                    <a:pt x="2410" y="767"/>
                  </a:lnTo>
                  <a:lnTo>
                    <a:pt x="2410" y="766"/>
                  </a:lnTo>
                  <a:lnTo>
                    <a:pt x="2410" y="766"/>
                  </a:lnTo>
                  <a:lnTo>
                    <a:pt x="2410" y="766"/>
                  </a:lnTo>
                  <a:lnTo>
                    <a:pt x="2410" y="766"/>
                  </a:lnTo>
                  <a:lnTo>
                    <a:pt x="2410" y="766"/>
                  </a:lnTo>
                  <a:lnTo>
                    <a:pt x="2410" y="765"/>
                  </a:lnTo>
                  <a:lnTo>
                    <a:pt x="2410" y="765"/>
                  </a:lnTo>
                  <a:lnTo>
                    <a:pt x="2410" y="763"/>
                  </a:lnTo>
                  <a:lnTo>
                    <a:pt x="2410" y="763"/>
                  </a:lnTo>
                  <a:lnTo>
                    <a:pt x="2410" y="763"/>
                  </a:lnTo>
                  <a:lnTo>
                    <a:pt x="2408" y="763"/>
                  </a:lnTo>
                  <a:lnTo>
                    <a:pt x="2408" y="763"/>
                  </a:lnTo>
                  <a:lnTo>
                    <a:pt x="2408" y="765"/>
                  </a:lnTo>
                  <a:lnTo>
                    <a:pt x="2407" y="765"/>
                  </a:lnTo>
                  <a:lnTo>
                    <a:pt x="2407" y="763"/>
                  </a:lnTo>
                  <a:lnTo>
                    <a:pt x="2408" y="762"/>
                  </a:lnTo>
                  <a:lnTo>
                    <a:pt x="2408" y="762"/>
                  </a:lnTo>
                  <a:lnTo>
                    <a:pt x="2408" y="762"/>
                  </a:lnTo>
                  <a:lnTo>
                    <a:pt x="2408" y="762"/>
                  </a:lnTo>
                  <a:lnTo>
                    <a:pt x="2408" y="761"/>
                  </a:lnTo>
                  <a:lnTo>
                    <a:pt x="2408" y="761"/>
                  </a:lnTo>
                  <a:lnTo>
                    <a:pt x="2410" y="761"/>
                  </a:lnTo>
                  <a:lnTo>
                    <a:pt x="2410" y="761"/>
                  </a:lnTo>
                  <a:lnTo>
                    <a:pt x="2410" y="761"/>
                  </a:lnTo>
                  <a:lnTo>
                    <a:pt x="2410" y="760"/>
                  </a:lnTo>
                  <a:lnTo>
                    <a:pt x="2410" y="760"/>
                  </a:lnTo>
                  <a:lnTo>
                    <a:pt x="2410" y="760"/>
                  </a:lnTo>
                  <a:lnTo>
                    <a:pt x="2410" y="760"/>
                  </a:lnTo>
                  <a:lnTo>
                    <a:pt x="2410" y="760"/>
                  </a:lnTo>
                  <a:lnTo>
                    <a:pt x="2411" y="759"/>
                  </a:lnTo>
                  <a:lnTo>
                    <a:pt x="2411" y="759"/>
                  </a:lnTo>
                  <a:lnTo>
                    <a:pt x="2411" y="759"/>
                  </a:lnTo>
                  <a:lnTo>
                    <a:pt x="2411" y="759"/>
                  </a:lnTo>
                  <a:lnTo>
                    <a:pt x="2411" y="759"/>
                  </a:lnTo>
                  <a:lnTo>
                    <a:pt x="2411" y="758"/>
                  </a:lnTo>
                  <a:lnTo>
                    <a:pt x="2412" y="758"/>
                  </a:lnTo>
                  <a:lnTo>
                    <a:pt x="2412" y="758"/>
                  </a:lnTo>
                  <a:lnTo>
                    <a:pt x="2412" y="758"/>
                  </a:lnTo>
                  <a:lnTo>
                    <a:pt x="2412" y="758"/>
                  </a:lnTo>
                  <a:lnTo>
                    <a:pt x="2412" y="758"/>
                  </a:lnTo>
                  <a:lnTo>
                    <a:pt x="2412" y="757"/>
                  </a:lnTo>
                  <a:lnTo>
                    <a:pt x="2413" y="757"/>
                  </a:lnTo>
                  <a:lnTo>
                    <a:pt x="2413" y="757"/>
                  </a:lnTo>
                  <a:lnTo>
                    <a:pt x="2413" y="757"/>
                  </a:lnTo>
                  <a:lnTo>
                    <a:pt x="2414" y="757"/>
                  </a:lnTo>
                  <a:lnTo>
                    <a:pt x="2414" y="757"/>
                  </a:lnTo>
                  <a:lnTo>
                    <a:pt x="2414" y="758"/>
                  </a:lnTo>
                  <a:lnTo>
                    <a:pt x="2415" y="758"/>
                  </a:lnTo>
                  <a:lnTo>
                    <a:pt x="2415" y="757"/>
                  </a:lnTo>
                  <a:lnTo>
                    <a:pt x="2416" y="757"/>
                  </a:lnTo>
                  <a:lnTo>
                    <a:pt x="2416" y="757"/>
                  </a:lnTo>
                  <a:lnTo>
                    <a:pt x="2419" y="757"/>
                  </a:lnTo>
                  <a:lnTo>
                    <a:pt x="2419" y="757"/>
                  </a:lnTo>
                  <a:lnTo>
                    <a:pt x="2419" y="757"/>
                  </a:lnTo>
                  <a:lnTo>
                    <a:pt x="2420" y="757"/>
                  </a:lnTo>
                  <a:lnTo>
                    <a:pt x="2420" y="757"/>
                  </a:lnTo>
                  <a:lnTo>
                    <a:pt x="2420" y="757"/>
                  </a:lnTo>
                  <a:lnTo>
                    <a:pt x="2422" y="757"/>
                  </a:lnTo>
                  <a:lnTo>
                    <a:pt x="2422" y="757"/>
                  </a:lnTo>
                  <a:lnTo>
                    <a:pt x="2422" y="757"/>
                  </a:lnTo>
                  <a:lnTo>
                    <a:pt x="2422" y="757"/>
                  </a:lnTo>
                  <a:lnTo>
                    <a:pt x="2423" y="757"/>
                  </a:lnTo>
                  <a:lnTo>
                    <a:pt x="2423" y="757"/>
                  </a:lnTo>
                  <a:lnTo>
                    <a:pt x="2423" y="757"/>
                  </a:lnTo>
                  <a:lnTo>
                    <a:pt x="2423" y="758"/>
                  </a:lnTo>
                  <a:lnTo>
                    <a:pt x="2423" y="758"/>
                  </a:lnTo>
                  <a:lnTo>
                    <a:pt x="2423" y="758"/>
                  </a:lnTo>
                  <a:lnTo>
                    <a:pt x="2423" y="759"/>
                  </a:lnTo>
                  <a:lnTo>
                    <a:pt x="2423" y="759"/>
                  </a:lnTo>
                  <a:lnTo>
                    <a:pt x="2423" y="760"/>
                  </a:lnTo>
                  <a:lnTo>
                    <a:pt x="2423" y="760"/>
                  </a:lnTo>
                  <a:lnTo>
                    <a:pt x="2424" y="761"/>
                  </a:lnTo>
                  <a:lnTo>
                    <a:pt x="2424" y="761"/>
                  </a:lnTo>
                  <a:lnTo>
                    <a:pt x="2424" y="761"/>
                  </a:lnTo>
                  <a:lnTo>
                    <a:pt x="2424" y="761"/>
                  </a:lnTo>
                  <a:lnTo>
                    <a:pt x="2424" y="762"/>
                  </a:lnTo>
                  <a:lnTo>
                    <a:pt x="2424" y="762"/>
                  </a:lnTo>
                  <a:lnTo>
                    <a:pt x="2424" y="762"/>
                  </a:lnTo>
                  <a:lnTo>
                    <a:pt x="2424" y="766"/>
                  </a:lnTo>
                  <a:lnTo>
                    <a:pt x="2425" y="766"/>
                  </a:lnTo>
                  <a:lnTo>
                    <a:pt x="2425" y="767"/>
                  </a:lnTo>
                  <a:lnTo>
                    <a:pt x="2425" y="767"/>
                  </a:lnTo>
                  <a:lnTo>
                    <a:pt x="2425" y="767"/>
                  </a:lnTo>
                  <a:lnTo>
                    <a:pt x="2425" y="767"/>
                  </a:lnTo>
                  <a:lnTo>
                    <a:pt x="2425" y="767"/>
                  </a:lnTo>
                  <a:lnTo>
                    <a:pt x="2425" y="767"/>
                  </a:lnTo>
                  <a:lnTo>
                    <a:pt x="2427" y="768"/>
                  </a:lnTo>
                  <a:lnTo>
                    <a:pt x="2427" y="768"/>
                  </a:lnTo>
                  <a:lnTo>
                    <a:pt x="2427" y="768"/>
                  </a:lnTo>
                  <a:lnTo>
                    <a:pt x="2427" y="768"/>
                  </a:lnTo>
                  <a:lnTo>
                    <a:pt x="2428" y="768"/>
                  </a:lnTo>
                  <a:lnTo>
                    <a:pt x="2428" y="768"/>
                  </a:lnTo>
                  <a:lnTo>
                    <a:pt x="2428" y="769"/>
                  </a:lnTo>
                  <a:lnTo>
                    <a:pt x="2428" y="769"/>
                  </a:lnTo>
                  <a:lnTo>
                    <a:pt x="2428" y="769"/>
                  </a:lnTo>
                  <a:lnTo>
                    <a:pt x="2428" y="769"/>
                  </a:lnTo>
                  <a:lnTo>
                    <a:pt x="2429" y="769"/>
                  </a:lnTo>
                  <a:lnTo>
                    <a:pt x="2429" y="769"/>
                  </a:lnTo>
                  <a:lnTo>
                    <a:pt x="2429" y="769"/>
                  </a:lnTo>
                  <a:lnTo>
                    <a:pt x="2429" y="770"/>
                  </a:lnTo>
                  <a:lnTo>
                    <a:pt x="2430" y="770"/>
                  </a:lnTo>
                  <a:lnTo>
                    <a:pt x="2430" y="770"/>
                  </a:lnTo>
                  <a:lnTo>
                    <a:pt x="2430" y="770"/>
                  </a:lnTo>
                  <a:lnTo>
                    <a:pt x="2431" y="770"/>
                  </a:lnTo>
                  <a:lnTo>
                    <a:pt x="2431" y="770"/>
                  </a:lnTo>
                  <a:lnTo>
                    <a:pt x="2431" y="770"/>
                  </a:lnTo>
                  <a:lnTo>
                    <a:pt x="2432" y="771"/>
                  </a:lnTo>
                  <a:lnTo>
                    <a:pt x="2432" y="771"/>
                  </a:lnTo>
                  <a:lnTo>
                    <a:pt x="2432" y="771"/>
                  </a:lnTo>
                  <a:lnTo>
                    <a:pt x="2432" y="771"/>
                  </a:lnTo>
                  <a:lnTo>
                    <a:pt x="2432" y="771"/>
                  </a:lnTo>
                  <a:lnTo>
                    <a:pt x="2432" y="772"/>
                  </a:lnTo>
                  <a:lnTo>
                    <a:pt x="2433" y="772"/>
                  </a:lnTo>
                  <a:lnTo>
                    <a:pt x="2433" y="772"/>
                  </a:lnTo>
                  <a:lnTo>
                    <a:pt x="2433" y="772"/>
                  </a:lnTo>
                  <a:lnTo>
                    <a:pt x="2433" y="772"/>
                  </a:lnTo>
                  <a:lnTo>
                    <a:pt x="2434" y="774"/>
                  </a:lnTo>
                  <a:lnTo>
                    <a:pt x="2434" y="774"/>
                  </a:lnTo>
                  <a:lnTo>
                    <a:pt x="2434" y="774"/>
                  </a:lnTo>
                  <a:lnTo>
                    <a:pt x="2434" y="774"/>
                  </a:lnTo>
                  <a:lnTo>
                    <a:pt x="2434" y="774"/>
                  </a:lnTo>
                  <a:lnTo>
                    <a:pt x="2434" y="774"/>
                  </a:lnTo>
                  <a:lnTo>
                    <a:pt x="2434" y="774"/>
                  </a:lnTo>
                  <a:lnTo>
                    <a:pt x="2434" y="774"/>
                  </a:lnTo>
                  <a:lnTo>
                    <a:pt x="2434" y="774"/>
                  </a:lnTo>
                  <a:lnTo>
                    <a:pt x="2434" y="774"/>
                  </a:lnTo>
                  <a:lnTo>
                    <a:pt x="2434" y="774"/>
                  </a:lnTo>
                  <a:lnTo>
                    <a:pt x="2434" y="775"/>
                  </a:lnTo>
                  <a:lnTo>
                    <a:pt x="2434" y="775"/>
                  </a:lnTo>
                  <a:lnTo>
                    <a:pt x="2434" y="775"/>
                  </a:lnTo>
                  <a:lnTo>
                    <a:pt x="2434" y="775"/>
                  </a:lnTo>
                  <a:lnTo>
                    <a:pt x="2434" y="776"/>
                  </a:lnTo>
                  <a:close/>
                  <a:moveTo>
                    <a:pt x="2516" y="714"/>
                  </a:moveTo>
                  <a:lnTo>
                    <a:pt x="2516" y="714"/>
                  </a:lnTo>
                  <a:lnTo>
                    <a:pt x="2516" y="714"/>
                  </a:lnTo>
                  <a:lnTo>
                    <a:pt x="2516" y="714"/>
                  </a:lnTo>
                  <a:lnTo>
                    <a:pt x="2515" y="715"/>
                  </a:lnTo>
                  <a:lnTo>
                    <a:pt x="2515" y="715"/>
                  </a:lnTo>
                  <a:lnTo>
                    <a:pt x="2514" y="715"/>
                  </a:lnTo>
                  <a:lnTo>
                    <a:pt x="2514" y="715"/>
                  </a:lnTo>
                  <a:lnTo>
                    <a:pt x="2514" y="716"/>
                  </a:lnTo>
                  <a:lnTo>
                    <a:pt x="2514" y="716"/>
                  </a:lnTo>
                  <a:lnTo>
                    <a:pt x="2514" y="717"/>
                  </a:lnTo>
                  <a:lnTo>
                    <a:pt x="2514" y="718"/>
                  </a:lnTo>
                  <a:lnTo>
                    <a:pt x="2514" y="718"/>
                  </a:lnTo>
                  <a:lnTo>
                    <a:pt x="2513" y="718"/>
                  </a:lnTo>
                  <a:lnTo>
                    <a:pt x="2513" y="719"/>
                  </a:lnTo>
                  <a:lnTo>
                    <a:pt x="2511" y="719"/>
                  </a:lnTo>
                  <a:lnTo>
                    <a:pt x="2510" y="719"/>
                  </a:lnTo>
                  <a:lnTo>
                    <a:pt x="2510" y="719"/>
                  </a:lnTo>
                  <a:lnTo>
                    <a:pt x="2510" y="720"/>
                  </a:lnTo>
                  <a:lnTo>
                    <a:pt x="2510" y="720"/>
                  </a:lnTo>
                  <a:lnTo>
                    <a:pt x="2510" y="722"/>
                  </a:lnTo>
                  <a:lnTo>
                    <a:pt x="2509" y="723"/>
                  </a:lnTo>
                  <a:lnTo>
                    <a:pt x="2509" y="723"/>
                  </a:lnTo>
                  <a:lnTo>
                    <a:pt x="2508" y="723"/>
                  </a:lnTo>
                  <a:lnTo>
                    <a:pt x="2508" y="724"/>
                  </a:lnTo>
                  <a:lnTo>
                    <a:pt x="2507" y="724"/>
                  </a:lnTo>
                  <a:lnTo>
                    <a:pt x="2506" y="724"/>
                  </a:lnTo>
                  <a:lnTo>
                    <a:pt x="2505" y="724"/>
                  </a:lnTo>
                  <a:lnTo>
                    <a:pt x="2504" y="724"/>
                  </a:lnTo>
                  <a:lnTo>
                    <a:pt x="2504" y="724"/>
                  </a:lnTo>
                  <a:lnTo>
                    <a:pt x="2502" y="724"/>
                  </a:lnTo>
                  <a:lnTo>
                    <a:pt x="2502" y="724"/>
                  </a:lnTo>
                  <a:lnTo>
                    <a:pt x="2500" y="724"/>
                  </a:lnTo>
                  <a:lnTo>
                    <a:pt x="2500" y="724"/>
                  </a:lnTo>
                  <a:lnTo>
                    <a:pt x="2500" y="724"/>
                  </a:lnTo>
                  <a:lnTo>
                    <a:pt x="2499" y="724"/>
                  </a:lnTo>
                  <a:lnTo>
                    <a:pt x="2499" y="724"/>
                  </a:lnTo>
                  <a:lnTo>
                    <a:pt x="2497" y="724"/>
                  </a:lnTo>
                  <a:lnTo>
                    <a:pt x="2496" y="724"/>
                  </a:lnTo>
                  <a:lnTo>
                    <a:pt x="2496" y="724"/>
                  </a:lnTo>
                  <a:lnTo>
                    <a:pt x="2496" y="725"/>
                  </a:lnTo>
                  <a:lnTo>
                    <a:pt x="2496" y="725"/>
                  </a:lnTo>
                  <a:lnTo>
                    <a:pt x="2496" y="726"/>
                  </a:lnTo>
                  <a:lnTo>
                    <a:pt x="2494" y="725"/>
                  </a:lnTo>
                  <a:lnTo>
                    <a:pt x="2494" y="724"/>
                  </a:lnTo>
                  <a:lnTo>
                    <a:pt x="2496" y="724"/>
                  </a:lnTo>
                  <a:lnTo>
                    <a:pt x="2494" y="724"/>
                  </a:lnTo>
                  <a:lnTo>
                    <a:pt x="2494" y="724"/>
                  </a:lnTo>
                  <a:lnTo>
                    <a:pt x="2494" y="723"/>
                  </a:lnTo>
                  <a:lnTo>
                    <a:pt x="2493" y="723"/>
                  </a:lnTo>
                  <a:lnTo>
                    <a:pt x="2493" y="723"/>
                  </a:lnTo>
                  <a:lnTo>
                    <a:pt x="2493" y="722"/>
                  </a:lnTo>
                  <a:lnTo>
                    <a:pt x="2493" y="720"/>
                  </a:lnTo>
                  <a:lnTo>
                    <a:pt x="2493" y="720"/>
                  </a:lnTo>
                  <a:lnTo>
                    <a:pt x="2493" y="719"/>
                  </a:lnTo>
                  <a:lnTo>
                    <a:pt x="2492" y="719"/>
                  </a:lnTo>
                  <a:lnTo>
                    <a:pt x="2492" y="719"/>
                  </a:lnTo>
                  <a:lnTo>
                    <a:pt x="2491" y="719"/>
                  </a:lnTo>
                  <a:lnTo>
                    <a:pt x="2491" y="719"/>
                  </a:lnTo>
                  <a:lnTo>
                    <a:pt x="2490" y="720"/>
                  </a:lnTo>
                  <a:lnTo>
                    <a:pt x="2488" y="720"/>
                  </a:lnTo>
                  <a:lnTo>
                    <a:pt x="2487" y="719"/>
                  </a:lnTo>
                  <a:lnTo>
                    <a:pt x="2485" y="719"/>
                  </a:lnTo>
                  <a:lnTo>
                    <a:pt x="2484" y="719"/>
                  </a:lnTo>
                  <a:lnTo>
                    <a:pt x="2483" y="719"/>
                  </a:lnTo>
                  <a:lnTo>
                    <a:pt x="2483" y="719"/>
                  </a:lnTo>
                  <a:lnTo>
                    <a:pt x="2483" y="718"/>
                  </a:lnTo>
                  <a:lnTo>
                    <a:pt x="2482" y="718"/>
                  </a:lnTo>
                  <a:lnTo>
                    <a:pt x="2482" y="716"/>
                  </a:lnTo>
                  <a:lnTo>
                    <a:pt x="2483" y="715"/>
                  </a:lnTo>
                  <a:lnTo>
                    <a:pt x="2483" y="715"/>
                  </a:lnTo>
                  <a:lnTo>
                    <a:pt x="2483" y="715"/>
                  </a:lnTo>
                  <a:lnTo>
                    <a:pt x="2483" y="715"/>
                  </a:lnTo>
                  <a:lnTo>
                    <a:pt x="2483" y="714"/>
                  </a:lnTo>
                  <a:lnTo>
                    <a:pt x="2483" y="714"/>
                  </a:lnTo>
                  <a:lnTo>
                    <a:pt x="2483" y="712"/>
                  </a:lnTo>
                  <a:lnTo>
                    <a:pt x="2482" y="712"/>
                  </a:lnTo>
                  <a:lnTo>
                    <a:pt x="2482" y="711"/>
                  </a:lnTo>
                  <a:lnTo>
                    <a:pt x="2482" y="710"/>
                  </a:lnTo>
                  <a:lnTo>
                    <a:pt x="2482" y="710"/>
                  </a:lnTo>
                  <a:lnTo>
                    <a:pt x="2482" y="709"/>
                  </a:lnTo>
                  <a:lnTo>
                    <a:pt x="2483" y="709"/>
                  </a:lnTo>
                  <a:lnTo>
                    <a:pt x="2483" y="708"/>
                  </a:lnTo>
                  <a:lnTo>
                    <a:pt x="2483" y="708"/>
                  </a:lnTo>
                  <a:lnTo>
                    <a:pt x="2483" y="707"/>
                  </a:lnTo>
                  <a:lnTo>
                    <a:pt x="2483" y="707"/>
                  </a:lnTo>
                  <a:lnTo>
                    <a:pt x="2483" y="706"/>
                  </a:lnTo>
                  <a:lnTo>
                    <a:pt x="2484" y="706"/>
                  </a:lnTo>
                  <a:lnTo>
                    <a:pt x="2484" y="705"/>
                  </a:lnTo>
                  <a:lnTo>
                    <a:pt x="2484" y="705"/>
                  </a:lnTo>
                  <a:lnTo>
                    <a:pt x="2484" y="703"/>
                  </a:lnTo>
                  <a:lnTo>
                    <a:pt x="2484" y="703"/>
                  </a:lnTo>
                  <a:lnTo>
                    <a:pt x="2484" y="703"/>
                  </a:lnTo>
                  <a:lnTo>
                    <a:pt x="2485" y="702"/>
                  </a:lnTo>
                  <a:lnTo>
                    <a:pt x="2485" y="702"/>
                  </a:lnTo>
                  <a:lnTo>
                    <a:pt x="2485" y="701"/>
                  </a:lnTo>
                  <a:lnTo>
                    <a:pt x="2487" y="701"/>
                  </a:lnTo>
                  <a:lnTo>
                    <a:pt x="2487" y="701"/>
                  </a:lnTo>
                  <a:lnTo>
                    <a:pt x="2487" y="700"/>
                  </a:lnTo>
                  <a:lnTo>
                    <a:pt x="2487" y="700"/>
                  </a:lnTo>
                  <a:lnTo>
                    <a:pt x="2487" y="700"/>
                  </a:lnTo>
                  <a:lnTo>
                    <a:pt x="2487" y="699"/>
                  </a:lnTo>
                  <a:lnTo>
                    <a:pt x="2487" y="699"/>
                  </a:lnTo>
                  <a:lnTo>
                    <a:pt x="2487" y="699"/>
                  </a:lnTo>
                  <a:lnTo>
                    <a:pt x="2488" y="698"/>
                  </a:lnTo>
                  <a:lnTo>
                    <a:pt x="2488" y="698"/>
                  </a:lnTo>
                  <a:lnTo>
                    <a:pt x="2488" y="697"/>
                  </a:lnTo>
                  <a:lnTo>
                    <a:pt x="2488" y="695"/>
                  </a:lnTo>
                  <a:lnTo>
                    <a:pt x="2488" y="694"/>
                  </a:lnTo>
                  <a:lnTo>
                    <a:pt x="2488" y="694"/>
                  </a:lnTo>
                  <a:lnTo>
                    <a:pt x="2489" y="693"/>
                  </a:lnTo>
                  <a:lnTo>
                    <a:pt x="2489" y="693"/>
                  </a:lnTo>
                  <a:lnTo>
                    <a:pt x="2490" y="693"/>
                  </a:lnTo>
                  <a:lnTo>
                    <a:pt x="2490" y="692"/>
                  </a:lnTo>
                  <a:lnTo>
                    <a:pt x="2491" y="692"/>
                  </a:lnTo>
                  <a:lnTo>
                    <a:pt x="2491" y="693"/>
                  </a:lnTo>
                  <a:lnTo>
                    <a:pt x="2492" y="693"/>
                  </a:lnTo>
                  <a:lnTo>
                    <a:pt x="2492" y="692"/>
                  </a:lnTo>
                  <a:lnTo>
                    <a:pt x="2492" y="692"/>
                  </a:lnTo>
                  <a:lnTo>
                    <a:pt x="2492" y="692"/>
                  </a:lnTo>
                  <a:lnTo>
                    <a:pt x="2492" y="692"/>
                  </a:lnTo>
                  <a:lnTo>
                    <a:pt x="2496" y="692"/>
                  </a:lnTo>
                  <a:lnTo>
                    <a:pt x="2496" y="692"/>
                  </a:lnTo>
                  <a:lnTo>
                    <a:pt x="2496" y="691"/>
                  </a:lnTo>
                  <a:lnTo>
                    <a:pt x="2497" y="691"/>
                  </a:lnTo>
                  <a:lnTo>
                    <a:pt x="2497" y="692"/>
                  </a:lnTo>
                  <a:lnTo>
                    <a:pt x="2497" y="692"/>
                  </a:lnTo>
                  <a:lnTo>
                    <a:pt x="2497" y="693"/>
                  </a:lnTo>
                  <a:lnTo>
                    <a:pt x="2497" y="693"/>
                  </a:lnTo>
                  <a:lnTo>
                    <a:pt x="2496" y="693"/>
                  </a:lnTo>
                  <a:lnTo>
                    <a:pt x="2496" y="693"/>
                  </a:lnTo>
                  <a:lnTo>
                    <a:pt x="2496" y="694"/>
                  </a:lnTo>
                  <a:lnTo>
                    <a:pt x="2496" y="695"/>
                  </a:lnTo>
                  <a:lnTo>
                    <a:pt x="2496" y="695"/>
                  </a:lnTo>
                  <a:lnTo>
                    <a:pt x="2497" y="695"/>
                  </a:lnTo>
                  <a:lnTo>
                    <a:pt x="2497" y="695"/>
                  </a:lnTo>
                  <a:lnTo>
                    <a:pt x="2499" y="695"/>
                  </a:lnTo>
                  <a:lnTo>
                    <a:pt x="2499" y="695"/>
                  </a:lnTo>
                  <a:lnTo>
                    <a:pt x="2499" y="695"/>
                  </a:lnTo>
                  <a:lnTo>
                    <a:pt x="2499" y="695"/>
                  </a:lnTo>
                  <a:lnTo>
                    <a:pt x="2499" y="695"/>
                  </a:lnTo>
                  <a:lnTo>
                    <a:pt x="2500" y="695"/>
                  </a:lnTo>
                  <a:lnTo>
                    <a:pt x="2500" y="694"/>
                  </a:lnTo>
                  <a:lnTo>
                    <a:pt x="2500" y="694"/>
                  </a:lnTo>
                  <a:lnTo>
                    <a:pt x="2500" y="695"/>
                  </a:lnTo>
                  <a:lnTo>
                    <a:pt x="2500" y="695"/>
                  </a:lnTo>
                  <a:lnTo>
                    <a:pt x="2500" y="695"/>
                  </a:lnTo>
                  <a:lnTo>
                    <a:pt x="2500" y="694"/>
                  </a:lnTo>
                  <a:lnTo>
                    <a:pt x="2500" y="694"/>
                  </a:lnTo>
                  <a:lnTo>
                    <a:pt x="2501" y="694"/>
                  </a:lnTo>
                  <a:lnTo>
                    <a:pt x="2501" y="693"/>
                  </a:lnTo>
                  <a:lnTo>
                    <a:pt x="2501" y="693"/>
                  </a:lnTo>
                  <a:lnTo>
                    <a:pt x="2501" y="692"/>
                  </a:lnTo>
                  <a:lnTo>
                    <a:pt x="2501" y="692"/>
                  </a:lnTo>
                  <a:lnTo>
                    <a:pt x="2502" y="691"/>
                  </a:lnTo>
                  <a:lnTo>
                    <a:pt x="2501" y="691"/>
                  </a:lnTo>
                  <a:lnTo>
                    <a:pt x="2501" y="691"/>
                  </a:lnTo>
                  <a:lnTo>
                    <a:pt x="2502" y="690"/>
                  </a:lnTo>
                  <a:lnTo>
                    <a:pt x="2501" y="690"/>
                  </a:lnTo>
                  <a:lnTo>
                    <a:pt x="2501" y="689"/>
                  </a:lnTo>
                  <a:lnTo>
                    <a:pt x="2500" y="688"/>
                  </a:lnTo>
                  <a:lnTo>
                    <a:pt x="2500" y="686"/>
                  </a:lnTo>
                  <a:lnTo>
                    <a:pt x="2499" y="686"/>
                  </a:lnTo>
                  <a:lnTo>
                    <a:pt x="2499" y="686"/>
                  </a:lnTo>
                  <a:lnTo>
                    <a:pt x="2500" y="685"/>
                  </a:lnTo>
                  <a:lnTo>
                    <a:pt x="2500" y="686"/>
                  </a:lnTo>
                  <a:lnTo>
                    <a:pt x="2501" y="686"/>
                  </a:lnTo>
                  <a:lnTo>
                    <a:pt x="2502" y="686"/>
                  </a:lnTo>
                  <a:lnTo>
                    <a:pt x="2502" y="686"/>
                  </a:lnTo>
                  <a:lnTo>
                    <a:pt x="2504" y="686"/>
                  </a:lnTo>
                  <a:lnTo>
                    <a:pt x="2504" y="688"/>
                  </a:lnTo>
                  <a:lnTo>
                    <a:pt x="2504" y="688"/>
                  </a:lnTo>
                  <a:lnTo>
                    <a:pt x="2504" y="689"/>
                  </a:lnTo>
                  <a:lnTo>
                    <a:pt x="2504" y="689"/>
                  </a:lnTo>
                  <a:lnTo>
                    <a:pt x="2504" y="690"/>
                  </a:lnTo>
                  <a:lnTo>
                    <a:pt x="2504" y="690"/>
                  </a:lnTo>
                  <a:lnTo>
                    <a:pt x="2504" y="690"/>
                  </a:lnTo>
                  <a:lnTo>
                    <a:pt x="2504" y="691"/>
                  </a:lnTo>
                  <a:lnTo>
                    <a:pt x="2504" y="691"/>
                  </a:lnTo>
                  <a:lnTo>
                    <a:pt x="2505" y="690"/>
                  </a:lnTo>
                  <a:lnTo>
                    <a:pt x="2505" y="690"/>
                  </a:lnTo>
                  <a:lnTo>
                    <a:pt x="2506" y="690"/>
                  </a:lnTo>
                  <a:lnTo>
                    <a:pt x="2506" y="690"/>
                  </a:lnTo>
                  <a:lnTo>
                    <a:pt x="2507" y="690"/>
                  </a:lnTo>
                  <a:lnTo>
                    <a:pt x="2507" y="689"/>
                  </a:lnTo>
                  <a:lnTo>
                    <a:pt x="2508" y="689"/>
                  </a:lnTo>
                  <a:lnTo>
                    <a:pt x="2509" y="690"/>
                  </a:lnTo>
                  <a:lnTo>
                    <a:pt x="2509" y="690"/>
                  </a:lnTo>
                  <a:lnTo>
                    <a:pt x="2510" y="690"/>
                  </a:lnTo>
                  <a:lnTo>
                    <a:pt x="2510" y="690"/>
                  </a:lnTo>
                  <a:lnTo>
                    <a:pt x="2510" y="690"/>
                  </a:lnTo>
                  <a:lnTo>
                    <a:pt x="2510" y="691"/>
                  </a:lnTo>
                  <a:lnTo>
                    <a:pt x="2510" y="691"/>
                  </a:lnTo>
                  <a:lnTo>
                    <a:pt x="2510" y="691"/>
                  </a:lnTo>
                  <a:lnTo>
                    <a:pt x="2510" y="691"/>
                  </a:lnTo>
                  <a:lnTo>
                    <a:pt x="2509" y="691"/>
                  </a:lnTo>
                  <a:lnTo>
                    <a:pt x="2509" y="691"/>
                  </a:lnTo>
                  <a:lnTo>
                    <a:pt x="2509" y="692"/>
                  </a:lnTo>
                  <a:lnTo>
                    <a:pt x="2507" y="692"/>
                  </a:lnTo>
                  <a:lnTo>
                    <a:pt x="2507" y="692"/>
                  </a:lnTo>
                  <a:lnTo>
                    <a:pt x="2507" y="692"/>
                  </a:lnTo>
                  <a:lnTo>
                    <a:pt x="2508" y="692"/>
                  </a:lnTo>
                  <a:lnTo>
                    <a:pt x="2508" y="692"/>
                  </a:lnTo>
                  <a:lnTo>
                    <a:pt x="2510" y="692"/>
                  </a:lnTo>
                  <a:lnTo>
                    <a:pt x="2510" y="693"/>
                  </a:lnTo>
                  <a:lnTo>
                    <a:pt x="2510" y="693"/>
                  </a:lnTo>
                  <a:lnTo>
                    <a:pt x="2511" y="693"/>
                  </a:lnTo>
                  <a:lnTo>
                    <a:pt x="2510" y="693"/>
                  </a:lnTo>
                  <a:lnTo>
                    <a:pt x="2509" y="693"/>
                  </a:lnTo>
                  <a:lnTo>
                    <a:pt x="2509" y="693"/>
                  </a:lnTo>
                  <a:lnTo>
                    <a:pt x="2509" y="693"/>
                  </a:lnTo>
                  <a:lnTo>
                    <a:pt x="2508" y="693"/>
                  </a:lnTo>
                  <a:lnTo>
                    <a:pt x="2508" y="693"/>
                  </a:lnTo>
                  <a:lnTo>
                    <a:pt x="2508" y="694"/>
                  </a:lnTo>
                  <a:lnTo>
                    <a:pt x="2509" y="694"/>
                  </a:lnTo>
                  <a:lnTo>
                    <a:pt x="2509" y="694"/>
                  </a:lnTo>
                  <a:lnTo>
                    <a:pt x="2509" y="694"/>
                  </a:lnTo>
                  <a:lnTo>
                    <a:pt x="2510" y="694"/>
                  </a:lnTo>
                  <a:lnTo>
                    <a:pt x="2510" y="695"/>
                  </a:lnTo>
                  <a:lnTo>
                    <a:pt x="2510" y="695"/>
                  </a:lnTo>
                  <a:lnTo>
                    <a:pt x="2510" y="695"/>
                  </a:lnTo>
                  <a:lnTo>
                    <a:pt x="2511" y="695"/>
                  </a:lnTo>
                  <a:lnTo>
                    <a:pt x="2511" y="697"/>
                  </a:lnTo>
                  <a:lnTo>
                    <a:pt x="2510" y="697"/>
                  </a:lnTo>
                  <a:lnTo>
                    <a:pt x="2510" y="697"/>
                  </a:lnTo>
                  <a:lnTo>
                    <a:pt x="2509" y="697"/>
                  </a:lnTo>
                  <a:lnTo>
                    <a:pt x="2509" y="697"/>
                  </a:lnTo>
                  <a:lnTo>
                    <a:pt x="2508" y="697"/>
                  </a:lnTo>
                  <a:lnTo>
                    <a:pt x="2508" y="695"/>
                  </a:lnTo>
                  <a:lnTo>
                    <a:pt x="2506" y="695"/>
                  </a:lnTo>
                  <a:lnTo>
                    <a:pt x="2505" y="697"/>
                  </a:lnTo>
                  <a:lnTo>
                    <a:pt x="2505" y="697"/>
                  </a:lnTo>
                  <a:lnTo>
                    <a:pt x="2502" y="697"/>
                  </a:lnTo>
                  <a:lnTo>
                    <a:pt x="2502" y="698"/>
                  </a:lnTo>
                  <a:lnTo>
                    <a:pt x="2504" y="698"/>
                  </a:lnTo>
                  <a:lnTo>
                    <a:pt x="2504" y="699"/>
                  </a:lnTo>
                  <a:lnTo>
                    <a:pt x="2505" y="699"/>
                  </a:lnTo>
                  <a:lnTo>
                    <a:pt x="2506" y="698"/>
                  </a:lnTo>
                  <a:lnTo>
                    <a:pt x="2507" y="698"/>
                  </a:lnTo>
                  <a:lnTo>
                    <a:pt x="2507" y="698"/>
                  </a:lnTo>
                  <a:lnTo>
                    <a:pt x="2508" y="698"/>
                  </a:lnTo>
                  <a:lnTo>
                    <a:pt x="2509" y="698"/>
                  </a:lnTo>
                  <a:lnTo>
                    <a:pt x="2509" y="698"/>
                  </a:lnTo>
                  <a:lnTo>
                    <a:pt x="2510" y="698"/>
                  </a:lnTo>
                  <a:lnTo>
                    <a:pt x="2511" y="698"/>
                  </a:lnTo>
                  <a:lnTo>
                    <a:pt x="2511" y="698"/>
                  </a:lnTo>
                  <a:lnTo>
                    <a:pt x="2511" y="699"/>
                  </a:lnTo>
                  <a:lnTo>
                    <a:pt x="2513" y="699"/>
                  </a:lnTo>
                  <a:lnTo>
                    <a:pt x="2513" y="699"/>
                  </a:lnTo>
                  <a:lnTo>
                    <a:pt x="2513" y="699"/>
                  </a:lnTo>
                  <a:lnTo>
                    <a:pt x="2511" y="700"/>
                  </a:lnTo>
                  <a:lnTo>
                    <a:pt x="2511" y="699"/>
                  </a:lnTo>
                  <a:lnTo>
                    <a:pt x="2511" y="700"/>
                  </a:lnTo>
                  <a:lnTo>
                    <a:pt x="2511" y="701"/>
                  </a:lnTo>
                  <a:lnTo>
                    <a:pt x="2513" y="701"/>
                  </a:lnTo>
                  <a:lnTo>
                    <a:pt x="2513" y="702"/>
                  </a:lnTo>
                  <a:lnTo>
                    <a:pt x="2513" y="702"/>
                  </a:lnTo>
                  <a:lnTo>
                    <a:pt x="2513" y="705"/>
                  </a:lnTo>
                  <a:lnTo>
                    <a:pt x="2513" y="705"/>
                  </a:lnTo>
                  <a:lnTo>
                    <a:pt x="2511" y="706"/>
                  </a:lnTo>
                  <a:lnTo>
                    <a:pt x="2511" y="707"/>
                  </a:lnTo>
                  <a:lnTo>
                    <a:pt x="2513" y="708"/>
                  </a:lnTo>
                  <a:lnTo>
                    <a:pt x="2514" y="709"/>
                  </a:lnTo>
                  <a:lnTo>
                    <a:pt x="2514" y="709"/>
                  </a:lnTo>
                  <a:lnTo>
                    <a:pt x="2514" y="709"/>
                  </a:lnTo>
                  <a:lnTo>
                    <a:pt x="2514" y="710"/>
                  </a:lnTo>
                  <a:lnTo>
                    <a:pt x="2515" y="711"/>
                  </a:lnTo>
                  <a:lnTo>
                    <a:pt x="2516" y="711"/>
                  </a:lnTo>
                  <a:lnTo>
                    <a:pt x="2516" y="712"/>
                  </a:lnTo>
                  <a:lnTo>
                    <a:pt x="2516" y="714"/>
                  </a:lnTo>
                  <a:close/>
                  <a:moveTo>
                    <a:pt x="2524" y="685"/>
                  </a:moveTo>
                  <a:lnTo>
                    <a:pt x="2524" y="686"/>
                  </a:lnTo>
                  <a:lnTo>
                    <a:pt x="2523" y="686"/>
                  </a:lnTo>
                  <a:lnTo>
                    <a:pt x="2523" y="688"/>
                  </a:lnTo>
                  <a:lnTo>
                    <a:pt x="2522" y="688"/>
                  </a:lnTo>
                  <a:lnTo>
                    <a:pt x="2522" y="688"/>
                  </a:lnTo>
                  <a:lnTo>
                    <a:pt x="2522" y="688"/>
                  </a:lnTo>
                  <a:lnTo>
                    <a:pt x="2521" y="688"/>
                  </a:lnTo>
                  <a:lnTo>
                    <a:pt x="2519" y="689"/>
                  </a:lnTo>
                  <a:lnTo>
                    <a:pt x="2519" y="689"/>
                  </a:lnTo>
                  <a:lnTo>
                    <a:pt x="2518" y="689"/>
                  </a:lnTo>
                  <a:lnTo>
                    <a:pt x="2518" y="689"/>
                  </a:lnTo>
                  <a:lnTo>
                    <a:pt x="2517" y="689"/>
                  </a:lnTo>
                  <a:lnTo>
                    <a:pt x="2517" y="689"/>
                  </a:lnTo>
                  <a:lnTo>
                    <a:pt x="2517" y="689"/>
                  </a:lnTo>
                  <a:lnTo>
                    <a:pt x="2517" y="689"/>
                  </a:lnTo>
                  <a:lnTo>
                    <a:pt x="2517" y="688"/>
                  </a:lnTo>
                  <a:lnTo>
                    <a:pt x="2517" y="686"/>
                  </a:lnTo>
                  <a:lnTo>
                    <a:pt x="2517" y="686"/>
                  </a:lnTo>
                  <a:lnTo>
                    <a:pt x="2517" y="685"/>
                  </a:lnTo>
                  <a:lnTo>
                    <a:pt x="2517" y="685"/>
                  </a:lnTo>
                  <a:lnTo>
                    <a:pt x="2516" y="684"/>
                  </a:lnTo>
                  <a:lnTo>
                    <a:pt x="2516" y="684"/>
                  </a:lnTo>
                  <a:lnTo>
                    <a:pt x="2516" y="685"/>
                  </a:lnTo>
                  <a:lnTo>
                    <a:pt x="2516" y="685"/>
                  </a:lnTo>
                  <a:lnTo>
                    <a:pt x="2515" y="685"/>
                  </a:lnTo>
                  <a:lnTo>
                    <a:pt x="2515" y="685"/>
                  </a:lnTo>
                  <a:lnTo>
                    <a:pt x="2514" y="685"/>
                  </a:lnTo>
                  <a:lnTo>
                    <a:pt x="2514" y="685"/>
                  </a:lnTo>
                  <a:lnTo>
                    <a:pt x="2513" y="685"/>
                  </a:lnTo>
                  <a:lnTo>
                    <a:pt x="2513" y="685"/>
                  </a:lnTo>
                  <a:lnTo>
                    <a:pt x="2511" y="684"/>
                  </a:lnTo>
                  <a:lnTo>
                    <a:pt x="2511" y="684"/>
                  </a:lnTo>
                  <a:lnTo>
                    <a:pt x="2510" y="684"/>
                  </a:lnTo>
                  <a:lnTo>
                    <a:pt x="2510" y="684"/>
                  </a:lnTo>
                  <a:lnTo>
                    <a:pt x="2510" y="684"/>
                  </a:lnTo>
                  <a:lnTo>
                    <a:pt x="2509" y="684"/>
                  </a:lnTo>
                  <a:lnTo>
                    <a:pt x="2508" y="684"/>
                  </a:lnTo>
                  <a:lnTo>
                    <a:pt x="2507" y="684"/>
                  </a:lnTo>
                  <a:lnTo>
                    <a:pt x="2507" y="684"/>
                  </a:lnTo>
                  <a:lnTo>
                    <a:pt x="2506" y="683"/>
                  </a:lnTo>
                  <a:lnTo>
                    <a:pt x="2506" y="683"/>
                  </a:lnTo>
                  <a:lnTo>
                    <a:pt x="2506" y="682"/>
                  </a:lnTo>
                  <a:lnTo>
                    <a:pt x="2506" y="681"/>
                  </a:lnTo>
                  <a:lnTo>
                    <a:pt x="2507" y="681"/>
                  </a:lnTo>
                  <a:lnTo>
                    <a:pt x="2507" y="681"/>
                  </a:lnTo>
                  <a:lnTo>
                    <a:pt x="2508" y="680"/>
                  </a:lnTo>
                  <a:lnTo>
                    <a:pt x="2509" y="680"/>
                  </a:lnTo>
                  <a:lnTo>
                    <a:pt x="2509" y="680"/>
                  </a:lnTo>
                  <a:lnTo>
                    <a:pt x="2510" y="680"/>
                  </a:lnTo>
                  <a:lnTo>
                    <a:pt x="2511" y="680"/>
                  </a:lnTo>
                  <a:lnTo>
                    <a:pt x="2511" y="680"/>
                  </a:lnTo>
                  <a:lnTo>
                    <a:pt x="2511" y="681"/>
                  </a:lnTo>
                  <a:lnTo>
                    <a:pt x="2511" y="682"/>
                  </a:lnTo>
                  <a:lnTo>
                    <a:pt x="2511" y="682"/>
                  </a:lnTo>
                  <a:lnTo>
                    <a:pt x="2511" y="683"/>
                  </a:lnTo>
                  <a:lnTo>
                    <a:pt x="2513" y="683"/>
                  </a:lnTo>
                  <a:lnTo>
                    <a:pt x="2513" y="682"/>
                  </a:lnTo>
                  <a:lnTo>
                    <a:pt x="2513" y="682"/>
                  </a:lnTo>
                  <a:lnTo>
                    <a:pt x="2513" y="681"/>
                  </a:lnTo>
                  <a:lnTo>
                    <a:pt x="2513" y="681"/>
                  </a:lnTo>
                  <a:lnTo>
                    <a:pt x="2514" y="681"/>
                  </a:lnTo>
                  <a:lnTo>
                    <a:pt x="2514" y="682"/>
                  </a:lnTo>
                  <a:lnTo>
                    <a:pt x="2515" y="681"/>
                  </a:lnTo>
                  <a:lnTo>
                    <a:pt x="2515" y="681"/>
                  </a:lnTo>
                  <a:lnTo>
                    <a:pt x="2516" y="681"/>
                  </a:lnTo>
                  <a:lnTo>
                    <a:pt x="2517" y="680"/>
                  </a:lnTo>
                  <a:lnTo>
                    <a:pt x="2517" y="680"/>
                  </a:lnTo>
                  <a:lnTo>
                    <a:pt x="2516" y="680"/>
                  </a:lnTo>
                  <a:lnTo>
                    <a:pt x="2515" y="678"/>
                  </a:lnTo>
                  <a:lnTo>
                    <a:pt x="2514" y="678"/>
                  </a:lnTo>
                  <a:lnTo>
                    <a:pt x="2514" y="677"/>
                  </a:lnTo>
                  <a:lnTo>
                    <a:pt x="2515" y="677"/>
                  </a:lnTo>
                  <a:lnTo>
                    <a:pt x="2516" y="678"/>
                  </a:lnTo>
                  <a:lnTo>
                    <a:pt x="2516" y="678"/>
                  </a:lnTo>
                  <a:lnTo>
                    <a:pt x="2517" y="678"/>
                  </a:lnTo>
                  <a:lnTo>
                    <a:pt x="2517" y="678"/>
                  </a:lnTo>
                  <a:lnTo>
                    <a:pt x="2517" y="680"/>
                  </a:lnTo>
                  <a:lnTo>
                    <a:pt x="2517" y="680"/>
                  </a:lnTo>
                  <a:lnTo>
                    <a:pt x="2517" y="682"/>
                  </a:lnTo>
                  <a:lnTo>
                    <a:pt x="2517" y="682"/>
                  </a:lnTo>
                  <a:lnTo>
                    <a:pt x="2518" y="683"/>
                  </a:lnTo>
                  <a:lnTo>
                    <a:pt x="2518" y="683"/>
                  </a:lnTo>
                  <a:lnTo>
                    <a:pt x="2518" y="683"/>
                  </a:lnTo>
                  <a:lnTo>
                    <a:pt x="2519" y="683"/>
                  </a:lnTo>
                  <a:lnTo>
                    <a:pt x="2521" y="683"/>
                  </a:lnTo>
                  <a:lnTo>
                    <a:pt x="2522" y="683"/>
                  </a:lnTo>
                  <a:lnTo>
                    <a:pt x="2522" y="683"/>
                  </a:lnTo>
                  <a:lnTo>
                    <a:pt x="2523" y="683"/>
                  </a:lnTo>
                  <a:lnTo>
                    <a:pt x="2523" y="683"/>
                  </a:lnTo>
                  <a:lnTo>
                    <a:pt x="2524" y="683"/>
                  </a:lnTo>
                  <a:lnTo>
                    <a:pt x="2524" y="683"/>
                  </a:lnTo>
                  <a:lnTo>
                    <a:pt x="2524" y="683"/>
                  </a:lnTo>
                  <a:lnTo>
                    <a:pt x="2524" y="685"/>
                  </a:lnTo>
                  <a:close/>
                  <a:moveTo>
                    <a:pt x="2767" y="680"/>
                  </a:moveTo>
                  <a:lnTo>
                    <a:pt x="2767" y="682"/>
                  </a:lnTo>
                  <a:lnTo>
                    <a:pt x="2765" y="684"/>
                  </a:lnTo>
                  <a:lnTo>
                    <a:pt x="2760" y="683"/>
                  </a:lnTo>
                  <a:lnTo>
                    <a:pt x="2754" y="685"/>
                  </a:lnTo>
                  <a:lnTo>
                    <a:pt x="2752" y="683"/>
                  </a:lnTo>
                  <a:lnTo>
                    <a:pt x="2749" y="683"/>
                  </a:lnTo>
                  <a:lnTo>
                    <a:pt x="2744" y="682"/>
                  </a:lnTo>
                  <a:lnTo>
                    <a:pt x="2739" y="683"/>
                  </a:lnTo>
                  <a:lnTo>
                    <a:pt x="2737" y="682"/>
                  </a:lnTo>
                  <a:lnTo>
                    <a:pt x="2731" y="681"/>
                  </a:lnTo>
                  <a:lnTo>
                    <a:pt x="2722" y="682"/>
                  </a:lnTo>
                  <a:lnTo>
                    <a:pt x="2719" y="683"/>
                  </a:lnTo>
                  <a:lnTo>
                    <a:pt x="2718" y="680"/>
                  </a:lnTo>
                  <a:lnTo>
                    <a:pt x="2717" y="683"/>
                  </a:lnTo>
                  <a:lnTo>
                    <a:pt x="2712" y="684"/>
                  </a:lnTo>
                  <a:lnTo>
                    <a:pt x="2710" y="684"/>
                  </a:lnTo>
                  <a:lnTo>
                    <a:pt x="2710" y="686"/>
                  </a:lnTo>
                  <a:lnTo>
                    <a:pt x="2706" y="690"/>
                  </a:lnTo>
                  <a:lnTo>
                    <a:pt x="2704" y="690"/>
                  </a:lnTo>
                  <a:lnTo>
                    <a:pt x="2702" y="692"/>
                  </a:lnTo>
                  <a:lnTo>
                    <a:pt x="2702" y="697"/>
                  </a:lnTo>
                  <a:lnTo>
                    <a:pt x="2698" y="699"/>
                  </a:lnTo>
                  <a:lnTo>
                    <a:pt x="2698" y="701"/>
                  </a:lnTo>
                  <a:lnTo>
                    <a:pt x="2701" y="702"/>
                  </a:lnTo>
                  <a:lnTo>
                    <a:pt x="2700" y="708"/>
                  </a:lnTo>
                  <a:lnTo>
                    <a:pt x="2698" y="708"/>
                  </a:lnTo>
                  <a:lnTo>
                    <a:pt x="2698" y="707"/>
                  </a:lnTo>
                  <a:lnTo>
                    <a:pt x="2697" y="703"/>
                  </a:lnTo>
                  <a:lnTo>
                    <a:pt x="2693" y="699"/>
                  </a:lnTo>
                  <a:lnTo>
                    <a:pt x="2692" y="695"/>
                  </a:lnTo>
                  <a:lnTo>
                    <a:pt x="2693" y="693"/>
                  </a:lnTo>
                  <a:lnTo>
                    <a:pt x="2694" y="691"/>
                  </a:lnTo>
                  <a:lnTo>
                    <a:pt x="2693" y="688"/>
                  </a:lnTo>
                  <a:lnTo>
                    <a:pt x="2695" y="686"/>
                  </a:lnTo>
                  <a:lnTo>
                    <a:pt x="2697" y="685"/>
                  </a:lnTo>
                  <a:lnTo>
                    <a:pt x="2700" y="683"/>
                  </a:lnTo>
                  <a:lnTo>
                    <a:pt x="2702" y="682"/>
                  </a:lnTo>
                  <a:lnTo>
                    <a:pt x="2705" y="681"/>
                  </a:lnTo>
                  <a:lnTo>
                    <a:pt x="2706" y="677"/>
                  </a:lnTo>
                  <a:lnTo>
                    <a:pt x="2711" y="676"/>
                  </a:lnTo>
                  <a:lnTo>
                    <a:pt x="2712" y="677"/>
                  </a:lnTo>
                  <a:lnTo>
                    <a:pt x="2717" y="678"/>
                  </a:lnTo>
                  <a:lnTo>
                    <a:pt x="2722" y="677"/>
                  </a:lnTo>
                  <a:lnTo>
                    <a:pt x="2726" y="677"/>
                  </a:lnTo>
                  <a:lnTo>
                    <a:pt x="2728" y="676"/>
                  </a:lnTo>
                  <a:lnTo>
                    <a:pt x="2730" y="680"/>
                  </a:lnTo>
                  <a:lnTo>
                    <a:pt x="2738" y="680"/>
                  </a:lnTo>
                  <a:lnTo>
                    <a:pt x="2741" y="681"/>
                  </a:lnTo>
                  <a:lnTo>
                    <a:pt x="2744" y="680"/>
                  </a:lnTo>
                  <a:lnTo>
                    <a:pt x="2750" y="678"/>
                  </a:lnTo>
                  <a:lnTo>
                    <a:pt x="2756" y="682"/>
                  </a:lnTo>
                  <a:lnTo>
                    <a:pt x="2762" y="677"/>
                  </a:lnTo>
                  <a:lnTo>
                    <a:pt x="2764" y="680"/>
                  </a:lnTo>
                  <a:lnTo>
                    <a:pt x="2765" y="677"/>
                  </a:lnTo>
                  <a:lnTo>
                    <a:pt x="2769" y="676"/>
                  </a:lnTo>
                  <a:lnTo>
                    <a:pt x="2770" y="680"/>
                  </a:lnTo>
                  <a:lnTo>
                    <a:pt x="2767" y="680"/>
                  </a:lnTo>
                  <a:close/>
                  <a:moveTo>
                    <a:pt x="3189" y="518"/>
                  </a:moveTo>
                  <a:lnTo>
                    <a:pt x="3189" y="520"/>
                  </a:lnTo>
                  <a:lnTo>
                    <a:pt x="3188" y="526"/>
                  </a:lnTo>
                  <a:lnTo>
                    <a:pt x="3188" y="528"/>
                  </a:lnTo>
                  <a:lnTo>
                    <a:pt x="3185" y="534"/>
                  </a:lnTo>
                  <a:lnTo>
                    <a:pt x="3184" y="537"/>
                  </a:lnTo>
                  <a:lnTo>
                    <a:pt x="3184" y="541"/>
                  </a:lnTo>
                  <a:lnTo>
                    <a:pt x="3185" y="545"/>
                  </a:lnTo>
                  <a:lnTo>
                    <a:pt x="3183" y="547"/>
                  </a:lnTo>
                  <a:lnTo>
                    <a:pt x="3181" y="549"/>
                  </a:lnTo>
                  <a:lnTo>
                    <a:pt x="3180" y="553"/>
                  </a:lnTo>
                  <a:lnTo>
                    <a:pt x="3178" y="554"/>
                  </a:lnTo>
                  <a:lnTo>
                    <a:pt x="3178" y="552"/>
                  </a:lnTo>
                  <a:lnTo>
                    <a:pt x="3175" y="551"/>
                  </a:lnTo>
                  <a:lnTo>
                    <a:pt x="3171" y="556"/>
                  </a:lnTo>
                  <a:lnTo>
                    <a:pt x="3174" y="555"/>
                  </a:lnTo>
                  <a:lnTo>
                    <a:pt x="3176" y="556"/>
                  </a:lnTo>
                  <a:lnTo>
                    <a:pt x="3178" y="558"/>
                  </a:lnTo>
                  <a:lnTo>
                    <a:pt x="3174" y="561"/>
                  </a:lnTo>
                  <a:lnTo>
                    <a:pt x="3172" y="561"/>
                  </a:lnTo>
                  <a:lnTo>
                    <a:pt x="3168" y="563"/>
                  </a:lnTo>
                  <a:lnTo>
                    <a:pt x="3167" y="566"/>
                  </a:lnTo>
                  <a:lnTo>
                    <a:pt x="3163" y="570"/>
                  </a:lnTo>
                  <a:lnTo>
                    <a:pt x="3159" y="571"/>
                  </a:lnTo>
                  <a:lnTo>
                    <a:pt x="3157" y="572"/>
                  </a:lnTo>
                  <a:lnTo>
                    <a:pt x="3151" y="574"/>
                  </a:lnTo>
                  <a:lnTo>
                    <a:pt x="3149" y="575"/>
                  </a:lnTo>
                  <a:lnTo>
                    <a:pt x="3147" y="579"/>
                  </a:lnTo>
                  <a:lnTo>
                    <a:pt x="3145" y="578"/>
                  </a:lnTo>
                  <a:lnTo>
                    <a:pt x="3141" y="578"/>
                  </a:lnTo>
                  <a:lnTo>
                    <a:pt x="3140" y="579"/>
                  </a:lnTo>
                  <a:lnTo>
                    <a:pt x="3140" y="580"/>
                  </a:lnTo>
                  <a:lnTo>
                    <a:pt x="3140" y="581"/>
                  </a:lnTo>
                  <a:lnTo>
                    <a:pt x="3137" y="587"/>
                  </a:lnTo>
                  <a:lnTo>
                    <a:pt x="3134" y="589"/>
                  </a:lnTo>
                  <a:lnTo>
                    <a:pt x="3122" y="592"/>
                  </a:lnTo>
                  <a:lnTo>
                    <a:pt x="3120" y="594"/>
                  </a:lnTo>
                  <a:lnTo>
                    <a:pt x="3115" y="594"/>
                  </a:lnTo>
                  <a:lnTo>
                    <a:pt x="3107" y="591"/>
                  </a:lnTo>
                  <a:lnTo>
                    <a:pt x="3110" y="589"/>
                  </a:lnTo>
                  <a:lnTo>
                    <a:pt x="3115" y="588"/>
                  </a:lnTo>
                  <a:lnTo>
                    <a:pt x="3117" y="588"/>
                  </a:lnTo>
                  <a:lnTo>
                    <a:pt x="3120" y="587"/>
                  </a:lnTo>
                  <a:lnTo>
                    <a:pt x="3122" y="587"/>
                  </a:lnTo>
                  <a:lnTo>
                    <a:pt x="3125" y="586"/>
                  </a:lnTo>
                  <a:lnTo>
                    <a:pt x="3131" y="582"/>
                  </a:lnTo>
                  <a:lnTo>
                    <a:pt x="3134" y="577"/>
                  </a:lnTo>
                  <a:lnTo>
                    <a:pt x="3137" y="574"/>
                  </a:lnTo>
                  <a:lnTo>
                    <a:pt x="3142" y="572"/>
                  </a:lnTo>
                  <a:lnTo>
                    <a:pt x="3145" y="570"/>
                  </a:lnTo>
                  <a:lnTo>
                    <a:pt x="3148" y="566"/>
                  </a:lnTo>
                  <a:lnTo>
                    <a:pt x="3148" y="564"/>
                  </a:lnTo>
                  <a:lnTo>
                    <a:pt x="3150" y="562"/>
                  </a:lnTo>
                  <a:lnTo>
                    <a:pt x="3156" y="558"/>
                  </a:lnTo>
                  <a:lnTo>
                    <a:pt x="3161" y="553"/>
                  </a:lnTo>
                  <a:lnTo>
                    <a:pt x="3165" y="549"/>
                  </a:lnTo>
                  <a:lnTo>
                    <a:pt x="3168" y="544"/>
                  </a:lnTo>
                  <a:lnTo>
                    <a:pt x="3171" y="541"/>
                  </a:lnTo>
                  <a:lnTo>
                    <a:pt x="3171" y="539"/>
                  </a:lnTo>
                  <a:lnTo>
                    <a:pt x="3173" y="537"/>
                  </a:lnTo>
                  <a:lnTo>
                    <a:pt x="3174" y="535"/>
                  </a:lnTo>
                  <a:lnTo>
                    <a:pt x="3176" y="529"/>
                  </a:lnTo>
                  <a:lnTo>
                    <a:pt x="3180" y="526"/>
                  </a:lnTo>
                  <a:lnTo>
                    <a:pt x="3180" y="523"/>
                  </a:lnTo>
                  <a:lnTo>
                    <a:pt x="3180" y="520"/>
                  </a:lnTo>
                  <a:lnTo>
                    <a:pt x="3181" y="518"/>
                  </a:lnTo>
                  <a:lnTo>
                    <a:pt x="3185" y="513"/>
                  </a:lnTo>
                  <a:lnTo>
                    <a:pt x="3189" y="514"/>
                  </a:lnTo>
                  <a:lnTo>
                    <a:pt x="3185" y="513"/>
                  </a:lnTo>
                  <a:lnTo>
                    <a:pt x="3189" y="513"/>
                  </a:lnTo>
                  <a:lnTo>
                    <a:pt x="3190" y="514"/>
                  </a:lnTo>
                  <a:lnTo>
                    <a:pt x="3189" y="5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0000"/>
                </a:lnSpc>
              </a:pPr>
              <a:endParaRPr lang="en-US"/>
            </a:p>
          </p:txBody>
        </p:sp>
      </p:grpSp>
      <p:sp>
        <p:nvSpPr>
          <p:cNvPr id="241" name="object 3">
            <a:extLst>
              <a:ext uri="{FF2B5EF4-FFF2-40B4-BE49-F238E27FC236}">
                <a16:creationId xmlns:a16="http://schemas.microsoft.com/office/drawing/2014/main" id="{91789934-6D4E-4034-AC54-51944D9317C8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259703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w/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21AC70C-74C6-4F80-AC42-3E4A407429D3}"/>
              </a:ext>
            </a:extLst>
          </p:cNvPr>
          <p:cNvSpPr>
            <a:spLocks noGrp="1"/>
          </p:cNvSpPr>
          <p:nvPr>
            <p:ph type="sldNum" sz="quarter" idx="56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FD33F5D-E5AF-4F70-8B10-36E172463A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200" y="346108"/>
            <a:ext cx="7524801" cy="4985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DB6CF34-CD6E-459F-80DF-0FD49107B5FB}"/>
              </a:ext>
            </a:extLst>
          </p:cNvPr>
          <p:cNvSpPr>
            <a:spLocks noGrp="1"/>
          </p:cNvSpPr>
          <p:nvPr>
            <p:ph type="tbl" sz="quarter" idx="54"/>
          </p:nvPr>
        </p:nvSpPr>
        <p:spPr>
          <a:xfrm>
            <a:off x="381001" y="1717675"/>
            <a:ext cx="7493000" cy="4327525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CA"/>
          </a:p>
        </p:txBody>
      </p:sp>
      <p:sp>
        <p:nvSpPr>
          <p:cNvPr id="8" name="Picture Placeholder 10">
            <a:extLst>
              <a:ext uri="{FF2B5EF4-FFF2-40B4-BE49-F238E27FC236}">
                <a16:creationId xmlns:a16="http://schemas.microsoft.com/office/drawing/2014/main" id="{DE891729-9EA8-488D-8B96-300F4A9FA42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567530" y="-1"/>
            <a:ext cx="3624470" cy="6045199"/>
          </a:xfrm>
          <a:custGeom>
            <a:avLst/>
            <a:gdLst>
              <a:gd name="connsiteX0" fmla="*/ 0 w 5302251"/>
              <a:gd name="connsiteY0" fmla="*/ 0 h 6056313"/>
              <a:gd name="connsiteX1" fmla="*/ 5302251 w 5302251"/>
              <a:gd name="connsiteY1" fmla="*/ 0 h 6056313"/>
              <a:gd name="connsiteX2" fmla="*/ 5302251 w 5302251"/>
              <a:gd name="connsiteY2" fmla="*/ 6056313 h 6056313"/>
              <a:gd name="connsiteX3" fmla="*/ 932984 w 5302251"/>
              <a:gd name="connsiteY3" fmla="*/ 6056313 h 6056313"/>
              <a:gd name="connsiteX4" fmla="*/ 0 w 5302251"/>
              <a:gd name="connsiteY4" fmla="*/ 6056313 h 6056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02251" h="6056313">
                <a:moveTo>
                  <a:pt x="0" y="0"/>
                </a:moveTo>
                <a:lnTo>
                  <a:pt x="5302251" y="0"/>
                </a:lnTo>
                <a:lnTo>
                  <a:pt x="5302251" y="6056313"/>
                </a:lnTo>
                <a:lnTo>
                  <a:pt x="932984" y="6056313"/>
                </a:lnTo>
                <a:lnTo>
                  <a:pt x="0" y="60563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0" tIns="0" rIns="720000" bIns="900000" anchor="ctr" anchorCtr="0">
            <a:noAutofit/>
          </a:bodyPr>
          <a:lstStyle>
            <a:lvl1pPr algn="ctr">
              <a:spcBef>
                <a:spcPts val="0"/>
              </a:spcBef>
              <a:defRPr sz="1400" b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</a:t>
            </a:r>
          </a:p>
        </p:txBody>
      </p:sp>
      <p:sp>
        <p:nvSpPr>
          <p:cNvPr id="6" name="object 3">
            <a:extLst>
              <a:ext uri="{FF2B5EF4-FFF2-40B4-BE49-F238E27FC236}">
                <a16:creationId xmlns:a16="http://schemas.microsoft.com/office/drawing/2014/main" id="{21E5D242-E124-4CF1-8050-5688BE5497F7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3773518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w/t Subtit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98C37BF-BB95-40B4-838B-2E48FCD53BAD}"/>
              </a:ext>
            </a:extLst>
          </p:cNvPr>
          <p:cNvSpPr>
            <a:spLocks noGrp="1"/>
          </p:cNvSpPr>
          <p:nvPr>
            <p:ph type="sldNum" sz="quarter" idx="56"/>
          </p:nvPr>
        </p:nvSpPr>
        <p:spPr/>
        <p:txBody>
          <a:bodyPr/>
          <a:lstStyle/>
          <a:p>
            <a:fld id="{876872E1-3CB8-45EA-A826-1429BD5BE353}" type="slidenum">
              <a:rPr lang="en-CA" smtClean="0"/>
              <a:pPr/>
              <a:t>‹#›</a:t>
            </a:fld>
            <a:endParaRPr lang="en-CA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F0A02FF-F468-4DF7-B639-3F513C135E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200" y="346108"/>
            <a:ext cx="7524801" cy="4985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477317F9-9874-2B41-969B-D857E46777C8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63600" y="784800"/>
            <a:ext cx="7510401" cy="422405"/>
          </a:xfrm>
          <a:prstGeom prst="rect">
            <a:avLst/>
          </a:prstGeom>
        </p:spPr>
        <p:txBody>
          <a:bodyPr wrap="square" lIns="0" tIns="144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800">
                <a:solidFill>
                  <a:schemeClr val="tx1"/>
                </a:solidFill>
                <a:latin typeface="Arial Nova Light" panose="020B0304020202020204" pitchFamily="34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at 18 pt, align to the baseline of the title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FDB6CF34-CD6E-459F-80DF-0FD49107B5FB}"/>
              </a:ext>
            </a:extLst>
          </p:cNvPr>
          <p:cNvSpPr>
            <a:spLocks noGrp="1"/>
          </p:cNvSpPr>
          <p:nvPr>
            <p:ph type="tbl" sz="quarter" idx="54"/>
          </p:nvPr>
        </p:nvSpPr>
        <p:spPr>
          <a:xfrm>
            <a:off x="381001" y="2072070"/>
            <a:ext cx="7493000" cy="3973130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CA"/>
          </a:p>
        </p:txBody>
      </p:sp>
      <p:sp>
        <p:nvSpPr>
          <p:cNvPr id="8" name="Picture Placeholder 10">
            <a:extLst>
              <a:ext uri="{FF2B5EF4-FFF2-40B4-BE49-F238E27FC236}">
                <a16:creationId xmlns:a16="http://schemas.microsoft.com/office/drawing/2014/main" id="{DE891729-9EA8-488D-8B96-300F4A9FA42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567530" y="-1"/>
            <a:ext cx="3624470" cy="6045199"/>
          </a:xfrm>
          <a:custGeom>
            <a:avLst/>
            <a:gdLst>
              <a:gd name="connsiteX0" fmla="*/ 0 w 5302251"/>
              <a:gd name="connsiteY0" fmla="*/ 0 h 6056313"/>
              <a:gd name="connsiteX1" fmla="*/ 5302251 w 5302251"/>
              <a:gd name="connsiteY1" fmla="*/ 0 h 6056313"/>
              <a:gd name="connsiteX2" fmla="*/ 5302251 w 5302251"/>
              <a:gd name="connsiteY2" fmla="*/ 6056313 h 6056313"/>
              <a:gd name="connsiteX3" fmla="*/ 932984 w 5302251"/>
              <a:gd name="connsiteY3" fmla="*/ 6056313 h 6056313"/>
              <a:gd name="connsiteX4" fmla="*/ 0 w 5302251"/>
              <a:gd name="connsiteY4" fmla="*/ 6056313 h 6056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02251" h="6056313">
                <a:moveTo>
                  <a:pt x="0" y="0"/>
                </a:moveTo>
                <a:lnTo>
                  <a:pt x="5302251" y="0"/>
                </a:lnTo>
                <a:lnTo>
                  <a:pt x="5302251" y="6056313"/>
                </a:lnTo>
                <a:lnTo>
                  <a:pt x="932984" y="6056313"/>
                </a:lnTo>
                <a:lnTo>
                  <a:pt x="0" y="60563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0" tIns="0" rIns="720000" bIns="900000" anchor="ctr" anchorCtr="0">
            <a:noAutofit/>
          </a:bodyPr>
          <a:lstStyle>
            <a:lvl1pPr algn="ctr">
              <a:spcBef>
                <a:spcPts val="0"/>
              </a:spcBef>
              <a:defRPr sz="1400" b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</a:t>
            </a:r>
          </a:p>
        </p:txBody>
      </p:sp>
      <p:sp>
        <p:nvSpPr>
          <p:cNvPr id="10" name="object 3">
            <a:extLst>
              <a:ext uri="{FF2B5EF4-FFF2-40B4-BE49-F238E27FC236}">
                <a16:creationId xmlns:a16="http://schemas.microsoft.com/office/drawing/2014/main" id="{15BB3A42-4B47-4BF5-8450-6606BA68B0C9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0811857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1.1 –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719E2DBE-8B18-4E2E-AE9F-7700CC37B66E}"/>
              </a:ext>
            </a:extLst>
          </p:cNvPr>
          <p:cNvSpPr>
            <a:spLocks noGrp="1"/>
          </p:cNvSpPr>
          <p:nvPr>
            <p:ph type="sldNum" sz="quarter" idx="38"/>
          </p:nvPr>
        </p:nvSpPr>
        <p:spPr/>
        <p:txBody>
          <a:bodyPr/>
          <a:lstStyle/>
          <a:p>
            <a:fld id="{FC1BBE33-A891-48E8-970C-4A8D55F96D53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9B4999-EAA8-4CA8-A67B-BC7BA786AC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able Placeholder 3">
            <a:extLst>
              <a:ext uri="{FF2B5EF4-FFF2-40B4-BE49-F238E27FC236}">
                <a16:creationId xmlns:a16="http://schemas.microsoft.com/office/drawing/2014/main" id="{23C0B527-8DAD-4487-A802-A0755E41DEC8}"/>
              </a:ext>
            </a:extLst>
          </p:cNvPr>
          <p:cNvSpPr>
            <a:spLocks noGrp="1"/>
          </p:cNvSpPr>
          <p:nvPr>
            <p:ph type="tbl" sz="quarter" idx="39"/>
          </p:nvPr>
        </p:nvSpPr>
        <p:spPr>
          <a:xfrm>
            <a:off x="374360" y="1828801"/>
            <a:ext cx="11435053" cy="4227512"/>
          </a:xfrm>
        </p:spPr>
        <p:txBody>
          <a:bodyPr/>
          <a:lstStyle>
            <a:lvl1pPr>
              <a:defRPr sz="1400"/>
            </a:lvl1pPr>
          </a:lstStyle>
          <a:p>
            <a:r>
              <a:rPr lang="en-US"/>
              <a:t>Click icon to add table</a:t>
            </a:r>
            <a:endParaRPr lang="en-AU"/>
          </a:p>
        </p:txBody>
      </p:sp>
      <p:sp>
        <p:nvSpPr>
          <p:cNvPr id="5" name="object 3">
            <a:extLst>
              <a:ext uri="{FF2B5EF4-FFF2-40B4-BE49-F238E27FC236}">
                <a16:creationId xmlns:a16="http://schemas.microsoft.com/office/drawing/2014/main" id="{D0477C86-4501-4A6B-935B-F421619416F3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7637083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 1.1 – On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A410333-FC2D-44E8-ABAD-5A7E593022C3}"/>
              </a:ext>
            </a:extLst>
          </p:cNvPr>
          <p:cNvSpPr>
            <a:spLocks noGrp="1"/>
          </p:cNvSpPr>
          <p:nvPr>
            <p:ph type="sldNum" sz="quarter" idx="38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D4F3D8C2-93E4-4AAA-B4F2-182543BC83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4245" y="1335323"/>
            <a:ext cx="3962401" cy="116339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Insert heading minimum 28 pt max 3 lines</a:t>
            </a:r>
            <a:endParaRPr lang="en-GB"/>
          </a:p>
        </p:txBody>
      </p:sp>
      <p:sp>
        <p:nvSpPr>
          <p:cNvPr id="10" name="Intro">
            <a:extLst>
              <a:ext uri="{FF2B5EF4-FFF2-40B4-BE49-F238E27FC236}">
                <a16:creationId xmlns:a16="http://schemas.microsoft.com/office/drawing/2014/main" id="{AA5E0EF5-69CD-41AF-B569-DBF3F6FC77F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59206" y="2847703"/>
            <a:ext cx="3957207" cy="3225388"/>
          </a:xfrm>
        </p:spPr>
        <p:txBody>
          <a:bodyPr tIns="288000"/>
          <a:lstStyle>
            <a:lvl1pPr>
              <a:defRPr sz="20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1800"/>
            </a:lvl2pPr>
            <a:lvl3pPr marL="360000" indent="-180000">
              <a:defRPr sz="1600"/>
            </a:lvl3pPr>
            <a:lvl4pPr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marL="360000" lvl="3" indent="-1800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–"/>
            </a:pPr>
            <a:r>
              <a:rPr lang="en-US"/>
              <a:t>Third level</a:t>
            </a:r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33"/>
          </p:nvPr>
        </p:nvSpPr>
        <p:spPr>
          <a:xfrm>
            <a:off x="4922838" y="1443038"/>
            <a:ext cx="6886575" cy="4602162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8" name="object 3">
            <a:extLst>
              <a:ext uri="{FF2B5EF4-FFF2-40B4-BE49-F238E27FC236}">
                <a16:creationId xmlns:a16="http://schemas.microsoft.com/office/drawing/2014/main" id="{F300110D-EA60-45CC-BDAD-F0A503643CF9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5465572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 1.1 – One chart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y BG">
            <a:extLst>
              <a:ext uri="{FF2B5EF4-FFF2-40B4-BE49-F238E27FC236}">
                <a16:creationId xmlns:a16="http://schemas.microsoft.com/office/drawing/2014/main" id="{0701F613-758A-4A4F-B028-530A6A2341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537276" y="0"/>
            <a:ext cx="7654724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>
              <a:solidFill>
                <a:schemeClr val="bg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9CA9204-E9A0-4986-B8FC-EF6CC163E538}"/>
              </a:ext>
            </a:extLst>
          </p:cNvPr>
          <p:cNvSpPr>
            <a:spLocks noGrp="1"/>
          </p:cNvSpPr>
          <p:nvPr>
            <p:ph type="sldNum" sz="quarter" idx="38"/>
          </p:nvPr>
        </p:nvSpPr>
        <p:spPr/>
        <p:txBody>
          <a:bodyPr/>
          <a:lstStyle/>
          <a:p>
            <a:fld id="{876872E1-3CB8-45EA-A826-1429BD5BE353}" type="slidenum">
              <a:rPr lang="en-CA" smtClean="0"/>
              <a:pPr/>
              <a:t>‹#›</a:t>
            </a:fld>
            <a:endParaRPr lang="en-CA"/>
          </a:p>
        </p:txBody>
      </p:sp>
      <p:sp>
        <p:nvSpPr>
          <p:cNvPr id="8" name="Title 6">
            <a:extLst>
              <a:ext uri="{FF2B5EF4-FFF2-40B4-BE49-F238E27FC236}">
                <a16:creationId xmlns:a16="http://schemas.microsoft.com/office/drawing/2014/main" id="{46FF8C9B-4BA7-4F4F-8F5E-25A0572691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4245" y="1335323"/>
            <a:ext cx="3962401" cy="116339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Insert heading minimum 28 pt max 3 lines</a:t>
            </a:r>
            <a:endParaRPr lang="en-GB"/>
          </a:p>
        </p:txBody>
      </p:sp>
      <p:sp>
        <p:nvSpPr>
          <p:cNvPr id="11" name="Intro">
            <a:extLst>
              <a:ext uri="{FF2B5EF4-FFF2-40B4-BE49-F238E27FC236}">
                <a16:creationId xmlns:a16="http://schemas.microsoft.com/office/drawing/2014/main" id="{160F2AF5-03AA-4256-9CD6-96FA0CAC020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59206" y="2847703"/>
            <a:ext cx="3957207" cy="3225388"/>
          </a:xfrm>
        </p:spPr>
        <p:txBody>
          <a:bodyPr tIns="288000"/>
          <a:lstStyle>
            <a:lvl1pPr>
              <a:defRPr sz="20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1800"/>
            </a:lvl2pPr>
            <a:lvl3pPr marL="360000" indent="-180000">
              <a:defRPr sz="1600"/>
            </a:lvl3pPr>
            <a:lvl4pPr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marL="360000" lvl="3" indent="-1800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–"/>
            </a:pPr>
            <a:r>
              <a:rPr lang="en-US"/>
              <a:t>Third level</a:t>
            </a:r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33"/>
          </p:nvPr>
        </p:nvSpPr>
        <p:spPr>
          <a:xfrm>
            <a:off x="4922838" y="1443038"/>
            <a:ext cx="6886575" cy="4602162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10" name="object 3">
            <a:extLst>
              <a:ext uri="{FF2B5EF4-FFF2-40B4-BE49-F238E27FC236}">
                <a16:creationId xmlns:a16="http://schemas.microsoft.com/office/drawing/2014/main" id="{690DBB2D-3585-473C-BE20-415F5AA1C832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079E3429-D07C-4A11-9B8C-E9FFA5F1DD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39084" y="6432376"/>
            <a:ext cx="1311547" cy="228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373484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 1.2 – 6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DA4679F-74A6-401D-A949-BC34C4A5FB81}"/>
              </a:ext>
            </a:extLst>
          </p:cNvPr>
          <p:cNvSpPr>
            <a:spLocks noGrp="1"/>
          </p:cNvSpPr>
          <p:nvPr>
            <p:ph type="sldNum" sz="quarter" idx="57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6" name="Title 6">
            <a:extLst>
              <a:ext uri="{FF2B5EF4-FFF2-40B4-BE49-F238E27FC236}">
                <a16:creationId xmlns:a16="http://schemas.microsoft.com/office/drawing/2014/main" id="{D9F4D5AD-B81B-4A68-B253-D8F4236DD0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4245" y="711817"/>
            <a:ext cx="3995617" cy="116339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Insert heading minimum 28 pt max 3 lines</a:t>
            </a:r>
            <a:endParaRPr lang="en-GB"/>
          </a:p>
        </p:txBody>
      </p:sp>
      <p:sp>
        <p:nvSpPr>
          <p:cNvPr id="19" name="Intro">
            <a:extLst>
              <a:ext uri="{FF2B5EF4-FFF2-40B4-BE49-F238E27FC236}">
                <a16:creationId xmlns:a16="http://schemas.microsoft.com/office/drawing/2014/main" id="{69E4B6A9-DE5F-4B96-B2FD-5D1C783EDEB8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59206" y="2223390"/>
            <a:ext cx="3990379" cy="3821810"/>
          </a:xfrm>
        </p:spPr>
        <p:txBody>
          <a:bodyPr tIns="288000"/>
          <a:lstStyle>
            <a:lvl1pPr>
              <a:defRPr sz="20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1800"/>
            </a:lvl2pPr>
            <a:lvl3pPr marL="360000" indent="-180000">
              <a:defRPr sz="1600"/>
            </a:lvl3pPr>
            <a:lvl4pPr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marL="360000" lvl="3" indent="-1800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–"/>
            </a:pPr>
            <a:r>
              <a:rPr lang="en-US"/>
              <a:t>Third level</a:t>
            </a:r>
          </a:p>
        </p:txBody>
      </p:sp>
      <p:sp>
        <p:nvSpPr>
          <p:cNvPr id="8" name="Chart Placeholder 1">
            <a:extLst>
              <a:ext uri="{FF2B5EF4-FFF2-40B4-BE49-F238E27FC236}">
                <a16:creationId xmlns:a16="http://schemas.microsoft.com/office/drawing/2014/main" id="{1EDC7A07-DD9E-43B1-A097-7057C5337015}"/>
              </a:ext>
            </a:extLst>
          </p:cNvPr>
          <p:cNvSpPr>
            <a:spLocks noGrp="1" noChangeAspect="1"/>
          </p:cNvSpPr>
          <p:nvPr>
            <p:ph type="chart" sz="quarter" idx="37"/>
          </p:nvPr>
        </p:nvSpPr>
        <p:spPr>
          <a:xfrm>
            <a:off x="4994006" y="714881"/>
            <a:ext cx="1656000" cy="1656000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10" name="Text Placeholder 1">
            <a:extLst>
              <a:ext uri="{FF2B5EF4-FFF2-40B4-BE49-F238E27FC236}">
                <a16:creationId xmlns:a16="http://schemas.microsoft.com/office/drawing/2014/main" id="{5E9DA5B5-A33D-4295-984D-C1ECB0A8752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814006" y="2508786"/>
            <a:ext cx="2016000" cy="648000"/>
          </a:xfrm>
        </p:spPr>
        <p:txBody>
          <a:bodyPr anchor="t"/>
          <a:lstStyle>
            <a:lvl1pPr algn="ctr">
              <a:spcBef>
                <a:spcPts val="0"/>
              </a:spcBef>
              <a:defRPr sz="14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Insert text maximum </a:t>
            </a:r>
            <a:br>
              <a:rPr lang="en-US"/>
            </a:br>
            <a:r>
              <a:rPr lang="en-US"/>
              <a:t>3 lines, minimum 14pt with single line spacing</a:t>
            </a:r>
          </a:p>
        </p:txBody>
      </p:sp>
      <p:sp>
        <p:nvSpPr>
          <p:cNvPr id="12" name="Chart Placeholder 2">
            <a:extLst>
              <a:ext uri="{FF2B5EF4-FFF2-40B4-BE49-F238E27FC236}">
                <a16:creationId xmlns:a16="http://schemas.microsoft.com/office/drawing/2014/main" id="{A8E36424-CB6B-4351-94B1-8C00A40EF549}"/>
              </a:ext>
            </a:extLst>
          </p:cNvPr>
          <p:cNvSpPr>
            <a:spLocks noGrp="1" noChangeAspect="1"/>
          </p:cNvSpPr>
          <p:nvPr>
            <p:ph type="chart" sz="quarter" idx="46"/>
          </p:nvPr>
        </p:nvSpPr>
        <p:spPr>
          <a:xfrm>
            <a:off x="7482816" y="714881"/>
            <a:ext cx="1656000" cy="1656000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9989B54D-209A-40C5-9EE6-40A0DF4DA95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7302816" y="2508786"/>
            <a:ext cx="2016000" cy="648000"/>
          </a:xfrm>
        </p:spPr>
        <p:txBody>
          <a:bodyPr anchor="t"/>
          <a:lstStyle>
            <a:lvl1pPr algn="ctr">
              <a:spcBef>
                <a:spcPts val="0"/>
              </a:spcBef>
              <a:defRPr sz="14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Insert text maximum </a:t>
            </a:r>
            <a:br>
              <a:rPr lang="en-US"/>
            </a:br>
            <a:r>
              <a:rPr lang="en-US"/>
              <a:t>3 lines, minimum 14pt with single line spacing</a:t>
            </a:r>
          </a:p>
        </p:txBody>
      </p:sp>
      <p:sp>
        <p:nvSpPr>
          <p:cNvPr id="16" name="Chart Placeholder 3">
            <a:extLst>
              <a:ext uri="{FF2B5EF4-FFF2-40B4-BE49-F238E27FC236}">
                <a16:creationId xmlns:a16="http://schemas.microsoft.com/office/drawing/2014/main" id="{A5F814F9-1624-48F0-AADA-CD4AA6742C8A}"/>
              </a:ext>
            </a:extLst>
          </p:cNvPr>
          <p:cNvSpPr>
            <a:spLocks noGrp="1" noChangeAspect="1"/>
          </p:cNvSpPr>
          <p:nvPr>
            <p:ph type="chart" sz="quarter" idx="48"/>
          </p:nvPr>
        </p:nvSpPr>
        <p:spPr>
          <a:xfrm>
            <a:off x="9971626" y="714881"/>
            <a:ext cx="1656000" cy="1656000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08DC8DB0-79EF-4DD9-944D-25643984DA1F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9791626" y="2508786"/>
            <a:ext cx="2016000" cy="648000"/>
          </a:xfrm>
        </p:spPr>
        <p:txBody>
          <a:bodyPr anchor="t"/>
          <a:lstStyle>
            <a:lvl1pPr algn="ctr">
              <a:spcBef>
                <a:spcPts val="0"/>
              </a:spcBef>
              <a:defRPr sz="14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Insert text maximum </a:t>
            </a:r>
            <a:br>
              <a:rPr lang="en-US"/>
            </a:br>
            <a:r>
              <a:rPr lang="en-US"/>
              <a:t>3 lines, minimum 14pt with single line spacing</a:t>
            </a:r>
          </a:p>
        </p:txBody>
      </p:sp>
      <p:sp>
        <p:nvSpPr>
          <p:cNvPr id="20" name="Chart Placeholder 4">
            <a:extLst>
              <a:ext uri="{FF2B5EF4-FFF2-40B4-BE49-F238E27FC236}">
                <a16:creationId xmlns:a16="http://schemas.microsoft.com/office/drawing/2014/main" id="{9B6555CE-AB4C-428F-8187-FFDE6E88A07C}"/>
              </a:ext>
            </a:extLst>
          </p:cNvPr>
          <p:cNvSpPr>
            <a:spLocks noGrp="1" noChangeAspect="1"/>
          </p:cNvSpPr>
          <p:nvPr>
            <p:ph type="chart" sz="quarter" idx="50"/>
          </p:nvPr>
        </p:nvSpPr>
        <p:spPr>
          <a:xfrm>
            <a:off x="4994006" y="3620392"/>
            <a:ext cx="1656000" cy="1656000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D7DCDA56-2896-4F73-8DBC-3DB4E3A4C9FE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4814006" y="5396025"/>
            <a:ext cx="2016000" cy="648000"/>
          </a:xfrm>
        </p:spPr>
        <p:txBody>
          <a:bodyPr anchor="t"/>
          <a:lstStyle>
            <a:lvl1pPr algn="ctr">
              <a:spcBef>
                <a:spcPts val="0"/>
              </a:spcBef>
              <a:defRPr sz="14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Insert text maximum </a:t>
            </a:r>
            <a:br>
              <a:rPr lang="en-US"/>
            </a:br>
            <a:r>
              <a:rPr lang="en-US"/>
              <a:t>3 lines, minimum 14pt with single line spacing</a:t>
            </a:r>
          </a:p>
        </p:txBody>
      </p:sp>
      <p:sp>
        <p:nvSpPr>
          <p:cNvPr id="22" name="Chart Placeholder 5">
            <a:extLst>
              <a:ext uri="{FF2B5EF4-FFF2-40B4-BE49-F238E27FC236}">
                <a16:creationId xmlns:a16="http://schemas.microsoft.com/office/drawing/2014/main" id="{96FC2006-D20C-4561-A4D6-A5AC4094BE11}"/>
              </a:ext>
            </a:extLst>
          </p:cNvPr>
          <p:cNvSpPr>
            <a:spLocks noGrp="1" noChangeAspect="1"/>
          </p:cNvSpPr>
          <p:nvPr>
            <p:ph type="chart" sz="quarter" idx="52"/>
          </p:nvPr>
        </p:nvSpPr>
        <p:spPr>
          <a:xfrm>
            <a:off x="7482816" y="3620392"/>
            <a:ext cx="1656000" cy="1656000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CABDC7F3-D7EC-46CE-8058-595C3628D4E4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302816" y="5396025"/>
            <a:ext cx="2016000" cy="648000"/>
          </a:xfrm>
        </p:spPr>
        <p:txBody>
          <a:bodyPr anchor="t"/>
          <a:lstStyle>
            <a:lvl1pPr algn="ctr">
              <a:spcBef>
                <a:spcPts val="0"/>
              </a:spcBef>
              <a:defRPr sz="14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Insert text maximum </a:t>
            </a:r>
            <a:br>
              <a:rPr lang="en-US"/>
            </a:br>
            <a:r>
              <a:rPr lang="en-US"/>
              <a:t>3 lines, minimum 14pt with single line spacing</a:t>
            </a:r>
          </a:p>
        </p:txBody>
      </p:sp>
      <p:sp>
        <p:nvSpPr>
          <p:cNvPr id="24" name="Chart Placeholder 6">
            <a:extLst>
              <a:ext uri="{FF2B5EF4-FFF2-40B4-BE49-F238E27FC236}">
                <a16:creationId xmlns:a16="http://schemas.microsoft.com/office/drawing/2014/main" id="{7E98F290-4488-4839-A42A-C70484EB265C}"/>
              </a:ext>
            </a:extLst>
          </p:cNvPr>
          <p:cNvSpPr>
            <a:spLocks noGrp="1" noChangeAspect="1"/>
          </p:cNvSpPr>
          <p:nvPr>
            <p:ph type="chart" sz="quarter" idx="54"/>
          </p:nvPr>
        </p:nvSpPr>
        <p:spPr>
          <a:xfrm>
            <a:off x="9971626" y="3620392"/>
            <a:ext cx="1656000" cy="1656000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EA123460-278D-4C63-9D12-B5FC5D60E4CF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9791626" y="5396025"/>
            <a:ext cx="2016000" cy="648000"/>
          </a:xfrm>
        </p:spPr>
        <p:txBody>
          <a:bodyPr anchor="t"/>
          <a:lstStyle>
            <a:lvl1pPr algn="ctr">
              <a:spcBef>
                <a:spcPts val="0"/>
              </a:spcBef>
              <a:defRPr sz="14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Insert text maximum </a:t>
            </a:r>
            <a:br>
              <a:rPr lang="en-US"/>
            </a:br>
            <a:r>
              <a:rPr lang="en-US"/>
              <a:t>3 lines, minimum 14pt with single line spacing</a:t>
            </a:r>
          </a:p>
        </p:txBody>
      </p:sp>
      <p:sp>
        <p:nvSpPr>
          <p:cNvPr id="18" name="object 3">
            <a:extLst>
              <a:ext uri="{FF2B5EF4-FFF2-40B4-BE49-F238E27FC236}">
                <a16:creationId xmlns:a16="http://schemas.microsoft.com/office/drawing/2014/main" id="{18DE84A9-2E1E-487E-8F67-11197235BC53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9184740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ow Chart  – Text Right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190053B-9AB4-4411-9620-4EDD2AEE90C0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5E9E677-7C6B-462C-9193-311E902B79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37D0EF96-F051-4DA4-BC1C-D578FBB733D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63600" y="1278000"/>
            <a:ext cx="11431413" cy="422405"/>
          </a:xfrm>
          <a:prstGeom prst="rect">
            <a:avLst/>
          </a:prstGeom>
        </p:spPr>
        <p:txBody>
          <a:bodyPr wrap="square" lIns="0" tIns="144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800">
                <a:solidFill>
                  <a:schemeClr val="tx1"/>
                </a:solidFill>
                <a:latin typeface="Arial Nova Light" panose="020B0304020202020204" pitchFamily="34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18 pt, align to the baseline of the title</a:t>
            </a:r>
          </a:p>
        </p:txBody>
      </p:sp>
      <p:sp>
        <p:nvSpPr>
          <p:cNvPr id="14" name="Text Placeholder 1">
            <a:extLst>
              <a:ext uri="{FF2B5EF4-FFF2-40B4-BE49-F238E27FC236}">
                <a16:creationId xmlns:a16="http://schemas.microsoft.com/office/drawing/2014/main" id="{D3DAF70B-8C92-4544-B91D-D518DEF72843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8657974" y="1828800"/>
            <a:ext cx="3151439" cy="4220449"/>
          </a:xfrm>
        </p:spPr>
        <p:txBody>
          <a:bodyPr tIns="108000" bIns="108000"/>
          <a:lstStyle>
            <a:lvl1pPr>
              <a:defRPr sz="16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1600"/>
            </a:lvl2pPr>
            <a:lvl3pPr marL="360000" indent="-180000">
              <a:buFont typeface="Graphik" panose="020B0503030202060203" pitchFamily="34" charset="0"/>
              <a:buChar char="–"/>
              <a:defRPr sz="1600"/>
            </a:lvl3pPr>
            <a:lvl4pPr marL="543600" indent="-180000"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grpSp>
        <p:nvGrpSpPr>
          <p:cNvPr id="2" name="Line">
            <a:extLst>
              <a:ext uri="{FF2B5EF4-FFF2-40B4-BE49-F238E27FC236}">
                <a16:creationId xmlns:a16="http://schemas.microsoft.com/office/drawing/2014/main" id="{D1CD3F75-A95D-4774-A2BB-F9563AF2FF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8657974" y="1828800"/>
            <a:ext cx="3151439" cy="4227513"/>
            <a:chOff x="8657974" y="1828800"/>
            <a:chExt cx="3151439" cy="4227513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E7C6D398-C78C-4288-B68D-86B4307F7BC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657974" y="1828800"/>
              <a:ext cx="3151439" cy="0"/>
            </a:xfrm>
            <a:prstGeom prst="line">
              <a:avLst/>
            </a:prstGeom>
            <a:ln w="12700"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B1B95573-3DCE-4A97-A105-B69387496D4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657974" y="6056313"/>
              <a:ext cx="3151439" cy="0"/>
            </a:xfrm>
            <a:prstGeom prst="line">
              <a:avLst/>
            </a:prstGeom>
            <a:ln w="12700"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object 3">
            <a:extLst>
              <a:ext uri="{FF2B5EF4-FFF2-40B4-BE49-F238E27FC236}">
                <a16:creationId xmlns:a16="http://schemas.microsoft.com/office/drawing/2014/main" id="{FAA441E3-E442-4C5B-A7F3-FAD3FD90FF39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3354765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(space) – w/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9B50E62-76D6-4327-AA12-E992CF8E1897}"/>
              </a:ext>
            </a:extLst>
          </p:cNvPr>
          <p:cNvSpPr>
            <a:spLocks noGrp="1"/>
          </p:cNvSpPr>
          <p:nvPr>
            <p:ph type="sldNum" sz="quarter" idx="53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Second level headline">
            <a:extLst>
              <a:ext uri="{FF2B5EF4-FFF2-40B4-BE49-F238E27FC236}">
                <a16:creationId xmlns:a16="http://schemas.microsoft.com/office/drawing/2014/main" id="{1A56F09B-6F9B-4C04-904E-5E72DF390119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363600" y="334800"/>
            <a:ext cx="6508150" cy="537034"/>
          </a:xfrm>
        </p:spPr>
        <p:txBody>
          <a:bodyPr wrap="square" bIns="288000">
            <a:spAutoFit/>
          </a:bodyPr>
          <a:lstStyle>
            <a:lvl1pPr>
              <a:defRPr sz="1600" b="0">
                <a:solidFill>
                  <a:schemeClr val="tx1"/>
                </a:solidFill>
                <a:latin typeface="Graphik Medium" panose="020B0603030202060203" pitchFamily="34" charset="0"/>
              </a:defRPr>
            </a:lvl1pPr>
            <a:lvl2pPr>
              <a:defRPr sz="2800">
                <a:latin typeface="Graphik Semibold" panose="020B0703030202060203" pitchFamily="34" charset="0"/>
              </a:defRPr>
            </a:lvl2pPr>
          </a:lstStyle>
          <a:p>
            <a:pPr lvl="0"/>
            <a:r>
              <a:rPr lang="en-US"/>
              <a:t>Second level headline</a:t>
            </a:r>
            <a:endParaRPr lang="en-GB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444F9C4-0633-4AA2-81D4-06E89770D0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9200" y="835200"/>
            <a:ext cx="6625532" cy="49859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 </a:t>
            </a:r>
            <a:endParaRPr lang="en-CA"/>
          </a:p>
        </p:txBody>
      </p:sp>
      <p:sp>
        <p:nvSpPr>
          <p:cNvPr id="10" name="Text Placeholder 1">
            <a:extLst>
              <a:ext uri="{FF2B5EF4-FFF2-40B4-BE49-F238E27FC236}">
                <a16:creationId xmlns:a16="http://schemas.microsoft.com/office/drawing/2014/main" id="{F744A75B-AE34-441A-815E-BFBC8EBABFF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82586" y="1474136"/>
            <a:ext cx="6507163" cy="763200"/>
          </a:xfrm>
        </p:spPr>
        <p:txBody>
          <a:bodyPr/>
          <a:lstStyle>
            <a:lvl1pPr>
              <a:defRPr sz="20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2000"/>
            </a:lvl2pPr>
            <a:lvl3pPr marL="18000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Picture Placeholder 10">
            <a:extLst>
              <a:ext uri="{FF2B5EF4-FFF2-40B4-BE49-F238E27FC236}">
                <a16:creationId xmlns:a16="http://schemas.microsoft.com/office/drawing/2014/main" id="{BEA90CF4-FB92-4723-8C42-296E4C800FB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 flipH="1">
            <a:off x="7267574" y="0"/>
            <a:ext cx="4924426" cy="6045200"/>
          </a:xfrm>
          <a:custGeom>
            <a:avLst/>
            <a:gdLst>
              <a:gd name="connsiteX0" fmla="*/ 0 w 5302251"/>
              <a:gd name="connsiteY0" fmla="*/ 0 h 6056313"/>
              <a:gd name="connsiteX1" fmla="*/ 5302251 w 5302251"/>
              <a:gd name="connsiteY1" fmla="*/ 0 h 6056313"/>
              <a:gd name="connsiteX2" fmla="*/ 5302251 w 5302251"/>
              <a:gd name="connsiteY2" fmla="*/ 6056313 h 6056313"/>
              <a:gd name="connsiteX3" fmla="*/ 932984 w 5302251"/>
              <a:gd name="connsiteY3" fmla="*/ 6056313 h 6056313"/>
              <a:gd name="connsiteX4" fmla="*/ 0 w 5302251"/>
              <a:gd name="connsiteY4" fmla="*/ 6056313 h 6056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02251" h="6056313">
                <a:moveTo>
                  <a:pt x="0" y="0"/>
                </a:moveTo>
                <a:lnTo>
                  <a:pt x="5302251" y="0"/>
                </a:lnTo>
                <a:lnTo>
                  <a:pt x="5302251" y="6056313"/>
                </a:lnTo>
                <a:lnTo>
                  <a:pt x="932984" y="6056313"/>
                </a:lnTo>
                <a:lnTo>
                  <a:pt x="0" y="60563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0" tIns="0" rIns="720000" bIns="900000" anchor="ctr" anchorCtr="0">
            <a:noAutofit/>
          </a:bodyPr>
          <a:lstStyle>
            <a:lvl1pPr algn="ctr">
              <a:spcBef>
                <a:spcPts val="0"/>
              </a:spcBef>
              <a:defRPr sz="1400" b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</a:t>
            </a:r>
          </a:p>
        </p:txBody>
      </p:sp>
      <p:sp>
        <p:nvSpPr>
          <p:cNvPr id="11" name="object 3">
            <a:extLst>
              <a:ext uri="{FF2B5EF4-FFF2-40B4-BE49-F238E27FC236}">
                <a16:creationId xmlns:a16="http://schemas.microsoft.com/office/drawing/2014/main" id="{04AE2FBE-3B95-47A9-AB41-0ABAFDEC0343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9408589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– Gray Rect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D6566C4-67D9-4392-95A7-4B04632A6568}"/>
              </a:ext>
            </a:extLst>
          </p:cNvPr>
          <p:cNvSpPr>
            <a:spLocks noGrp="1"/>
          </p:cNvSpPr>
          <p:nvPr>
            <p:ph type="sldNum" sz="quarter" idx="41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A6D71CE-7DF7-430D-9253-F92774218F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0119807B-39A9-41FD-8CD3-CD67C0062116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63600" y="784800"/>
            <a:ext cx="11445813" cy="458757"/>
          </a:xfrm>
          <a:prstGeom prst="rect">
            <a:avLst/>
          </a:prstGeom>
        </p:spPr>
        <p:txBody>
          <a:bodyPr wrap="square" lIns="0" tIns="180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800">
                <a:solidFill>
                  <a:schemeClr val="tx1"/>
                </a:solidFill>
                <a:latin typeface="Arial Nova Light" panose="020B0304020202020204" pitchFamily="34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18 pt, align to the baseline of the title</a:t>
            </a:r>
          </a:p>
        </p:txBody>
      </p:sp>
      <p:sp>
        <p:nvSpPr>
          <p:cNvPr id="6" name="Gray Rectangle">
            <a:extLst>
              <a:ext uri="{FF2B5EF4-FFF2-40B4-BE49-F238E27FC236}">
                <a16:creationId xmlns:a16="http://schemas.microsoft.com/office/drawing/2014/main" id="{E599EE75-4B26-4B83-A3B5-0A8CD768CC8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flipH="1">
            <a:off x="3333750" y="1919898"/>
            <a:ext cx="8858247" cy="412530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1">
            <a:extLst>
              <a:ext uri="{FF2B5EF4-FFF2-40B4-BE49-F238E27FC236}">
                <a16:creationId xmlns:a16="http://schemas.microsoft.com/office/drawing/2014/main" id="{E90F5AB7-D883-4612-B43A-84D61E0E31D4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63538" y="1919898"/>
            <a:ext cx="2662237" cy="4125302"/>
          </a:xfrm>
        </p:spPr>
        <p:txBody>
          <a:bodyPr anchor="ctr"/>
          <a:lstStyle>
            <a:lvl1pPr>
              <a:spcBef>
                <a:spcPts val="300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object 3">
            <a:extLst>
              <a:ext uri="{FF2B5EF4-FFF2-40B4-BE49-F238E27FC236}">
                <a16:creationId xmlns:a16="http://schemas.microsoft.com/office/drawing/2014/main" id="{EFF81EA7-B625-443F-AE89-C410BD6A27C3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12071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- Gradient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B7722AE-E891-F8C2-92E2-0E1143EDA6ED}"/>
              </a:ext>
            </a:extLst>
          </p:cNvPr>
          <p:cNvSpPr/>
          <p:nvPr userDrawn="1"/>
        </p:nvSpPr>
        <p:spPr>
          <a:xfrm>
            <a:off x="0" y="-1"/>
            <a:ext cx="12192000" cy="6042025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70000">
                <a:schemeClr val="accent3"/>
              </a:gs>
              <a:gs pos="100000">
                <a:schemeClr val="accent5"/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E0B53A5-8F5D-4E3B-8E80-9A556E44BAB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65000"/>
                  </a:schemeClr>
                </a:solidFill>
              </a:defRPr>
            </a:lvl1pPr>
          </a:lstStyle>
          <a:p>
            <a:fld id="{7F8EB60C-7CC2-49F0-B2EE-C81F067DE04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6E9B4A58-0AD7-43AA-9ED7-20361EDF59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3359" y="2443850"/>
            <a:ext cx="6083397" cy="747897"/>
          </a:xfrm>
        </p:spPr>
        <p:txBody>
          <a:bodyPr wrap="square" bIns="0" anchor="b"/>
          <a:lstStyle>
            <a:lvl1pPr>
              <a:defRPr sz="5400" b="1">
                <a:solidFill>
                  <a:schemeClr val="tx1"/>
                </a:solidFill>
                <a:latin typeface="Arial Nova" panose="020B0504020202020204" pitchFamily="34" charset="0"/>
              </a:defRPr>
            </a:lvl1pPr>
          </a:lstStyle>
          <a:p>
            <a:r>
              <a:rPr lang="en-US"/>
              <a:t>Section title 54 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A6434D6C-8B7C-4C0C-9193-DEF36D3AB96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3359" y="3067904"/>
            <a:ext cx="6083396" cy="695914"/>
          </a:xfrm>
        </p:spPr>
        <p:txBody>
          <a:bodyPr wrap="square" tIns="360000">
            <a:spAutoFit/>
          </a:bodyPr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solidFill>
                  <a:schemeClr val="tx1"/>
                </a:solidFill>
                <a:latin typeface="Arial Nova Light" panose="020B0304020202020204" pitchFamily="34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5pPr>
          </a:lstStyle>
          <a:p>
            <a:pPr lvl="0"/>
            <a:r>
              <a:rPr lang="en-GB"/>
              <a:t>Place subtitle here in 24pt</a:t>
            </a:r>
            <a:endParaRPr lang="en-US"/>
          </a:p>
        </p:txBody>
      </p:sp>
      <p:sp>
        <p:nvSpPr>
          <p:cNvPr id="6" name="object 3">
            <a:extLst>
              <a:ext uri="{FF2B5EF4-FFF2-40B4-BE49-F238E27FC236}">
                <a16:creationId xmlns:a16="http://schemas.microsoft.com/office/drawing/2014/main" id="{0225F2C6-DF6A-4D25-B28D-5728480733B1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25539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– 2nd Level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Gray">
            <a:extLst>
              <a:ext uri="{FF2B5EF4-FFF2-40B4-BE49-F238E27FC236}">
                <a16:creationId xmlns:a16="http://schemas.microsoft.com/office/drawing/2014/main" id="{E599EE75-4B26-4B83-A3B5-0A8CD768CC8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flipH="1">
            <a:off x="3333750" y="1919898"/>
            <a:ext cx="8858247" cy="412530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D6566C4-67D9-4392-95A7-4B04632A6568}"/>
              </a:ext>
            </a:extLst>
          </p:cNvPr>
          <p:cNvSpPr>
            <a:spLocks noGrp="1"/>
          </p:cNvSpPr>
          <p:nvPr>
            <p:ph type="sldNum" sz="quarter" idx="41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Second level headline">
            <a:extLst>
              <a:ext uri="{FF2B5EF4-FFF2-40B4-BE49-F238E27FC236}">
                <a16:creationId xmlns:a16="http://schemas.microsoft.com/office/drawing/2014/main" id="{A623B660-D87C-4867-8549-C5AEDBB4D918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363600" y="334800"/>
            <a:ext cx="11426400" cy="537034"/>
          </a:xfrm>
        </p:spPr>
        <p:txBody>
          <a:bodyPr bIns="288000">
            <a:spAutoFit/>
          </a:bodyPr>
          <a:lstStyle>
            <a:lvl1pPr>
              <a:spcBef>
                <a:spcPts val="0"/>
              </a:spcBef>
              <a:defRPr sz="1600" b="0">
                <a:solidFill>
                  <a:schemeClr val="tx1"/>
                </a:solidFill>
                <a:latin typeface="Graphik Medium" panose="020B0603030202060203" pitchFamily="34" charset="0"/>
              </a:defRPr>
            </a:lvl1pPr>
            <a:lvl2pPr>
              <a:defRPr sz="2800">
                <a:latin typeface="Graphik Semibold" panose="020B0703030202060203" pitchFamily="34" charset="0"/>
              </a:defRPr>
            </a:lvl2pPr>
          </a:lstStyle>
          <a:p>
            <a:pPr lvl="0"/>
            <a:r>
              <a:rPr lang="en-US"/>
              <a:t>Second level headline</a:t>
            </a:r>
            <a:endParaRPr lang="en-GB"/>
          </a:p>
        </p:txBody>
      </p:sp>
      <p:sp>
        <p:nvSpPr>
          <p:cNvPr id="11" name="Title 6">
            <a:extLst>
              <a:ext uri="{FF2B5EF4-FFF2-40B4-BE49-F238E27FC236}">
                <a16:creationId xmlns:a16="http://schemas.microsoft.com/office/drawing/2014/main" id="{33658FA9-1482-47D2-85CC-B6EDEF0EF8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9200" y="835550"/>
            <a:ext cx="11458800" cy="997196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CA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90F5AB7-D883-4612-B43A-84D61E0E31D4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63538" y="1919898"/>
            <a:ext cx="2662237" cy="4125302"/>
          </a:xfrm>
        </p:spPr>
        <p:txBody>
          <a:bodyPr anchor="ctr"/>
          <a:lstStyle>
            <a:lvl1pPr>
              <a:spcBef>
                <a:spcPts val="240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object 3">
            <a:extLst>
              <a:ext uri="{FF2B5EF4-FFF2-40B4-BE49-F238E27FC236}">
                <a16:creationId xmlns:a16="http://schemas.microsoft.com/office/drawing/2014/main" id="{A8EA5D03-A1E3-4F3A-825B-598D814811ED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2233469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diagra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38B1EC-FA17-45DA-8517-D23A942161D3}"/>
              </a:ext>
            </a:extLst>
          </p:cNvPr>
          <p:cNvSpPr>
            <a:spLocks noGrp="1"/>
          </p:cNvSpPr>
          <p:nvPr>
            <p:ph type="sldNum" sz="quarter" idx="38"/>
          </p:nvPr>
        </p:nvSpPr>
        <p:spPr/>
        <p:txBody>
          <a:bodyPr/>
          <a:lstStyle/>
          <a:p>
            <a:fld id="{876872E1-3CB8-45EA-A826-1429BD5BE353}" type="slidenum">
              <a:rPr lang="en-CA" smtClean="0"/>
              <a:pPr/>
              <a:t>‹#›</a:t>
            </a:fld>
            <a:endParaRPr lang="en-CA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A6D71CE-7DF7-430D-9253-F92774218F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Rectangle Gray 1">
            <a:extLst>
              <a:ext uri="{FF2B5EF4-FFF2-40B4-BE49-F238E27FC236}">
                <a16:creationId xmlns:a16="http://schemas.microsoft.com/office/drawing/2014/main" id="{1C23CFBC-6442-4759-A59C-2CB10AF43C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381000" y="1443037"/>
            <a:ext cx="5537201" cy="2647277"/>
          </a:xfrm>
          <a:prstGeom prst="rect">
            <a:avLst/>
          </a:prstGeom>
          <a:solidFill>
            <a:schemeClr val="tx2">
              <a:lumMod val="20000"/>
              <a:lumOff val="8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5" name="Text Box Purple">
            <a:extLst>
              <a:ext uri="{FF2B5EF4-FFF2-40B4-BE49-F238E27FC236}">
                <a16:creationId xmlns:a16="http://schemas.microsoft.com/office/drawing/2014/main" id="{EE5FF938-BD38-4163-8EC8-089B55C8DFF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4090315"/>
            <a:ext cx="5537201" cy="464331"/>
          </a:xfrm>
          <a:solidFill>
            <a:schemeClr val="accent1"/>
          </a:solidFill>
          <a:ln>
            <a:noFill/>
          </a:ln>
        </p:spPr>
        <p:txBody>
          <a:bodyPr lIns="216000" tIns="46800" rIns="216000" bIns="72000" anchor="ctr"/>
          <a:lstStyle>
            <a:lvl1pPr algn="l"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">
            <a:extLst>
              <a:ext uri="{FF2B5EF4-FFF2-40B4-BE49-F238E27FC236}">
                <a16:creationId xmlns:a16="http://schemas.microsoft.com/office/drawing/2014/main" id="{AA4403A3-3AD2-490C-B450-19C40F39ABEC}"/>
              </a:ext>
            </a:extLst>
          </p:cNvPr>
          <p:cNvSpPr>
            <a:spLocks noGrp="1"/>
          </p:cNvSpPr>
          <p:nvPr>
            <p:ph type="body" sz="quarter" idx="64"/>
          </p:nvPr>
        </p:nvSpPr>
        <p:spPr>
          <a:xfrm>
            <a:off x="391029" y="4697999"/>
            <a:ext cx="2563309" cy="1344025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6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">
            <a:extLst>
              <a:ext uri="{FF2B5EF4-FFF2-40B4-BE49-F238E27FC236}">
                <a16:creationId xmlns:a16="http://schemas.microsoft.com/office/drawing/2014/main" id="{E29132D9-B810-46B4-9278-82550F944FCA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>
          <a:xfrm>
            <a:off x="3342191" y="4697999"/>
            <a:ext cx="2563309" cy="1344025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6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Rectangle Gray 2">
            <a:extLst>
              <a:ext uri="{FF2B5EF4-FFF2-40B4-BE49-F238E27FC236}">
                <a16:creationId xmlns:a16="http://schemas.microsoft.com/office/drawing/2014/main" id="{BACF7C92-CCA9-4784-8583-8D2C6766B4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286502" y="1443037"/>
            <a:ext cx="5537201" cy="2647277"/>
          </a:xfrm>
          <a:prstGeom prst="rect">
            <a:avLst/>
          </a:prstGeom>
          <a:solidFill>
            <a:schemeClr val="tx2">
              <a:lumMod val="20000"/>
              <a:lumOff val="8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9" name="Text Box Purple 2">
            <a:extLst>
              <a:ext uri="{FF2B5EF4-FFF2-40B4-BE49-F238E27FC236}">
                <a16:creationId xmlns:a16="http://schemas.microsoft.com/office/drawing/2014/main" id="{16307647-6BE4-452B-89C6-CE5C7CA6C378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6286502" y="4090315"/>
            <a:ext cx="5537201" cy="464331"/>
          </a:xfrm>
          <a:solidFill>
            <a:schemeClr val="accent3"/>
          </a:solidFill>
          <a:ln>
            <a:noFill/>
          </a:ln>
        </p:spPr>
        <p:txBody>
          <a:bodyPr lIns="216000" tIns="46800" rIns="216000" bIns="72000" anchor="ctr"/>
          <a:lstStyle>
            <a:lvl1pPr algn="l"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872E88A8-5259-4BE9-BA88-F637FB04900B}"/>
              </a:ext>
            </a:extLst>
          </p:cNvPr>
          <p:cNvSpPr>
            <a:spLocks noGrp="1"/>
          </p:cNvSpPr>
          <p:nvPr>
            <p:ph type="body" sz="quarter" idx="66"/>
          </p:nvPr>
        </p:nvSpPr>
        <p:spPr>
          <a:xfrm>
            <a:off x="6296531" y="4697999"/>
            <a:ext cx="2563309" cy="1344025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6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E75D2763-6D2D-4D60-8479-BA0A28633AF0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9247693" y="4697999"/>
            <a:ext cx="2563309" cy="1344025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6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object 3">
            <a:extLst>
              <a:ext uri="{FF2B5EF4-FFF2-40B4-BE49-F238E27FC236}">
                <a16:creationId xmlns:a16="http://schemas.microsoft.com/office/drawing/2014/main" id="{ED1EF0CA-CBCC-4D3E-8778-7C214EFBF0FD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4704233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diagrams – 2nd level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F4BF25-C41B-4B0B-AE30-E45236FBFEE7}"/>
              </a:ext>
            </a:extLst>
          </p:cNvPr>
          <p:cNvSpPr>
            <a:spLocks noGrp="1"/>
          </p:cNvSpPr>
          <p:nvPr>
            <p:ph type="sldNum" sz="quarter" idx="70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Rectangle Gray 1">
            <a:extLst>
              <a:ext uri="{FF2B5EF4-FFF2-40B4-BE49-F238E27FC236}">
                <a16:creationId xmlns:a16="http://schemas.microsoft.com/office/drawing/2014/main" id="{1C23CFBC-6442-4759-A59C-2CB10AF43C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381000" y="1443037"/>
            <a:ext cx="5537201" cy="2647277"/>
          </a:xfrm>
          <a:prstGeom prst="rect">
            <a:avLst/>
          </a:prstGeom>
          <a:solidFill>
            <a:schemeClr val="tx2">
              <a:lumMod val="20000"/>
              <a:lumOff val="8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5" name="Text Box Purple">
            <a:extLst>
              <a:ext uri="{FF2B5EF4-FFF2-40B4-BE49-F238E27FC236}">
                <a16:creationId xmlns:a16="http://schemas.microsoft.com/office/drawing/2014/main" id="{EE5FF938-BD38-4163-8EC8-089B55C8DFF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4090315"/>
            <a:ext cx="5537201" cy="464331"/>
          </a:xfrm>
          <a:solidFill>
            <a:schemeClr val="accent1"/>
          </a:solidFill>
          <a:ln>
            <a:noFill/>
          </a:ln>
        </p:spPr>
        <p:txBody>
          <a:bodyPr lIns="216000" tIns="46800" rIns="216000" bIns="72000" anchor="ctr"/>
          <a:lstStyle>
            <a:lvl1pPr algn="l"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">
            <a:extLst>
              <a:ext uri="{FF2B5EF4-FFF2-40B4-BE49-F238E27FC236}">
                <a16:creationId xmlns:a16="http://schemas.microsoft.com/office/drawing/2014/main" id="{AA4403A3-3AD2-490C-B450-19C40F39ABEC}"/>
              </a:ext>
            </a:extLst>
          </p:cNvPr>
          <p:cNvSpPr>
            <a:spLocks noGrp="1"/>
          </p:cNvSpPr>
          <p:nvPr>
            <p:ph type="body" sz="quarter" idx="64"/>
          </p:nvPr>
        </p:nvSpPr>
        <p:spPr>
          <a:xfrm>
            <a:off x="391029" y="4696691"/>
            <a:ext cx="2563309" cy="1348509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6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">
            <a:extLst>
              <a:ext uri="{FF2B5EF4-FFF2-40B4-BE49-F238E27FC236}">
                <a16:creationId xmlns:a16="http://schemas.microsoft.com/office/drawing/2014/main" id="{E29132D9-B810-46B4-9278-82550F944FCA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>
          <a:xfrm>
            <a:off x="3342191" y="4696691"/>
            <a:ext cx="2563309" cy="1348509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6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Rectangle Gray 2">
            <a:extLst>
              <a:ext uri="{FF2B5EF4-FFF2-40B4-BE49-F238E27FC236}">
                <a16:creationId xmlns:a16="http://schemas.microsoft.com/office/drawing/2014/main" id="{BACF7C92-CCA9-4784-8583-8D2C6766B4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286502" y="1443037"/>
            <a:ext cx="5537201" cy="2647277"/>
          </a:xfrm>
          <a:prstGeom prst="rect">
            <a:avLst/>
          </a:prstGeom>
          <a:solidFill>
            <a:schemeClr val="tx2">
              <a:lumMod val="20000"/>
              <a:lumOff val="8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9" name="Text Box Purple 2">
            <a:extLst>
              <a:ext uri="{FF2B5EF4-FFF2-40B4-BE49-F238E27FC236}">
                <a16:creationId xmlns:a16="http://schemas.microsoft.com/office/drawing/2014/main" id="{16307647-6BE4-452B-89C6-CE5C7CA6C378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6286502" y="4090315"/>
            <a:ext cx="5537201" cy="464331"/>
          </a:xfrm>
          <a:solidFill>
            <a:schemeClr val="accent3"/>
          </a:solidFill>
          <a:ln>
            <a:noFill/>
          </a:ln>
        </p:spPr>
        <p:txBody>
          <a:bodyPr lIns="216000" tIns="46800" rIns="216000" bIns="72000" anchor="ctr"/>
          <a:lstStyle>
            <a:lvl1pPr algn="l"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872E88A8-5259-4BE9-BA88-F637FB04900B}"/>
              </a:ext>
            </a:extLst>
          </p:cNvPr>
          <p:cNvSpPr>
            <a:spLocks noGrp="1"/>
          </p:cNvSpPr>
          <p:nvPr>
            <p:ph type="body" sz="quarter" idx="66"/>
          </p:nvPr>
        </p:nvSpPr>
        <p:spPr>
          <a:xfrm>
            <a:off x="6296531" y="4696691"/>
            <a:ext cx="2563309" cy="1348509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6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E75D2763-6D2D-4D60-8479-BA0A28633AF0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9247693" y="4696691"/>
            <a:ext cx="2563309" cy="1348509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6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2" name="Second level headline">
            <a:extLst>
              <a:ext uri="{FF2B5EF4-FFF2-40B4-BE49-F238E27FC236}">
                <a16:creationId xmlns:a16="http://schemas.microsoft.com/office/drawing/2014/main" id="{6D91104C-32C3-4EA6-AD25-C436C9A2313B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363600" y="334800"/>
            <a:ext cx="11426400" cy="537034"/>
          </a:xfrm>
        </p:spPr>
        <p:txBody>
          <a:bodyPr bIns="288000">
            <a:spAutoFit/>
          </a:bodyPr>
          <a:lstStyle>
            <a:lvl1pPr>
              <a:spcBef>
                <a:spcPts val="0"/>
              </a:spcBef>
              <a:defRPr sz="1600" b="0">
                <a:solidFill>
                  <a:schemeClr val="tx1"/>
                </a:solidFill>
                <a:latin typeface="Graphik Medium" panose="020B0603030202060203" pitchFamily="34" charset="0"/>
              </a:defRPr>
            </a:lvl1pPr>
            <a:lvl2pPr>
              <a:defRPr sz="2800">
                <a:latin typeface="Graphik Semibold" panose="020B0703030202060203" pitchFamily="34" charset="0"/>
              </a:defRPr>
            </a:lvl2pPr>
          </a:lstStyle>
          <a:p>
            <a:pPr lvl="0"/>
            <a:r>
              <a:rPr lang="en-US"/>
              <a:t>Second level headline</a:t>
            </a:r>
            <a:endParaRPr lang="en-GB"/>
          </a:p>
        </p:txBody>
      </p:sp>
      <p:sp>
        <p:nvSpPr>
          <p:cNvPr id="23" name="Title 6">
            <a:extLst>
              <a:ext uri="{FF2B5EF4-FFF2-40B4-BE49-F238E27FC236}">
                <a16:creationId xmlns:a16="http://schemas.microsoft.com/office/drawing/2014/main" id="{26733C52-56FE-436E-B4BF-5DB251BE9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200" y="835200"/>
            <a:ext cx="11458800" cy="49859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13" name="object 3">
            <a:extLst>
              <a:ext uri="{FF2B5EF4-FFF2-40B4-BE49-F238E27FC236}">
                <a16:creationId xmlns:a16="http://schemas.microsoft.com/office/drawing/2014/main" id="{A166F514-510E-449D-BF76-5AC00744EFB5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  <p:sp>
        <p:nvSpPr>
          <p:cNvPr id="24" name="object 3">
            <a:extLst>
              <a:ext uri="{FF2B5EF4-FFF2-40B4-BE49-F238E27FC236}">
                <a16:creationId xmlns:a16="http://schemas.microsoft.com/office/drawing/2014/main" id="{8E85C001-70EC-4D1C-A5AC-7287F78A07B8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13835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– Versus"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4572D8-4B76-4C62-8C52-439212F3EB15}"/>
              </a:ext>
            </a:extLst>
          </p:cNvPr>
          <p:cNvSpPr>
            <a:spLocks noGrp="1"/>
          </p:cNvSpPr>
          <p:nvPr>
            <p:ph type="sldNum" sz="quarter" idx="56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White BG">
            <a:extLst>
              <a:ext uri="{FF2B5EF4-FFF2-40B4-BE49-F238E27FC236}">
                <a16:creationId xmlns:a16="http://schemas.microsoft.com/office/drawing/2014/main" id="{AE88B606-76D1-42EE-B178-C0BBE9452F4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flipV="1">
            <a:off x="0" y="0"/>
            <a:ext cx="12192000" cy="526198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A6D71CE-7DF7-430D-9253-F92774218F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0119807B-39A9-41FD-8CD3-CD67C0062116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63600" y="784800"/>
            <a:ext cx="11437372" cy="458757"/>
          </a:xfrm>
          <a:prstGeom prst="rect">
            <a:avLst/>
          </a:prstGeom>
        </p:spPr>
        <p:txBody>
          <a:bodyPr wrap="square" lIns="0" tIns="180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800">
                <a:solidFill>
                  <a:schemeClr val="tx1"/>
                </a:solidFill>
                <a:latin typeface="Arial Nova Light" panose="020B0304020202020204" pitchFamily="34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18 pt, align to the baseline of the title</a:t>
            </a:r>
          </a:p>
        </p:txBody>
      </p:sp>
      <p:sp>
        <p:nvSpPr>
          <p:cNvPr id="15" name="Subhead">
            <a:extLst>
              <a:ext uri="{FF2B5EF4-FFF2-40B4-BE49-F238E27FC236}">
                <a16:creationId xmlns:a16="http://schemas.microsoft.com/office/drawing/2014/main" id="{4230D05D-FE41-4C48-8BA8-154C80F4211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65875" y="1898568"/>
            <a:ext cx="1764000" cy="1241365"/>
          </a:xfrm>
        </p:spPr>
        <p:txBody>
          <a:bodyPr wrap="square">
            <a:spAutoFit/>
          </a:bodyPr>
          <a:lstStyle>
            <a:lvl1pPr>
              <a:defRPr sz="2000">
                <a:solidFill>
                  <a:schemeClr val="accent1"/>
                </a:solidFill>
                <a:latin typeface="+mj-lt"/>
              </a:defRPr>
            </a:lvl1pPr>
            <a:lvl2pPr>
              <a:defRPr sz="1400">
                <a:solidFill>
                  <a:schemeClr val="accent1"/>
                </a:solidFill>
              </a:defRPr>
            </a:lvl2pPr>
            <a:lvl3pPr>
              <a:defRPr sz="1400">
                <a:solidFill>
                  <a:schemeClr val="accent1"/>
                </a:solidFill>
              </a:defRPr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Text Placeholder 1">
            <a:extLst>
              <a:ext uri="{FF2B5EF4-FFF2-40B4-BE49-F238E27FC236}">
                <a16:creationId xmlns:a16="http://schemas.microsoft.com/office/drawing/2014/main" id="{F9D015A0-A110-4729-B8BF-F537227EB260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2596612" y="1898568"/>
            <a:ext cx="2326226" cy="415498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1600">
                <a:solidFill>
                  <a:schemeClr val="tx1"/>
                </a:solidFill>
                <a:latin typeface="+mj-lt"/>
              </a:defRPr>
            </a:lvl1pPr>
            <a:lvl2pPr>
              <a:spcBef>
                <a:spcPts val="0"/>
              </a:spcBef>
              <a:defRPr sz="11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accent1"/>
                </a:solidFill>
              </a:defRPr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Insert subhead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0AEBA8EF-8E03-494F-A247-2FFB13FBDC57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2596612" y="2538845"/>
            <a:ext cx="2326226" cy="415498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1600">
                <a:solidFill>
                  <a:schemeClr val="tx1"/>
                </a:solidFill>
                <a:latin typeface="+mj-lt"/>
              </a:defRPr>
            </a:lvl1pPr>
            <a:lvl2pPr>
              <a:spcBef>
                <a:spcPts val="0"/>
              </a:spcBef>
              <a:defRPr sz="11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accent1"/>
                </a:solidFill>
              </a:defRPr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Insert subhead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53D0BBB7-2720-4016-A1DF-81F4E52D417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2596612" y="3179122"/>
            <a:ext cx="2326226" cy="415498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1600">
                <a:solidFill>
                  <a:schemeClr val="tx1"/>
                </a:solidFill>
                <a:latin typeface="+mj-lt"/>
              </a:defRPr>
            </a:lvl1pPr>
            <a:lvl2pPr>
              <a:spcBef>
                <a:spcPts val="0"/>
              </a:spcBef>
              <a:defRPr sz="11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accent1"/>
                </a:solidFill>
              </a:defRPr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Insert subhead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C533CCFA-6CFE-4408-988D-4E1A2305F91B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2596612" y="3819399"/>
            <a:ext cx="2326226" cy="415498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1600">
                <a:solidFill>
                  <a:schemeClr val="tx1"/>
                </a:solidFill>
                <a:latin typeface="+mj-lt"/>
              </a:defRPr>
            </a:lvl1pPr>
            <a:lvl2pPr>
              <a:spcBef>
                <a:spcPts val="0"/>
              </a:spcBef>
              <a:defRPr sz="11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accent1"/>
                </a:solidFill>
              </a:defRPr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Insert subhead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78995F11-4ACA-4114-9627-639BA0ADAE52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2596612" y="4459675"/>
            <a:ext cx="2326226" cy="415498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1600">
                <a:solidFill>
                  <a:schemeClr val="tx1"/>
                </a:solidFill>
                <a:latin typeface="+mj-lt"/>
              </a:defRPr>
            </a:lvl1pPr>
            <a:lvl2pPr>
              <a:spcBef>
                <a:spcPts val="0"/>
              </a:spcBef>
              <a:defRPr sz="11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accent1"/>
                </a:solidFill>
              </a:defRPr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Insert subhead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Subhead 2">
            <a:extLst>
              <a:ext uri="{FF2B5EF4-FFF2-40B4-BE49-F238E27FC236}">
                <a16:creationId xmlns:a16="http://schemas.microsoft.com/office/drawing/2014/main" id="{58429D33-B126-40AE-ACF6-B0A36E810AA1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10053906" y="1898568"/>
            <a:ext cx="1764000" cy="1241365"/>
          </a:xfrm>
        </p:spPr>
        <p:txBody>
          <a:bodyPr wrap="square">
            <a:spAutoFit/>
          </a:bodyPr>
          <a:lstStyle>
            <a:lvl1pPr algn="r">
              <a:defRPr sz="2000">
                <a:solidFill>
                  <a:schemeClr val="accent2"/>
                </a:solidFill>
                <a:latin typeface="+mj-lt"/>
              </a:defRPr>
            </a:lvl1pPr>
            <a:lvl2pPr algn="r">
              <a:defRPr sz="1400">
                <a:solidFill>
                  <a:schemeClr val="accent2"/>
                </a:solidFill>
              </a:defRPr>
            </a:lvl2pPr>
            <a:lvl3pPr algn="r">
              <a:defRPr sz="1400">
                <a:solidFill>
                  <a:schemeClr val="accent1"/>
                </a:solidFill>
              </a:defRPr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6AA8A781-E3FA-4B6C-B424-F8D38DE6A24C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503071" y="1898568"/>
            <a:ext cx="2326226" cy="415498"/>
          </a:xfrm>
        </p:spPr>
        <p:txBody>
          <a:bodyPr wrap="square">
            <a:spAutoFit/>
          </a:bodyPr>
          <a:lstStyle>
            <a:lvl1pPr algn="r">
              <a:spcBef>
                <a:spcPts val="0"/>
              </a:spcBef>
              <a:defRPr sz="1600">
                <a:solidFill>
                  <a:schemeClr val="tx1"/>
                </a:solidFill>
                <a:latin typeface="+mj-lt"/>
              </a:defRPr>
            </a:lvl1pPr>
            <a:lvl2pPr algn="r">
              <a:spcBef>
                <a:spcPts val="0"/>
              </a:spcBef>
              <a:defRPr sz="11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accent1"/>
                </a:solidFill>
              </a:defRPr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Insert subhead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6C7B7A08-E14C-4F93-A365-3A7087665A43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503071" y="2538845"/>
            <a:ext cx="2326226" cy="415498"/>
          </a:xfrm>
        </p:spPr>
        <p:txBody>
          <a:bodyPr wrap="square">
            <a:spAutoFit/>
          </a:bodyPr>
          <a:lstStyle>
            <a:lvl1pPr algn="r">
              <a:spcBef>
                <a:spcPts val="0"/>
              </a:spcBef>
              <a:defRPr sz="1600">
                <a:solidFill>
                  <a:schemeClr val="tx1"/>
                </a:solidFill>
                <a:latin typeface="+mj-lt"/>
              </a:defRPr>
            </a:lvl1pPr>
            <a:lvl2pPr algn="r">
              <a:spcBef>
                <a:spcPts val="0"/>
              </a:spcBef>
              <a:defRPr sz="11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accent1"/>
                </a:solidFill>
              </a:defRPr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Insert subhead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EA752BB0-1280-4D11-9BD5-AD0DE831BDA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503071" y="3179122"/>
            <a:ext cx="2326226" cy="415498"/>
          </a:xfrm>
        </p:spPr>
        <p:txBody>
          <a:bodyPr wrap="square">
            <a:spAutoFit/>
          </a:bodyPr>
          <a:lstStyle>
            <a:lvl1pPr algn="r">
              <a:spcBef>
                <a:spcPts val="0"/>
              </a:spcBef>
              <a:defRPr sz="1600">
                <a:solidFill>
                  <a:schemeClr val="tx1"/>
                </a:solidFill>
                <a:latin typeface="+mj-lt"/>
              </a:defRPr>
            </a:lvl1pPr>
            <a:lvl2pPr algn="r">
              <a:spcBef>
                <a:spcPts val="0"/>
              </a:spcBef>
              <a:defRPr sz="11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accent1"/>
                </a:solidFill>
              </a:defRPr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Insert subhead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CFAB4740-E113-4784-9F6A-AFAC15F84AB9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503071" y="3819399"/>
            <a:ext cx="2326226" cy="415498"/>
          </a:xfrm>
        </p:spPr>
        <p:txBody>
          <a:bodyPr wrap="square">
            <a:spAutoFit/>
          </a:bodyPr>
          <a:lstStyle>
            <a:lvl1pPr algn="r">
              <a:spcBef>
                <a:spcPts val="0"/>
              </a:spcBef>
              <a:defRPr sz="1600">
                <a:solidFill>
                  <a:schemeClr val="tx1"/>
                </a:solidFill>
                <a:latin typeface="+mj-lt"/>
              </a:defRPr>
            </a:lvl1pPr>
            <a:lvl2pPr algn="r">
              <a:spcBef>
                <a:spcPts val="0"/>
              </a:spcBef>
              <a:defRPr sz="11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accent1"/>
                </a:solidFill>
              </a:defRPr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Insert subhead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B0848202-3443-462A-A479-E57BAE9E3B41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503071" y="4459675"/>
            <a:ext cx="2326226" cy="415498"/>
          </a:xfrm>
        </p:spPr>
        <p:txBody>
          <a:bodyPr wrap="square">
            <a:spAutoFit/>
          </a:bodyPr>
          <a:lstStyle>
            <a:lvl1pPr algn="r">
              <a:spcBef>
                <a:spcPts val="0"/>
              </a:spcBef>
              <a:defRPr sz="1600">
                <a:solidFill>
                  <a:schemeClr val="tx1"/>
                </a:solidFill>
                <a:latin typeface="+mj-lt"/>
              </a:defRPr>
            </a:lvl1pPr>
            <a:lvl2pPr algn="r">
              <a:spcBef>
                <a:spcPts val="0"/>
              </a:spcBef>
              <a:defRPr sz="11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accent1"/>
                </a:solidFill>
              </a:defRPr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Insert subhead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D43A925B-B5CE-4828-B1A0-BC65E8D7B9D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81000" y="5528684"/>
            <a:ext cx="11428406" cy="703524"/>
          </a:xfrm>
          <a:ln>
            <a:noFill/>
          </a:ln>
        </p:spPr>
        <p:txBody>
          <a:bodyPr lIns="720000" tIns="126000" rIns="720000" bIns="144000" anchor="ctr">
            <a:spAutoFit/>
          </a:bodyPr>
          <a:lstStyle>
            <a:lvl1pPr algn="ctr">
              <a:spcBef>
                <a:spcPts val="0"/>
              </a:spcBef>
              <a:defRPr sz="1400">
                <a:latin typeface="+mn-lt"/>
              </a:defRPr>
            </a:lvl1pPr>
          </a:lstStyle>
          <a:p>
            <a:pPr lvl="0"/>
            <a:r>
              <a:rPr lang="en-US"/>
              <a:t>Insert text font size minimum 14 pt </a:t>
            </a:r>
            <a:br>
              <a:rPr lang="en-US"/>
            </a:br>
            <a:r>
              <a:rPr lang="en-US"/>
              <a:t>maximum 2 lines</a:t>
            </a:r>
          </a:p>
        </p:txBody>
      </p:sp>
      <p:sp>
        <p:nvSpPr>
          <p:cNvPr id="19" name="object 3">
            <a:extLst>
              <a:ext uri="{FF2B5EF4-FFF2-40B4-BE49-F238E27FC236}">
                <a16:creationId xmlns:a16="http://schemas.microsoft.com/office/drawing/2014/main" id="{400D9CB2-CC1E-47C1-9F49-AB784A659CB8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8005851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1.4 – Gray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F74A67-BB87-4D32-9CBF-C06A4B4E2B8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F8EB60C-7CC2-49F0-B2EE-C81F067DE041}" type="slidenum">
              <a:rPr lang="en-US" smtClean="0"/>
              <a:pPr/>
              <a:t>‹#›</a:t>
            </a:fld>
            <a:endParaRPr lang="en-US" sz="900"/>
          </a:p>
        </p:txBody>
      </p:sp>
      <p:sp>
        <p:nvSpPr>
          <p:cNvPr id="5" name="White BG">
            <a:extLst>
              <a:ext uri="{FF2B5EF4-FFF2-40B4-BE49-F238E27FC236}">
                <a16:creationId xmlns:a16="http://schemas.microsoft.com/office/drawing/2014/main" id="{7D9C9ABB-10BC-4CE5-B723-23947B5984B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795" y="352"/>
            <a:ext cx="12191205" cy="2520000"/>
          </a:xfrm>
          <a:custGeom>
            <a:avLst/>
            <a:gdLst/>
            <a:ahLst/>
            <a:cxnLst/>
            <a:rect l="l" t="t" r="r" b="b"/>
            <a:pathLst>
              <a:path w="8631555" h="11308715">
                <a:moveTo>
                  <a:pt x="8631004" y="0"/>
                </a:moveTo>
                <a:lnTo>
                  <a:pt x="0" y="0"/>
                </a:lnTo>
                <a:lnTo>
                  <a:pt x="0" y="11308556"/>
                </a:lnTo>
                <a:lnTo>
                  <a:pt x="8631004" y="11308556"/>
                </a:lnTo>
                <a:lnTo>
                  <a:pt x="8631004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/>
          <a:lstStyle/>
          <a:p>
            <a:pPr defTabSz="554269">
              <a:defRPr/>
            </a:pPr>
            <a:endParaRPr sz="496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D90DE58-B70F-41B2-BBDB-61220C7425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4000" y="637200"/>
            <a:ext cx="10260163" cy="609398"/>
          </a:xfrm>
        </p:spPr>
        <p:txBody>
          <a:bodyPr/>
          <a:lstStyle>
            <a:lvl1pPr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">
            <a:extLst>
              <a:ext uri="{FF2B5EF4-FFF2-40B4-BE49-F238E27FC236}">
                <a16:creationId xmlns:a16="http://schemas.microsoft.com/office/drawing/2014/main" id="{651D2533-1FBB-4331-95DC-B53E6CE8D6B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65125" y="1118278"/>
            <a:ext cx="10237863" cy="567811"/>
          </a:xfrm>
        </p:spPr>
        <p:txBody>
          <a:bodyPr wrap="square" tIns="288000">
            <a:spAutoFit/>
          </a:bodyPr>
          <a:lstStyle>
            <a:lvl1pPr>
              <a:defRPr sz="1800">
                <a:solidFill>
                  <a:schemeClr val="tx1"/>
                </a:solidFill>
                <a:latin typeface="Arial Nova Light" panose="020B0304020202020204" pitchFamily="34" charset="0"/>
              </a:defRPr>
            </a:lvl1pPr>
          </a:lstStyle>
          <a:p>
            <a:pPr lvl="0"/>
            <a:r>
              <a:rPr lang="en-US"/>
              <a:t>Insert subtitle here at 18 pt and align to the baseline of the title</a:t>
            </a:r>
          </a:p>
        </p:txBody>
      </p:sp>
      <p:sp>
        <p:nvSpPr>
          <p:cNvPr id="10" name="Text Placeholder 1">
            <a:extLst>
              <a:ext uri="{FF2B5EF4-FFF2-40B4-BE49-F238E27FC236}">
                <a16:creationId xmlns:a16="http://schemas.microsoft.com/office/drawing/2014/main" id="{B96E1555-6B0A-4921-A662-E0846F19DCE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87425" y="5283199"/>
            <a:ext cx="2304000" cy="758825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spcBef>
                <a:spcPts val="300"/>
              </a:spcBef>
              <a:spcAft>
                <a:spcPts val="300"/>
              </a:spcAft>
              <a:defRPr sz="1400">
                <a:solidFill>
                  <a:schemeClr val="tx1"/>
                </a:solidFill>
              </a:defRPr>
            </a:lvl2pPr>
            <a:lvl3pPr>
              <a:spcBef>
                <a:spcPts val="300"/>
              </a:spcBef>
              <a:spcAft>
                <a:spcPts val="300"/>
              </a:spcAft>
              <a:defRPr sz="1400"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Insert subhead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200E2393-B07F-42EF-A2F0-5A568E8EC6B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25142" y="5283199"/>
            <a:ext cx="2304000" cy="758825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spcBef>
                <a:spcPts val="300"/>
              </a:spcBef>
              <a:spcAft>
                <a:spcPts val="300"/>
              </a:spcAft>
              <a:defRPr sz="1400">
                <a:solidFill>
                  <a:schemeClr val="tx1"/>
                </a:solidFill>
              </a:defRPr>
            </a:lvl2pPr>
            <a:lvl3pPr>
              <a:spcBef>
                <a:spcPts val="300"/>
              </a:spcBef>
              <a:spcAft>
                <a:spcPts val="300"/>
              </a:spcAft>
              <a:defRPr sz="1400"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Insert subhead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1DD1D6A8-6F7E-4E89-A846-FFB23570404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62859" y="5283199"/>
            <a:ext cx="2304000" cy="758825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spcBef>
                <a:spcPts val="300"/>
              </a:spcBef>
              <a:spcAft>
                <a:spcPts val="300"/>
              </a:spcAft>
              <a:defRPr sz="1400">
                <a:solidFill>
                  <a:schemeClr val="tx1"/>
                </a:solidFill>
              </a:defRPr>
            </a:lvl2pPr>
            <a:lvl3pPr>
              <a:spcBef>
                <a:spcPts val="300"/>
              </a:spcBef>
              <a:spcAft>
                <a:spcPts val="300"/>
              </a:spcAft>
              <a:defRPr sz="1400"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Insert subhead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C21526F8-C820-4CB0-9B09-15B46D0E27F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900575" y="5283199"/>
            <a:ext cx="2304000" cy="758825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spcBef>
                <a:spcPts val="300"/>
              </a:spcBef>
              <a:spcAft>
                <a:spcPts val="300"/>
              </a:spcAft>
              <a:defRPr sz="1400">
                <a:solidFill>
                  <a:schemeClr val="tx1"/>
                </a:solidFill>
              </a:defRPr>
            </a:lvl2pPr>
            <a:lvl3pPr>
              <a:spcBef>
                <a:spcPts val="300"/>
              </a:spcBef>
              <a:spcAft>
                <a:spcPts val="300"/>
              </a:spcAft>
              <a:defRPr sz="1400"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Insert subhead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object 3">
            <a:extLst>
              <a:ext uri="{FF2B5EF4-FFF2-40B4-BE49-F238E27FC236}">
                <a16:creationId xmlns:a16="http://schemas.microsoft.com/office/drawing/2014/main" id="{F8692BAB-1F05-4DE1-BA8F-21E8E48F6513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4417032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1.5 – Highligh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F74A67-BB87-4D32-9CBF-C06A4B4E2B8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F8EB60C-7CC2-49F0-B2EE-C81F067DE041}" type="slidenum">
              <a:rPr lang="en-US" smtClean="0"/>
              <a:pPr/>
              <a:t>‹#›</a:t>
            </a:fld>
            <a:endParaRPr lang="en-US" sz="900"/>
          </a:p>
        </p:txBody>
      </p:sp>
      <p:sp>
        <p:nvSpPr>
          <p:cNvPr id="13" name="White BG">
            <a:extLst>
              <a:ext uri="{FF2B5EF4-FFF2-40B4-BE49-F238E27FC236}">
                <a16:creationId xmlns:a16="http://schemas.microsoft.com/office/drawing/2014/main" id="{67E9EE99-514E-49DC-9602-429ABE0B23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795" y="351"/>
            <a:ext cx="12191205" cy="4639382"/>
          </a:xfrm>
          <a:custGeom>
            <a:avLst/>
            <a:gdLst/>
            <a:ahLst/>
            <a:cxnLst/>
            <a:rect l="l" t="t" r="r" b="b"/>
            <a:pathLst>
              <a:path w="8631555" h="11308715">
                <a:moveTo>
                  <a:pt x="8631004" y="0"/>
                </a:moveTo>
                <a:lnTo>
                  <a:pt x="0" y="0"/>
                </a:lnTo>
                <a:lnTo>
                  <a:pt x="0" y="11308556"/>
                </a:lnTo>
                <a:lnTo>
                  <a:pt x="8631004" y="11308556"/>
                </a:lnTo>
                <a:lnTo>
                  <a:pt x="8631004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/>
          <a:lstStyle/>
          <a:p>
            <a:pPr defTabSz="554269">
              <a:defRPr/>
            </a:pPr>
            <a:endParaRPr sz="496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D90DE58-B70F-41B2-BBDB-61220C7425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4000" y="637200"/>
            <a:ext cx="10215563" cy="609398"/>
          </a:xfrm>
        </p:spPr>
        <p:txBody>
          <a:bodyPr/>
          <a:lstStyle>
            <a:lvl1pPr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">
            <a:extLst>
              <a:ext uri="{FF2B5EF4-FFF2-40B4-BE49-F238E27FC236}">
                <a16:creationId xmlns:a16="http://schemas.microsoft.com/office/drawing/2014/main" id="{651D2533-1FBB-4331-95DC-B53E6CE8D6B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65125" y="1118278"/>
            <a:ext cx="10215563" cy="567811"/>
          </a:xfrm>
        </p:spPr>
        <p:txBody>
          <a:bodyPr wrap="square" tIns="288000">
            <a:spAutoFit/>
          </a:bodyPr>
          <a:lstStyle>
            <a:lvl1pPr>
              <a:defRPr sz="1800">
                <a:solidFill>
                  <a:schemeClr val="tx1"/>
                </a:solidFill>
                <a:latin typeface="Arial Nova Light" panose="020B0304020202020204" pitchFamily="34" charset="0"/>
              </a:defRPr>
            </a:lvl1pPr>
          </a:lstStyle>
          <a:p>
            <a:pPr lvl="0"/>
            <a:r>
              <a:rPr lang="en-US"/>
              <a:t>Insert subtitle here at 18 pt and align to the baseline of the title</a:t>
            </a:r>
          </a:p>
        </p:txBody>
      </p:sp>
      <p:sp>
        <p:nvSpPr>
          <p:cNvPr id="10" name="Text Placeholder 1">
            <a:extLst>
              <a:ext uri="{FF2B5EF4-FFF2-40B4-BE49-F238E27FC236}">
                <a16:creationId xmlns:a16="http://schemas.microsoft.com/office/drawing/2014/main" id="{B96E1555-6B0A-4921-A662-E0846F19DCE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87425" y="5283199"/>
            <a:ext cx="2304000" cy="758825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spcBef>
                <a:spcPts val="300"/>
              </a:spcBef>
              <a:spcAft>
                <a:spcPts val="300"/>
              </a:spcAft>
              <a:defRPr sz="1400">
                <a:solidFill>
                  <a:schemeClr val="tx1"/>
                </a:solidFill>
              </a:defRPr>
            </a:lvl2pPr>
            <a:lvl3pPr>
              <a:spcBef>
                <a:spcPts val="300"/>
              </a:spcBef>
              <a:spcAft>
                <a:spcPts val="300"/>
              </a:spcAft>
              <a:defRPr sz="1400"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Insert subhead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200E2393-B07F-42EF-A2F0-5A568E8EC6B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25142" y="5283199"/>
            <a:ext cx="2304000" cy="758825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spcBef>
                <a:spcPts val="300"/>
              </a:spcBef>
              <a:spcAft>
                <a:spcPts val="300"/>
              </a:spcAft>
              <a:defRPr sz="1400">
                <a:solidFill>
                  <a:schemeClr val="tx1"/>
                </a:solidFill>
              </a:defRPr>
            </a:lvl2pPr>
            <a:lvl3pPr>
              <a:spcBef>
                <a:spcPts val="300"/>
              </a:spcBef>
              <a:spcAft>
                <a:spcPts val="300"/>
              </a:spcAft>
              <a:defRPr sz="1400"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Insert subhead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1DD1D6A8-6F7E-4E89-A846-FFB23570404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62859" y="5283199"/>
            <a:ext cx="2304000" cy="758825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spcBef>
                <a:spcPts val="300"/>
              </a:spcBef>
              <a:spcAft>
                <a:spcPts val="300"/>
              </a:spcAft>
              <a:defRPr sz="1400">
                <a:solidFill>
                  <a:schemeClr val="tx1"/>
                </a:solidFill>
              </a:defRPr>
            </a:lvl2pPr>
            <a:lvl3pPr>
              <a:spcBef>
                <a:spcPts val="300"/>
              </a:spcBef>
              <a:spcAft>
                <a:spcPts val="300"/>
              </a:spcAft>
              <a:defRPr sz="1400"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Insert subhead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C21526F8-C820-4CB0-9B09-15B46D0E27F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900575" y="5283199"/>
            <a:ext cx="2304000" cy="758825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spcBef>
                <a:spcPts val="300"/>
              </a:spcBef>
              <a:spcAft>
                <a:spcPts val="300"/>
              </a:spcAft>
              <a:defRPr sz="1400">
                <a:solidFill>
                  <a:schemeClr val="tx1"/>
                </a:solidFill>
              </a:defRPr>
            </a:lvl2pPr>
            <a:lvl3pPr>
              <a:spcBef>
                <a:spcPts val="300"/>
              </a:spcBef>
              <a:spcAft>
                <a:spcPts val="300"/>
              </a:spcAft>
              <a:defRPr sz="1400"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Insert subhead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object 3">
            <a:extLst>
              <a:ext uri="{FF2B5EF4-FFF2-40B4-BE49-F238E27FC236}">
                <a16:creationId xmlns:a16="http://schemas.microsoft.com/office/drawing/2014/main" id="{B874D61F-21E3-4706-B56A-D5E5986E0254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592995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–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B42C83F-F081-403F-8781-78AA248C0086}"/>
              </a:ext>
            </a:extLst>
          </p:cNvPr>
          <p:cNvSpPr>
            <a:spLocks noGrp="1"/>
          </p:cNvSpPr>
          <p:nvPr>
            <p:ph type="sldNum" sz="quarter" idx="43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4">
            <a:extLst>
              <a:ext uri="{FF2B5EF4-FFF2-40B4-BE49-F238E27FC236}">
                <a16:creationId xmlns:a16="http://schemas.microsoft.com/office/drawing/2014/main" id="{9D02A7BB-3DA9-49AD-B463-F482E389B8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4000" y="637200"/>
            <a:ext cx="4960399" cy="1218795"/>
          </a:xfrm>
        </p:spPr>
        <p:txBody>
          <a:bodyPr wrap="square" anchor="t">
            <a:spAutoFit/>
          </a:bodyPr>
          <a:lstStyle>
            <a:lvl1pPr>
              <a:defRPr sz="4400"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AU"/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BB506B52-A792-46CB-AD23-6BFF47ED7D62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72000" y="1717675"/>
            <a:ext cx="4933500" cy="772107"/>
          </a:xfrm>
          <a:prstGeom prst="rect">
            <a:avLst/>
          </a:prstGeom>
        </p:spPr>
        <p:txBody>
          <a:bodyPr wrap="square" lIns="0" tIns="216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800">
                <a:solidFill>
                  <a:schemeClr val="tx1"/>
                </a:solidFill>
                <a:latin typeface="Arial Nova Light" panose="020B0304020202020204" pitchFamily="34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18 pt, align box to the baseline of the title</a:t>
            </a: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4C1EC785-CCB5-4B00-8159-C3CBF36EBA1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70647" y="4263616"/>
            <a:ext cx="3345765" cy="1781584"/>
          </a:xfrm>
        </p:spPr>
        <p:txBody>
          <a:bodyPr/>
          <a:lstStyle>
            <a:lvl1pPr>
              <a:defRPr sz="2400">
                <a:solidFill>
                  <a:schemeClr val="accent3"/>
                </a:solidFill>
              </a:defRPr>
            </a:lvl1pPr>
            <a:lvl2pPr>
              <a:spcBef>
                <a:spcPts val="600"/>
              </a:spcBef>
              <a:defRPr sz="1800">
                <a:latin typeface="+mj-lt"/>
              </a:defRPr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Insert heading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837EE336-AE66-4D12-8057-D23DF291B94C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480424" y="2000618"/>
            <a:ext cx="3328988" cy="1781584"/>
          </a:xfrm>
        </p:spPr>
        <p:txBody>
          <a:bodyPr/>
          <a:lstStyle>
            <a:lvl1pPr>
              <a:defRPr sz="2400">
                <a:solidFill>
                  <a:schemeClr val="accent1"/>
                </a:solidFill>
              </a:defRPr>
            </a:lvl1pPr>
            <a:lvl2pPr>
              <a:spcBef>
                <a:spcPts val="600"/>
              </a:spcBef>
              <a:defRPr sz="1800">
                <a:latin typeface="+mj-lt"/>
              </a:defRPr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Insert heading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F6ADE1B1-22F0-4AA7-BD75-0128F3A7F3D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480424" y="4263758"/>
            <a:ext cx="3328988" cy="1781584"/>
          </a:xfrm>
        </p:spPr>
        <p:txBody>
          <a:bodyPr/>
          <a:lstStyle>
            <a:lvl1pPr>
              <a:defRPr sz="2400">
                <a:solidFill>
                  <a:schemeClr val="accent2"/>
                </a:solidFill>
              </a:defRPr>
            </a:lvl1pPr>
            <a:lvl2pPr>
              <a:spcBef>
                <a:spcPts val="600"/>
              </a:spcBef>
              <a:defRPr sz="1800">
                <a:latin typeface="+mj-lt"/>
              </a:defRPr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Insert heading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object 3">
            <a:extLst>
              <a:ext uri="{FF2B5EF4-FFF2-40B4-BE49-F238E27FC236}">
                <a16:creationId xmlns:a16="http://schemas.microsoft.com/office/drawing/2014/main" id="{D55F5643-1CD0-4CBE-BE33-DB62CEB562AE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8469869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– (3) w/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8B6E46A-272E-45C1-8510-F479C5CE3F0E}"/>
              </a:ext>
            </a:extLst>
          </p:cNvPr>
          <p:cNvSpPr>
            <a:spLocks noGrp="1"/>
          </p:cNvSpPr>
          <p:nvPr>
            <p:ph type="sldNum" sz="quarter" idx="57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Title 4">
            <a:extLst>
              <a:ext uri="{FF2B5EF4-FFF2-40B4-BE49-F238E27FC236}">
                <a16:creationId xmlns:a16="http://schemas.microsoft.com/office/drawing/2014/main" id="{D3DDAF39-EF96-42C6-A956-3506E03B90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4000" y="637200"/>
            <a:ext cx="5947370" cy="1218795"/>
          </a:xfrm>
        </p:spPr>
        <p:txBody>
          <a:bodyPr wrap="square" anchor="t">
            <a:spAutoFit/>
          </a:bodyPr>
          <a:lstStyle>
            <a:lvl1pPr>
              <a:defRPr sz="4400"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AU"/>
          </a:p>
        </p:txBody>
      </p:sp>
      <p:sp>
        <p:nvSpPr>
          <p:cNvPr id="18" name="Text Placeholder 1">
            <a:extLst>
              <a:ext uri="{FF2B5EF4-FFF2-40B4-BE49-F238E27FC236}">
                <a16:creationId xmlns:a16="http://schemas.microsoft.com/office/drawing/2014/main" id="{35ABD8A9-32BD-4E7B-99E9-C5381949A6B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27843" y="2775347"/>
            <a:ext cx="2564628" cy="583321"/>
          </a:xfrm>
        </p:spPr>
        <p:txBody>
          <a:bodyPr wrap="square" lIns="0" tIns="90000" rIns="0" bIns="0">
            <a:spAutoFit/>
          </a:bodyPr>
          <a:lstStyle>
            <a:lvl1pPr algn="r">
              <a:defRPr sz="16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1600"/>
            </a:lvl2pPr>
            <a:lvl3pPr marL="180000" indent="0">
              <a:buNone/>
              <a:defRPr/>
            </a:lvl3pPr>
          </a:lstStyle>
          <a:p>
            <a:pPr lvl="0"/>
            <a:r>
              <a:rPr lang="en-US"/>
              <a:t>Insert body text, font size at 16 pt minimum 14 pt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B678B5F7-2E0E-46B6-8B8E-212B09D48E15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4327843" y="3859428"/>
            <a:ext cx="2564628" cy="583321"/>
          </a:xfrm>
        </p:spPr>
        <p:txBody>
          <a:bodyPr wrap="square" lIns="0" tIns="90000" rIns="0" bIns="0">
            <a:spAutoFit/>
          </a:bodyPr>
          <a:lstStyle>
            <a:lvl1pPr algn="r">
              <a:defRPr sz="16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1600"/>
            </a:lvl2pPr>
            <a:lvl3pPr marL="180000" indent="0">
              <a:buNone/>
              <a:defRPr/>
            </a:lvl3pPr>
          </a:lstStyle>
          <a:p>
            <a:pPr lvl="0"/>
            <a:r>
              <a:rPr lang="en-US"/>
              <a:t>Insert body text, font size at 16 pt minimum 14 pt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506F9B2F-D279-4419-9C16-CF7AADE0459E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4327843" y="4943508"/>
            <a:ext cx="2564628" cy="583321"/>
          </a:xfrm>
        </p:spPr>
        <p:txBody>
          <a:bodyPr wrap="square" lIns="0" tIns="90000" rIns="0" bIns="0">
            <a:spAutoFit/>
          </a:bodyPr>
          <a:lstStyle>
            <a:lvl1pPr algn="r">
              <a:defRPr sz="16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1600"/>
            </a:lvl2pPr>
            <a:lvl3pPr marL="180000" indent="0">
              <a:buNone/>
              <a:defRPr/>
            </a:lvl3pPr>
          </a:lstStyle>
          <a:p>
            <a:pPr lvl="0"/>
            <a:r>
              <a:rPr lang="en-US"/>
              <a:t>Insert body text, font size at 16 pt minimum 14 pt</a:t>
            </a:r>
          </a:p>
        </p:txBody>
      </p:sp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114FECE4-44D7-4008-9A4C-F7836F121E2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586304" y="0"/>
            <a:ext cx="4605696" cy="6045200"/>
          </a:xfrm>
          <a:custGeom>
            <a:avLst/>
            <a:gdLst>
              <a:gd name="connsiteX0" fmla="*/ 0 w 5302251"/>
              <a:gd name="connsiteY0" fmla="*/ 0 h 6056313"/>
              <a:gd name="connsiteX1" fmla="*/ 5302251 w 5302251"/>
              <a:gd name="connsiteY1" fmla="*/ 0 h 6056313"/>
              <a:gd name="connsiteX2" fmla="*/ 5302251 w 5302251"/>
              <a:gd name="connsiteY2" fmla="*/ 6056313 h 6056313"/>
              <a:gd name="connsiteX3" fmla="*/ 932984 w 5302251"/>
              <a:gd name="connsiteY3" fmla="*/ 6056313 h 6056313"/>
              <a:gd name="connsiteX4" fmla="*/ 0 w 5302251"/>
              <a:gd name="connsiteY4" fmla="*/ 6056313 h 6056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02251" h="6056313">
                <a:moveTo>
                  <a:pt x="0" y="0"/>
                </a:moveTo>
                <a:lnTo>
                  <a:pt x="5302251" y="0"/>
                </a:lnTo>
                <a:lnTo>
                  <a:pt x="5302251" y="6056313"/>
                </a:lnTo>
                <a:lnTo>
                  <a:pt x="932984" y="6056313"/>
                </a:lnTo>
                <a:lnTo>
                  <a:pt x="0" y="60563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0" tIns="0" rIns="720000" bIns="900000" anchor="ctr" anchorCtr="0">
            <a:noAutofit/>
          </a:bodyPr>
          <a:lstStyle>
            <a:lvl1pPr algn="ctr">
              <a:spcBef>
                <a:spcPts val="0"/>
              </a:spcBef>
              <a:defRPr sz="1400" b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</a:t>
            </a:r>
          </a:p>
        </p:txBody>
      </p:sp>
      <p:sp>
        <p:nvSpPr>
          <p:cNvPr id="8" name="object 3">
            <a:extLst>
              <a:ext uri="{FF2B5EF4-FFF2-40B4-BE49-F238E27FC236}">
                <a16:creationId xmlns:a16="http://schemas.microsoft.com/office/drawing/2014/main" id="{33F41DA2-290F-40E4-9B66-8B7330369C41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2271478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1.2 – Intro left (Gra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Light Gray BG">
            <a:extLst>
              <a:ext uri="{FF2B5EF4-FFF2-40B4-BE49-F238E27FC236}">
                <a16:creationId xmlns:a16="http://schemas.microsoft.com/office/drawing/2014/main" id="{1B9FB4CE-D7D8-4CB0-8B24-AC50958BAFE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316412" y="0"/>
            <a:ext cx="7875587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C942691-E4BA-4C20-8388-C8B2E60EC288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7F8EB60C-7CC2-49F0-B2EE-C81F067DE04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9CF0030-9139-4E59-8508-7818725896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2000" y="969592"/>
            <a:ext cx="3598175" cy="2454518"/>
          </a:xfrm>
        </p:spPr>
        <p:txBody>
          <a:bodyPr/>
          <a:lstStyle>
            <a:lvl1pPr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Insert short heading max 3 lines</a:t>
            </a:r>
          </a:p>
        </p:txBody>
      </p:sp>
      <p:sp>
        <p:nvSpPr>
          <p:cNvPr id="26" name="Subtitle">
            <a:extLst>
              <a:ext uri="{FF2B5EF4-FFF2-40B4-BE49-F238E27FC236}">
                <a16:creationId xmlns:a16="http://schemas.microsoft.com/office/drawing/2014/main" id="{F7692922-A1DC-4363-AEB4-52B9860998B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9356" y="2654463"/>
            <a:ext cx="3580820" cy="1029476"/>
          </a:xfrm>
        </p:spPr>
        <p:txBody>
          <a:bodyPr wrap="square" tIns="288000">
            <a:spAutoFit/>
          </a:bodyPr>
          <a:lstStyle>
            <a:lvl1pPr>
              <a:defRPr sz="2400">
                <a:solidFill>
                  <a:schemeClr val="tx1"/>
                </a:solidFill>
                <a:latin typeface="Arial Nova Light" panose="020B0304020202020204" pitchFamily="34" charset="0"/>
              </a:defRPr>
            </a:lvl1pPr>
          </a:lstStyle>
          <a:p>
            <a:pPr lvl="0"/>
            <a:r>
              <a:rPr lang="en-US"/>
              <a:t>Insert subtitle here at 24 </a:t>
            </a:r>
            <a:r>
              <a:rPr lang="en-US" err="1"/>
              <a:t>pt</a:t>
            </a:r>
            <a:r>
              <a:rPr lang="en-US"/>
              <a:t>, align to baseline title</a:t>
            </a:r>
          </a:p>
        </p:txBody>
      </p:sp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F5330425-ADD3-4713-96AF-786F53FCB50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61781" y="3589867"/>
            <a:ext cx="3578394" cy="2170112"/>
          </a:xfrm>
        </p:spPr>
        <p:txBody>
          <a:bodyPr tIns="396000"/>
          <a:lstStyle>
            <a:lvl1pPr>
              <a:defRPr sz="18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1600"/>
            </a:lvl2pPr>
            <a:lvl3pPr marL="360000" indent="-180000">
              <a:buFont typeface="Graphik" panose="020B0503030202060203" pitchFamily="34" charset="0"/>
              <a:buChar char="–"/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object 3">
            <a:extLst>
              <a:ext uri="{FF2B5EF4-FFF2-40B4-BE49-F238E27FC236}">
                <a16:creationId xmlns:a16="http://schemas.microsoft.com/office/drawing/2014/main" id="{DC2F886C-DF44-4531-BDD4-07F367770BF2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FB9CA457-7EA8-4DC2-B3BB-E66D6BD5828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39084" y="6432376"/>
            <a:ext cx="1311547" cy="228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9794249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1.6 – Intro left, Highligh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F74A67-BB87-4D32-9CBF-C06A4B4E2B8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F8EB60C-7CC2-49F0-B2EE-C81F067DE041}" type="slidenum">
              <a:rPr lang="en-US" smtClean="0"/>
              <a:pPr/>
              <a:t>‹#›</a:t>
            </a:fld>
            <a:endParaRPr lang="en-US" sz="900"/>
          </a:p>
        </p:txBody>
      </p:sp>
      <p:sp>
        <p:nvSpPr>
          <p:cNvPr id="14" name="White BG">
            <a:extLst>
              <a:ext uri="{FF2B5EF4-FFF2-40B4-BE49-F238E27FC236}">
                <a16:creationId xmlns:a16="http://schemas.microsoft.com/office/drawing/2014/main" id="{FB5B0C7F-86AE-4A7F-ADA0-986A3ABAFFB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795" y="351"/>
            <a:ext cx="12191205" cy="4639382"/>
          </a:xfrm>
          <a:custGeom>
            <a:avLst/>
            <a:gdLst/>
            <a:ahLst/>
            <a:cxnLst/>
            <a:rect l="l" t="t" r="r" b="b"/>
            <a:pathLst>
              <a:path w="8631555" h="11308715">
                <a:moveTo>
                  <a:pt x="8631004" y="0"/>
                </a:moveTo>
                <a:lnTo>
                  <a:pt x="0" y="0"/>
                </a:lnTo>
                <a:lnTo>
                  <a:pt x="0" y="11308556"/>
                </a:lnTo>
                <a:lnTo>
                  <a:pt x="8631004" y="11308556"/>
                </a:lnTo>
                <a:lnTo>
                  <a:pt x="8631004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/>
          <a:lstStyle/>
          <a:p>
            <a:pPr defTabSz="554269">
              <a:defRPr/>
            </a:pPr>
            <a:endParaRPr sz="496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D90DE58-B70F-41B2-BBDB-61220C7425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4000" y="637200"/>
            <a:ext cx="3708197" cy="1828193"/>
          </a:xfrm>
        </p:spPr>
        <p:txBody>
          <a:bodyPr/>
          <a:lstStyle>
            <a:lvl1pPr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Insert short heading</a:t>
            </a:r>
            <a:br>
              <a:rPr lang="en-US"/>
            </a:br>
            <a:r>
              <a:rPr lang="en-US"/>
              <a:t>max 3 lines</a:t>
            </a:r>
          </a:p>
        </p:txBody>
      </p:sp>
      <p:sp>
        <p:nvSpPr>
          <p:cNvPr id="16" name="Subtitle">
            <a:extLst>
              <a:ext uri="{FF2B5EF4-FFF2-40B4-BE49-F238E27FC236}">
                <a16:creationId xmlns:a16="http://schemas.microsoft.com/office/drawing/2014/main" id="{651D2533-1FBB-4331-95DC-B53E6CE8D6B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65125" y="2320042"/>
            <a:ext cx="3685897" cy="1398808"/>
          </a:xfrm>
        </p:spPr>
        <p:txBody>
          <a:bodyPr wrap="square" tIns="288000">
            <a:spAutoFit/>
          </a:bodyPr>
          <a:lstStyle>
            <a:lvl1pPr>
              <a:defRPr sz="2400">
                <a:solidFill>
                  <a:schemeClr val="tx1"/>
                </a:solidFill>
                <a:latin typeface="Arial Nova Light" panose="020B0304020202020204" pitchFamily="34" charset="0"/>
              </a:defRPr>
            </a:lvl1pPr>
          </a:lstStyle>
          <a:p>
            <a:pPr lvl="0"/>
            <a:r>
              <a:rPr lang="en-US"/>
              <a:t>Insert subtitle here at 24 </a:t>
            </a:r>
            <a:r>
              <a:rPr lang="en-US" err="1"/>
              <a:t>pt</a:t>
            </a:r>
            <a:r>
              <a:rPr lang="en-US"/>
              <a:t> and align to the baseline of the title</a:t>
            </a:r>
          </a:p>
        </p:txBody>
      </p:sp>
      <p:sp>
        <p:nvSpPr>
          <p:cNvPr id="10" name="Text Placeholder 1">
            <a:extLst>
              <a:ext uri="{FF2B5EF4-FFF2-40B4-BE49-F238E27FC236}">
                <a16:creationId xmlns:a16="http://schemas.microsoft.com/office/drawing/2014/main" id="{B96E1555-6B0A-4921-A662-E0846F19DCE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87425" y="5283199"/>
            <a:ext cx="2304000" cy="758825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spcBef>
                <a:spcPts val="300"/>
              </a:spcBef>
              <a:spcAft>
                <a:spcPts val="300"/>
              </a:spcAft>
              <a:defRPr sz="1400">
                <a:solidFill>
                  <a:schemeClr val="tx1"/>
                </a:solidFill>
              </a:defRPr>
            </a:lvl2pPr>
            <a:lvl3pPr>
              <a:spcBef>
                <a:spcPts val="300"/>
              </a:spcBef>
              <a:spcAft>
                <a:spcPts val="300"/>
              </a:spcAft>
              <a:defRPr sz="1400"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Insert subhead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200E2393-B07F-42EF-A2F0-5A568E8EC6B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25142" y="5283199"/>
            <a:ext cx="2304000" cy="758825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spcBef>
                <a:spcPts val="300"/>
              </a:spcBef>
              <a:spcAft>
                <a:spcPts val="300"/>
              </a:spcAft>
              <a:defRPr sz="1400">
                <a:solidFill>
                  <a:schemeClr val="tx1"/>
                </a:solidFill>
              </a:defRPr>
            </a:lvl2pPr>
            <a:lvl3pPr>
              <a:spcBef>
                <a:spcPts val="300"/>
              </a:spcBef>
              <a:spcAft>
                <a:spcPts val="300"/>
              </a:spcAft>
              <a:defRPr sz="1400"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Insert subhead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1DD1D6A8-6F7E-4E89-A846-FFB23570404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62859" y="5283199"/>
            <a:ext cx="2304000" cy="758825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spcBef>
                <a:spcPts val="300"/>
              </a:spcBef>
              <a:spcAft>
                <a:spcPts val="300"/>
              </a:spcAft>
              <a:defRPr sz="1400">
                <a:solidFill>
                  <a:schemeClr val="tx1"/>
                </a:solidFill>
              </a:defRPr>
            </a:lvl2pPr>
            <a:lvl3pPr>
              <a:spcBef>
                <a:spcPts val="300"/>
              </a:spcBef>
              <a:spcAft>
                <a:spcPts val="300"/>
              </a:spcAft>
              <a:defRPr sz="1400"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Insert subhead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C21526F8-C820-4CB0-9B09-15B46D0E27F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900575" y="5283199"/>
            <a:ext cx="2304000" cy="758825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spcBef>
                <a:spcPts val="300"/>
              </a:spcBef>
              <a:spcAft>
                <a:spcPts val="300"/>
              </a:spcAft>
              <a:defRPr sz="1400">
                <a:solidFill>
                  <a:schemeClr val="tx1"/>
                </a:solidFill>
              </a:defRPr>
            </a:lvl2pPr>
            <a:lvl3pPr>
              <a:spcBef>
                <a:spcPts val="300"/>
              </a:spcBef>
              <a:spcAft>
                <a:spcPts val="300"/>
              </a:spcAft>
              <a:defRPr sz="1400"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Insert subhead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object 3">
            <a:extLst>
              <a:ext uri="{FF2B5EF4-FFF2-40B4-BE49-F238E27FC236}">
                <a16:creationId xmlns:a16="http://schemas.microsoft.com/office/drawing/2014/main" id="{A0EC899E-D56B-4C5F-9809-E23547CDBB53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494164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3C168BC-AA2D-4986-889E-A6CC0A35999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7F8EB60C-7CC2-49F0-B2EE-C81F067DE04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24C2560-725E-4120-B0A4-2D3EACCF96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9199" y="1361464"/>
            <a:ext cx="4946385" cy="1495794"/>
          </a:xfrm>
        </p:spPr>
        <p:txBody>
          <a:bodyPr/>
          <a:lstStyle>
            <a:lvl1pPr>
              <a:defRPr sz="5400"/>
            </a:lvl1pPr>
          </a:lstStyle>
          <a:p>
            <a:r>
              <a:rPr lang="en-US"/>
              <a:t>Section introduction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056690C-4007-42A3-95CA-C4132331373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0" y="2688610"/>
            <a:ext cx="4918075" cy="3353416"/>
          </a:xfrm>
        </p:spPr>
        <p:txBody>
          <a:bodyPr tIns="540000"/>
          <a:lstStyle>
            <a:lvl1pPr>
              <a:spcAft>
                <a:spcPts val="1200"/>
              </a:spcAft>
              <a:defRPr sz="2400">
                <a:solidFill>
                  <a:schemeClr val="accent2"/>
                </a:solidFill>
                <a:latin typeface="Arial Nova Light" panose="020B0304020202020204" pitchFamily="34" charset="0"/>
              </a:defRPr>
            </a:lvl1pPr>
          </a:lstStyle>
          <a:p>
            <a:pPr lvl="0"/>
            <a:r>
              <a:rPr lang="en-US"/>
              <a:t>Place sub-headline here in Arial Nova Light, indent for other level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D226841-03C7-4C1C-9983-AD938B09416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05500" y="1389061"/>
            <a:ext cx="5903914" cy="465296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ources">
            <a:extLst>
              <a:ext uri="{FF2B5EF4-FFF2-40B4-BE49-F238E27FC236}">
                <a16:creationId xmlns:a16="http://schemas.microsoft.com/office/drawing/2014/main" id="{0115C02D-B3CB-4847-ABBF-F7C1CB00C49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80550" y="6471584"/>
            <a:ext cx="6287026" cy="138499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900" i="1">
                <a:latin typeface="+mn-lt"/>
              </a:defRPr>
            </a:lvl1pPr>
          </a:lstStyle>
          <a:p>
            <a:pPr lvl="0"/>
            <a:r>
              <a:rPr lang="en-US"/>
              <a:t>Insert sources</a:t>
            </a:r>
          </a:p>
        </p:txBody>
      </p:sp>
      <p:sp>
        <p:nvSpPr>
          <p:cNvPr id="8" name="object 3">
            <a:extLst>
              <a:ext uri="{FF2B5EF4-FFF2-40B4-BE49-F238E27FC236}">
                <a16:creationId xmlns:a16="http://schemas.microsoft.com/office/drawing/2014/main" id="{1AF80D77-17A5-45F4-95DF-C02C5D0756CD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1030683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– Intro Lef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67321EC-9B79-4B8C-8D40-81C26198832B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6">
            <a:extLst>
              <a:ext uri="{FF2B5EF4-FFF2-40B4-BE49-F238E27FC236}">
                <a16:creationId xmlns:a16="http://schemas.microsoft.com/office/drawing/2014/main" id="{BB3F6845-7401-4224-977A-2EB25DE964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4000" y="1663096"/>
            <a:ext cx="3664724" cy="116339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Insert heading minimum 28 pt max 3 lines</a:t>
            </a:r>
            <a:endParaRPr lang="en-GB"/>
          </a:p>
        </p:txBody>
      </p:sp>
      <p:sp>
        <p:nvSpPr>
          <p:cNvPr id="7" name="Intro">
            <a:extLst>
              <a:ext uri="{FF2B5EF4-FFF2-40B4-BE49-F238E27FC236}">
                <a16:creationId xmlns:a16="http://schemas.microsoft.com/office/drawing/2014/main" id="{930929F5-0A00-4280-B57D-D49190359FF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71383" y="3175476"/>
            <a:ext cx="3664724" cy="2195622"/>
          </a:xfrm>
        </p:spPr>
        <p:txBody>
          <a:bodyPr tIns="288000"/>
          <a:lstStyle>
            <a:lvl1pPr>
              <a:defRPr sz="20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1800"/>
            </a:lvl2pPr>
            <a:lvl3pPr marL="360000" indent="-180000">
              <a:defRPr sz="1600"/>
            </a:lvl3pPr>
            <a:lvl4pPr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marL="360000" lvl="3" indent="-1800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–"/>
            </a:pPr>
            <a:r>
              <a:rPr lang="en-US"/>
              <a:t>Third level</a:t>
            </a: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A5AA2DA9-35B5-41E2-A7E2-FCF7BF41098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57117" y="1687798"/>
            <a:ext cx="2952296" cy="847718"/>
          </a:xfrm>
        </p:spPr>
        <p:txBody>
          <a:bodyPr wrap="square" lIns="0" tIns="0" rIns="0" bIns="108000">
            <a:spAutoFit/>
          </a:bodyPr>
          <a:lstStyle>
            <a:lvl1pPr algn="r">
              <a:defRPr sz="16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1600"/>
            </a:lvl2pPr>
            <a:lvl3pPr marL="180000" indent="0">
              <a:buNone/>
              <a:defRPr/>
            </a:lvl3pPr>
          </a:lstStyle>
          <a:p>
            <a:pPr lvl="0"/>
            <a:r>
              <a:rPr lang="en-US"/>
              <a:t>Body text with font size 16 pt, minimum 14 pt, single line spacing, maximum 3 lines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379DDD07-6EB8-4C97-9912-D82CD9BD40F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857117" y="3026777"/>
            <a:ext cx="2952296" cy="847718"/>
          </a:xfrm>
        </p:spPr>
        <p:txBody>
          <a:bodyPr wrap="square" lIns="0" tIns="0" rIns="0" bIns="108000">
            <a:spAutoFit/>
          </a:bodyPr>
          <a:lstStyle>
            <a:lvl1pPr algn="r">
              <a:defRPr sz="16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1600"/>
            </a:lvl2pPr>
            <a:lvl3pPr marL="180000" indent="0">
              <a:buNone/>
              <a:defRPr/>
            </a:lvl3pPr>
          </a:lstStyle>
          <a:p>
            <a:pPr lvl="0"/>
            <a:r>
              <a:rPr lang="en-US"/>
              <a:t>Body text with font size 16 pt, minimum 14 pt, single line spacing, maximum 3 lines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44925E0-E27F-44EB-BBF3-86A9BA8FAF7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857117" y="4365755"/>
            <a:ext cx="2952296" cy="847718"/>
          </a:xfrm>
        </p:spPr>
        <p:txBody>
          <a:bodyPr wrap="square" lIns="0" tIns="0" rIns="0" bIns="108000">
            <a:spAutoFit/>
          </a:bodyPr>
          <a:lstStyle>
            <a:lvl1pPr algn="r">
              <a:defRPr sz="16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1600"/>
            </a:lvl2pPr>
            <a:lvl3pPr marL="180000" indent="0">
              <a:buNone/>
              <a:defRPr/>
            </a:lvl3pPr>
          </a:lstStyle>
          <a:p>
            <a:pPr lvl="0"/>
            <a:r>
              <a:rPr lang="en-US"/>
              <a:t>Body text with font size 16 pt, minimum 14 pt, single line spacing, maximum 3 lines</a:t>
            </a:r>
          </a:p>
        </p:txBody>
      </p:sp>
      <p:sp>
        <p:nvSpPr>
          <p:cNvPr id="8" name="object 3">
            <a:extLst>
              <a:ext uri="{FF2B5EF4-FFF2-40B4-BE49-F238E27FC236}">
                <a16:creationId xmlns:a16="http://schemas.microsoft.com/office/drawing/2014/main" id="{AB282F7A-D9EE-46F3-BDA7-406AF31EC424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9269937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– Intro Lef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1B3FC76-E041-4DF1-A62E-55EC4A412FC7}"/>
              </a:ext>
            </a:extLst>
          </p:cNvPr>
          <p:cNvSpPr>
            <a:spLocks noGrp="1"/>
          </p:cNvSpPr>
          <p:nvPr>
            <p:ph type="sldNum" sz="quarter" idx="58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6">
            <a:extLst>
              <a:ext uri="{FF2B5EF4-FFF2-40B4-BE49-F238E27FC236}">
                <a16:creationId xmlns:a16="http://schemas.microsoft.com/office/drawing/2014/main" id="{BB3F6845-7401-4224-977A-2EB25DE964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4000" y="1663096"/>
            <a:ext cx="3664724" cy="116339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Insert heading minimum 28 pt max 3 lines</a:t>
            </a:r>
            <a:endParaRPr lang="en-GB"/>
          </a:p>
        </p:txBody>
      </p:sp>
      <p:sp>
        <p:nvSpPr>
          <p:cNvPr id="7" name="Intro">
            <a:extLst>
              <a:ext uri="{FF2B5EF4-FFF2-40B4-BE49-F238E27FC236}">
                <a16:creationId xmlns:a16="http://schemas.microsoft.com/office/drawing/2014/main" id="{930929F5-0A00-4280-B57D-D49190359FF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71383" y="3175476"/>
            <a:ext cx="3664724" cy="2195622"/>
          </a:xfrm>
        </p:spPr>
        <p:txBody>
          <a:bodyPr tIns="288000"/>
          <a:lstStyle>
            <a:lvl1pPr>
              <a:defRPr sz="20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1800"/>
            </a:lvl2pPr>
            <a:lvl3pPr marL="360000" indent="-180000">
              <a:defRPr sz="1600"/>
            </a:lvl3pPr>
            <a:lvl4pPr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marL="360000" lvl="3" indent="-1800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–"/>
            </a:pPr>
            <a:r>
              <a:rPr lang="en-US"/>
              <a:t>Third level</a:t>
            </a:r>
          </a:p>
        </p:txBody>
      </p:sp>
      <p:sp>
        <p:nvSpPr>
          <p:cNvPr id="14" name="Text Placeholder 1">
            <a:extLst>
              <a:ext uri="{FF2B5EF4-FFF2-40B4-BE49-F238E27FC236}">
                <a16:creationId xmlns:a16="http://schemas.microsoft.com/office/drawing/2014/main" id="{81DC1B9D-486D-4778-8E60-3A4B52053779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841316" y="946459"/>
            <a:ext cx="2968095" cy="1066959"/>
          </a:xfrm>
        </p:spPr>
        <p:txBody>
          <a:bodyPr wrap="square">
            <a:spAutoFit/>
          </a:bodyPr>
          <a:lstStyle>
            <a:lvl1pPr>
              <a:defRPr sz="1800" b="1">
                <a:solidFill>
                  <a:schemeClr val="tx1"/>
                </a:solidFill>
              </a:defRPr>
            </a:lvl1pPr>
            <a:lvl2pPr marL="0" indent="0">
              <a:spcBef>
                <a:spcPts val="400"/>
              </a:spcBef>
              <a:buNone/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Insert subhead at 18 pt</a:t>
            </a:r>
          </a:p>
          <a:p>
            <a:pPr lvl="1"/>
            <a:r>
              <a:rPr lang="en-US"/>
              <a:t>Insert text minimum 14 pt </a:t>
            </a:r>
            <a:br>
              <a:rPr lang="en-US"/>
            </a:br>
            <a:r>
              <a:rPr lang="en-US"/>
              <a:t>with single line spacing and maximum 3 lines 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AC456350-5A28-472A-9ED3-566467B2BB97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841316" y="2267365"/>
            <a:ext cx="2968095" cy="1066959"/>
          </a:xfrm>
        </p:spPr>
        <p:txBody>
          <a:bodyPr wrap="square">
            <a:spAutoFit/>
          </a:bodyPr>
          <a:lstStyle>
            <a:lvl1pPr>
              <a:defRPr sz="1800" b="1">
                <a:solidFill>
                  <a:schemeClr val="tx1"/>
                </a:solidFill>
              </a:defRPr>
            </a:lvl1pPr>
            <a:lvl2pPr marL="0" indent="0">
              <a:spcBef>
                <a:spcPts val="400"/>
              </a:spcBef>
              <a:buNone/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Insert subhead at 18 pt</a:t>
            </a:r>
          </a:p>
          <a:p>
            <a:pPr lvl="1"/>
            <a:r>
              <a:rPr lang="en-US"/>
              <a:t>Insert text minimum 14 pt </a:t>
            </a:r>
            <a:br>
              <a:rPr lang="en-US"/>
            </a:br>
            <a:r>
              <a:rPr lang="en-US"/>
              <a:t>with single line spacing and maximum 3 lines 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8A56B276-705A-44E0-A58E-B2AC16409DC7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8841316" y="3588271"/>
            <a:ext cx="2968095" cy="1066959"/>
          </a:xfrm>
        </p:spPr>
        <p:txBody>
          <a:bodyPr wrap="square">
            <a:spAutoFit/>
          </a:bodyPr>
          <a:lstStyle>
            <a:lvl1pPr>
              <a:defRPr sz="1800" b="1">
                <a:solidFill>
                  <a:schemeClr val="tx1"/>
                </a:solidFill>
              </a:defRPr>
            </a:lvl1pPr>
            <a:lvl2pPr marL="0" indent="0">
              <a:spcBef>
                <a:spcPts val="400"/>
              </a:spcBef>
              <a:buNone/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Insert subhead at 18 pt</a:t>
            </a:r>
          </a:p>
          <a:p>
            <a:pPr lvl="1"/>
            <a:r>
              <a:rPr lang="en-US"/>
              <a:t>Insert text minimum 14 pt </a:t>
            </a:r>
            <a:br>
              <a:rPr lang="en-US"/>
            </a:br>
            <a:r>
              <a:rPr lang="en-US"/>
              <a:t>with single line spacing and maximum 3 lines 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76454A81-CD82-4E0E-97E4-DB77B99B95C0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8841316" y="4909178"/>
            <a:ext cx="2968095" cy="1066959"/>
          </a:xfrm>
        </p:spPr>
        <p:txBody>
          <a:bodyPr wrap="square">
            <a:spAutoFit/>
          </a:bodyPr>
          <a:lstStyle>
            <a:lvl1pPr>
              <a:defRPr sz="1800" b="1">
                <a:solidFill>
                  <a:schemeClr val="tx1"/>
                </a:solidFill>
              </a:defRPr>
            </a:lvl1pPr>
            <a:lvl2pPr marL="0" indent="0">
              <a:spcBef>
                <a:spcPts val="400"/>
              </a:spcBef>
              <a:buNone/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Insert subhead at 18 pt</a:t>
            </a:r>
          </a:p>
          <a:p>
            <a:pPr lvl="1"/>
            <a:r>
              <a:rPr lang="en-US"/>
              <a:t>Insert text minimum 14 pt </a:t>
            </a:r>
            <a:br>
              <a:rPr lang="en-US"/>
            </a:br>
            <a:r>
              <a:rPr lang="en-US"/>
              <a:t>with single line spacing and maximum 3 lines </a:t>
            </a:r>
          </a:p>
        </p:txBody>
      </p:sp>
      <p:sp>
        <p:nvSpPr>
          <p:cNvPr id="9" name="object 3">
            <a:extLst>
              <a:ext uri="{FF2B5EF4-FFF2-40B4-BE49-F238E27FC236}">
                <a16:creationId xmlns:a16="http://schemas.microsoft.com/office/drawing/2014/main" id="{2C7C8494-60AC-46C9-90C9-78831A259A9F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1036160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/ Intro – Lef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333AA94-8E1D-4492-918F-8FABC9C4181F}"/>
              </a:ext>
            </a:extLst>
          </p:cNvPr>
          <p:cNvSpPr>
            <a:spLocks noGrp="1"/>
          </p:cNvSpPr>
          <p:nvPr>
            <p:ph type="sldNum" sz="quarter" idx="38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6">
            <a:extLst>
              <a:ext uri="{FF2B5EF4-FFF2-40B4-BE49-F238E27FC236}">
                <a16:creationId xmlns:a16="http://schemas.microsoft.com/office/drawing/2014/main" id="{BB3F6845-7401-4224-977A-2EB25DE964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4000" y="1663096"/>
            <a:ext cx="3664724" cy="116339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Insert heading minimum 28 pt max 3 lines</a:t>
            </a:r>
            <a:endParaRPr lang="en-GB"/>
          </a:p>
        </p:txBody>
      </p:sp>
      <p:sp>
        <p:nvSpPr>
          <p:cNvPr id="7" name="Intro">
            <a:extLst>
              <a:ext uri="{FF2B5EF4-FFF2-40B4-BE49-F238E27FC236}">
                <a16:creationId xmlns:a16="http://schemas.microsoft.com/office/drawing/2014/main" id="{930929F5-0A00-4280-B57D-D49190359FF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71383" y="3175476"/>
            <a:ext cx="3664724" cy="2195622"/>
          </a:xfrm>
        </p:spPr>
        <p:txBody>
          <a:bodyPr tIns="288000"/>
          <a:lstStyle>
            <a:lvl1pPr>
              <a:defRPr sz="20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1800"/>
            </a:lvl2pPr>
            <a:lvl3pPr marL="360000" indent="-180000">
              <a:defRPr sz="1600"/>
            </a:lvl3pPr>
            <a:lvl4pPr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marL="360000" lvl="3" indent="-1800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–"/>
            </a:pPr>
            <a:r>
              <a:rPr lang="en-US"/>
              <a:t>Third level</a:t>
            </a:r>
          </a:p>
        </p:txBody>
      </p:sp>
      <p:sp>
        <p:nvSpPr>
          <p:cNvPr id="5" name="object 3">
            <a:extLst>
              <a:ext uri="{FF2B5EF4-FFF2-40B4-BE49-F238E27FC236}">
                <a16:creationId xmlns:a16="http://schemas.microsoft.com/office/drawing/2014/main" id="{03DBE4B2-E481-4043-B726-C5821C02101E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3424710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Gradient Dark 1">
    <p:bg>
      <p:bgPr>
        <a:gradFill>
          <a:gsLst>
            <a:gs pos="1000">
              <a:schemeClr val="accent1"/>
            </a:gs>
            <a:gs pos="54000">
              <a:schemeClr val="accent1">
                <a:lumMod val="75000"/>
                <a:lumOff val="25000"/>
              </a:schemeClr>
            </a:gs>
            <a:gs pos="85000">
              <a:schemeClr val="accent4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35358CD-1C8B-4557-8157-6CB17240471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F8EB60C-7CC2-49F0-B2EE-C81F067DE04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79B0651-DF79-4B40-BC0F-E10A1C0406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65250" y="2370368"/>
            <a:ext cx="9459914" cy="2025824"/>
          </a:xfrm>
        </p:spPr>
        <p:txBody>
          <a:bodyPr tIns="216000" anchor="ctr">
            <a:noAutofit/>
          </a:bodyPr>
          <a:lstStyle>
            <a:lvl1pPr algn="ctr">
              <a:lnSpc>
                <a:spcPct val="90000"/>
              </a:lnSpc>
              <a:defRPr sz="5400" b="1" spc="-50" baseline="0">
                <a:latin typeface="+mj-lt"/>
              </a:defRPr>
            </a:lvl1pPr>
          </a:lstStyle>
          <a:p>
            <a:r>
              <a:rPr lang="en-US"/>
              <a:t>Place key message here</a:t>
            </a:r>
          </a:p>
        </p:txBody>
      </p:sp>
      <p:sp>
        <p:nvSpPr>
          <p:cNvPr id="8" name="object 3">
            <a:extLst>
              <a:ext uri="{FF2B5EF4-FFF2-40B4-BE49-F238E27FC236}">
                <a16:creationId xmlns:a16="http://schemas.microsoft.com/office/drawing/2014/main" id="{7F6D2DF3-A82F-4582-B1BD-009436F1CAF4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BC3DC64A-8F16-4518-89B4-147B3C2909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39084" y="6432376"/>
            <a:ext cx="1311547" cy="228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168478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 Light BG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EEF358A-AD65-49FE-A134-FAA2889042C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65000"/>
                  </a:schemeClr>
                </a:solidFill>
              </a:defRPr>
            </a:lvl1pPr>
          </a:lstStyle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39" y="3055051"/>
            <a:ext cx="8656320" cy="747897"/>
          </a:xfrm>
        </p:spPr>
        <p:txBody>
          <a:bodyPr anchor="ctr"/>
          <a:lstStyle>
            <a:lvl1pPr algn="ctr"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Place key message here</a:t>
            </a:r>
          </a:p>
        </p:txBody>
      </p:sp>
      <p:sp>
        <p:nvSpPr>
          <p:cNvPr id="7" name="object 3">
            <a:extLst>
              <a:ext uri="{FF2B5EF4-FFF2-40B4-BE49-F238E27FC236}">
                <a16:creationId xmlns:a16="http://schemas.microsoft.com/office/drawing/2014/main" id="{602AC87F-A7CD-4879-B68B-B5BAEEC85EF2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6B8E506F-E474-45F5-91A0-91A21828D7B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39084" y="6432376"/>
            <a:ext cx="1311547" cy="228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35533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Mid Purpl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0F14C31-37D2-42CC-AB38-1529317E3B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F8EB60C-7CC2-49F0-B2EE-C81F067DE04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79B0651-DF79-4B40-BC0F-E10A1C0406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65250" y="2370368"/>
            <a:ext cx="9459914" cy="2025824"/>
          </a:xfrm>
        </p:spPr>
        <p:txBody>
          <a:bodyPr tIns="216000" anchor="ctr">
            <a:noAutofit/>
          </a:bodyPr>
          <a:lstStyle>
            <a:lvl1pPr algn="ctr">
              <a:lnSpc>
                <a:spcPct val="90000"/>
              </a:lnSpc>
              <a:defRPr sz="5400" b="1" spc="-50" baseline="0">
                <a:latin typeface="+mj-lt"/>
              </a:defRPr>
            </a:lvl1pPr>
          </a:lstStyle>
          <a:p>
            <a:r>
              <a:rPr lang="en-US"/>
              <a:t>Place key message here</a:t>
            </a:r>
          </a:p>
        </p:txBody>
      </p:sp>
      <p:sp>
        <p:nvSpPr>
          <p:cNvPr id="7" name="object 3">
            <a:extLst>
              <a:ext uri="{FF2B5EF4-FFF2-40B4-BE49-F238E27FC236}">
                <a16:creationId xmlns:a16="http://schemas.microsoft.com/office/drawing/2014/main" id="{AF1C9233-8CCE-48F9-A1C5-D2404E6B1865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B108E765-D6E0-49F0-9A46-69E371B2EF2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39084" y="6432376"/>
            <a:ext cx="1311547" cy="228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15362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Full Bleed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F86C97EB-6AF4-4C6A-9C2F-C1F3C50C258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solidFill>
            <a:schemeClr val="accent1"/>
          </a:solidFill>
        </p:spPr>
        <p:txBody>
          <a:bodyPr tIns="720000" bIns="0" anchor="t"/>
          <a:lstStyle>
            <a:lvl1pPr algn="ctr">
              <a:defRPr sz="1600">
                <a:solidFill>
                  <a:schemeClr val="tx2">
                    <a:lumMod val="75000"/>
                  </a:schemeClr>
                </a:solidFill>
                <a:latin typeface="+mn-lt"/>
              </a:defRPr>
            </a:lvl1pPr>
          </a:lstStyle>
          <a:p>
            <a:pPr lvl="0">
              <a:spcBef>
                <a:spcPts val="0"/>
              </a:spcBef>
            </a:pPr>
            <a:r>
              <a:rPr lang="en-CA"/>
              <a:t>Click on the icon or drag image </a:t>
            </a:r>
            <a:br>
              <a:rPr lang="en-CA"/>
            </a:br>
            <a:r>
              <a:rPr lang="en-CA"/>
              <a:t>to insert an image </a:t>
            </a: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039F994-D96C-422C-A89A-129783230CA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7F8EB60C-7CC2-49F0-B2EE-C81F067DE04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79B0651-DF79-4B40-BC0F-E10A1C0406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65250" y="2370368"/>
            <a:ext cx="9459914" cy="2025824"/>
          </a:xfrm>
        </p:spPr>
        <p:txBody>
          <a:bodyPr tIns="216000" anchor="ctr">
            <a:noAutofit/>
          </a:bodyPr>
          <a:lstStyle>
            <a:lvl1pPr algn="ctr">
              <a:lnSpc>
                <a:spcPct val="90000"/>
              </a:lnSpc>
              <a:defRPr sz="5400" b="1" spc="-50" baseline="0">
                <a:latin typeface="+mj-lt"/>
              </a:defRPr>
            </a:lvl1pPr>
          </a:lstStyle>
          <a:p>
            <a:r>
              <a:rPr lang="en-US"/>
              <a:t>Place key message here</a:t>
            </a:r>
          </a:p>
        </p:txBody>
      </p:sp>
      <p:sp>
        <p:nvSpPr>
          <p:cNvPr id="10" name="object 3">
            <a:extLst>
              <a:ext uri="{FF2B5EF4-FFF2-40B4-BE49-F238E27FC236}">
                <a16:creationId xmlns:a16="http://schemas.microsoft.com/office/drawing/2014/main" id="{FEE5BA73-53CC-4544-B630-D41516A50CC1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FE8548B1-7DE4-441C-B391-93E04DB5A65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39084" y="6432376"/>
            <a:ext cx="1311547" cy="228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45207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/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C11BB0C-C130-48E4-91DA-7146DA08A8F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Statement">
            <a:extLst>
              <a:ext uri="{FF2B5EF4-FFF2-40B4-BE49-F238E27FC236}">
                <a16:creationId xmlns:a16="http://schemas.microsoft.com/office/drawing/2014/main" id="{0CE9EBB8-DF84-4237-B870-16D478490C8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58241" y="1717675"/>
            <a:ext cx="6309334" cy="2462213"/>
          </a:xfrm>
        </p:spPr>
        <p:txBody>
          <a:bodyPr wrap="square">
            <a:spAutoFit/>
          </a:bodyPr>
          <a:lstStyle>
            <a:lvl1pPr>
              <a:defRPr sz="40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Insert statement in Arial Black, </a:t>
            </a:r>
            <a:br>
              <a:rPr lang="en-US"/>
            </a:br>
            <a:r>
              <a:rPr lang="en-US"/>
              <a:t>in 40 pt minimum 36 pt, maximum 5 lines</a:t>
            </a:r>
          </a:p>
        </p:txBody>
      </p:sp>
      <p:sp>
        <p:nvSpPr>
          <p:cNvPr id="6" name="Reference Name">
            <a:extLst>
              <a:ext uri="{FF2B5EF4-FFF2-40B4-BE49-F238E27FC236}">
                <a16:creationId xmlns:a16="http://schemas.microsoft.com/office/drawing/2014/main" id="{9CC8EF2E-6629-46B1-87E4-6C3D21B9298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33750" y="4578383"/>
            <a:ext cx="3933825" cy="523220"/>
          </a:xfrm>
        </p:spPr>
        <p:txBody>
          <a:bodyPr wrap="square">
            <a:spAutoFit/>
          </a:bodyPr>
          <a:lstStyle>
            <a:lvl1pPr marL="361950" indent="-361950">
              <a:spcBef>
                <a:spcPts val="0"/>
              </a:spcBef>
              <a:buFont typeface="Graphik Semibold" panose="020B0703030202060203" pitchFamily="34" charset="0"/>
              <a:buChar char="—"/>
              <a:defRPr sz="1800">
                <a:solidFill>
                  <a:schemeClr val="accent2"/>
                </a:solidFill>
              </a:defRPr>
            </a:lvl1pPr>
            <a:lvl2pPr marL="361950" indent="0">
              <a:spcBef>
                <a:spcPts val="0"/>
              </a:spcBef>
              <a:defRPr sz="1600">
                <a:solidFill>
                  <a:schemeClr val="accent2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Job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17585548-21FE-4043-B228-A3FFD6BAFEF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874000" y="0"/>
            <a:ext cx="4318000" cy="6056313"/>
          </a:xfrm>
          <a:custGeom>
            <a:avLst/>
            <a:gdLst>
              <a:gd name="connsiteX0" fmla="*/ 0 w 4433888"/>
              <a:gd name="connsiteY0" fmla="*/ 0 h 6056313"/>
              <a:gd name="connsiteX1" fmla="*/ 4433888 w 4433888"/>
              <a:gd name="connsiteY1" fmla="*/ 0 h 6056313"/>
              <a:gd name="connsiteX2" fmla="*/ 4433888 w 4433888"/>
              <a:gd name="connsiteY2" fmla="*/ 6056313 h 6056313"/>
              <a:gd name="connsiteX3" fmla="*/ 0 w 4433888"/>
              <a:gd name="connsiteY3" fmla="*/ 6056313 h 6056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33888" h="6056313">
                <a:moveTo>
                  <a:pt x="0" y="0"/>
                </a:moveTo>
                <a:lnTo>
                  <a:pt x="4433888" y="0"/>
                </a:lnTo>
                <a:lnTo>
                  <a:pt x="4433888" y="6056313"/>
                </a:lnTo>
                <a:lnTo>
                  <a:pt x="0" y="60563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0" tIns="0" rIns="720000" bIns="900000" anchor="ctr" anchorCtr="0">
            <a:noAutofit/>
          </a:bodyPr>
          <a:lstStyle>
            <a:lvl1pPr algn="ctr">
              <a:spcBef>
                <a:spcPts val="0"/>
              </a:spcBef>
              <a:defRPr sz="1600" b="0" cap="none" baseline="0">
                <a:latin typeface="+mn-lt"/>
              </a:defRPr>
            </a:lvl1pPr>
          </a:lstStyle>
          <a:p>
            <a:r>
              <a:rPr lang="en-US"/>
              <a:t>Click on the icon to insert image in placeholder and </a:t>
            </a:r>
            <a:br>
              <a:rPr lang="en-US"/>
            </a:br>
            <a:r>
              <a:rPr lang="en-US"/>
              <a:t>use the crop tool to center the image</a:t>
            </a:r>
          </a:p>
        </p:txBody>
      </p:sp>
      <p:sp>
        <p:nvSpPr>
          <p:cNvPr id="7" name="object 3">
            <a:extLst>
              <a:ext uri="{FF2B5EF4-FFF2-40B4-BE49-F238E27FC236}">
                <a16:creationId xmlns:a16="http://schemas.microsoft.com/office/drawing/2014/main" id="{9C747115-0400-4B89-9A4B-8BEBE94F8EEE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9413409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estions or comments – 1 contac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97201" y="3889828"/>
            <a:ext cx="4892298" cy="1495794"/>
          </a:xfrm>
        </p:spPr>
        <p:txBody>
          <a:bodyPr anchor="t"/>
          <a:lstStyle>
            <a:lvl1pPr>
              <a:defRPr sz="54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Questions or comments</a:t>
            </a:r>
          </a:p>
        </p:txBody>
      </p:sp>
      <p:sp>
        <p:nvSpPr>
          <p:cNvPr id="6" name="Name 1">
            <a:extLst>
              <a:ext uri="{FF2B5EF4-FFF2-40B4-BE49-F238E27FC236}">
                <a16:creationId xmlns:a16="http://schemas.microsoft.com/office/drawing/2014/main" id="{5E4B7256-42CB-43C7-A1A6-E549B32F6D7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61890" y="4081721"/>
            <a:ext cx="4560290" cy="1054484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b="0" i="0">
                <a:latin typeface="GT Sectra Fine Rg" panose="00000500000000000000" pitchFamily="50" charset="0"/>
              </a:defRPr>
            </a:lvl1pPr>
            <a:lvl2pPr marL="0" indent="0">
              <a:spcBef>
                <a:spcPts val="0"/>
              </a:spcBef>
              <a:spcAft>
                <a:spcPts val="600"/>
              </a:spcAft>
              <a:buNone/>
              <a:defRPr sz="2000"/>
            </a:lvl2pPr>
            <a:lvl3pPr marL="0" indent="0">
              <a:spcBef>
                <a:spcPts val="0"/>
              </a:spcBef>
              <a:spcAft>
                <a:spcPts val="600"/>
              </a:spcAft>
              <a:buNone/>
              <a:defRPr sz="1200"/>
            </a:lvl3pPr>
            <a:lvl4pPr marL="182880" indent="-18288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</a:t>
            </a:r>
            <a:br>
              <a:rPr lang="en-US"/>
            </a:br>
            <a:r>
              <a:rPr lang="en-US"/>
              <a:t>Last name</a:t>
            </a:r>
          </a:p>
          <a:p>
            <a:pPr lvl="1"/>
            <a:r>
              <a:rPr lang="en-US"/>
              <a:t>Role</a:t>
            </a:r>
          </a:p>
        </p:txBody>
      </p:sp>
      <p:sp>
        <p:nvSpPr>
          <p:cNvPr id="10" name="Read more">
            <a:extLst>
              <a:ext uri="{FF2B5EF4-FFF2-40B4-BE49-F238E27FC236}">
                <a16:creationId xmlns:a16="http://schemas.microsoft.com/office/drawing/2014/main" id="{6270E4A7-94A1-44FC-97B4-F61C31DE459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66460" y="5458142"/>
            <a:ext cx="4560290" cy="58831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Read more:</a:t>
            </a:r>
          </a:p>
          <a:p>
            <a:pPr lvl="1"/>
            <a:r>
              <a:rPr lang="en-US"/>
              <a:t>Link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9F6A29-D7B3-8885-2086-B497BCE90DDB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50000">
                <a:schemeClr val="accent3"/>
              </a:gs>
              <a:gs pos="100000">
                <a:schemeClr val="accent4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3C85E721-0679-350E-644C-E95BDBC66C2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427813" y="6480578"/>
            <a:ext cx="381600" cy="132523"/>
          </a:xfrm>
        </p:spPr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object 3">
            <a:extLst>
              <a:ext uri="{FF2B5EF4-FFF2-40B4-BE49-F238E27FC236}">
                <a16:creationId xmlns:a16="http://schemas.microsoft.com/office/drawing/2014/main" id="{0966B98A-865C-4BD4-A204-DE6F94C3D891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AF661DD8-3A47-4A06-A8D4-E16ACB1C8CC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39084" y="6432376"/>
            <a:ext cx="1311547" cy="228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23821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orient="horz" pos="2904">
          <p15:clr>
            <a:srgbClr val="5ACBF0"/>
          </p15:clr>
        </p15:guide>
      </p15:sldGuideLst>
    </p:ext>
  </p:extLs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estions or comments – 1 contact (Gradient 2)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68400" y="3889828"/>
            <a:ext cx="4892298" cy="1495794"/>
          </a:xfrm>
        </p:spPr>
        <p:txBody>
          <a:bodyPr anchor="t"/>
          <a:lstStyle>
            <a:lvl1pPr>
              <a:defRPr sz="54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Questions or comments</a:t>
            </a:r>
          </a:p>
        </p:txBody>
      </p:sp>
      <p:sp>
        <p:nvSpPr>
          <p:cNvPr id="13" name="Name 1">
            <a:extLst>
              <a:ext uri="{FF2B5EF4-FFF2-40B4-BE49-F238E27FC236}">
                <a16:creationId xmlns:a16="http://schemas.microsoft.com/office/drawing/2014/main" id="{0CEF43B4-24A0-44AD-8C35-AF78F59F102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61889" y="4081721"/>
            <a:ext cx="5542953" cy="1054484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b="0" i="0">
                <a:latin typeface="GT Sectra Fine Rg" panose="00000500000000000000" pitchFamily="50" charset="0"/>
              </a:defRPr>
            </a:lvl1pPr>
            <a:lvl2pPr marL="0" indent="0">
              <a:spcBef>
                <a:spcPts val="0"/>
              </a:spcBef>
              <a:spcAft>
                <a:spcPts val="600"/>
              </a:spcAft>
              <a:buNone/>
              <a:defRPr sz="1800"/>
            </a:lvl2pPr>
            <a:lvl3pPr marL="0" indent="0">
              <a:spcBef>
                <a:spcPts val="0"/>
              </a:spcBef>
              <a:spcAft>
                <a:spcPts val="600"/>
              </a:spcAft>
              <a:buNone/>
              <a:defRPr sz="1200"/>
            </a:lvl3pPr>
            <a:lvl4pPr marL="182880" indent="-18288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</a:t>
            </a:r>
            <a:br>
              <a:rPr lang="en-US"/>
            </a:br>
            <a:r>
              <a:rPr lang="en-US"/>
              <a:t>Last name</a:t>
            </a:r>
          </a:p>
          <a:p>
            <a:pPr lvl="1"/>
            <a:r>
              <a:rPr lang="en-US"/>
              <a:t>Role</a:t>
            </a:r>
          </a:p>
        </p:txBody>
      </p:sp>
      <p:sp>
        <p:nvSpPr>
          <p:cNvPr id="10" name="Read more">
            <a:extLst>
              <a:ext uri="{FF2B5EF4-FFF2-40B4-BE49-F238E27FC236}">
                <a16:creationId xmlns:a16="http://schemas.microsoft.com/office/drawing/2014/main" id="{6270E4A7-94A1-44FC-97B4-F61C31DE459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66459" y="5458142"/>
            <a:ext cx="5542954" cy="58831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Read more:</a:t>
            </a:r>
          </a:p>
          <a:p>
            <a:pPr lvl="1"/>
            <a:r>
              <a:rPr lang="en-US"/>
              <a:t>Link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5150EA5-4F7A-58D2-217B-2574FB6F774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427813" y="6480578"/>
            <a:ext cx="381600" cy="132523"/>
          </a:xfrm>
        </p:spPr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object 3">
            <a:extLst>
              <a:ext uri="{FF2B5EF4-FFF2-40B4-BE49-F238E27FC236}">
                <a16:creationId xmlns:a16="http://schemas.microsoft.com/office/drawing/2014/main" id="{9FD7CBD1-8B9A-494D-922A-C8DFCD534656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370B2BA2-BAF3-4370-B472-7B19EBDD7B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39084" y="6432376"/>
            <a:ext cx="1311547" cy="228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35980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-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0CEBC8F-029D-4601-A73A-872247661F7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7F8EB60C-7CC2-49F0-B2EE-C81F067DE04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B5AE40D-DA06-45BE-AF30-4092D00E4D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200" y="346108"/>
            <a:ext cx="8886875" cy="4985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DDAC503A-6438-4F4D-8CAA-8C78A2F5DDD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1000" y="1717675"/>
            <a:ext cx="8855075" cy="43243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ources">
            <a:extLst>
              <a:ext uri="{FF2B5EF4-FFF2-40B4-BE49-F238E27FC236}">
                <a16:creationId xmlns:a16="http://schemas.microsoft.com/office/drawing/2014/main" id="{B4566F00-94E9-462B-937B-4C3A2EE9B44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80550" y="6471584"/>
            <a:ext cx="6287026" cy="138499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900" i="1">
                <a:latin typeface="+mn-lt"/>
              </a:defRPr>
            </a:lvl1pPr>
          </a:lstStyle>
          <a:p>
            <a:pPr lvl="0"/>
            <a:r>
              <a:rPr lang="en-US"/>
              <a:t>Insert sources</a:t>
            </a:r>
          </a:p>
        </p:txBody>
      </p:sp>
      <p:sp>
        <p:nvSpPr>
          <p:cNvPr id="9" name="object 3">
            <a:extLst>
              <a:ext uri="{FF2B5EF4-FFF2-40B4-BE49-F238E27FC236}">
                <a16:creationId xmlns:a16="http://schemas.microsoft.com/office/drawing/2014/main" id="{E3CF2A0B-E838-413F-95CD-025579BE5B0F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17A3D97A-E13C-4CD0-B6B6-4C2C984D93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39084" y="6432376"/>
            <a:ext cx="1311547" cy="228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44941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estions or comments – 2+ contac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6CA7DD96-ECCF-3ACC-C094-63795F274FF4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50000">
                <a:schemeClr val="accent3"/>
              </a:gs>
              <a:gs pos="100000">
                <a:schemeClr val="accent4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68400" y="1357200"/>
            <a:ext cx="4892298" cy="1495794"/>
          </a:xfrm>
        </p:spPr>
        <p:txBody>
          <a:bodyPr anchor="t"/>
          <a:lstStyle>
            <a:lvl1pPr>
              <a:defRPr sz="54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Questions or comments</a:t>
            </a:r>
          </a:p>
        </p:txBody>
      </p:sp>
      <p:sp>
        <p:nvSpPr>
          <p:cNvPr id="6" name="Name 1">
            <a:extLst>
              <a:ext uri="{FF2B5EF4-FFF2-40B4-BE49-F238E27FC236}">
                <a16:creationId xmlns:a16="http://schemas.microsoft.com/office/drawing/2014/main" id="{5E4B7256-42CB-43C7-A1A6-E549B32F6D7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61890" y="3803055"/>
            <a:ext cx="4560290" cy="967444"/>
          </a:xfrm>
        </p:spPr>
        <p:txBody>
          <a:bodyPr>
            <a:spAutoFit/>
          </a:bodyPr>
          <a:lstStyle>
            <a:lvl1pPr marL="0" indent="0">
              <a:lnSpc>
                <a:spcPct val="90000"/>
              </a:lnSpc>
              <a:spcBef>
                <a:spcPts val="1000"/>
              </a:spcBef>
              <a:spcAft>
                <a:spcPts val="200"/>
              </a:spcAft>
              <a:buFont typeface="Arial" panose="020B0604020202020204" pitchFamily="34" charset="0"/>
              <a:buNone/>
              <a:defRPr sz="2400" b="0" i="0">
                <a:latin typeface="GT Sectra Fine Rg" panose="00000500000000000000" pitchFamily="50" charset="0"/>
              </a:defRPr>
            </a:lvl1pPr>
            <a:lvl2pPr marL="0" indent="0">
              <a:spcBef>
                <a:spcPts val="0"/>
              </a:spcBef>
              <a:spcAft>
                <a:spcPts val="600"/>
              </a:spcAft>
              <a:buNone/>
              <a:defRPr sz="1800"/>
            </a:lvl2pPr>
            <a:lvl3pPr marL="0" indent="0">
              <a:spcBef>
                <a:spcPts val="0"/>
              </a:spcBef>
              <a:spcAft>
                <a:spcPts val="600"/>
              </a:spcAft>
              <a:buNone/>
              <a:defRPr sz="1200"/>
            </a:lvl3pPr>
            <a:lvl4pPr marL="182880" indent="-18288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</a:t>
            </a:r>
            <a:br>
              <a:rPr lang="en-US"/>
            </a:br>
            <a:r>
              <a:rPr lang="en-US"/>
              <a:t>Last name</a:t>
            </a:r>
          </a:p>
          <a:p>
            <a:pPr lvl="1"/>
            <a:r>
              <a:rPr lang="en-US"/>
              <a:t>Role</a:t>
            </a:r>
          </a:p>
        </p:txBody>
      </p:sp>
      <p:sp>
        <p:nvSpPr>
          <p:cNvPr id="10" name="Read more">
            <a:extLst>
              <a:ext uri="{FF2B5EF4-FFF2-40B4-BE49-F238E27FC236}">
                <a16:creationId xmlns:a16="http://schemas.microsoft.com/office/drawing/2014/main" id="{6270E4A7-94A1-44FC-97B4-F61C31DE459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68400" y="3783599"/>
            <a:ext cx="4560290" cy="643766"/>
          </a:xfrm>
        </p:spPr>
        <p:txBody>
          <a:bodyPr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Read more:</a:t>
            </a:r>
          </a:p>
          <a:p>
            <a:pPr lvl="1"/>
            <a:r>
              <a:rPr lang="en-US"/>
              <a:t>Links</a:t>
            </a:r>
          </a:p>
        </p:txBody>
      </p:sp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7481A5DD-9364-671C-4F53-F20D90C920B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427813" y="6480578"/>
            <a:ext cx="381600" cy="132523"/>
          </a:xfrm>
        </p:spPr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object 3">
            <a:extLst>
              <a:ext uri="{FF2B5EF4-FFF2-40B4-BE49-F238E27FC236}">
                <a16:creationId xmlns:a16="http://schemas.microsoft.com/office/drawing/2014/main" id="{2E2B446E-ACC7-404A-A0B7-97B437BB0348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D79964A1-1AA8-401D-A1A0-3914ED488A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39084" y="6432376"/>
            <a:ext cx="1311547" cy="228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90926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estions or comments – 2+ contact (Gradient 2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AA6DF6B-8333-4ED8-A7C4-90EB9E6CF24B}"/>
              </a:ext>
            </a:extLst>
          </p:cNvPr>
          <p:cNvSpPr/>
          <p:nvPr userDrawn="1"/>
        </p:nvSpPr>
        <p:spPr>
          <a:xfrm>
            <a:off x="0" y="-1"/>
            <a:ext cx="12192000" cy="3428999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70000">
                <a:schemeClr val="accent3"/>
              </a:gs>
              <a:gs pos="100000">
                <a:schemeClr val="accent5"/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68400" y="1357200"/>
            <a:ext cx="4892298" cy="1495794"/>
          </a:xfrm>
        </p:spPr>
        <p:txBody>
          <a:bodyPr anchor="t"/>
          <a:lstStyle>
            <a:lvl1pPr>
              <a:defRPr sz="54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Questions or comments</a:t>
            </a:r>
          </a:p>
        </p:txBody>
      </p:sp>
      <p:sp>
        <p:nvSpPr>
          <p:cNvPr id="6" name="Name 1">
            <a:extLst>
              <a:ext uri="{FF2B5EF4-FFF2-40B4-BE49-F238E27FC236}">
                <a16:creationId xmlns:a16="http://schemas.microsoft.com/office/drawing/2014/main" id="{5E4B7256-42CB-43C7-A1A6-E549B32F6D7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61890" y="3803055"/>
            <a:ext cx="4560290" cy="967444"/>
          </a:xfrm>
        </p:spPr>
        <p:txBody>
          <a:bodyPr>
            <a:spAutoFit/>
          </a:bodyPr>
          <a:lstStyle>
            <a:lvl1pPr marL="0" indent="0">
              <a:lnSpc>
                <a:spcPct val="90000"/>
              </a:lnSpc>
              <a:spcBef>
                <a:spcPts val="1000"/>
              </a:spcBef>
              <a:spcAft>
                <a:spcPts val="200"/>
              </a:spcAft>
              <a:buFont typeface="Arial" panose="020B0604020202020204" pitchFamily="34" charset="0"/>
              <a:buNone/>
              <a:defRPr sz="2400" b="0" i="0">
                <a:latin typeface="GT Sectra Fine Rg" panose="00000500000000000000" pitchFamily="50" charset="0"/>
              </a:defRPr>
            </a:lvl1pPr>
            <a:lvl2pPr marL="0" indent="0">
              <a:spcBef>
                <a:spcPts val="0"/>
              </a:spcBef>
              <a:spcAft>
                <a:spcPts val="600"/>
              </a:spcAft>
              <a:buNone/>
              <a:defRPr sz="1800"/>
            </a:lvl2pPr>
            <a:lvl3pPr marL="0" indent="0">
              <a:spcBef>
                <a:spcPts val="0"/>
              </a:spcBef>
              <a:spcAft>
                <a:spcPts val="600"/>
              </a:spcAft>
              <a:buNone/>
              <a:defRPr sz="1200"/>
            </a:lvl3pPr>
            <a:lvl4pPr marL="182880" indent="-18288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</a:t>
            </a:r>
            <a:br>
              <a:rPr lang="en-US"/>
            </a:br>
            <a:r>
              <a:rPr lang="en-US"/>
              <a:t>Last name</a:t>
            </a:r>
          </a:p>
          <a:p>
            <a:pPr lvl="1"/>
            <a:r>
              <a:rPr lang="en-US"/>
              <a:t>Role</a:t>
            </a:r>
          </a:p>
        </p:txBody>
      </p:sp>
      <p:sp>
        <p:nvSpPr>
          <p:cNvPr id="10" name="Read more">
            <a:extLst>
              <a:ext uri="{FF2B5EF4-FFF2-40B4-BE49-F238E27FC236}">
                <a16:creationId xmlns:a16="http://schemas.microsoft.com/office/drawing/2014/main" id="{6270E4A7-94A1-44FC-97B4-F61C31DE459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68400" y="3783599"/>
            <a:ext cx="4560290" cy="643766"/>
          </a:xfrm>
        </p:spPr>
        <p:txBody>
          <a:bodyPr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Read more:</a:t>
            </a:r>
          </a:p>
          <a:p>
            <a:pPr lvl="1"/>
            <a:r>
              <a:rPr lang="en-US"/>
              <a:t>Links</a:t>
            </a:r>
          </a:p>
        </p:txBody>
      </p:sp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B68FEFAE-42DB-5CE4-5D18-EA9F0C48732C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427813" y="6480578"/>
            <a:ext cx="381600" cy="132523"/>
          </a:xfrm>
        </p:spPr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object 3">
            <a:extLst>
              <a:ext uri="{FF2B5EF4-FFF2-40B4-BE49-F238E27FC236}">
                <a16:creationId xmlns:a16="http://schemas.microsoft.com/office/drawing/2014/main" id="{ED208020-4AAA-45B8-B96B-DD0AA30C4F05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02C760AD-DBFE-4B0A-921A-1D8B3D9FF13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39084" y="6432376"/>
            <a:ext cx="1311547" cy="228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34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 – Gradi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956C838-01D9-61FB-07D9-001BD6407F63}"/>
              </a:ext>
            </a:extLst>
          </p:cNvPr>
          <p:cNvSpPr/>
          <p:nvPr userDrawn="1"/>
        </p:nvSpPr>
        <p:spPr>
          <a:xfrm>
            <a:off x="0" y="0"/>
            <a:ext cx="6284913" cy="68580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50000">
                <a:schemeClr val="accent3"/>
              </a:gs>
              <a:gs pos="100000">
                <a:schemeClr val="accent4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844C94-3131-4E39-A5B3-991820945BF9}"/>
              </a:ext>
            </a:extLst>
          </p:cNvPr>
          <p:cNvSpPr>
            <a:spLocks noGrp="1"/>
          </p:cNvSpPr>
          <p:nvPr>
            <p:ph type="sldNum" sz="quarter" idx="70"/>
          </p:nvPr>
        </p:nvSpPr>
        <p:spPr/>
        <p:txBody>
          <a:bodyPr/>
          <a:lstStyle/>
          <a:p>
            <a:fld id="{7F8EB60C-7CC2-49F0-B2EE-C81F067DE04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itle 4">
            <a:extLst>
              <a:ext uri="{FF2B5EF4-FFF2-40B4-BE49-F238E27FC236}">
                <a16:creationId xmlns:a16="http://schemas.microsoft.com/office/drawing/2014/main" id="{37EA2B2F-DB40-44EE-8CD5-40EFC3A1A7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68400" y="1357200"/>
            <a:ext cx="4625096" cy="1495794"/>
          </a:xfrm>
        </p:spPr>
        <p:txBody>
          <a:bodyPr wrap="square"/>
          <a:lstStyle>
            <a:lvl1pPr>
              <a:defRPr sz="54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Questions or comments</a:t>
            </a:r>
            <a:endParaRPr lang="en-GB"/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41DFFC36-2E12-49AD-ACE0-124EFE230377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68880" y="2702590"/>
            <a:ext cx="4625096" cy="3339435"/>
          </a:xfrm>
        </p:spPr>
        <p:txBody>
          <a:bodyPr tIns="720000"/>
          <a:lstStyle>
            <a:lvl1pPr>
              <a:spcAft>
                <a:spcPts val="300"/>
              </a:spcAft>
              <a:defRPr sz="2000">
                <a:solidFill>
                  <a:schemeClr val="bg1"/>
                </a:solidFill>
              </a:defRPr>
            </a:lvl1pPr>
            <a:lvl2pPr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2pPr>
            <a:lvl3pPr>
              <a:buNone/>
              <a:defRPr/>
            </a:lvl3pPr>
            <a:lvl4pPr marL="216000" indent="-216000">
              <a:spcAft>
                <a:spcPts val="800"/>
              </a:spcAft>
              <a:buClr>
                <a:schemeClr val="accent1"/>
              </a:buClr>
              <a:buFont typeface="+mj-lt"/>
              <a:buAutoNum type="arabicPeriod"/>
              <a:defRPr/>
            </a:lvl4pPr>
          </a:lstStyle>
          <a:p>
            <a:pPr lvl="0"/>
            <a:r>
              <a:rPr lang="en-US" noProof="0"/>
              <a:t>Insert subhead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9" name="Text Placeholder 1">
            <a:extLst>
              <a:ext uri="{FF2B5EF4-FFF2-40B4-BE49-F238E27FC236}">
                <a16:creationId xmlns:a16="http://schemas.microsoft.com/office/drawing/2014/main" id="{87A1353E-6CA9-4877-BAF2-3178D52BBAE4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7244828" y="1550203"/>
            <a:ext cx="3958160" cy="4491822"/>
          </a:xfrm>
        </p:spPr>
        <p:txBody>
          <a:bodyPr wrap="square" lIns="0" anchor="t">
            <a:noAutofit/>
          </a:bodyPr>
          <a:lstStyle>
            <a:lvl1pPr>
              <a:lnSpc>
                <a:spcPct val="90000"/>
              </a:lnSpc>
              <a:spcBef>
                <a:spcPts val="2400"/>
              </a:spcBef>
              <a:spcAft>
                <a:spcPts val="0"/>
              </a:spcAft>
              <a:defRPr sz="2400">
                <a:solidFill>
                  <a:schemeClr val="accent2"/>
                </a:solidFill>
                <a:latin typeface="GT Sectra Fine Rg" panose="00000500000000000000" pitchFamily="50" charset="0"/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1800"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900"/>
              </a:spcBef>
              <a:buNone/>
              <a:defRPr sz="1600"/>
            </a:lvl3pPr>
          </a:lstStyle>
          <a:p>
            <a:pPr lvl="0"/>
            <a:r>
              <a:rPr lang="en-US"/>
              <a:t>Full Name</a:t>
            </a:r>
          </a:p>
          <a:p>
            <a:pPr lvl="1"/>
            <a:r>
              <a:rPr lang="en-US"/>
              <a:t>Contact details</a:t>
            </a:r>
          </a:p>
        </p:txBody>
      </p:sp>
      <p:sp>
        <p:nvSpPr>
          <p:cNvPr id="7" name="object 3">
            <a:extLst>
              <a:ext uri="{FF2B5EF4-FFF2-40B4-BE49-F238E27FC236}">
                <a16:creationId xmlns:a16="http://schemas.microsoft.com/office/drawing/2014/main" id="{28B53BA4-14CB-45FA-9985-85A6C0D4392F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1423420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 – Gradi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6E34180-D974-063F-B5FF-997C10A65265}"/>
              </a:ext>
            </a:extLst>
          </p:cNvPr>
          <p:cNvSpPr/>
          <p:nvPr userDrawn="1"/>
        </p:nvSpPr>
        <p:spPr>
          <a:xfrm rot="5400000">
            <a:off x="-286546" y="286544"/>
            <a:ext cx="6858002" cy="6284913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49000">
                <a:schemeClr val="accent3"/>
              </a:gs>
              <a:gs pos="100000">
                <a:schemeClr val="accent5"/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844C94-3131-4E39-A5B3-991820945BF9}"/>
              </a:ext>
            </a:extLst>
          </p:cNvPr>
          <p:cNvSpPr>
            <a:spLocks noGrp="1"/>
          </p:cNvSpPr>
          <p:nvPr>
            <p:ph type="sldNum" sz="quarter" idx="70"/>
          </p:nvPr>
        </p:nvSpPr>
        <p:spPr/>
        <p:txBody>
          <a:bodyPr/>
          <a:lstStyle/>
          <a:p>
            <a:fld id="{7F8EB60C-7CC2-49F0-B2EE-C81F067DE04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9788E6D-E73E-4E4D-8365-C3F21E58A4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68400" y="1357200"/>
            <a:ext cx="4625096" cy="1495794"/>
          </a:xfrm>
        </p:spPr>
        <p:txBody>
          <a:bodyPr wrap="square"/>
          <a:lstStyle>
            <a:lvl1pPr>
              <a:defRPr sz="54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Questions or comments</a:t>
            </a:r>
            <a:endParaRPr lang="en-GB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54139432-6597-4E4C-912C-E91B14CDFD58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68880" y="2703600"/>
            <a:ext cx="4625096" cy="3338425"/>
          </a:xfrm>
        </p:spPr>
        <p:txBody>
          <a:bodyPr tIns="720000"/>
          <a:lstStyle>
            <a:lvl1pPr>
              <a:spcAft>
                <a:spcPts val="300"/>
              </a:spcAft>
              <a:defRPr sz="2000">
                <a:solidFill>
                  <a:schemeClr val="bg1"/>
                </a:solidFill>
              </a:defRPr>
            </a:lvl1pPr>
            <a:lvl2pPr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2pPr>
            <a:lvl3pPr>
              <a:buNone/>
              <a:defRPr/>
            </a:lvl3pPr>
            <a:lvl4pPr marL="216000" indent="-216000">
              <a:spcAft>
                <a:spcPts val="800"/>
              </a:spcAft>
              <a:buClr>
                <a:schemeClr val="accent1"/>
              </a:buClr>
              <a:buFont typeface="+mj-lt"/>
              <a:buAutoNum type="arabicPeriod"/>
              <a:defRPr/>
            </a:lvl4pPr>
          </a:lstStyle>
          <a:p>
            <a:pPr lvl="0"/>
            <a:r>
              <a:rPr lang="en-US" noProof="0"/>
              <a:t>Insert subhead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8" name="Text Placeholder 1">
            <a:extLst>
              <a:ext uri="{FF2B5EF4-FFF2-40B4-BE49-F238E27FC236}">
                <a16:creationId xmlns:a16="http://schemas.microsoft.com/office/drawing/2014/main" id="{3959EDB8-0D84-4A60-8129-A1B841045E07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7244828" y="1550203"/>
            <a:ext cx="3958160" cy="4491822"/>
          </a:xfrm>
        </p:spPr>
        <p:txBody>
          <a:bodyPr wrap="square" lIns="0" anchor="t">
            <a:noAutofit/>
          </a:bodyPr>
          <a:lstStyle>
            <a:lvl1pPr>
              <a:lnSpc>
                <a:spcPct val="90000"/>
              </a:lnSpc>
              <a:spcBef>
                <a:spcPts val="2400"/>
              </a:spcBef>
              <a:spcAft>
                <a:spcPts val="0"/>
              </a:spcAft>
              <a:defRPr sz="2400">
                <a:solidFill>
                  <a:schemeClr val="accent2"/>
                </a:solidFill>
                <a:latin typeface="GT Sectra Fine Rg" panose="00000500000000000000" pitchFamily="50" charset="0"/>
              </a:defRPr>
            </a:lvl1pPr>
            <a:lvl2pPr>
              <a:lnSpc>
                <a:spcPct val="100000"/>
              </a:lnSpc>
              <a:spcBef>
                <a:spcPts val="300"/>
              </a:spcBef>
              <a:defRPr sz="1800"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900"/>
              </a:spcBef>
              <a:buNone/>
              <a:defRPr sz="1600"/>
            </a:lvl3pPr>
          </a:lstStyle>
          <a:p>
            <a:pPr lvl="0"/>
            <a:r>
              <a:rPr lang="en-US"/>
              <a:t>Full Name</a:t>
            </a:r>
          </a:p>
          <a:p>
            <a:pPr lvl="1"/>
            <a:r>
              <a:rPr lang="en-US"/>
              <a:t>Contact details</a:t>
            </a:r>
          </a:p>
        </p:txBody>
      </p:sp>
      <p:sp>
        <p:nvSpPr>
          <p:cNvPr id="7" name="object 3">
            <a:extLst>
              <a:ext uri="{FF2B5EF4-FFF2-40B4-BE49-F238E27FC236}">
                <a16:creationId xmlns:a16="http://schemas.microsoft.com/office/drawing/2014/main" id="{9011139B-7A60-47CF-A654-820691CF62D0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7900953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2 -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27BF698-2217-484B-ADFA-4532DEE1C2A1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7F8EB60C-7CC2-49F0-B2EE-C81F067DE04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89F9A89-D6D3-4535-B846-00D763622E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19" name="Number 1">
            <a:extLst>
              <a:ext uri="{FF2B5EF4-FFF2-40B4-BE49-F238E27FC236}">
                <a16:creationId xmlns:a16="http://schemas.microsoft.com/office/drawing/2014/main" id="{72341109-26F6-4227-8890-EA8EB1C0EBBA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364222" y="1641600"/>
            <a:ext cx="5541278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3" name="Headline 1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64222" y="2098800"/>
            <a:ext cx="5541278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</a:t>
            </a:r>
          </a:p>
        </p:txBody>
      </p:sp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02BA4C27-1C65-4465-A8B1-ACE92701B4D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64222" y="3108960"/>
            <a:ext cx="5541278" cy="2936240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latin typeface="+mn-lt"/>
              </a:defRPr>
            </a:lvl1pPr>
            <a:lvl2pPr marL="180000" indent="-1800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/>
            </a:lvl2pPr>
            <a:lvl3pPr marL="360000" indent="-180000">
              <a:spcBef>
                <a:spcPts val="0"/>
              </a:spcBef>
              <a:spcAft>
                <a:spcPts val="600"/>
              </a:spcAft>
              <a:buFont typeface="Graphik" panose="020B0503030202060203" pitchFamily="34" charset="0"/>
              <a:buChar char="–"/>
              <a:defRPr sz="1800"/>
            </a:lvl3pPr>
            <a:lvl4pPr marL="5400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/>
            </a:lvl4pPr>
            <a:lvl5pPr>
              <a:spcBef>
                <a:spcPts val="0"/>
              </a:spcBef>
              <a:spcAft>
                <a:spcPts val="600"/>
              </a:spcAft>
              <a:defRPr sz="1600"/>
            </a:lvl5pPr>
            <a:lvl6pPr>
              <a:spcBef>
                <a:spcPts val="0"/>
              </a:spcBef>
              <a:spcAft>
                <a:spcPts val="600"/>
              </a:spcAft>
              <a:defRPr sz="1200"/>
            </a:lvl6pPr>
          </a:lstStyle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4" name="Number 2">
            <a:extLst>
              <a:ext uri="{FF2B5EF4-FFF2-40B4-BE49-F238E27FC236}">
                <a16:creationId xmlns:a16="http://schemas.microsoft.com/office/drawing/2014/main" id="{6F91AD4F-1A63-495D-A741-37A4A9D585AA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6268135" y="1641600"/>
            <a:ext cx="5541278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22" name="Headline 2">
            <a:extLst>
              <a:ext uri="{FF2B5EF4-FFF2-40B4-BE49-F238E27FC236}">
                <a16:creationId xmlns:a16="http://schemas.microsoft.com/office/drawing/2014/main" id="{65274935-A310-47A1-ACB7-150C9A4CCBD8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6268135" y="2098800"/>
            <a:ext cx="5541278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1117192B-F3CA-4858-9D81-6293F638D024}"/>
              </a:ext>
            </a:extLst>
          </p:cNvPr>
          <p:cNvSpPr>
            <a:spLocks noGrp="1"/>
          </p:cNvSpPr>
          <p:nvPr>
            <p:ph sz="half" idx="22" hasCustomPrompt="1"/>
          </p:nvPr>
        </p:nvSpPr>
        <p:spPr>
          <a:xfrm>
            <a:off x="6268135" y="3108960"/>
            <a:ext cx="5541278" cy="2936240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latin typeface="+mn-lt"/>
              </a:defRPr>
            </a:lvl1pPr>
            <a:lvl2pPr marL="180000" indent="-1800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/>
            </a:lvl2pPr>
            <a:lvl3pPr marL="360000" indent="-180000">
              <a:spcBef>
                <a:spcPts val="0"/>
              </a:spcBef>
              <a:spcAft>
                <a:spcPts val="600"/>
              </a:spcAft>
              <a:buFont typeface="Graphik" panose="020B0503030202060203" pitchFamily="34" charset="0"/>
              <a:buChar char="–"/>
              <a:defRPr sz="1800"/>
            </a:lvl3pPr>
            <a:lvl4pPr marL="5400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/>
            </a:lvl4pPr>
            <a:lvl5pPr>
              <a:spcBef>
                <a:spcPts val="0"/>
              </a:spcBef>
              <a:spcAft>
                <a:spcPts val="600"/>
              </a:spcAft>
              <a:defRPr sz="1600"/>
            </a:lvl5pPr>
            <a:lvl6pPr>
              <a:spcBef>
                <a:spcPts val="0"/>
              </a:spcBef>
              <a:spcAft>
                <a:spcPts val="600"/>
              </a:spcAft>
              <a:defRPr sz="1200"/>
            </a:lvl6pPr>
          </a:lstStyle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object 3">
            <a:extLst>
              <a:ext uri="{FF2B5EF4-FFF2-40B4-BE49-F238E27FC236}">
                <a16:creationId xmlns:a16="http://schemas.microsoft.com/office/drawing/2014/main" id="{BA5C329D-EB8A-4314-B4E1-D2CF67F754A9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49710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3 -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2B22342-B178-404F-A1DA-4EBFF5330D34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7F8EB60C-7CC2-49F0-B2EE-C81F067DE04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C7313F2-E3E3-4119-AC52-AF97766F10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19" name="Number 1">
            <a:extLst>
              <a:ext uri="{FF2B5EF4-FFF2-40B4-BE49-F238E27FC236}">
                <a16:creationId xmlns:a16="http://schemas.microsoft.com/office/drawing/2014/main" id="{72341109-26F6-4227-8890-EA8EB1C0EBBA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364221" y="1641600"/>
            <a:ext cx="3575953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3" name="Headline 1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64221" y="2098800"/>
            <a:ext cx="3575953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</a:t>
            </a:r>
          </a:p>
        </p:txBody>
      </p:sp>
      <p:sp>
        <p:nvSpPr>
          <p:cNvPr id="12" name="Content Placeholder 1">
            <a:extLst>
              <a:ext uri="{FF2B5EF4-FFF2-40B4-BE49-F238E27FC236}">
                <a16:creationId xmlns:a16="http://schemas.microsoft.com/office/drawing/2014/main" id="{30E672F4-3057-4DB9-980D-F2E25C1C5D24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64221" y="3108960"/>
            <a:ext cx="3575953" cy="2936240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latin typeface="+mn-lt"/>
              </a:defRPr>
            </a:lvl1pPr>
            <a:lvl2pPr marL="180000" indent="-1800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/>
            </a:lvl2pPr>
            <a:lvl3pPr marL="360000" indent="-180000">
              <a:spcBef>
                <a:spcPts val="0"/>
              </a:spcBef>
              <a:spcAft>
                <a:spcPts val="600"/>
              </a:spcAft>
              <a:buFont typeface="Graphik" panose="020B0503030202060203" pitchFamily="34" charset="0"/>
              <a:buChar char="–"/>
              <a:defRPr sz="1800"/>
            </a:lvl3pPr>
            <a:lvl4pPr marL="5400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/>
            </a:lvl4pPr>
            <a:lvl5pPr>
              <a:spcBef>
                <a:spcPts val="0"/>
              </a:spcBef>
              <a:spcAft>
                <a:spcPts val="600"/>
              </a:spcAft>
              <a:defRPr sz="1600"/>
            </a:lvl5pPr>
            <a:lvl6pPr>
              <a:spcBef>
                <a:spcPts val="0"/>
              </a:spcBef>
              <a:spcAft>
                <a:spcPts val="600"/>
              </a:spcAft>
              <a:defRPr sz="1200"/>
            </a:lvl6pPr>
          </a:lstStyle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4" name="Number  2">
            <a:extLst>
              <a:ext uri="{FF2B5EF4-FFF2-40B4-BE49-F238E27FC236}">
                <a16:creationId xmlns:a16="http://schemas.microsoft.com/office/drawing/2014/main" id="{6F91AD4F-1A63-495D-A741-37A4A9D585AA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4301221" y="1641600"/>
            <a:ext cx="3575953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22" name="Headline 2">
            <a:extLst>
              <a:ext uri="{FF2B5EF4-FFF2-40B4-BE49-F238E27FC236}">
                <a16:creationId xmlns:a16="http://schemas.microsoft.com/office/drawing/2014/main" id="{65274935-A310-47A1-ACB7-150C9A4CCBD8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301221" y="2098800"/>
            <a:ext cx="3575953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F92E6CB-F3FA-4469-A131-252F961AFACC}"/>
              </a:ext>
            </a:extLst>
          </p:cNvPr>
          <p:cNvSpPr>
            <a:spLocks noGrp="1"/>
          </p:cNvSpPr>
          <p:nvPr>
            <p:ph sz="half" idx="25" hasCustomPrompt="1"/>
          </p:nvPr>
        </p:nvSpPr>
        <p:spPr>
          <a:xfrm>
            <a:off x="4301221" y="3108960"/>
            <a:ext cx="3575953" cy="2936240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latin typeface="+mn-lt"/>
              </a:defRPr>
            </a:lvl1pPr>
            <a:lvl2pPr marL="180000" indent="-1800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/>
            </a:lvl2pPr>
            <a:lvl3pPr marL="360000" indent="-180000">
              <a:spcBef>
                <a:spcPts val="0"/>
              </a:spcBef>
              <a:spcAft>
                <a:spcPts val="600"/>
              </a:spcAft>
              <a:buFont typeface="Graphik" panose="020B0503030202060203" pitchFamily="34" charset="0"/>
              <a:buChar char="–"/>
              <a:defRPr sz="1800"/>
            </a:lvl3pPr>
            <a:lvl4pPr marL="5400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/>
            </a:lvl4pPr>
            <a:lvl5pPr>
              <a:spcBef>
                <a:spcPts val="0"/>
              </a:spcBef>
              <a:spcAft>
                <a:spcPts val="600"/>
              </a:spcAft>
              <a:defRPr sz="1600"/>
            </a:lvl5pPr>
            <a:lvl6pPr>
              <a:spcBef>
                <a:spcPts val="0"/>
              </a:spcBef>
              <a:spcAft>
                <a:spcPts val="600"/>
              </a:spcAft>
              <a:defRPr sz="1200"/>
            </a:lvl6pPr>
          </a:lstStyle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7" name="Number 3">
            <a:extLst>
              <a:ext uri="{FF2B5EF4-FFF2-40B4-BE49-F238E27FC236}">
                <a16:creationId xmlns:a16="http://schemas.microsoft.com/office/drawing/2014/main" id="{93F1B026-22B9-4DC5-B7C8-C26593A206F4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8238221" y="1641600"/>
            <a:ext cx="3575953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25" name="Headline 3">
            <a:extLst>
              <a:ext uri="{FF2B5EF4-FFF2-40B4-BE49-F238E27FC236}">
                <a16:creationId xmlns:a16="http://schemas.microsoft.com/office/drawing/2014/main" id="{9B33E71D-D540-47A3-B3BA-2FFF7F53FF11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8238221" y="2098800"/>
            <a:ext cx="3575953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14AE0E42-06C3-482F-AF26-DCB8B792E756}"/>
              </a:ext>
            </a:extLst>
          </p:cNvPr>
          <p:cNvSpPr>
            <a:spLocks noGrp="1"/>
          </p:cNvSpPr>
          <p:nvPr>
            <p:ph sz="half" idx="26" hasCustomPrompt="1"/>
          </p:nvPr>
        </p:nvSpPr>
        <p:spPr>
          <a:xfrm>
            <a:off x="8238221" y="3108960"/>
            <a:ext cx="3575953" cy="2936240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latin typeface="+mn-lt"/>
              </a:defRPr>
            </a:lvl1pPr>
            <a:lvl2pPr marL="180000" indent="-1800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/>
            </a:lvl2pPr>
            <a:lvl3pPr marL="360000" indent="-180000">
              <a:spcBef>
                <a:spcPts val="0"/>
              </a:spcBef>
              <a:spcAft>
                <a:spcPts val="600"/>
              </a:spcAft>
              <a:buFont typeface="Graphik" panose="020B0503030202060203" pitchFamily="34" charset="0"/>
              <a:buChar char="–"/>
              <a:defRPr sz="1800"/>
            </a:lvl3pPr>
            <a:lvl4pPr marL="5400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/>
            </a:lvl4pPr>
            <a:lvl5pPr>
              <a:spcBef>
                <a:spcPts val="0"/>
              </a:spcBef>
              <a:spcAft>
                <a:spcPts val="600"/>
              </a:spcAft>
              <a:defRPr sz="1600"/>
            </a:lvl5pPr>
            <a:lvl6pPr>
              <a:spcBef>
                <a:spcPts val="0"/>
              </a:spcBef>
              <a:spcAft>
                <a:spcPts val="600"/>
              </a:spcAft>
              <a:defRPr sz="1200"/>
            </a:lvl6pPr>
          </a:lstStyle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object 3">
            <a:extLst>
              <a:ext uri="{FF2B5EF4-FFF2-40B4-BE49-F238E27FC236}">
                <a16:creationId xmlns:a16="http://schemas.microsoft.com/office/drawing/2014/main" id="{A23DEC43-C375-4383-8FC4-BDA33F4DBDA2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17644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4 -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A1ED3DF-AD70-4BB8-B79E-E988D88A7F15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7F8EB60C-7CC2-49F0-B2EE-C81F067DE04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4A6AE9B-30CF-4118-B029-1D29B09F6B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19" name="Number 1">
            <a:extLst>
              <a:ext uri="{FF2B5EF4-FFF2-40B4-BE49-F238E27FC236}">
                <a16:creationId xmlns:a16="http://schemas.microsoft.com/office/drawing/2014/main" id="{72341109-26F6-4227-8890-EA8EB1C0EBBA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368888" y="1643149"/>
            <a:ext cx="2582267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3" name="Headline 1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68888" y="2100349"/>
            <a:ext cx="2582267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</a:t>
            </a:r>
          </a:p>
        </p:txBody>
      </p:sp>
      <p:sp>
        <p:nvSpPr>
          <p:cNvPr id="15" name="Content Placeholder 1">
            <a:extLst>
              <a:ext uri="{FF2B5EF4-FFF2-40B4-BE49-F238E27FC236}">
                <a16:creationId xmlns:a16="http://schemas.microsoft.com/office/drawing/2014/main" id="{D0B33B1B-BAA4-4E71-82C2-72D9C96D6441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68888" y="3105785"/>
            <a:ext cx="2583862" cy="2936240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latin typeface="+mn-lt"/>
              </a:defRPr>
            </a:lvl1pPr>
            <a:lvl2pPr marL="180000" indent="-1800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/>
            </a:lvl2pPr>
            <a:lvl3pPr marL="360000" indent="-180000">
              <a:spcBef>
                <a:spcPts val="0"/>
              </a:spcBef>
              <a:spcAft>
                <a:spcPts val="600"/>
              </a:spcAft>
              <a:buFont typeface="Graphik" panose="020B0503030202060203" pitchFamily="34" charset="0"/>
              <a:buChar char="–"/>
              <a:defRPr sz="1800"/>
            </a:lvl3pPr>
            <a:lvl4pPr marL="5400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/>
            </a:lvl4pPr>
            <a:lvl5pPr>
              <a:spcBef>
                <a:spcPts val="0"/>
              </a:spcBef>
              <a:spcAft>
                <a:spcPts val="600"/>
              </a:spcAft>
              <a:defRPr sz="1600"/>
            </a:lvl5pPr>
            <a:lvl6pPr>
              <a:spcBef>
                <a:spcPts val="0"/>
              </a:spcBef>
              <a:spcAft>
                <a:spcPts val="600"/>
              </a:spcAft>
              <a:defRPr sz="1200"/>
            </a:lvl6pPr>
          </a:lstStyle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4" name="Number 2">
            <a:extLst>
              <a:ext uri="{FF2B5EF4-FFF2-40B4-BE49-F238E27FC236}">
                <a16:creationId xmlns:a16="http://schemas.microsoft.com/office/drawing/2014/main" id="{6F91AD4F-1A63-495D-A741-37A4A9D585AA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3321638" y="1643149"/>
            <a:ext cx="2582268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22" name="Headline 2">
            <a:extLst>
              <a:ext uri="{FF2B5EF4-FFF2-40B4-BE49-F238E27FC236}">
                <a16:creationId xmlns:a16="http://schemas.microsoft.com/office/drawing/2014/main" id="{65274935-A310-47A1-ACB7-150C9A4CCBD8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3321638" y="2100349"/>
            <a:ext cx="2582268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2DAE3403-A122-4966-A706-923A2B22BC35}"/>
              </a:ext>
            </a:extLst>
          </p:cNvPr>
          <p:cNvSpPr>
            <a:spLocks noGrp="1"/>
          </p:cNvSpPr>
          <p:nvPr>
            <p:ph sz="half" idx="28" hasCustomPrompt="1"/>
          </p:nvPr>
        </p:nvSpPr>
        <p:spPr>
          <a:xfrm>
            <a:off x="3321638" y="3105785"/>
            <a:ext cx="2583862" cy="2936240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latin typeface="+mn-lt"/>
              </a:defRPr>
            </a:lvl1pPr>
            <a:lvl2pPr marL="180000" indent="-1800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/>
            </a:lvl2pPr>
            <a:lvl3pPr marL="360000" indent="-180000">
              <a:spcBef>
                <a:spcPts val="0"/>
              </a:spcBef>
              <a:spcAft>
                <a:spcPts val="600"/>
              </a:spcAft>
              <a:buFont typeface="Graphik" panose="020B0503030202060203" pitchFamily="34" charset="0"/>
              <a:buChar char="–"/>
              <a:defRPr sz="1800"/>
            </a:lvl3pPr>
            <a:lvl4pPr marL="5400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/>
            </a:lvl4pPr>
            <a:lvl5pPr>
              <a:spcBef>
                <a:spcPts val="0"/>
              </a:spcBef>
              <a:spcAft>
                <a:spcPts val="600"/>
              </a:spcAft>
              <a:defRPr sz="1600"/>
            </a:lvl5pPr>
            <a:lvl6pPr>
              <a:spcBef>
                <a:spcPts val="0"/>
              </a:spcBef>
              <a:spcAft>
                <a:spcPts val="600"/>
              </a:spcAft>
              <a:defRPr sz="1200"/>
            </a:lvl6pPr>
          </a:lstStyle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7" name="Number 3">
            <a:extLst>
              <a:ext uri="{FF2B5EF4-FFF2-40B4-BE49-F238E27FC236}">
                <a16:creationId xmlns:a16="http://schemas.microsoft.com/office/drawing/2014/main" id="{93F1B026-22B9-4DC5-B7C8-C26593A206F4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6274388" y="1643149"/>
            <a:ext cx="2582268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25" name="Headline 3">
            <a:extLst>
              <a:ext uri="{FF2B5EF4-FFF2-40B4-BE49-F238E27FC236}">
                <a16:creationId xmlns:a16="http://schemas.microsoft.com/office/drawing/2014/main" id="{9B33E71D-D540-47A3-B3BA-2FFF7F53FF11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274388" y="2100349"/>
            <a:ext cx="2582268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B9F24E36-6ED3-44D7-8BFD-EB0FCBC3474F}"/>
              </a:ext>
            </a:extLst>
          </p:cNvPr>
          <p:cNvSpPr>
            <a:spLocks noGrp="1"/>
          </p:cNvSpPr>
          <p:nvPr>
            <p:ph sz="half" idx="29" hasCustomPrompt="1"/>
          </p:nvPr>
        </p:nvSpPr>
        <p:spPr>
          <a:xfrm>
            <a:off x="6274388" y="3105785"/>
            <a:ext cx="2583862" cy="2936240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latin typeface="+mn-lt"/>
              </a:defRPr>
            </a:lvl1pPr>
            <a:lvl2pPr marL="180000" indent="-1800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/>
            </a:lvl2pPr>
            <a:lvl3pPr marL="360000" indent="-180000">
              <a:spcBef>
                <a:spcPts val="0"/>
              </a:spcBef>
              <a:spcAft>
                <a:spcPts val="600"/>
              </a:spcAft>
              <a:buFont typeface="Graphik" panose="020B0503030202060203" pitchFamily="34" charset="0"/>
              <a:buChar char="–"/>
              <a:defRPr sz="1800"/>
            </a:lvl3pPr>
            <a:lvl4pPr marL="5400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/>
            </a:lvl4pPr>
            <a:lvl5pPr>
              <a:spcBef>
                <a:spcPts val="0"/>
              </a:spcBef>
              <a:spcAft>
                <a:spcPts val="600"/>
              </a:spcAft>
              <a:defRPr sz="1600"/>
            </a:lvl5pPr>
            <a:lvl6pPr>
              <a:spcBef>
                <a:spcPts val="0"/>
              </a:spcBef>
              <a:spcAft>
                <a:spcPts val="600"/>
              </a:spcAft>
              <a:defRPr sz="1200"/>
            </a:lvl6pPr>
          </a:lstStyle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1" name="Number 4">
            <a:extLst>
              <a:ext uri="{FF2B5EF4-FFF2-40B4-BE49-F238E27FC236}">
                <a16:creationId xmlns:a16="http://schemas.microsoft.com/office/drawing/2014/main" id="{D6CB018D-34A3-4417-AE76-9BB3793F0332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227138" y="1643149"/>
            <a:ext cx="2582268" cy="4572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18" name="Headline 4">
            <a:extLst>
              <a:ext uri="{FF2B5EF4-FFF2-40B4-BE49-F238E27FC236}">
                <a16:creationId xmlns:a16="http://schemas.microsoft.com/office/drawing/2014/main" id="{6973701C-90E3-449B-A44A-0C66B0945601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9227138" y="2100349"/>
            <a:ext cx="2582268" cy="82296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2400" b="1"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Place headline here</a:t>
            </a:r>
          </a:p>
        </p:txBody>
      </p:sp>
      <p:sp>
        <p:nvSpPr>
          <p:cNvPr id="26" name="Content Placeholder 4">
            <a:extLst>
              <a:ext uri="{FF2B5EF4-FFF2-40B4-BE49-F238E27FC236}">
                <a16:creationId xmlns:a16="http://schemas.microsoft.com/office/drawing/2014/main" id="{888C9C97-67FA-45E9-9322-FA00CD74FBF3}"/>
              </a:ext>
            </a:extLst>
          </p:cNvPr>
          <p:cNvSpPr>
            <a:spLocks noGrp="1"/>
          </p:cNvSpPr>
          <p:nvPr>
            <p:ph sz="half" idx="30" hasCustomPrompt="1"/>
          </p:nvPr>
        </p:nvSpPr>
        <p:spPr>
          <a:xfrm>
            <a:off x="9227138" y="3105785"/>
            <a:ext cx="2583862" cy="2936240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800">
                <a:latin typeface="+mn-lt"/>
              </a:defRPr>
            </a:lvl1pPr>
            <a:lvl2pPr marL="180000" indent="-1800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/>
            </a:lvl2pPr>
            <a:lvl3pPr marL="360000" indent="-180000">
              <a:spcBef>
                <a:spcPts val="0"/>
              </a:spcBef>
              <a:spcAft>
                <a:spcPts val="600"/>
              </a:spcAft>
              <a:buFont typeface="Graphik" panose="020B0503030202060203" pitchFamily="34" charset="0"/>
              <a:buChar char="–"/>
              <a:defRPr sz="1800"/>
            </a:lvl3pPr>
            <a:lvl4pPr marL="5400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/>
            </a:lvl4pPr>
            <a:lvl5pPr>
              <a:spcBef>
                <a:spcPts val="0"/>
              </a:spcBef>
              <a:spcAft>
                <a:spcPts val="600"/>
              </a:spcAft>
              <a:defRPr sz="1600"/>
            </a:lvl5pPr>
            <a:lvl6pPr>
              <a:spcBef>
                <a:spcPts val="0"/>
              </a:spcBef>
              <a:spcAft>
                <a:spcPts val="600"/>
              </a:spcAft>
              <a:defRPr sz="1200"/>
            </a:lvl6pPr>
          </a:lstStyle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6" name="object 3">
            <a:extLst>
              <a:ext uri="{FF2B5EF4-FFF2-40B4-BE49-F238E27FC236}">
                <a16:creationId xmlns:a16="http://schemas.microsoft.com/office/drawing/2014/main" id="{E0103B05-FD23-4B29-853C-6A495E0383B2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886444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DB12E44-4373-4FCC-A2C1-11C621DEBDEC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7F8EB60C-7CC2-49F0-B2EE-C81F067DE04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F69D9EE9-B77E-4FE2-AF12-7ABB5D5164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15" name="Picture Placeholder 1">
            <a:extLst>
              <a:ext uri="{FF2B5EF4-FFF2-40B4-BE49-F238E27FC236}">
                <a16:creationId xmlns:a16="http://schemas.microsoft.com/office/drawing/2014/main" id="{BD757F29-5B8C-430C-B53D-FA44B1887B4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13771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>
                <a:latin typeface="+mn-lt"/>
              </a:defRPr>
            </a:lvl1pPr>
          </a:lstStyle>
          <a:p>
            <a:r>
              <a:rPr lang="en-GB"/>
              <a:t>Add icon</a:t>
            </a:r>
            <a:endParaRPr lang="en-US"/>
          </a:p>
        </p:txBody>
      </p:sp>
      <p:cxnSp>
        <p:nvCxnSpPr>
          <p:cNvPr id="4" name="Straight Connector 1">
            <a:extLst>
              <a:ext uri="{FF2B5EF4-FFF2-40B4-BE49-F238E27FC236}">
                <a16:creationId xmlns:a16="http://schemas.microsoft.com/office/drawing/2014/main" id="{B13EDE11-CE40-4943-AE63-A3B14CB3C037}"/>
              </a:ext>
            </a:extLst>
          </p:cNvPr>
          <p:cNvCxnSpPr>
            <a:cxnSpLocks/>
          </p:cNvCxnSpPr>
          <p:nvPr userDrawn="1"/>
        </p:nvCxnSpPr>
        <p:spPr>
          <a:xfrm>
            <a:off x="114156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1">
            <a:extLst>
              <a:ext uri="{FF2B5EF4-FFF2-40B4-BE49-F238E27FC236}">
                <a16:creationId xmlns:a16="http://schemas.microsoft.com/office/drawing/2014/main" id="{4C854DFB-B17D-45CF-98C3-3882DBE2C32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7415" y="4107159"/>
            <a:ext cx="1985504" cy="1677926"/>
          </a:xfrm>
        </p:spPr>
        <p:txBody>
          <a:bodyPr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ctr">
              <a:spcBef>
                <a:spcPts val="0"/>
              </a:spcBef>
              <a:spcAft>
                <a:spcPts val="600"/>
              </a:spcAft>
              <a:buNone/>
              <a:defRPr sz="1600"/>
            </a:lvl2pPr>
            <a:lvl3pPr marL="0" indent="0" algn="ctr">
              <a:spcBef>
                <a:spcPts val="0"/>
              </a:spcBef>
              <a:spcAft>
                <a:spcPts val="600"/>
              </a:spcAft>
              <a:buNone/>
              <a:defRPr sz="1400"/>
            </a:lvl3pPr>
            <a:lvl4pPr marL="182880" indent="-182880" algn="ctr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Headline</a:t>
            </a:r>
          </a:p>
          <a:p>
            <a:pPr lvl="1"/>
            <a:r>
              <a:rPr lang="en-US"/>
              <a:t>Details</a:t>
            </a:r>
          </a:p>
          <a:p>
            <a:pPr lvl="2"/>
            <a:r>
              <a:rPr lang="en-US"/>
              <a:t>More details</a:t>
            </a:r>
          </a:p>
          <a:p>
            <a:pPr lvl="3"/>
            <a:r>
              <a:rPr lang="en-US"/>
              <a:t>Bullet point</a:t>
            </a:r>
          </a:p>
        </p:txBody>
      </p:sp>
      <p:sp>
        <p:nvSpPr>
          <p:cNvPr id="29" name="Picture Placeholder 2">
            <a:extLst>
              <a:ext uri="{FF2B5EF4-FFF2-40B4-BE49-F238E27FC236}">
                <a16:creationId xmlns:a16="http://schemas.microsoft.com/office/drawing/2014/main" id="{EABD27E6-4547-45B3-9AC5-1EF508AE88E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075791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>
                <a:latin typeface="+mn-lt"/>
              </a:defRPr>
            </a:lvl1pPr>
          </a:lstStyle>
          <a:p>
            <a:r>
              <a:rPr lang="en-GB"/>
              <a:t>Add icon</a:t>
            </a:r>
            <a:endParaRPr lang="en-US"/>
          </a:p>
        </p:txBody>
      </p:sp>
      <p:cxnSp>
        <p:nvCxnSpPr>
          <p:cNvPr id="25" name="Straight Connector 2">
            <a:extLst>
              <a:ext uri="{FF2B5EF4-FFF2-40B4-BE49-F238E27FC236}">
                <a16:creationId xmlns:a16="http://schemas.microsoft.com/office/drawing/2014/main" id="{C67ED40C-58DA-45F1-8E80-6A74976C6E1E}"/>
              </a:ext>
            </a:extLst>
          </p:cNvPr>
          <p:cNvCxnSpPr/>
          <p:nvPr userDrawn="1"/>
        </p:nvCxnSpPr>
        <p:spPr>
          <a:xfrm>
            <a:off x="350358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5D125FD-0D25-4E65-82F5-4E18FE84E47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739435" y="4107159"/>
            <a:ext cx="1985504" cy="1677926"/>
          </a:xfrm>
        </p:spPr>
        <p:txBody>
          <a:bodyPr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ctr">
              <a:spcBef>
                <a:spcPts val="0"/>
              </a:spcBef>
              <a:spcAft>
                <a:spcPts val="600"/>
              </a:spcAft>
              <a:buNone/>
              <a:defRPr sz="1600"/>
            </a:lvl2pPr>
            <a:lvl3pPr marL="0" indent="0" algn="ctr">
              <a:spcBef>
                <a:spcPts val="0"/>
              </a:spcBef>
              <a:spcAft>
                <a:spcPts val="600"/>
              </a:spcAft>
              <a:buNone/>
              <a:defRPr sz="1400"/>
            </a:lvl3pPr>
            <a:lvl4pPr marL="182880" indent="-182880" algn="ctr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Headline</a:t>
            </a:r>
          </a:p>
          <a:p>
            <a:pPr lvl="1"/>
            <a:r>
              <a:rPr lang="en-US"/>
              <a:t>Details</a:t>
            </a:r>
          </a:p>
          <a:p>
            <a:pPr lvl="2"/>
            <a:r>
              <a:rPr lang="en-US"/>
              <a:t>More details</a:t>
            </a:r>
          </a:p>
          <a:p>
            <a:pPr lvl="3"/>
            <a:r>
              <a:rPr lang="en-US"/>
              <a:t>Bullet point</a:t>
            </a:r>
          </a:p>
        </p:txBody>
      </p:sp>
      <p:sp>
        <p:nvSpPr>
          <p:cNvPr id="30" name="Picture Placeholder 3">
            <a:extLst>
              <a:ext uri="{FF2B5EF4-FFF2-40B4-BE49-F238E27FC236}">
                <a16:creationId xmlns:a16="http://schemas.microsoft.com/office/drawing/2014/main" id="{31C34651-25FA-45DD-86DF-BB58EBE9AA84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437811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>
                <a:latin typeface="+mn-lt"/>
              </a:defRPr>
            </a:lvl1pPr>
          </a:lstStyle>
          <a:p>
            <a:r>
              <a:rPr lang="en-GB"/>
              <a:t>Add icon</a:t>
            </a:r>
            <a:endParaRPr lang="en-US"/>
          </a:p>
        </p:txBody>
      </p:sp>
      <p:cxnSp>
        <p:nvCxnSpPr>
          <p:cNvPr id="26" name="Straight Connector 3">
            <a:extLst>
              <a:ext uri="{FF2B5EF4-FFF2-40B4-BE49-F238E27FC236}">
                <a16:creationId xmlns:a16="http://schemas.microsoft.com/office/drawing/2014/main" id="{291A22B2-C08A-41DA-ACB1-5B59B4CDA8DE}"/>
              </a:ext>
            </a:extLst>
          </p:cNvPr>
          <p:cNvCxnSpPr/>
          <p:nvPr userDrawn="1"/>
        </p:nvCxnSpPr>
        <p:spPr>
          <a:xfrm>
            <a:off x="586560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5B124AA5-6419-4552-97B5-242DA08BE73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01455" y="4107159"/>
            <a:ext cx="1985504" cy="1677926"/>
          </a:xfrm>
        </p:spPr>
        <p:txBody>
          <a:bodyPr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ctr">
              <a:spcBef>
                <a:spcPts val="0"/>
              </a:spcBef>
              <a:spcAft>
                <a:spcPts val="600"/>
              </a:spcAft>
              <a:buNone/>
              <a:defRPr sz="1600"/>
            </a:lvl2pPr>
            <a:lvl3pPr marL="0" indent="0" algn="ctr">
              <a:spcBef>
                <a:spcPts val="0"/>
              </a:spcBef>
              <a:spcAft>
                <a:spcPts val="600"/>
              </a:spcAft>
              <a:buNone/>
              <a:defRPr sz="1400"/>
            </a:lvl3pPr>
            <a:lvl4pPr marL="182880" indent="-182880" algn="ctr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Headline</a:t>
            </a:r>
          </a:p>
          <a:p>
            <a:pPr lvl="1"/>
            <a:r>
              <a:rPr lang="en-US"/>
              <a:t>Details</a:t>
            </a:r>
          </a:p>
          <a:p>
            <a:pPr lvl="2"/>
            <a:r>
              <a:rPr lang="en-US"/>
              <a:t>More details</a:t>
            </a:r>
          </a:p>
          <a:p>
            <a:pPr lvl="3"/>
            <a:r>
              <a:rPr lang="en-US"/>
              <a:t>Bullet point</a:t>
            </a:r>
          </a:p>
        </p:txBody>
      </p:sp>
      <p:sp>
        <p:nvSpPr>
          <p:cNvPr id="31" name="Picture Placeholder 4">
            <a:extLst>
              <a:ext uri="{FF2B5EF4-FFF2-40B4-BE49-F238E27FC236}">
                <a16:creationId xmlns:a16="http://schemas.microsoft.com/office/drawing/2014/main" id="{B32375EE-E449-4B59-B987-5D6EBFBDF31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7799831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>
                <a:latin typeface="+mn-lt"/>
              </a:defRPr>
            </a:lvl1pPr>
          </a:lstStyle>
          <a:p>
            <a:r>
              <a:rPr lang="en-GB"/>
              <a:t>Add icon</a:t>
            </a:r>
            <a:endParaRPr lang="en-US"/>
          </a:p>
        </p:txBody>
      </p:sp>
      <p:cxnSp>
        <p:nvCxnSpPr>
          <p:cNvPr id="27" name="Straight Connector 4">
            <a:extLst>
              <a:ext uri="{FF2B5EF4-FFF2-40B4-BE49-F238E27FC236}">
                <a16:creationId xmlns:a16="http://schemas.microsoft.com/office/drawing/2014/main" id="{57D3E374-86AB-4A80-81AD-B09F07C51B80}"/>
              </a:ext>
            </a:extLst>
          </p:cNvPr>
          <p:cNvCxnSpPr/>
          <p:nvPr userDrawn="1"/>
        </p:nvCxnSpPr>
        <p:spPr>
          <a:xfrm>
            <a:off x="8227627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A378CD97-B880-4BCB-AD71-A7C1C1C8489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463475" y="4107159"/>
            <a:ext cx="1985504" cy="1677926"/>
          </a:xfrm>
        </p:spPr>
        <p:txBody>
          <a:bodyPr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ctr">
              <a:spcBef>
                <a:spcPts val="0"/>
              </a:spcBef>
              <a:spcAft>
                <a:spcPts val="600"/>
              </a:spcAft>
              <a:buNone/>
              <a:defRPr sz="1600"/>
            </a:lvl2pPr>
            <a:lvl3pPr marL="0" indent="0" algn="ctr">
              <a:spcBef>
                <a:spcPts val="0"/>
              </a:spcBef>
              <a:spcAft>
                <a:spcPts val="600"/>
              </a:spcAft>
              <a:buNone/>
              <a:defRPr sz="1400"/>
            </a:lvl3pPr>
            <a:lvl4pPr marL="182880" indent="-182880" algn="ctr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Headline</a:t>
            </a:r>
          </a:p>
          <a:p>
            <a:pPr lvl="1"/>
            <a:r>
              <a:rPr lang="en-US"/>
              <a:t>Details</a:t>
            </a:r>
          </a:p>
          <a:p>
            <a:pPr lvl="2"/>
            <a:r>
              <a:rPr lang="en-US"/>
              <a:t>More details</a:t>
            </a:r>
          </a:p>
          <a:p>
            <a:pPr lvl="3"/>
            <a:r>
              <a:rPr lang="en-US"/>
              <a:t>Bullet point</a:t>
            </a:r>
          </a:p>
        </p:txBody>
      </p:sp>
      <p:sp>
        <p:nvSpPr>
          <p:cNvPr id="32" name="Picture Placeholder 5">
            <a:extLst>
              <a:ext uri="{FF2B5EF4-FFF2-40B4-BE49-F238E27FC236}">
                <a16:creationId xmlns:a16="http://schemas.microsoft.com/office/drawing/2014/main" id="{EE1692D5-4CE6-4990-8769-B146983B947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10161852" y="2098874"/>
            <a:ext cx="1312792" cy="1312792"/>
          </a:xfrm>
          <a:noFill/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 b="0">
                <a:latin typeface="+mn-lt"/>
              </a:defRPr>
            </a:lvl1pPr>
          </a:lstStyle>
          <a:p>
            <a:r>
              <a:rPr lang="en-GB"/>
              <a:t>Add icon</a:t>
            </a:r>
            <a:endParaRPr lang="en-US"/>
          </a:p>
        </p:txBody>
      </p:sp>
      <p:cxnSp>
        <p:nvCxnSpPr>
          <p:cNvPr id="28" name="Straight Connector 5">
            <a:extLst>
              <a:ext uri="{FF2B5EF4-FFF2-40B4-BE49-F238E27FC236}">
                <a16:creationId xmlns:a16="http://schemas.microsoft.com/office/drawing/2014/main" id="{C3A5244A-D0CA-43CB-A0DB-296A219EDC9D}"/>
              </a:ext>
            </a:extLst>
          </p:cNvPr>
          <p:cNvCxnSpPr>
            <a:cxnSpLocks/>
          </p:cNvCxnSpPr>
          <p:nvPr userDrawn="1"/>
        </p:nvCxnSpPr>
        <p:spPr>
          <a:xfrm>
            <a:off x="10589648" y="363415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82CB6C29-05E0-4B43-A2EB-22FEB969E56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825496" y="4107159"/>
            <a:ext cx="1985504" cy="1677926"/>
          </a:xfrm>
        </p:spPr>
        <p:txBody>
          <a:bodyPr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ctr">
              <a:spcBef>
                <a:spcPts val="0"/>
              </a:spcBef>
              <a:spcAft>
                <a:spcPts val="600"/>
              </a:spcAft>
              <a:buNone/>
              <a:defRPr sz="1600"/>
            </a:lvl2pPr>
            <a:lvl3pPr marL="0" indent="0" algn="ctr">
              <a:spcBef>
                <a:spcPts val="0"/>
              </a:spcBef>
              <a:spcAft>
                <a:spcPts val="600"/>
              </a:spcAft>
              <a:buNone/>
              <a:defRPr sz="1400"/>
            </a:lvl3pPr>
            <a:lvl4pPr marL="182880" indent="-182880" algn="ctr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Headline</a:t>
            </a:r>
          </a:p>
          <a:p>
            <a:pPr lvl="1"/>
            <a:r>
              <a:rPr lang="en-US"/>
              <a:t>Details</a:t>
            </a:r>
          </a:p>
          <a:p>
            <a:pPr lvl="2"/>
            <a:r>
              <a:rPr lang="en-US"/>
              <a:t>More details</a:t>
            </a:r>
          </a:p>
          <a:p>
            <a:pPr lvl="3"/>
            <a:r>
              <a:rPr lang="en-US"/>
              <a:t>Bullet point</a:t>
            </a:r>
          </a:p>
        </p:txBody>
      </p:sp>
      <p:sp>
        <p:nvSpPr>
          <p:cNvPr id="19" name="object 3">
            <a:extLst>
              <a:ext uri="{FF2B5EF4-FFF2-40B4-BE49-F238E27FC236}">
                <a16:creationId xmlns:a16="http://schemas.microsoft.com/office/drawing/2014/main" id="{BEC6A43D-5CB3-4552-B2EA-DCD6208736D4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32942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4 - Box Shad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24D6ED7-4BB5-4C2E-A6B8-DCD2EE953485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7F8EB60C-7CC2-49F0-B2EE-C81F067DE04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4DB9D88-475F-47FE-8EBA-B4D18C7277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21" name="Picture Placeholder 1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91444" y="1717675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0" tIns="0" rIns="0" bIns="0" rtlCol="0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sp>
        <p:nvSpPr>
          <p:cNvPr id="26" name="Text Placeholder 1">
            <a:extLst>
              <a:ext uri="{FF2B5EF4-FFF2-40B4-BE49-F238E27FC236}">
                <a16:creationId xmlns:a16="http://schemas.microsoft.com/office/drawing/2014/main" id="{85299B8E-3F01-2548-8001-539E1BC6287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91442" y="4071205"/>
            <a:ext cx="2047984" cy="1973995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b="0" i="0">
                <a:solidFill>
                  <a:schemeClr val="accent2"/>
                </a:solidFill>
                <a:latin typeface="GT Sectra Fine Rg" panose="00000500000000000000" pitchFamily="50" charset="0"/>
              </a:defRPr>
            </a:lvl1pPr>
            <a:lvl2pPr marL="0" indent="0">
              <a:spcBef>
                <a:spcPts val="0"/>
              </a:spcBef>
              <a:spcAft>
                <a:spcPts val="600"/>
              </a:spcAft>
              <a:buNone/>
              <a:defRPr sz="1600"/>
            </a:lvl2pPr>
            <a:lvl3pPr marL="0" indent="0">
              <a:spcBef>
                <a:spcPts val="0"/>
              </a:spcBef>
              <a:spcAft>
                <a:spcPts val="600"/>
              </a:spcAft>
              <a:buNone/>
              <a:defRPr sz="1200"/>
            </a:lvl3pPr>
            <a:lvl4pPr marL="182880" indent="-18288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ull Name</a:t>
            </a:r>
          </a:p>
          <a:p>
            <a:pPr lvl="1"/>
            <a:r>
              <a:rPr lang="en-US"/>
              <a:t>Role</a:t>
            </a:r>
          </a:p>
          <a:p>
            <a:pPr lvl="2"/>
            <a:r>
              <a:rPr lang="en-US"/>
              <a:t>Short bio</a:t>
            </a:r>
          </a:p>
          <a:p>
            <a:pPr lvl="3"/>
            <a:r>
              <a:rPr lang="en-US"/>
              <a:t>Bullet point</a:t>
            </a:r>
          </a:p>
        </p:txBody>
      </p:sp>
      <p:sp>
        <p:nvSpPr>
          <p:cNvPr id="46" name="Picture Placeholder 2">
            <a:extLst>
              <a:ext uri="{FF2B5EF4-FFF2-40B4-BE49-F238E27FC236}">
                <a16:creationId xmlns:a16="http://schemas.microsoft.com/office/drawing/2014/main" id="{25DB0B2A-9775-46B0-9A40-F75EBFA4B45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3708542" y="1717675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0" tIns="0" rIns="0" bIns="0" rtlCol="0">
            <a:noAutofit/>
          </a:bodyPr>
          <a:lstStyle>
            <a:lvl1pPr marL="0" indent="0">
              <a:spcBef>
                <a:spcPts val="0"/>
              </a:spcBef>
              <a:buNone/>
              <a:defRPr lang="en-US" sz="1800" dirty="0">
                <a:latin typeface="+mn-lt"/>
              </a:defRPr>
            </a:lvl1pPr>
          </a:lstStyle>
          <a:p>
            <a:pPr marL="228600" lvl="0" indent="-228600"/>
            <a:r>
              <a:rPr lang="en-GB"/>
              <a:t>Add profile photo</a:t>
            </a:r>
            <a:endParaRPr lang="en-US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4E426F14-FA6B-9D46-869F-A452B7018F4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08542" y="4071205"/>
            <a:ext cx="2047984" cy="1973995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2400" b="0" i="0" kern="1200" dirty="0" smtClean="0">
                <a:solidFill>
                  <a:schemeClr val="accent2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600"/>
              </a:spcAft>
              <a:buNone/>
              <a:defRPr sz="1600"/>
            </a:lvl2pPr>
            <a:lvl3pPr marL="0" indent="0">
              <a:spcBef>
                <a:spcPts val="0"/>
              </a:spcBef>
              <a:spcAft>
                <a:spcPts val="600"/>
              </a:spcAft>
              <a:buNone/>
              <a:defRPr sz="1200"/>
            </a:lvl3pPr>
            <a:lvl4pPr marL="182880" indent="-18288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marL="0" lvl="0" indent="0" algn="l" defTabSz="914400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/>
              <a:t>Full Name</a:t>
            </a:r>
          </a:p>
          <a:p>
            <a:pPr lvl="1"/>
            <a:r>
              <a:rPr lang="en-US"/>
              <a:t>Role</a:t>
            </a:r>
          </a:p>
          <a:p>
            <a:pPr lvl="2"/>
            <a:r>
              <a:rPr lang="en-US"/>
              <a:t>Short bio</a:t>
            </a:r>
          </a:p>
          <a:p>
            <a:pPr lvl="3"/>
            <a:r>
              <a:rPr lang="en-US"/>
              <a:t>Bullet point</a:t>
            </a:r>
          </a:p>
        </p:txBody>
      </p:sp>
      <p:sp>
        <p:nvSpPr>
          <p:cNvPr id="47" name="Picture Placeholder 3">
            <a:extLst>
              <a:ext uri="{FF2B5EF4-FFF2-40B4-BE49-F238E27FC236}">
                <a16:creationId xmlns:a16="http://schemas.microsoft.com/office/drawing/2014/main" id="{F83F6B5F-EAE7-44DA-BD77-6D66865CEB92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425642" y="1717675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0" tIns="0" rIns="0" bIns="0" rtlCol="0">
            <a:noAutofit/>
          </a:bodyPr>
          <a:lstStyle>
            <a:lvl1pPr marL="0" indent="0">
              <a:spcBef>
                <a:spcPts val="0"/>
              </a:spcBef>
              <a:buNone/>
              <a:defRPr lang="en-US" sz="1800" dirty="0">
                <a:latin typeface="+mn-lt"/>
              </a:defRPr>
            </a:lvl1pPr>
          </a:lstStyle>
          <a:p>
            <a:pPr marL="228600" lvl="0" indent="-228600"/>
            <a:r>
              <a:rPr lang="en-GB"/>
              <a:t>Add profile photo</a:t>
            </a:r>
            <a:endParaRPr lang="en-US"/>
          </a:p>
        </p:txBody>
      </p:sp>
      <p:sp>
        <p:nvSpPr>
          <p:cNvPr id="50" name="Text Placeholder 3">
            <a:extLst>
              <a:ext uri="{FF2B5EF4-FFF2-40B4-BE49-F238E27FC236}">
                <a16:creationId xmlns:a16="http://schemas.microsoft.com/office/drawing/2014/main" id="{538B1F0C-0682-354C-9C2E-DEAF9D4D617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25642" y="4071205"/>
            <a:ext cx="2047984" cy="1973995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2400" b="0" i="0" kern="1200" dirty="0" smtClean="0">
                <a:solidFill>
                  <a:schemeClr val="accent2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600"/>
              </a:spcAft>
              <a:buNone/>
              <a:defRPr sz="1600"/>
            </a:lvl2pPr>
            <a:lvl3pPr marL="0" indent="0">
              <a:spcBef>
                <a:spcPts val="0"/>
              </a:spcBef>
              <a:spcAft>
                <a:spcPts val="600"/>
              </a:spcAft>
              <a:buNone/>
              <a:defRPr sz="1200"/>
            </a:lvl3pPr>
            <a:lvl4pPr marL="182880" indent="-18288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marL="0" lvl="0" indent="0" algn="l" defTabSz="914400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/>
              <a:t>Full Name</a:t>
            </a:r>
          </a:p>
          <a:p>
            <a:pPr lvl="1"/>
            <a:r>
              <a:rPr lang="en-US"/>
              <a:t>Role</a:t>
            </a:r>
          </a:p>
          <a:p>
            <a:pPr lvl="2"/>
            <a:r>
              <a:rPr lang="en-US"/>
              <a:t>Short bio</a:t>
            </a:r>
          </a:p>
          <a:p>
            <a:pPr lvl="3"/>
            <a:r>
              <a:rPr lang="en-US"/>
              <a:t>Bullet point</a:t>
            </a:r>
          </a:p>
        </p:txBody>
      </p:sp>
      <p:sp>
        <p:nvSpPr>
          <p:cNvPr id="48" name="Picture Placeholder 4">
            <a:extLst>
              <a:ext uri="{FF2B5EF4-FFF2-40B4-BE49-F238E27FC236}">
                <a16:creationId xmlns:a16="http://schemas.microsoft.com/office/drawing/2014/main" id="{AD8EF41C-E978-4139-80A4-73605C41EA35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142743" y="1717675"/>
            <a:ext cx="1894600" cy="1894600"/>
          </a:xfrm>
          <a:solidFill>
            <a:schemeClr val="bg1">
              <a:lumMod val="95000"/>
            </a:schemeClr>
          </a:solidFill>
          <a:effectLst>
            <a:outerShdw dist="215900" dir="2700000" algn="tl" rotWithShape="0">
              <a:schemeClr val="accent1"/>
            </a:outerShdw>
          </a:effectLst>
        </p:spPr>
        <p:txBody>
          <a:bodyPr vert="horz" lIns="0" tIns="0" rIns="0" bIns="0" rtlCol="0">
            <a:noAutofit/>
          </a:bodyPr>
          <a:lstStyle>
            <a:lvl1pPr marL="0" indent="0">
              <a:spcBef>
                <a:spcPts val="0"/>
              </a:spcBef>
              <a:buNone/>
              <a:defRPr lang="en-US" sz="1800" dirty="0">
                <a:latin typeface="+mn-lt"/>
              </a:defRPr>
            </a:lvl1pPr>
          </a:lstStyle>
          <a:p>
            <a:pPr marL="228600" lvl="0" indent="-228600"/>
            <a:r>
              <a:rPr lang="en-GB"/>
              <a:t>Add profile photo</a:t>
            </a:r>
            <a:endParaRPr lang="en-US"/>
          </a:p>
        </p:txBody>
      </p:sp>
      <p:sp>
        <p:nvSpPr>
          <p:cNvPr id="51" name="Text Placeholder 4">
            <a:extLst>
              <a:ext uri="{FF2B5EF4-FFF2-40B4-BE49-F238E27FC236}">
                <a16:creationId xmlns:a16="http://schemas.microsoft.com/office/drawing/2014/main" id="{C69C98AC-20D5-A44F-AEBD-63FEBDE6140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42742" y="4071205"/>
            <a:ext cx="2047984" cy="1973995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2400" b="0" i="0" kern="1200" dirty="0" smtClean="0">
                <a:solidFill>
                  <a:schemeClr val="accent2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600"/>
              </a:spcAft>
              <a:buNone/>
              <a:defRPr sz="1600"/>
            </a:lvl2pPr>
            <a:lvl3pPr marL="0" indent="0">
              <a:spcBef>
                <a:spcPts val="0"/>
              </a:spcBef>
              <a:spcAft>
                <a:spcPts val="600"/>
              </a:spcAft>
              <a:buNone/>
              <a:defRPr sz="1200"/>
            </a:lvl3pPr>
            <a:lvl4pPr marL="182880" indent="-18288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marL="0" lvl="0" indent="0" algn="l" defTabSz="914400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/>
              <a:t>Full Name</a:t>
            </a:r>
          </a:p>
          <a:p>
            <a:pPr lvl="1"/>
            <a:r>
              <a:rPr lang="en-US"/>
              <a:t>Role</a:t>
            </a:r>
          </a:p>
          <a:p>
            <a:pPr lvl="2"/>
            <a:r>
              <a:rPr lang="en-US"/>
              <a:t>Short bio</a:t>
            </a:r>
          </a:p>
          <a:p>
            <a:pPr lvl="3"/>
            <a:r>
              <a:rPr lang="en-US"/>
              <a:t>Bullet point</a:t>
            </a:r>
          </a:p>
        </p:txBody>
      </p:sp>
      <p:sp>
        <p:nvSpPr>
          <p:cNvPr id="12" name="object 3">
            <a:extLst>
              <a:ext uri="{FF2B5EF4-FFF2-40B4-BE49-F238E27FC236}">
                <a16:creationId xmlns:a16="http://schemas.microsoft.com/office/drawing/2014/main" id="{B4047B32-3D11-429C-852A-E424252E96E9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14222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am 6 -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0D68506-03AE-4A39-91C8-330FFBA697A1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7F8EB60C-7CC2-49F0-B2EE-C81F067DE04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E7742AB-C929-4D27-B4AA-FF13B09072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16" name="Picture Placeholder 1">
            <a:extLst>
              <a:ext uri="{FF2B5EF4-FFF2-40B4-BE49-F238E27FC236}">
                <a16:creationId xmlns:a16="http://schemas.microsoft.com/office/drawing/2014/main" id="{B8224852-B872-0E48-9DF5-0937E260C3B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3720" y="1717675"/>
            <a:ext cx="1587600" cy="155448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spcBef>
                <a:spcPts val="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/>
              <a:t>Add profile photo</a:t>
            </a:r>
            <a:endParaRPr lang="en-US"/>
          </a:p>
        </p:txBody>
      </p:sp>
      <p:cxnSp>
        <p:nvCxnSpPr>
          <p:cNvPr id="33" name="Straight Connector 1">
            <a:extLst>
              <a:ext uri="{FF2B5EF4-FFF2-40B4-BE49-F238E27FC236}">
                <a16:creationId xmlns:a16="http://schemas.microsoft.com/office/drawing/2014/main" id="{AA02BDBD-12C4-A940-8556-B3E5BDD10714}"/>
              </a:ext>
            </a:extLst>
          </p:cNvPr>
          <p:cNvCxnSpPr>
            <a:cxnSpLocks/>
          </p:cNvCxnSpPr>
          <p:nvPr userDrawn="1"/>
        </p:nvCxnSpPr>
        <p:spPr>
          <a:xfrm>
            <a:off x="380136" y="3557996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1">
            <a:extLst>
              <a:ext uri="{FF2B5EF4-FFF2-40B4-BE49-F238E27FC236}">
                <a16:creationId xmlns:a16="http://schemas.microsoft.com/office/drawing/2014/main" id="{6BEB5A56-DED2-134F-B0DE-11936982FFF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3720" y="3798616"/>
            <a:ext cx="1587600" cy="2246582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Bef>
                <a:spcPts val="0"/>
              </a:spcBef>
              <a:spcAft>
                <a:spcPts val="600"/>
              </a:spcAft>
              <a:buNone/>
              <a:defRPr sz="1600"/>
            </a:lvl2pPr>
            <a:lvl3pPr marL="0" indent="0">
              <a:spcBef>
                <a:spcPts val="0"/>
              </a:spcBef>
              <a:spcAft>
                <a:spcPts val="600"/>
              </a:spcAft>
              <a:buNone/>
              <a:defRPr sz="1200"/>
            </a:lvl3pPr>
            <a:lvl4pPr marL="182880" indent="-18288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</a:t>
            </a:r>
          </a:p>
          <a:p>
            <a:pPr lvl="2"/>
            <a:r>
              <a:rPr lang="en-US"/>
              <a:t>Short bio</a:t>
            </a:r>
          </a:p>
          <a:p>
            <a:pPr lvl="3"/>
            <a:r>
              <a:rPr lang="en-US"/>
              <a:t>Bullet point</a:t>
            </a:r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351707" y="1717675"/>
            <a:ext cx="1587600" cy="1554480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spcBef>
                <a:spcPts val="0"/>
              </a:spcBef>
              <a:buNone/>
              <a:defRPr lang="en-US" sz="1800" b="0" dirty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cxnSp>
        <p:nvCxnSpPr>
          <p:cNvPr id="34" name="Straight Connector 2">
            <a:extLst>
              <a:ext uri="{FF2B5EF4-FFF2-40B4-BE49-F238E27FC236}">
                <a16:creationId xmlns:a16="http://schemas.microsoft.com/office/drawing/2014/main" id="{3FEA9EDE-6235-5149-A941-CF6FEAE2E6FF}"/>
              </a:ext>
            </a:extLst>
          </p:cNvPr>
          <p:cNvCxnSpPr>
            <a:cxnSpLocks/>
          </p:cNvCxnSpPr>
          <p:nvPr userDrawn="1"/>
        </p:nvCxnSpPr>
        <p:spPr>
          <a:xfrm>
            <a:off x="2351707" y="3557996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923321BD-6745-7944-910F-B8C8E4AC31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51707" y="3798616"/>
            <a:ext cx="1587600" cy="2246582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Bef>
                <a:spcPts val="0"/>
              </a:spcBef>
              <a:spcAft>
                <a:spcPts val="600"/>
              </a:spcAft>
              <a:buNone/>
              <a:defRPr sz="1600"/>
            </a:lvl2pPr>
            <a:lvl3pPr marL="0" indent="0">
              <a:spcBef>
                <a:spcPts val="0"/>
              </a:spcBef>
              <a:spcAft>
                <a:spcPts val="600"/>
              </a:spcAft>
              <a:buNone/>
              <a:defRPr sz="1200"/>
            </a:lvl3pPr>
            <a:lvl4pPr marL="182880" indent="-18288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</a:t>
            </a:r>
          </a:p>
          <a:p>
            <a:pPr lvl="2"/>
            <a:r>
              <a:rPr lang="en-US"/>
              <a:t>Short bio</a:t>
            </a:r>
          </a:p>
          <a:p>
            <a:pPr lvl="3"/>
            <a:r>
              <a:rPr lang="en-US"/>
              <a:t>Bullet point</a:t>
            </a: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4340D6FD-1887-3544-A26E-8F335B859BD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19694" y="1717675"/>
            <a:ext cx="1587600" cy="1554480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spcBef>
                <a:spcPts val="0"/>
              </a:spcBef>
              <a:buNone/>
              <a:defRPr lang="en-US" sz="1800" b="0" dirty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cxnSp>
        <p:nvCxnSpPr>
          <p:cNvPr id="36" name="Straight Connector 3">
            <a:extLst>
              <a:ext uri="{FF2B5EF4-FFF2-40B4-BE49-F238E27FC236}">
                <a16:creationId xmlns:a16="http://schemas.microsoft.com/office/drawing/2014/main" id="{8BE3B3A9-F650-CD4D-ABE8-60A0F5E115AE}"/>
              </a:ext>
            </a:extLst>
          </p:cNvPr>
          <p:cNvCxnSpPr>
            <a:cxnSpLocks/>
          </p:cNvCxnSpPr>
          <p:nvPr userDrawn="1"/>
        </p:nvCxnSpPr>
        <p:spPr>
          <a:xfrm>
            <a:off x="4319694" y="3557996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2A6C4DC7-1806-A74D-B434-61FF385F82A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19694" y="3798616"/>
            <a:ext cx="1587600" cy="2246582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Bef>
                <a:spcPts val="0"/>
              </a:spcBef>
              <a:spcAft>
                <a:spcPts val="600"/>
              </a:spcAft>
              <a:buNone/>
              <a:defRPr sz="1600"/>
            </a:lvl2pPr>
            <a:lvl3pPr marL="0" indent="0">
              <a:spcBef>
                <a:spcPts val="0"/>
              </a:spcBef>
              <a:spcAft>
                <a:spcPts val="600"/>
              </a:spcAft>
              <a:buNone/>
              <a:defRPr sz="1200"/>
            </a:lvl3pPr>
            <a:lvl4pPr marL="182880" indent="-18288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</a:t>
            </a:r>
          </a:p>
          <a:p>
            <a:pPr lvl="2"/>
            <a:r>
              <a:rPr lang="en-US"/>
              <a:t>Short bio</a:t>
            </a:r>
          </a:p>
          <a:p>
            <a:pPr lvl="3"/>
            <a:r>
              <a:rPr lang="en-US"/>
              <a:t>Bullet point</a:t>
            </a:r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FA080C1D-BB93-B249-9F54-C5F7A16E098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87681" y="1717675"/>
            <a:ext cx="1587600" cy="1554480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spcBef>
                <a:spcPts val="0"/>
              </a:spcBef>
              <a:buNone/>
              <a:defRPr lang="en-US" sz="1800" b="0" dirty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cxnSp>
        <p:nvCxnSpPr>
          <p:cNvPr id="41" name="Straight Connector 4">
            <a:extLst>
              <a:ext uri="{FF2B5EF4-FFF2-40B4-BE49-F238E27FC236}">
                <a16:creationId xmlns:a16="http://schemas.microsoft.com/office/drawing/2014/main" id="{40EADFA0-1672-B34A-99B7-19C51FEE8983}"/>
              </a:ext>
            </a:extLst>
          </p:cNvPr>
          <p:cNvCxnSpPr>
            <a:cxnSpLocks/>
          </p:cNvCxnSpPr>
          <p:nvPr userDrawn="1"/>
        </p:nvCxnSpPr>
        <p:spPr>
          <a:xfrm>
            <a:off x="6287681" y="3557996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053D7F26-6DC1-034C-B572-B4BFE718C79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87681" y="3798616"/>
            <a:ext cx="1587600" cy="2246582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Bef>
                <a:spcPts val="0"/>
              </a:spcBef>
              <a:spcAft>
                <a:spcPts val="600"/>
              </a:spcAft>
              <a:buNone/>
              <a:defRPr sz="1600"/>
            </a:lvl2pPr>
            <a:lvl3pPr marL="0" indent="0">
              <a:spcBef>
                <a:spcPts val="0"/>
              </a:spcBef>
              <a:spcAft>
                <a:spcPts val="600"/>
              </a:spcAft>
              <a:buNone/>
              <a:defRPr sz="1200"/>
            </a:lvl3pPr>
            <a:lvl4pPr marL="182880" indent="-18288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</a:t>
            </a:r>
          </a:p>
          <a:p>
            <a:pPr lvl="2"/>
            <a:r>
              <a:rPr lang="en-US"/>
              <a:t>Short bio</a:t>
            </a:r>
          </a:p>
          <a:p>
            <a:pPr lvl="3"/>
            <a:r>
              <a:rPr lang="en-US"/>
              <a:t>Bullet point</a:t>
            </a:r>
          </a:p>
        </p:txBody>
      </p:sp>
      <p:sp>
        <p:nvSpPr>
          <p:cNvPr id="31" name="Picture Placeholder 5">
            <a:extLst>
              <a:ext uri="{FF2B5EF4-FFF2-40B4-BE49-F238E27FC236}">
                <a16:creationId xmlns:a16="http://schemas.microsoft.com/office/drawing/2014/main" id="{CA9187A3-C074-9F44-8687-E31C02BD508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55668" y="1717675"/>
            <a:ext cx="1587600" cy="1554480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spcBef>
                <a:spcPts val="0"/>
              </a:spcBef>
              <a:buNone/>
              <a:defRPr lang="en-US" sz="1800" b="0" dirty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cxnSp>
        <p:nvCxnSpPr>
          <p:cNvPr id="42" name="Straight Connector 5">
            <a:extLst>
              <a:ext uri="{FF2B5EF4-FFF2-40B4-BE49-F238E27FC236}">
                <a16:creationId xmlns:a16="http://schemas.microsoft.com/office/drawing/2014/main" id="{8C298F82-C3A0-2A4F-8530-36C08463C5C0}"/>
              </a:ext>
            </a:extLst>
          </p:cNvPr>
          <p:cNvCxnSpPr>
            <a:cxnSpLocks/>
          </p:cNvCxnSpPr>
          <p:nvPr userDrawn="1"/>
        </p:nvCxnSpPr>
        <p:spPr>
          <a:xfrm>
            <a:off x="8255668" y="3557996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E075A489-B7B7-CE40-B061-D8A36AFCC81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55668" y="3798616"/>
            <a:ext cx="1587600" cy="2246582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Bef>
                <a:spcPts val="0"/>
              </a:spcBef>
              <a:spcAft>
                <a:spcPts val="600"/>
              </a:spcAft>
              <a:buNone/>
              <a:defRPr sz="1600"/>
            </a:lvl2pPr>
            <a:lvl3pPr marL="0" indent="0">
              <a:spcBef>
                <a:spcPts val="0"/>
              </a:spcBef>
              <a:spcAft>
                <a:spcPts val="600"/>
              </a:spcAft>
              <a:buNone/>
              <a:defRPr sz="1200"/>
            </a:lvl3pPr>
            <a:lvl4pPr marL="182880" indent="-18288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</a:t>
            </a:r>
          </a:p>
          <a:p>
            <a:pPr lvl="2"/>
            <a:r>
              <a:rPr lang="en-US"/>
              <a:t>Short bio</a:t>
            </a:r>
          </a:p>
          <a:p>
            <a:pPr lvl="3"/>
            <a:r>
              <a:rPr lang="en-US"/>
              <a:t>Bullet point</a:t>
            </a:r>
          </a:p>
        </p:txBody>
      </p:sp>
      <p:sp>
        <p:nvSpPr>
          <p:cNvPr id="25" name="Picture Placeholder 6">
            <a:extLst>
              <a:ext uri="{FF2B5EF4-FFF2-40B4-BE49-F238E27FC236}">
                <a16:creationId xmlns:a16="http://schemas.microsoft.com/office/drawing/2014/main" id="{A1C6FF20-E7DF-8F42-9AE5-920A6769DA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23655" y="1717675"/>
            <a:ext cx="1587600" cy="1554480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spcBef>
                <a:spcPts val="0"/>
              </a:spcBef>
              <a:buNone/>
              <a:defRPr lang="en-US" sz="1800" b="0" dirty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cxnSp>
        <p:nvCxnSpPr>
          <p:cNvPr id="43" name="Straight Connector 6">
            <a:extLst>
              <a:ext uri="{FF2B5EF4-FFF2-40B4-BE49-F238E27FC236}">
                <a16:creationId xmlns:a16="http://schemas.microsoft.com/office/drawing/2014/main" id="{735C1307-45DE-104B-82C7-0AF770E496DE}"/>
              </a:ext>
            </a:extLst>
          </p:cNvPr>
          <p:cNvCxnSpPr>
            <a:cxnSpLocks/>
          </p:cNvCxnSpPr>
          <p:nvPr userDrawn="1"/>
        </p:nvCxnSpPr>
        <p:spPr>
          <a:xfrm>
            <a:off x="10223655" y="3557996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FF2BF483-5EDC-9242-AD58-57E84F538C8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23655" y="3798616"/>
            <a:ext cx="1587600" cy="2246582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Bef>
                <a:spcPts val="0"/>
              </a:spcBef>
              <a:spcAft>
                <a:spcPts val="600"/>
              </a:spcAft>
              <a:buNone/>
              <a:defRPr sz="1600"/>
            </a:lvl2pPr>
            <a:lvl3pPr marL="0" indent="0">
              <a:spcBef>
                <a:spcPts val="0"/>
              </a:spcBef>
              <a:spcAft>
                <a:spcPts val="600"/>
              </a:spcAft>
              <a:buNone/>
              <a:defRPr sz="1200"/>
            </a:lvl3pPr>
            <a:lvl4pPr marL="182880" indent="-18288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</a:t>
            </a:r>
          </a:p>
          <a:p>
            <a:pPr lvl="2"/>
            <a:r>
              <a:rPr lang="en-US"/>
              <a:t>Short bio</a:t>
            </a:r>
          </a:p>
          <a:p>
            <a:pPr lvl="3"/>
            <a:r>
              <a:rPr lang="en-US"/>
              <a:t>Bullet point</a:t>
            </a:r>
          </a:p>
        </p:txBody>
      </p:sp>
      <p:sp>
        <p:nvSpPr>
          <p:cNvPr id="26" name="object 3">
            <a:extLst>
              <a:ext uri="{FF2B5EF4-FFF2-40B4-BE49-F238E27FC236}">
                <a16:creationId xmlns:a16="http://schemas.microsoft.com/office/drawing/2014/main" id="{C6B44DAB-D9D9-4F00-8511-E22AB70584AD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16313472-D8FF-4E96-B86E-D74F278E904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39084" y="6432376"/>
            <a:ext cx="1311547" cy="228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34368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C349E00-18EC-4FDA-A2E8-48585232149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7F8EB60C-7CC2-49F0-B2EE-C81F067DE04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A8290FF-AA89-42D9-98B9-80723F6453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200" y="346108"/>
            <a:ext cx="8886875" cy="4985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DDAC503A-6438-4F4D-8CAA-8C78A2F5DDD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1000" y="1717675"/>
            <a:ext cx="8855075" cy="43243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ources">
            <a:extLst>
              <a:ext uri="{FF2B5EF4-FFF2-40B4-BE49-F238E27FC236}">
                <a16:creationId xmlns:a16="http://schemas.microsoft.com/office/drawing/2014/main" id="{850EE213-82A8-4DA4-9754-676F935402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80550" y="6471584"/>
            <a:ext cx="6287026" cy="138499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900" i="1">
                <a:latin typeface="+mn-lt"/>
              </a:defRPr>
            </a:lvl1pPr>
          </a:lstStyle>
          <a:p>
            <a:pPr lvl="0"/>
            <a:r>
              <a:rPr lang="en-US"/>
              <a:t>Insert sources</a:t>
            </a:r>
          </a:p>
        </p:txBody>
      </p:sp>
      <p:sp>
        <p:nvSpPr>
          <p:cNvPr id="9" name="object 3">
            <a:extLst>
              <a:ext uri="{FF2B5EF4-FFF2-40B4-BE49-F238E27FC236}">
                <a16:creationId xmlns:a16="http://schemas.microsoft.com/office/drawing/2014/main" id="{49C6A56B-77D7-4360-9963-440A3A5F19EA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937860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am 6 -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C2F95C-ED38-48DD-B1C4-7237EAB84FB5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7F8EB60C-7CC2-49F0-B2EE-C81F067DE04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E7742AB-C929-4D27-B4AA-FF13B09072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16" name="Picture Placeholder 1">
            <a:extLst>
              <a:ext uri="{FF2B5EF4-FFF2-40B4-BE49-F238E27FC236}">
                <a16:creationId xmlns:a16="http://schemas.microsoft.com/office/drawing/2014/main" id="{B8224852-B872-0E48-9DF5-0937E260C3B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3720" y="1717675"/>
            <a:ext cx="1587600" cy="1554480"/>
          </a:xfrm>
          <a:solidFill>
            <a:schemeClr val="tx1">
              <a:lumMod val="95000"/>
            </a:schemeClr>
          </a:solidFill>
        </p:spPr>
        <p:txBody>
          <a:bodyPr/>
          <a:lstStyle>
            <a:lvl1pPr marL="0" indent="0">
              <a:spcBef>
                <a:spcPts val="0"/>
              </a:spcBef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/>
              <a:t>Add profile photo</a:t>
            </a:r>
            <a:endParaRPr lang="en-US"/>
          </a:p>
        </p:txBody>
      </p:sp>
      <p:cxnSp>
        <p:nvCxnSpPr>
          <p:cNvPr id="33" name="Straight Connector 1">
            <a:extLst>
              <a:ext uri="{FF2B5EF4-FFF2-40B4-BE49-F238E27FC236}">
                <a16:creationId xmlns:a16="http://schemas.microsoft.com/office/drawing/2014/main" id="{AA02BDBD-12C4-A940-8556-B3E5BDD10714}"/>
              </a:ext>
            </a:extLst>
          </p:cNvPr>
          <p:cNvCxnSpPr>
            <a:cxnSpLocks/>
          </p:cNvCxnSpPr>
          <p:nvPr userDrawn="1"/>
        </p:nvCxnSpPr>
        <p:spPr>
          <a:xfrm>
            <a:off x="380136" y="3557996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1">
            <a:extLst>
              <a:ext uri="{FF2B5EF4-FFF2-40B4-BE49-F238E27FC236}">
                <a16:creationId xmlns:a16="http://schemas.microsoft.com/office/drawing/2014/main" id="{6BEB5A56-DED2-134F-B0DE-11936982FFF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3720" y="3798616"/>
            <a:ext cx="1587600" cy="2246582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Bef>
                <a:spcPts val="0"/>
              </a:spcBef>
              <a:spcAft>
                <a:spcPts val="600"/>
              </a:spcAft>
              <a:buNone/>
              <a:defRPr sz="1600"/>
            </a:lvl2pPr>
            <a:lvl3pPr marL="0" indent="0">
              <a:spcBef>
                <a:spcPts val="0"/>
              </a:spcBef>
              <a:spcAft>
                <a:spcPts val="600"/>
              </a:spcAft>
              <a:buNone/>
              <a:defRPr sz="1200"/>
            </a:lvl3pPr>
            <a:lvl4pPr marL="182880" indent="-18288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</a:t>
            </a:r>
          </a:p>
          <a:p>
            <a:pPr lvl="2"/>
            <a:r>
              <a:rPr lang="en-US"/>
              <a:t>Short bio</a:t>
            </a:r>
          </a:p>
          <a:p>
            <a:pPr lvl="3"/>
            <a:r>
              <a:rPr lang="en-US"/>
              <a:t>Bullet point</a:t>
            </a:r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D57647B7-79D1-0A4B-BE19-EB3D7E5620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351707" y="1717675"/>
            <a:ext cx="1587600" cy="1554480"/>
          </a:xfrm>
          <a:solidFill>
            <a:schemeClr val="tx1">
              <a:lumMod val="95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cxnSp>
        <p:nvCxnSpPr>
          <p:cNvPr id="34" name="Straight Connector 2">
            <a:extLst>
              <a:ext uri="{FF2B5EF4-FFF2-40B4-BE49-F238E27FC236}">
                <a16:creationId xmlns:a16="http://schemas.microsoft.com/office/drawing/2014/main" id="{3FEA9EDE-6235-5149-A941-CF6FEAE2E6FF}"/>
              </a:ext>
            </a:extLst>
          </p:cNvPr>
          <p:cNvCxnSpPr>
            <a:cxnSpLocks/>
          </p:cNvCxnSpPr>
          <p:nvPr userDrawn="1"/>
        </p:nvCxnSpPr>
        <p:spPr>
          <a:xfrm>
            <a:off x="2351707" y="3557996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923321BD-6745-7944-910F-B8C8E4AC31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51707" y="3798616"/>
            <a:ext cx="1587600" cy="2246582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Bef>
                <a:spcPts val="0"/>
              </a:spcBef>
              <a:spcAft>
                <a:spcPts val="600"/>
              </a:spcAft>
              <a:buNone/>
              <a:defRPr sz="1600"/>
            </a:lvl2pPr>
            <a:lvl3pPr marL="0" indent="0">
              <a:spcBef>
                <a:spcPts val="0"/>
              </a:spcBef>
              <a:spcAft>
                <a:spcPts val="600"/>
              </a:spcAft>
              <a:buNone/>
              <a:defRPr sz="1200"/>
            </a:lvl3pPr>
            <a:lvl4pPr marL="182880" indent="-18288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</a:t>
            </a:r>
          </a:p>
          <a:p>
            <a:pPr lvl="2"/>
            <a:r>
              <a:rPr lang="en-US"/>
              <a:t>Short bio</a:t>
            </a:r>
          </a:p>
          <a:p>
            <a:pPr lvl="3"/>
            <a:r>
              <a:rPr lang="en-US"/>
              <a:t>Bullet point</a:t>
            </a: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4340D6FD-1887-3544-A26E-8F335B859BD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19694" y="1717675"/>
            <a:ext cx="1587600" cy="1554480"/>
          </a:xfrm>
          <a:solidFill>
            <a:schemeClr val="tx1">
              <a:lumMod val="95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cxnSp>
        <p:nvCxnSpPr>
          <p:cNvPr id="36" name="Straight Connector 3">
            <a:extLst>
              <a:ext uri="{FF2B5EF4-FFF2-40B4-BE49-F238E27FC236}">
                <a16:creationId xmlns:a16="http://schemas.microsoft.com/office/drawing/2014/main" id="{8BE3B3A9-F650-CD4D-ABE8-60A0F5E115AE}"/>
              </a:ext>
            </a:extLst>
          </p:cNvPr>
          <p:cNvCxnSpPr>
            <a:cxnSpLocks/>
          </p:cNvCxnSpPr>
          <p:nvPr userDrawn="1"/>
        </p:nvCxnSpPr>
        <p:spPr>
          <a:xfrm>
            <a:off x="4319694" y="3557996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2A6C4DC7-1806-A74D-B434-61FF385F82A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19694" y="3798616"/>
            <a:ext cx="1587600" cy="2246582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Bef>
                <a:spcPts val="0"/>
              </a:spcBef>
              <a:spcAft>
                <a:spcPts val="600"/>
              </a:spcAft>
              <a:buNone/>
              <a:defRPr sz="1600"/>
            </a:lvl2pPr>
            <a:lvl3pPr marL="0" indent="0">
              <a:spcBef>
                <a:spcPts val="0"/>
              </a:spcBef>
              <a:spcAft>
                <a:spcPts val="600"/>
              </a:spcAft>
              <a:buNone/>
              <a:defRPr sz="1200"/>
            </a:lvl3pPr>
            <a:lvl4pPr marL="182880" indent="-18288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</a:t>
            </a:r>
          </a:p>
          <a:p>
            <a:pPr lvl="2"/>
            <a:r>
              <a:rPr lang="en-US"/>
              <a:t>Short bio</a:t>
            </a:r>
          </a:p>
          <a:p>
            <a:pPr lvl="3"/>
            <a:r>
              <a:rPr lang="en-US"/>
              <a:t>Bullet point</a:t>
            </a:r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FA080C1D-BB93-B249-9F54-C5F7A16E098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87681" y="1717675"/>
            <a:ext cx="1587600" cy="1554480"/>
          </a:xfrm>
          <a:solidFill>
            <a:schemeClr val="tx1">
              <a:lumMod val="95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cxnSp>
        <p:nvCxnSpPr>
          <p:cNvPr id="41" name="Straight Connector 4">
            <a:extLst>
              <a:ext uri="{FF2B5EF4-FFF2-40B4-BE49-F238E27FC236}">
                <a16:creationId xmlns:a16="http://schemas.microsoft.com/office/drawing/2014/main" id="{40EADFA0-1672-B34A-99B7-19C51FEE8983}"/>
              </a:ext>
            </a:extLst>
          </p:cNvPr>
          <p:cNvCxnSpPr>
            <a:cxnSpLocks/>
          </p:cNvCxnSpPr>
          <p:nvPr userDrawn="1"/>
        </p:nvCxnSpPr>
        <p:spPr>
          <a:xfrm>
            <a:off x="6287681" y="3557996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053D7F26-6DC1-034C-B572-B4BFE718C79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87681" y="3798616"/>
            <a:ext cx="1587600" cy="2246582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Bef>
                <a:spcPts val="0"/>
              </a:spcBef>
              <a:spcAft>
                <a:spcPts val="600"/>
              </a:spcAft>
              <a:buNone/>
              <a:defRPr sz="1600"/>
            </a:lvl2pPr>
            <a:lvl3pPr marL="0" indent="0">
              <a:spcBef>
                <a:spcPts val="0"/>
              </a:spcBef>
              <a:spcAft>
                <a:spcPts val="600"/>
              </a:spcAft>
              <a:buNone/>
              <a:defRPr sz="1200"/>
            </a:lvl3pPr>
            <a:lvl4pPr marL="182880" indent="-18288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</a:t>
            </a:r>
          </a:p>
          <a:p>
            <a:pPr lvl="2"/>
            <a:r>
              <a:rPr lang="en-US"/>
              <a:t>Short bio</a:t>
            </a:r>
          </a:p>
          <a:p>
            <a:pPr lvl="3"/>
            <a:r>
              <a:rPr lang="en-US"/>
              <a:t>Bullet point</a:t>
            </a:r>
          </a:p>
        </p:txBody>
      </p:sp>
      <p:sp>
        <p:nvSpPr>
          <p:cNvPr id="31" name="Picture Placeholder 5">
            <a:extLst>
              <a:ext uri="{FF2B5EF4-FFF2-40B4-BE49-F238E27FC236}">
                <a16:creationId xmlns:a16="http://schemas.microsoft.com/office/drawing/2014/main" id="{CA9187A3-C074-9F44-8687-E31C02BD508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55668" y="1717675"/>
            <a:ext cx="1587600" cy="1554480"/>
          </a:xfrm>
          <a:solidFill>
            <a:schemeClr val="tx1">
              <a:lumMod val="95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cxnSp>
        <p:nvCxnSpPr>
          <p:cNvPr id="42" name="Straight Connector 5">
            <a:extLst>
              <a:ext uri="{FF2B5EF4-FFF2-40B4-BE49-F238E27FC236}">
                <a16:creationId xmlns:a16="http://schemas.microsoft.com/office/drawing/2014/main" id="{8C298F82-C3A0-2A4F-8530-36C08463C5C0}"/>
              </a:ext>
            </a:extLst>
          </p:cNvPr>
          <p:cNvCxnSpPr>
            <a:cxnSpLocks/>
          </p:cNvCxnSpPr>
          <p:nvPr userDrawn="1"/>
        </p:nvCxnSpPr>
        <p:spPr>
          <a:xfrm>
            <a:off x="8255668" y="3557996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E075A489-B7B7-CE40-B061-D8A36AFCC81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55668" y="3798616"/>
            <a:ext cx="1587600" cy="2246582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Bef>
                <a:spcPts val="0"/>
              </a:spcBef>
              <a:spcAft>
                <a:spcPts val="600"/>
              </a:spcAft>
              <a:buNone/>
              <a:defRPr sz="1600"/>
            </a:lvl2pPr>
            <a:lvl3pPr marL="0" indent="0">
              <a:spcBef>
                <a:spcPts val="0"/>
              </a:spcBef>
              <a:spcAft>
                <a:spcPts val="600"/>
              </a:spcAft>
              <a:buNone/>
              <a:defRPr sz="1200"/>
            </a:lvl3pPr>
            <a:lvl4pPr marL="182880" indent="-18288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</a:t>
            </a:r>
          </a:p>
          <a:p>
            <a:pPr lvl="2"/>
            <a:r>
              <a:rPr lang="en-US"/>
              <a:t>Short bio</a:t>
            </a:r>
          </a:p>
          <a:p>
            <a:pPr lvl="3"/>
            <a:r>
              <a:rPr lang="en-US"/>
              <a:t>Bullet point</a:t>
            </a:r>
          </a:p>
        </p:txBody>
      </p:sp>
      <p:sp>
        <p:nvSpPr>
          <p:cNvPr id="25" name="Picture Placeholder 6">
            <a:extLst>
              <a:ext uri="{FF2B5EF4-FFF2-40B4-BE49-F238E27FC236}">
                <a16:creationId xmlns:a16="http://schemas.microsoft.com/office/drawing/2014/main" id="{A1C6FF20-E7DF-8F42-9AE5-920A6769DA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23655" y="1717675"/>
            <a:ext cx="1587600" cy="1554480"/>
          </a:xfrm>
          <a:solidFill>
            <a:schemeClr val="tx1">
              <a:lumMod val="95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spcBef>
                <a:spcPts val="0"/>
              </a:spcBef>
              <a:buNone/>
              <a:defRPr lang="en-US" sz="1800" b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cxnSp>
        <p:nvCxnSpPr>
          <p:cNvPr id="43" name="Straight Connector 6">
            <a:extLst>
              <a:ext uri="{FF2B5EF4-FFF2-40B4-BE49-F238E27FC236}">
                <a16:creationId xmlns:a16="http://schemas.microsoft.com/office/drawing/2014/main" id="{735C1307-45DE-104B-82C7-0AF770E496DE}"/>
              </a:ext>
            </a:extLst>
          </p:cNvPr>
          <p:cNvCxnSpPr>
            <a:cxnSpLocks/>
          </p:cNvCxnSpPr>
          <p:nvPr userDrawn="1"/>
        </p:nvCxnSpPr>
        <p:spPr>
          <a:xfrm>
            <a:off x="10223655" y="3557996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FF2BF483-5EDC-9242-AD58-57E84F538C8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23655" y="3798616"/>
            <a:ext cx="1587600" cy="2246582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100" b="0" i="0">
                <a:latin typeface="GT Sectra Fine Rg" panose="00000500000000000000" pitchFamily="50" charset="0"/>
              </a:defRPr>
            </a:lvl1pPr>
            <a:lvl2pPr marL="0" indent="0">
              <a:spcBef>
                <a:spcPts val="0"/>
              </a:spcBef>
              <a:spcAft>
                <a:spcPts val="600"/>
              </a:spcAft>
              <a:buNone/>
              <a:defRPr sz="1600"/>
            </a:lvl2pPr>
            <a:lvl3pPr marL="0" indent="0">
              <a:spcBef>
                <a:spcPts val="0"/>
              </a:spcBef>
              <a:spcAft>
                <a:spcPts val="600"/>
              </a:spcAft>
              <a:buNone/>
              <a:defRPr sz="1200"/>
            </a:lvl3pPr>
            <a:lvl4pPr marL="182880" indent="-18288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Last name</a:t>
            </a:r>
          </a:p>
          <a:p>
            <a:pPr lvl="1"/>
            <a:r>
              <a:rPr lang="en-US"/>
              <a:t>Role</a:t>
            </a:r>
          </a:p>
          <a:p>
            <a:pPr lvl="2"/>
            <a:r>
              <a:rPr lang="en-US"/>
              <a:t>Short bio</a:t>
            </a:r>
          </a:p>
          <a:p>
            <a:pPr lvl="3"/>
            <a:r>
              <a:rPr lang="en-US"/>
              <a:t>Bullet point</a:t>
            </a:r>
          </a:p>
        </p:txBody>
      </p:sp>
      <p:sp>
        <p:nvSpPr>
          <p:cNvPr id="26" name="object 3">
            <a:extLst>
              <a:ext uri="{FF2B5EF4-FFF2-40B4-BE49-F238E27FC236}">
                <a16:creationId xmlns:a16="http://schemas.microsoft.com/office/drawing/2014/main" id="{F9F29E6F-BEC1-40A1-ADB1-CADC0C779919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45342521-0C0A-434B-AF67-534137A65E4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39084" y="6432376"/>
            <a:ext cx="1311547" cy="228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34746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8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3849285-B897-4457-8FAF-48A177F8BEAB}"/>
              </a:ext>
            </a:extLst>
          </p:cNvPr>
          <p:cNvSpPr>
            <a:spLocks noGrp="1"/>
          </p:cNvSpPr>
          <p:nvPr>
            <p:ph type="sldNum" sz="quarter" idx="52"/>
          </p:nvPr>
        </p:nvSpPr>
        <p:spPr/>
        <p:txBody>
          <a:bodyPr/>
          <a:lstStyle/>
          <a:p>
            <a:fld id="{7F8EB60C-7CC2-49F0-B2EE-C81F067DE04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5CD3FAE2-8A4E-4988-924D-81A2DB784E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4" name="Intro">
            <a:extLst>
              <a:ext uri="{FF2B5EF4-FFF2-40B4-BE49-F238E27FC236}">
                <a16:creationId xmlns:a16="http://schemas.microsoft.com/office/drawing/2014/main" id="{76371931-42F0-694A-9918-74F36725749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81000" y="1295234"/>
            <a:ext cx="3540355" cy="4746792"/>
          </a:xfrm>
        </p:spPr>
        <p:txBody>
          <a:bodyPr/>
          <a:lstStyle>
            <a:lvl1pPr>
              <a:defRPr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/>
            </a:lvl2pPr>
            <a:lvl3pPr marL="360000">
              <a:buFont typeface="Graphik" panose="020B0503030202060203" pitchFamily="34" charset="0"/>
              <a:buChar char="–"/>
              <a:defRPr/>
            </a:lvl3pPr>
            <a:lvl4pPr marL="540000">
              <a:buFont typeface="Arial" panose="020B0604020202020204" pitchFamily="34" charset="0"/>
              <a:buChar char="•"/>
              <a:defRPr/>
            </a:lvl4pPr>
            <a:lvl5pPr marL="720000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GB"/>
              <a:t>Place text here, use indent to access other level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5" name="Picture Placeholder 1">
            <a:extLst>
              <a:ext uri="{FF2B5EF4-FFF2-40B4-BE49-F238E27FC236}">
                <a16:creationId xmlns:a16="http://schemas.microsoft.com/office/drawing/2014/main" id="{CD7EAAF9-7102-4351-9F35-C40B3F3819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5822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spcBef>
                <a:spcPts val="0"/>
              </a:spcBef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cxnSp>
        <p:nvCxnSpPr>
          <p:cNvPr id="49" name="Straight Connector 1">
            <a:extLst>
              <a:ext uri="{FF2B5EF4-FFF2-40B4-BE49-F238E27FC236}">
                <a16:creationId xmlns:a16="http://schemas.microsoft.com/office/drawing/2014/main" id="{F41646E1-19C3-4B9B-B997-D1E684346A58}"/>
              </a:ext>
            </a:extLst>
          </p:cNvPr>
          <p:cNvCxnSpPr>
            <a:cxnSpLocks/>
          </p:cNvCxnSpPr>
          <p:nvPr userDrawn="1"/>
        </p:nvCxnSpPr>
        <p:spPr>
          <a:xfrm>
            <a:off x="4325822" y="2633001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1">
            <a:extLst>
              <a:ext uri="{FF2B5EF4-FFF2-40B4-BE49-F238E27FC236}">
                <a16:creationId xmlns:a16="http://schemas.microsoft.com/office/drawing/2014/main" id="{224BCF40-5B7A-4471-B077-3EEE956ADC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5821" y="2786552"/>
            <a:ext cx="1591200" cy="684290"/>
          </a:xfrm>
        </p:spPr>
        <p:txBody>
          <a:bodyPr>
            <a:sp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</a:t>
            </a:r>
            <a:br>
              <a:rPr lang="en-US"/>
            </a:br>
            <a:r>
              <a:rPr lang="en-US"/>
              <a:t>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/>
              <a:t>Role</a:t>
            </a:r>
          </a:p>
        </p:txBody>
      </p:sp>
      <p:sp>
        <p:nvSpPr>
          <p:cNvPr id="46" name="Picture Placeholder 2">
            <a:extLst>
              <a:ext uri="{FF2B5EF4-FFF2-40B4-BE49-F238E27FC236}">
                <a16:creationId xmlns:a16="http://schemas.microsoft.com/office/drawing/2014/main" id="{CC40CB3D-DFEA-4056-B2DA-887E7C86324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98233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spcBef>
                <a:spcPts val="0"/>
              </a:spcBef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cxnSp>
        <p:nvCxnSpPr>
          <p:cNvPr id="54" name="Straight Connector 2">
            <a:extLst>
              <a:ext uri="{FF2B5EF4-FFF2-40B4-BE49-F238E27FC236}">
                <a16:creationId xmlns:a16="http://schemas.microsoft.com/office/drawing/2014/main" id="{5573D48A-A495-4050-90E3-75258FCF3377}"/>
              </a:ext>
            </a:extLst>
          </p:cNvPr>
          <p:cNvCxnSpPr>
            <a:cxnSpLocks/>
          </p:cNvCxnSpPr>
          <p:nvPr userDrawn="1"/>
        </p:nvCxnSpPr>
        <p:spPr>
          <a:xfrm>
            <a:off x="6298233" y="2633001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68E899C2-D12C-4214-88A5-B7A6E1BCDCE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98232" y="2786552"/>
            <a:ext cx="1591200" cy="684290"/>
          </a:xfrm>
        </p:spPr>
        <p:txBody>
          <a:bodyPr>
            <a:sp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</a:t>
            </a:r>
            <a:br>
              <a:rPr lang="en-US"/>
            </a:br>
            <a:r>
              <a:rPr lang="en-US"/>
              <a:t>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/>
              <a:t>Role</a:t>
            </a:r>
          </a:p>
        </p:txBody>
      </p:sp>
      <p:sp>
        <p:nvSpPr>
          <p:cNvPr id="48" name="Picture Placeholder 3">
            <a:extLst>
              <a:ext uri="{FF2B5EF4-FFF2-40B4-BE49-F238E27FC236}">
                <a16:creationId xmlns:a16="http://schemas.microsoft.com/office/drawing/2014/main" id="{914A31DD-59CB-48C9-9C28-954E6B85C62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270644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spcBef>
                <a:spcPts val="0"/>
              </a:spcBef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cxnSp>
        <p:nvCxnSpPr>
          <p:cNvPr id="55" name="Straight Connector 3">
            <a:extLst>
              <a:ext uri="{FF2B5EF4-FFF2-40B4-BE49-F238E27FC236}">
                <a16:creationId xmlns:a16="http://schemas.microsoft.com/office/drawing/2014/main" id="{073483C0-79C0-4141-9CB1-0BA663E254D0}"/>
              </a:ext>
            </a:extLst>
          </p:cNvPr>
          <p:cNvCxnSpPr>
            <a:cxnSpLocks/>
          </p:cNvCxnSpPr>
          <p:nvPr userDrawn="1"/>
        </p:nvCxnSpPr>
        <p:spPr>
          <a:xfrm>
            <a:off x="8270644" y="2633001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 Placeholder 3">
            <a:extLst>
              <a:ext uri="{FF2B5EF4-FFF2-40B4-BE49-F238E27FC236}">
                <a16:creationId xmlns:a16="http://schemas.microsoft.com/office/drawing/2014/main" id="{66A0D763-27FE-421C-A5D9-19A08FC2D8D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70643" y="2786552"/>
            <a:ext cx="1591200" cy="684290"/>
          </a:xfrm>
        </p:spPr>
        <p:txBody>
          <a:bodyPr>
            <a:sp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</a:t>
            </a:r>
            <a:br>
              <a:rPr lang="en-US"/>
            </a:br>
            <a:r>
              <a:rPr lang="en-US"/>
              <a:t>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/>
              <a:t>Role</a:t>
            </a:r>
          </a:p>
        </p:txBody>
      </p:sp>
      <p:sp>
        <p:nvSpPr>
          <p:cNvPr id="47" name="Picture Placeholder 4">
            <a:extLst>
              <a:ext uri="{FF2B5EF4-FFF2-40B4-BE49-F238E27FC236}">
                <a16:creationId xmlns:a16="http://schemas.microsoft.com/office/drawing/2014/main" id="{F8BABECB-6F2D-4068-AEE6-A603DAA72EF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213558" y="1295233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spcBef>
                <a:spcPts val="0"/>
              </a:spcBef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cxnSp>
        <p:nvCxnSpPr>
          <p:cNvPr id="56" name="Straight Connector 4">
            <a:extLst>
              <a:ext uri="{FF2B5EF4-FFF2-40B4-BE49-F238E27FC236}">
                <a16:creationId xmlns:a16="http://schemas.microsoft.com/office/drawing/2014/main" id="{E4A17C9C-D115-468F-86DD-CDE522721719}"/>
              </a:ext>
            </a:extLst>
          </p:cNvPr>
          <p:cNvCxnSpPr>
            <a:cxnSpLocks/>
          </p:cNvCxnSpPr>
          <p:nvPr userDrawn="1"/>
        </p:nvCxnSpPr>
        <p:spPr>
          <a:xfrm>
            <a:off x="10213558" y="2633001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Text Placeholder 4">
            <a:extLst>
              <a:ext uri="{FF2B5EF4-FFF2-40B4-BE49-F238E27FC236}">
                <a16:creationId xmlns:a16="http://schemas.microsoft.com/office/drawing/2014/main" id="{43E52046-A5DE-47E3-A9A3-ADD4F6DB823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13558" y="2786552"/>
            <a:ext cx="1591200" cy="684290"/>
          </a:xfrm>
        </p:spPr>
        <p:txBody>
          <a:bodyPr>
            <a:sp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</a:t>
            </a:r>
            <a:br>
              <a:rPr lang="en-US"/>
            </a:br>
            <a:r>
              <a:rPr lang="en-US"/>
              <a:t>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/>
              <a:t>Role</a:t>
            </a:r>
          </a:p>
        </p:txBody>
      </p:sp>
      <p:sp>
        <p:nvSpPr>
          <p:cNvPr id="32" name="Picture Placeholder 5">
            <a:extLst>
              <a:ext uri="{FF2B5EF4-FFF2-40B4-BE49-F238E27FC236}">
                <a16:creationId xmlns:a16="http://schemas.microsoft.com/office/drawing/2014/main" id="{BA696AEF-3D6B-2E4A-853E-8A8760E58D09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4325822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spcBef>
                <a:spcPts val="0"/>
              </a:spcBef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cxnSp>
        <p:nvCxnSpPr>
          <p:cNvPr id="36" name="Straight Connector 5">
            <a:extLst>
              <a:ext uri="{FF2B5EF4-FFF2-40B4-BE49-F238E27FC236}">
                <a16:creationId xmlns:a16="http://schemas.microsoft.com/office/drawing/2014/main" id="{4AEBC920-4A06-1844-A297-04C9B4995EA2}"/>
              </a:ext>
            </a:extLst>
          </p:cNvPr>
          <p:cNvCxnSpPr>
            <a:cxnSpLocks/>
          </p:cNvCxnSpPr>
          <p:nvPr userDrawn="1"/>
        </p:nvCxnSpPr>
        <p:spPr>
          <a:xfrm>
            <a:off x="4325822" y="5179929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 Placeholder 5">
            <a:extLst>
              <a:ext uri="{FF2B5EF4-FFF2-40B4-BE49-F238E27FC236}">
                <a16:creationId xmlns:a16="http://schemas.microsoft.com/office/drawing/2014/main" id="{CDFBCAAC-9CA0-5A4E-8684-A49AAB0BA65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320089" y="5333480"/>
            <a:ext cx="1587680" cy="684290"/>
          </a:xfrm>
        </p:spPr>
        <p:txBody>
          <a:bodyPr>
            <a:sp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</a:t>
            </a:r>
            <a:br>
              <a:rPr lang="en-US"/>
            </a:br>
            <a:r>
              <a:rPr lang="en-US"/>
              <a:t>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/>
              <a:t>Role</a:t>
            </a:r>
          </a:p>
        </p:txBody>
      </p:sp>
      <p:sp>
        <p:nvSpPr>
          <p:cNvPr id="33" name="Picture Placeholder 6">
            <a:extLst>
              <a:ext uri="{FF2B5EF4-FFF2-40B4-BE49-F238E27FC236}">
                <a16:creationId xmlns:a16="http://schemas.microsoft.com/office/drawing/2014/main" id="{05B98E7F-7333-A04B-94D4-281325401EF4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6298233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spcBef>
                <a:spcPts val="0"/>
              </a:spcBef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cxnSp>
        <p:nvCxnSpPr>
          <p:cNvPr id="37" name="Straight Connector 6">
            <a:extLst>
              <a:ext uri="{FF2B5EF4-FFF2-40B4-BE49-F238E27FC236}">
                <a16:creationId xmlns:a16="http://schemas.microsoft.com/office/drawing/2014/main" id="{E8D916B0-6C7A-FE46-ADE6-48744F6FD90A}"/>
              </a:ext>
            </a:extLst>
          </p:cNvPr>
          <p:cNvCxnSpPr>
            <a:cxnSpLocks/>
          </p:cNvCxnSpPr>
          <p:nvPr userDrawn="1"/>
        </p:nvCxnSpPr>
        <p:spPr>
          <a:xfrm>
            <a:off x="6298233" y="5179929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0C025F6B-BD75-0A4C-87E1-147D69F7C5B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288400" y="5333480"/>
            <a:ext cx="1587600" cy="684290"/>
          </a:xfrm>
        </p:spPr>
        <p:txBody>
          <a:bodyPr>
            <a:sp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</a:t>
            </a:r>
            <a:br>
              <a:rPr lang="en-US"/>
            </a:br>
            <a:r>
              <a:rPr lang="en-US"/>
              <a:t>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/>
              <a:t>Role</a:t>
            </a:r>
          </a:p>
        </p:txBody>
      </p:sp>
      <p:sp>
        <p:nvSpPr>
          <p:cNvPr id="35" name="Picture Placeholder 7">
            <a:extLst>
              <a:ext uri="{FF2B5EF4-FFF2-40B4-BE49-F238E27FC236}">
                <a16:creationId xmlns:a16="http://schemas.microsoft.com/office/drawing/2014/main" id="{AAA6B0A5-6A50-1640-8F39-F8AC766655FE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8270644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spcBef>
                <a:spcPts val="0"/>
              </a:spcBef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cxnSp>
        <p:nvCxnSpPr>
          <p:cNvPr id="38" name="Straight Connector 7">
            <a:extLst>
              <a:ext uri="{FF2B5EF4-FFF2-40B4-BE49-F238E27FC236}">
                <a16:creationId xmlns:a16="http://schemas.microsoft.com/office/drawing/2014/main" id="{AA86475A-7CFD-8340-A566-4FB21E689F0A}"/>
              </a:ext>
            </a:extLst>
          </p:cNvPr>
          <p:cNvCxnSpPr>
            <a:cxnSpLocks/>
          </p:cNvCxnSpPr>
          <p:nvPr userDrawn="1"/>
        </p:nvCxnSpPr>
        <p:spPr>
          <a:xfrm>
            <a:off x="8270644" y="5179929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 Placeholder 7">
            <a:extLst>
              <a:ext uri="{FF2B5EF4-FFF2-40B4-BE49-F238E27FC236}">
                <a16:creationId xmlns:a16="http://schemas.microsoft.com/office/drawing/2014/main" id="{A9CB5A73-2496-3841-A61A-1965B0A6AD13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250979" y="5333480"/>
            <a:ext cx="1587600" cy="684290"/>
          </a:xfrm>
        </p:spPr>
        <p:txBody>
          <a:bodyPr>
            <a:sp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</a:t>
            </a:r>
            <a:br>
              <a:rPr lang="en-US"/>
            </a:br>
            <a:r>
              <a:rPr lang="en-US"/>
              <a:t>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/>
              <a:t>Role</a:t>
            </a:r>
          </a:p>
        </p:txBody>
      </p:sp>
      <p:sp>
        <p:nvSpPr>
          <p:cNvPr id="34" name="Picture Placeholder 8">
            <a:extLst>
              <a:ext uri="{FF2B5EF4-FFF2-40B4-BE49-F238E27FC236}">
                <a16:creationId xmlns:a16="http://schemas.microsoft.com/office/drawing/2014/main" id="{B99C455B-37CC-4E44-8046-56AF81C16361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0213558" y="3842161"/>
            <a:ext cx="1186945" cy="118694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>
              <a:spcBef>
                <a:spcPts val="0"/>
              </a:spcBef>
              <a:buNone/>
              <a:defRPr lang="en-US" sz="1800" b="0" dirty="0">
                <a:latin typeface="+mn-lt"/>
              </a:defRPr>
            </a:lvl1pPr>
          </a:lstStyle>
          <a:p>
            <a:pPr lvl="0"/>
            <a:r>
              <a:rPr lang="en-GB"/>
              <a:t>Add profile photo</a:t>
            </a:r>
            <a:endParaRPr lang="en-US"/>
          </a:p>
        </p:txBody>
      </p:sp>
      <p:cxnSp>
        <p:nvCxnSpPr>
          <p:cNvPr id="39" name="Straight Connector 8">
            <a:extLst>
              <a:ext uri="{FF2B5EF4-FFF2-40B4-BE49-F238E27FC236}">
                <a16:creationId xmlns:a16="http://schemas.microsoft.com/office/drawing/2014/main" id="{379DFD2D-5360-2342-829B-32DDEB7EBEB1}"/>
              </a:ext>
            </a:extLst>
          </p:cNvPr>
          <p:cNvCxnSpPr>
            <a:cxnSpLocks/>
          </p:cNvCxnSpPr>
          <p:nvPr userDrawn="1"/>
        </p:nvCxnSpPr>
        <p:spPr>
          <a:xfrm>
            <a:off x="10213558" y="5179929"/>
            <a:ext cx="352387" cy="1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886F547A-67CA-C749-B9EA-AA1142C31543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0213558" y="5333480"/>
            <a:ext cx="1587600" cy="684290"/>
          </a:xfrm>
        </p:spPr>
        <p:txBody>
          <a:bodyPr>
            <a:sp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latin typeface="GT Sectra Fine Rg" panose="00000500000000000000" pitchFamily="50" charset="0"/>
              </a:defRPr>
            </a:lvl1pPr>
            <a:lvl2pPr marL="0" indent="0">
              <a:spcAft>
                <a:spcPts val="200"/>
              </a:spcAft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>
              <a:spcAft>
                <a:spcPts val="600"/>
              </a:spcAft>
              <a:buNone/>
              <a:defRPr sz="1200"/>
            </a:lvl3pPr>
            <a:lvl4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2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First name  </a:t>
            </a:r>
            <a:br>
              <a:rPr lang="en-US"/>
            </a:br>
            <a:r>
              <a:rPr lang="en-US"/>
              <a:t>Last name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Graphik" panose="020B0503030202060203" pitchFamily="34" charset="0"/>
              <a:buNone/>
            </a:pPr>
            <a:r>
              <a:rPr lang="en-US"/>
              <a:t>Role</a:t>
            </a:r>
          </a:p>
        </p:txBody>
      </p:sp>
      <p:sp>
        <p:nvSpPr>
          <p:cNvPr id="29" name="object 3">
            <a:extLst>
              <a:ext uri="{FF2B5EF4-FFF2-40B4-BE49-F238E27FC236}">
                <a16:creationId xmlns:a16="http://schemas.microsoft.com/office/drawing/2014/main" id="{2C001CB0-63AE-4200-A81C-5E1E0772A9C2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90615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6 – w/t Intro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96BEFF5F-BE41-46E9-B9A6-5749D6010CFD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7F8EB60C-7CC2-49F0-B2EE-C81F067DE04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52B254A-FCAC-4033-9611-4350CB21A5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9200" y="637925"/>
            <a:ext cx="3204000" cy="1828193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Insert short headline max 3 lines</a:t>
            </a:r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260D776E-8513-43E0-ABE2-A5967D994FB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68599" y="2472663"/>
            <a:ext cx="3204000" cy="3569362"/>
          </a:xfrm>
        </p:spPr>
        <p:txBody>
          <a:bodyPr tIns="288000"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Subhead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1">
            <a:extLst>
              <a:ext uri="{FF2B5EF4-FFF2-40B4-BE49-F238E27FC236}">
                <a16:creationId xmlns:a16="http://schemas.microsoft.com/office/drawing/2014/main" id="{7E061C87-E253-4832-BFB5-F70B539C645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199213" y="730012"/>
            <a:ext cx="1821922" cy="1821922"/>
          </a:xfrm>
          <a:prstGeom prst="rect">
            <a:avLst/>
          </a:prstGeom>
          <a:solidFill>
            <a:schemeClr val="bg2"/>
          </a:solidFill>
        </p:spPr>
        <p:txBody>
          <a:bodyPr lIns="0" tIns="108000" rIns="0"/>
          <a:lstStyle>
            <a:lvl1pPr algn="ctr">
              <a:defRPr sz="1400">
                <a:latin typeface="+mn-lt"/>
              </a:defRPr>
            </a:lvl1pPr>
          </a:lstStyle>
          <a:p>
            <a:r>
              <a:rPr lang="en-AU"/>
              <a:t>Insert picture here</a:t>
            </a:r>
          </a:p>
        </p:txBody>
      </p:sp>
      <p:sp>
        <p:nvSpPr>
          <p:cNvPr id="7" name="Name 1">
            <a:extLst>
              <a:ext uri="{FF2B5EF4-FFF2-40B4-BE49-F238E27FC236}">
                <a16:creationId xmlns:a16="http://schemas.microsoft.com/office/drawing/2014/main" id="{4C89BF02-2BFC-45E8-AF7F-422AA401453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940174" y="2575040"/>
            <a:ext cx="2340000" cy="612269"/>
          </a:xfrm>
        </p:spPr>
        <p:txBody>
          <a:bodyPr wrap="square" tIns="108000">
            <a:spAutoFit/>
          </a:bodyPr>
          <a:lstStyle>
            <a:lvl1pPr algn="ctr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defRPr sz="1800">
                <a:latin typeface="GT Sectra Fine Rg" panose="00000500000000000000" pitchFamily="50" charset="0"/>
              </a:defRPr>
            </a:lvl1pPr>
            <a:lvl2pPr algn="ctr">
              <a:spcBef>
                <a:spcPts val="0"/>
              </a:spcBef>
              <a:defRPr sz="1400"/>
            </a:lvl2pPr>
          </a:lstStyle>
          <a:p>
            <a:pPr lvl="0"/>
            <a:r>
              <a:rPr lang="en-US"/>
              <a:t>Full name</a:t>
            </a:r>
          </a:p>
          <a:p>
            <a:pPr lvl="1"/>
            <a:r>
              <a:rPr lang="en-US"/>
              <a:t>Job title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3D736B21-FEC6-4C48-8E5F-B3E9F8FC16B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963833" y="730012"/>
            <a:ext cx="1821922" cy="1821922"/>
          </a:xfrm>
          <a:prstGeom prst="rect">
            <a:avLst/>
          </a:prstGeom>
          <a:solidFill>
            <a:schemeClr val="bg2"/>
          </a:solidFill>
        </p:spPr>
        <p:txBody>
          <a:bodyPr lIns="0" tIns="108000" rIns="0"/>
          <a:lstStyle>
            <a:lvl1pPr algn="ctr">
              <a:defRPr sz="1400">
                <a:latin typeface="+mn-lt"/>
              </a:defRPr>
            </a:lvl1pPr>
          </a:lstStyle>
          <a:p>
            <a:r>
              <a:rPr lang="en-AU"/>
              <a:t>Insert picture here</a:t>
            </a:r>
          </a:p>
        </p:txBody>
      </p:sp>
      <p:sp>
        <p:nvSpPr>
          <p:cNvPr id="30" name="Name 2">
            <a:extLst>
              <a:ext uri="{FF2B5EF4-FFF2-40B4-BE49-F238E27FC236}">
                <a16:creationId xmlns:a16="http://schemas.microsoft.com/office/drawing/2014/main" id="{2F3F4F2A-E576-472F-8F44-42EDCA8D343C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704794" y="2575040"/>
            <a:ext cx="2340000" cy="612269"/>
          </a:xfrm>
        </p:spPr>
        <p:txBody>
          <a:bodyPr wrap="square" tIns="108000">
            <a:spAutoFit/>
          </a:bodyPr>
          <a:lstStyle>
            <a:lvl1pPr algn="ctr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defRPr sz="1800">
                <a:latin typeface="GT Sectra Fine Rg" panose="00000500000000000000" pitchFamily="50" charset="0"/>
              </a:defRPr>
            </a:lvl1pPr>
            <a:lvl2pPr algn="ctr">
              <a:spcBef>
                <a:spcPts val="0"/>
              </a:spcBef>
              <a:defRPr sz="1400"/>
            </a:lvl2pPr>
          </a:lstStyle>
          <a:p>
            <a:pPr lvl="0"/>
            <a:r>
              <a:rPr lang="en-US"/>
              <a:t>Full name</a:t>
            </a:r>
          </a:p>
          <a:p>
            <a:pPr lvl="1"/>
            <a:r>
              <a:rPr lang="en-US"/>
              <a:t>Job title</a:t>
            </a:r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11A794C-A816-487F-9059-D501237AC83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728452" y="730012"/>
            <a:ext cx="1821922" cy="1821922"/>
          </a:xfrm>
          <a:prstGeom prst="rect">
            <a:avLst/>
          </a:prstGeom>
          <a:solidFill>
            <a:schemeClr val="bg2"/>
          </a:solidFill>
        </p:spPr>
        <p:txBody>
          <a:bodyPr lIns="0" tIns="108000" rIns="0"/>
          <a:lstStyle>
            <a:lvl1pPr algn="ctr">
              <a:defRPr sz="1400">
                <a:latin typeface="+mn-lt"/>
              </a:defRPr>
            </a:lvl1pPr>
          </a:lstStyle>
          <a:p>
            <a:r>
              <a:rPr lang="en-AU"/>
              <a:t>Insert picture here</a:t>
            </a:r>
          </a:p>
        </p:txBody>
      </p:sp>
      <p:sp>
        <p:nvSpPr>
          <p:cNvPr id="31" name="Name 3">
            <a:extLst>
              <a:ext uri="{FF2B5EF4-FFF2-40B4-BE49-F238E27FC236}">
                <a16:creationId xmlns:a16="http://schemas.microsoft.com/office/drawing/2014/main" id="{E97B9468-0B77-4066-9630-483BFA5C7B71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469413" y="2575040"/>
            <a:ext cx="2340000" cy="612269"/>
          </a:xfrm>
        </p:spPr>
        <p:txBody>
          <a:bodyPr wrap="square" tIns="108000">
            <a:spAutoFit/>
          </a:bodyPr>
          <a:lstStyle>
            <a:lvl1pPr algn="ctr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defRPr sz="1800">
                <a:latin typeface="GT Sectra Fine Rg" panose="00000500000000000000" pitchFamily="50" charset="0"/>
              </a:defRPr>
            </a:lvl1pPr>
            <a:lvl2pPr algn="ctr">
              <a:spcBef>
                <a:spcPts val="0"/>
              </a:spcBef>
              <a:defRPr sz="1400"/>
            </a:lvl2pPr>
          </a:lstStyle>
          <a:p>
            <a:pPr lvl="0"/>
            <a:r>
              <a:rPr lang="en-US"/>
              <a:t>Full name</a:t>
            </a:r>
          </a:p>
          <a:p>
            <a:pPr lvl="1"/>
            <a:r>
              <a:rPr lang="en-US"/>
              <a:t>Job title</a:t>
            </a:r>
          </a:p>
        </p:txBody>
      </p:sp>
      <p:sp>
        <p:nvSpPr>
          <p:cNvPr id="13" name="Picture Placeholder 4">
            <a:extLst>
              <a:ext uri="{FF2B5EF4-FFF2-40B4-BE49-F238E27FC236}">
                <a16:creationId xmlns:a16="http://schemas.microsoft.com/office/drawing/2014/main" id="{DE110EF0-57DB-4950-8ED4-8D41124F868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199213" y="3607834"/>
            <a:ext cx="1821922" cy="1821922"/>
          </a:xfrm>
          <a:prstGeom prst="rect">
            <a:avLst/>
          </a:prstGeom>
          <a:solidFill>
            <a:schemeClr val="bg2"/>
          </a:solidFill>
        </p:spPr>
        <p:txBody>
          <a:bodyPr lIns="0" tIns="108000" rIns="0"/>
          <a:lstStyle>
            <a:lvl1pPr algn="ctr">
              <a:defRPr sz="1400">
                <a:latin typeface="+mn-lt"/>
              </a:defRPr>
            </a:lvl1pPr>
          </a:lstStyle>
          <a:p>
            <a:r>
              <a:rPr lang="en-AU"/>
              <a:t>Insert picture here</a:t>
            </a:r>
          </a:p>
        </p:txBody>
      </p:sp>
      <p:sp>
        <p:nvSpPr>
          <p:cNvPr id="32" name="Name 4">
            <a:extLst>
              <a:ext uri="{FF2B5EF4-FFF2-40B4-BE49-F238E27FC236}">
                <a16:creationId xmlns:a16="http://schemas.microsoft.com/office/drawing/2014/main" id="{EB025BB3-A63D-43F5-9B5C-E656529B0C0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940174" y="5457600"/>
            <a:ext cx="2340000" cy="612269"/>
          </a:xfrm>
        </p:spPr>
        <p:txBody>
          <a:bodyPr wrap="square" tIns="108000">
            <a:spAutoFit/>
          </a:bodyPr>
          <a:lstStyle>
            <a:lvl1pPr algn="ctr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defRPr sz="1800">
                <a:latin typeface="GT Sectra Fine Rg" panose="00000500000000000000" pitchFamily="50" charset="0"/>
              </a:defRPr>
            </a:lvl1pPr>
            <a:lvl2pPr algn="ctr">
              <a:spcBef>
                <a:spcPts val="0"/>
              </a:spcBef>
              <a:defRPr sz="1400"/>
            </a:lvl2pPr>
          </a:lstStyle>
          <a:p>
            <a:pPr lvl="0"/>
            <a:r>
              <a:rPr lang="en-US"/>
              <a:t>Full name</a:t>
            </a:r>
          </a:p>
          <a:p>
            <a:pPr lvl="1"/>
            <a:r>
              <a:rPr lang="en-US"/>
              <a:t>Job title</a:t>
            </a:r>
          </a:p>
        </p:txBody>
      </p:sp>
      <p:sp>
        <p:nvSpPr>
          <p:cNvPr id="14" name="Picture Placeholder 5">
            <a:extLst>
              <a:ext uri="{FF2B5EF4-FFF2-40B4-BE49-F238E27FC236}">
                <a16:creationId xmlns:a16="http://schemas.microsoft.com/office/drawing/2014/main" id="{BA3B997E-F659-433E-86F4-4B27FA9774B3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963833" y="3607834"/>
            <a:ext cx="1821922" cy="1821922"/>
          </a:xfrm>
          <a:prstGeom prst="rect">
            <a:avLst/>
          </a:prstGeom>
          <a:solidFill>
            <a:schemeClr val="bg2"/>
          </a:solidFill>
        </p:spPr>
        <p:txBody>
          <a:bodyPr lIns="0" tIns="108000" rIns="0"/>
          <a:lstStyle>
            <a:lvl1pPr algn="ctr">
              <a:defRPr sz="1400">
                <a:latin typeface="+mn-lt"/>
              </a:defRPr>
            </a:lvl1pPr>
          </a:lstStyle>
          <a:p>
            <a:r>
              <a:rPr lang="en-AU"/>
              <a:t>Insert picture here</a:t>
            </a:r>
          </a:p>
        </p:txBody>
      </p:sp>
      <p:sp>
        <p:nvSpPr>
          <p:cNvPr id="33" name="Name 5">
            <a:extLst>
              <a:ext uri="{FF2B5EF4-FFF2-40B4-BE49-F238E27FC236}">
                <a16:creationId xmlns:a16="http://schemas.microsoft.com/office/drawing/2014/main" id="{23885C50-697E-4230-8ADD-6C93D4095655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704794" y="5457600"/>
            <a:ext cx="2340000" cy="612269"/>
          </a:xfrm>
        </p:spPr>
        <p:txBody>
          <a:bodyPr wrap="square" tIns="108000">
            <a:spAutoFit/>
          </a:bodyPr>
          <a:lstStyle>
            <a:lvl1pPr algn="ctr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defRPr sz="1800">
                <a:latin typeface="GT Sectra Fine Rg" panose="00000500000000000000" pitchFamily="50" charset="0"/>
              </a:defRPr>
            </a:lvl1pPr>
            <a:lvl2pPr algn="ctr">
              <a:spcBef>
                <a:spcPts val="0"/>
              </a:spcBef>
              <a:defRPr sz="1400"/>
            </a:lvl2pPr>
          </a:lstStyle>
          <a:p>
            <a:pPr lvl="0"/>
            <a:r>
              <a:rPr lang="en-US"/>
              <a:t>Full name</a:t>
            </a:r>
          </a:p>
          <a:p>
            <a:pPr lvl="1"/>
            <a:r>
              <a:rPr lang="en-US"/>
              <a:t>Job title</a:t>
            </a:r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E2B60B8D-759C-4307-8E36-9168B4188844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9728452" y="3607834"/>
            <a:ext cx="1821922" cy="1821922"/>
          </a:xfrm>
          <a:prstGeom prst="rect">
            <a:avLst/>
          </a:prstGeom>
          <a:solidFill>
            <a:schemeClr val="bg2"/>
          </a:solidFill>
        </p:spPr>
        <p:txBody>
          <a:bodyPr lIns="0" tIns="108000" rIns="0"/>
          <a:lstStyle>
            <a:lvl1pPr algn="ctr">
              <a:defRPr sz="1400">
                <a:latin typeface="+mn-lt"/>
              </a:defRPr>
            </a:lvl1pPr>
          </a:lstStyle>
          <a:p>
            <a:r>
              <a:rPr lang="en-AU"/>
              <a:t>Insert picture here</a:t>
            </a:r>
          </a:p>
        </p:txBody>
      </p:sp>
      <p:sp>
        <p:nvSpPr>
          <p:cNvPr id="34" name="Name 6">
            <a:extLst>
              <a:ext uri="{FF2B5EF4-FFF2-40B4-BE49-F238E27FC236}">
                <a16:creationId xmlns:a16="http://schemas.microsoft.com/office/drawing/2014/main" id="{C5FC2F77-4A71-4BE9-8004-7770B394C41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469413" y="5457600"/>
            <a:ext cx="2340000" cy="612269"/>
          </a:xfrm>
        </p:spPr>
        <p:txBody>
          <a:bodyPr wrap="square" tIns="108000">
            <a:spAutoFit/>
          </a:bodyPr>
          <a:lstStyle>
            <a:lvl1pPr algn="ctr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defRPr sz="1800">
                <a:latin typeface="GT Sectra Fine Rg" panose="00000500000000000000" pitchFamily="50" charset="0"/>
              </a:defRPr>
            </a:lvl1pPr>
            <a:lvl2pPr algn="ctr">
              <a:spcBef>
                <a:spcPts val="0"/>
              </a:spcBef>
              <a:defRPr sz="1400"/>
            </a:lvl2pPr>
          </a:lstStyle>
          <a:p>
            <a:pPr lvl="0"/>
            <a:r>
              <a:rPr lang="en-US"/>
              <a:t>Full name</a:t>
            </a:r>
          </a:p>
          <a:p>
            <a:pPr lvl="1"/>
            <a:r>
              <a:rPr lang="en-US"/>
              <a:t>Job title</a:t>
            </a:r>
          </a:p>
        </p:txBody>
      </p:sp>
      <p:sp>
        <p:nvSpPr>
          <p:cNvPr id="17" name="object 3">
            <a:extLst>
              <a:ext uri="{FF2B5EF4-FFF2-40B4-BE49-F238E27FC236}">
                <a16:creationId xmlns:a16="http://schemas.microsoft.com/office/drawing/2014/main" id="{4596A28D-12CB-479E-ABE0-75817A562654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8258187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+ Portrai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5C0A989-7779-CB60-E3E7-C388E1482A36}"/>
              </a:ext>
            </a:extLst>
          </p:cNvPr>
          <p:cNvSpPr/>
          <p:nvPr userDrawn="1"/>
        </p:nvSpPr>
        <p:spPr>
          <a:xfrm>
            <a:off x="7066596" y="937954"/>
            <a:ext cx="4190998" cy="4976446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70000">
                <a:schemeClr val="accent3"/>
              </a:gs>
              <a:gs pos="100000">
                <a:schemeClr val="accent5"/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46BBFC4-E003-424D-8454-CDB96BA809F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7F8EB60C-7CC2-49F0-B2EE-C81F067DE04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74161" y="1593669"/>
            <a:ext cx="4952999" cy="3277976"/>
          </a:xfrm>
        </p:spPr>
        <p:txBody>
          <a:bodyPr anchor="ctr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Place quote or key message here</a:t>
            </a:r>
          </a:p>
        </p:txBody>
      </p:sp>
      <p:sp>
        <p:nvSpPr>
          <p:cNvPr id="12" name="Picture Placeholder 18">
            <a:extLst>
              <a:ext uri="{FF2B5EF4-FFF2-40B4-BE49-F238E27FC236}">
                <a16:creationId xmlns:a16="http://schemas.microsoft.com/office/drawing/2014/main" id="{3996D868-07E7-4C6F-B00B-4026C634BA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87818" y="744434"/>
            <a:ext cx="4190998" cy="4976446"/>
          </a:xfrm>
          <a:solidFill>
            <a:schemeClr val="bg1">
              <a:lumMod val="95000"/>
            </a:schemeClr>
          </a:solidFill>
        </p:spPr>
        <p:txBody>
          <a:bodyPr tIns="274320" bIns="274320" anchor="ctr"/>
          <a:lstStyle>
            <a:lvl1pPr marL="0" indent="0" algn="ctr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/>
              <a:t>Add image</a:t>
            </a:r>
            <a:endParaRPr lang="en-US"/>
          </a:p>
        </p:txBody>
      </p:sp>
      <p:sp>
        <p:nvSpPr>
          <p:cNvPr id="6" name="object 3">
            <a:extLst>
              <a:ext uri="{FF2B5EF4-FFF2-40B4-BE49-F238E27FC236}">
                <a16:creationId xmlns:a16="http://schemas.microsoft.com/office/drawing/2014/main" id="{53D21F24-15A2-48B7-A93E-8E7C7C468A21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4840118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7AA6D93-92FF-400D-8AF3-C5AC33611540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6284912" y="0"/>
            <a:ext cx="5907087" cy="6857999"/>
          </a:xfrm>
          <a:solidFill>
            <a:schemeClr val="bg2"/>
          </a:solidFill>
        </p:spPr>
        <p:txBody>
          <a:bodyPr tIns="1080000" anchor="t" anchorCtr="0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lang="en-US" sz="14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>
              <a:spcBef>
                <a:spcPts val="0"/>
              </a:spcBef>
            </a:pPr>
            <a:r>
              <a:rPr lang="en-CA"/>
              <a:t>Click on the icon or drag image </a:t>
            </a:r>
            <a:br>
              <a:rPr lang="en-CA"/>
            </a:br>
            <a:r>
              <a:rPr lang="en-CA"/>
              <a:t>to insert an image 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96AB94B-1F41-4C4C-831E-4D92BAF5544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>
                    <a:alpha val="65000"/>
                  </a:schemeClr>
                </a:solidFill>
              </a:defRPr>
            </a:lvl1pPr>
          </a:lstStyle>
          <a:p>
            <a:fld id="{7F8EB60C-7CC2-49F0-B2EE-C81F067DE04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BB929FF-38D9-4792-A56F-C1810627FF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1652359"/>
            <a:ext cx="5225142" cy="997196"/>
          </a:xfrm>
        </p:spPr>
        <p:txBody>
          <a:bodyPr anchor="b"/>
          <a:lstStyle>
            <a:lvl1pPr>
              <a:defRPr sz="3600"/>
            </a:lvl1pPr>
          </a:lstStyle>
          <a:p>
            <a:r>
              <a:rPr lang="en-US"/>
              <a:t>Place headline here (minimum 28 pt)</a:t>
            </a:r>
          </a:p>
        </p:txBody>
      </p:sp>
      <p:sp>
        <p:nvSpPr>
          <p:cNvPr id="15" name="Text Placeholder 1">
            <a:extLst>
              <a:ext uri="{FF2B5EF4-FFF2-40B4-BE49-F238E27FC236}">
                <a16:creationId xmlns:a16="http://schemas.microsoft.com/office/drawing/2014/main" id="{A27BE519-6A5B-4320-BE53-57885A77991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2869189"/>
            <a:ext cx="5225142" cy="3172835"/>
          </a:xfrm>
        </p:spPr>
        <p:txBody>
          <a:bodyPr/>
          <a:lstStyle>
            <a:lvl1pPr marL="0" indent="0">
              <a:buNone/>
              <a:defRPr sz="2400">
                <a:solidFill>
                  <a:schemeClr val="accent2"/>
                </a:solidFill>
                <a:latin typeface="Arial Nova Light" panose="020B0304020202020204" pitchFamily="34" charset="0"/>
              </a:defRPr>
            </a:lvl1pPr>
            <a:lvl2pPr marL="0" indent="0">
              <a:buNone/>
              <a:defRPr sz="1800"/>
            </a:lvl2pPr>
            <a:lvl3pPr marL="228600">
              <a:buFont typeface="Arial" panose="020B0604020202020204" pitchFamily="34" charset="0"/>
              <a:buChar char="•"/>
              <a:defRPr sz="1800"/>
            </a:lvl3pPr>
            <a:lvl4pPr marL="457200">
              <a:buFont typeface="System Font"/>
              <a:buChar char="–"/>
              <a:defRPr sz="1600"/>
            </a:lvl4pPr>
            <a:lvl5pPr marL="685800">
              <a:buFont typeface="Arial" panose="020B0604020202020204" pitchFamily="34" charset="0"/>
              <a:buChar char="•"/>
              <a:defRPr sz="1600"/>
            </a:lvl5pPr>
          </a:lstStyle>
          <a:p>
            <a:pPr lvl="0"/>
            <a:r>
              <a:rPr lang="en-US"/>
              <a:t>Place sub-headline here, indent for other levels</a:t>
            </a:r>
          </a:p>
          <a:p>
            <a:pPr lvl="1"/>
            <a:r>
              <a:rPr lang="en-US"/>
              <a:t>Second level (text 18pt)</a:t>
            </a:r>
          </a:p>
          <a:p>
            <a:pPr lvl="2"/>
            <a:r>
              <a:rPr lang="en-US"/>
              <a:t>Third level bullet (bullet 18pt)</a:t>
            </a:r>
          </a:p>
          <a:p>
            <a:pPr lvl="3"/>
            <a:r>
              <a:rPr lang="en-US"/>
              <a:t>Fourth level bullet (bullet 16pt)</a:t>
            </a:r>
          </a:p>
          <a:p>
            <a:pPr lvl="4"/>
            <a:r>
              <a:rPr lang="en-US"/>
              <a:t>Fifth level bullet (bullet 16pt)</a:t>
            </a:r>
          </a:p>
        </p:txBody>
      </p:sp>
      <p:sp>
        <p:nvSpPr>
          <p:cNvPr id="8" name="object 3">
            <a:extLst>
              <a:ext uri="{FF2B5EF4-FFF2-40B4-BE49-F238E27FC236}">
                <a16:creationId xmlns:a16="http://schemas.microsoft.com/office/drawing/2014/main" id="{3BDA0BFB-31AF-493F-A505-0D0261ED1650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5FFE5AFC-B55F-4106-809D-785CEB5FC6F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39084" y="6432376"/>
            <a:ext cx="1311547" cy="228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6047346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and Image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ottom black rectangle">
            <a:extLst>
              <a:ext uri="{FF2B5EF4-FFF2-40B4-BE49-F238E27FC236}">
                <a16:creationId xmlns:a16="http://schemas.microsoft.com/office/drawing/2014/main" id="{7F8DBAF1-DC97-4CAB-B174-0AAA55CCB2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6308996"/>
            <a:ext cx="12192000" cy="54864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01A913-3F9F-4975-BE7A-195F8966656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7F8EB60C-7CC2-49F0-B2EE-C81F067DE04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8" name="Picture Placeholder 35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-1"/>
            <a:ext cx="5905500" cy="6309361"/>
          </a:xfrm>
          <a:noFill/>
        </p:spPr>
        <p:txBody>
          <a:bodyPr tIns="1080000" anchor="t" anchorCtr="0"/>
          <a:lstStyle>
            <a:lvl1pPr marL="0" indent="0" algn="ctr">
              <a:buNone/>
              <a:defRPr sz="1400" b="0">
                <a:solidFill>
                  <a:schemeClr val="tx2"/>
                </a:solidFill>
                <a:latin typeface="+mn-lt"/>
              </a:defRPr>
            </a:lvl1pPr>
          </a:lstStyle>
          <a:p>
            <a:pPr lvl="0">
              <a:spcBef>
                <a:spcPts val="0"/>
              </a:spcBef>
            </a:pPr>
            <a:r>
              <a:rPr lang="en-CA"/>
              <a:t>Click on the icon or drag image </a:t>
            </a:r>
            <a:br>
              <a:rPr lang="en-CA"/>
            </a:br>
            <a:r>
              <a:rPr lang="en-CA"/>
              <a:t>to insert an image </a:t>
            </a:r>
            <a:endParaRPr lang="en-US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3B30F4D9-6AB9-4693-B1C3-C7BE8D81EC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85813" y="1652359"/>
            <a:ext cx="5223600" cy="997196"/>
          </a:xfrm>
        </p:spPr>
        <p:txBody>
          <a:bodyPr anchor="b">
            <a:spAutoFit/>
          </a:bodyPr>
          <a:lstStyle>
            <a:lvl1pPr>
              <a:defRPr sz="3600"/>
            </a:lvl1pPr>
          </a:lstStyle>
          <a:p>
            <a:r>
              <a:rPr lang="en-GB"/>
              <a:t>Place headline here (36pt, min 28pt)</a:t>
            </a:r>
            <a:endParaRPr lang="en-US"/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6EB7BC02-64C6-5A42-A5C4-F0D83DB5112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85813" y="2869189"/>
            <a:ext cx="5223600" cy="3172836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  <a:latin typeface="Arial Nova Light" panose="020B0304020202020204" pitchFamily="34" charset="0"/>
              </a:defRPr>
            </a:lvl1pPr>
            <a:lvl2pPr marL="0" indent="0">
              <a:buNone/>
              <a:defRPr sz="1800">
                <a:solidFill>
                  <a:schemeClr val="tx1"/>
                </a:solidFill>
              </a:defRPr>
            </a:lvl2pPr>
            <a:lvl3pPr marL="228600"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3pPr>
            <a:lvl4pPr marL="457200">
              <a:buFont typeface="System Font"/>
              <a:buChar char="–"/>
              <a:defRPr sz="1600">
                <a:solidFill>
                  <a:schemeClr val="tx1"/>
                </a:solidFill>
              </a:defRPr>
            </a:lvl4pPr>
            <a:lvl5pPr marL="685800"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Place sub-headline here, indent for other levels</a:t>
            </a:r>
          </a:p>
          <a:p>
            <a:pPr lvl="1"/>
            <a:r>
              <a:rPr lang="en-US"/>
              <a:t>Second level (text 18pt)</a:t>
            </a:r>
          </a:p>
          <a:p>
            <a:pPr lvl="2"/>
            <a:r>
              <a:rPr lang="en-US"/>
              <a:t>Third level bullet (bullet 18pt)</a:t>
            </a:r>
          </a:p>
          <a:p>
            <a:pPr lvl="3"/>
            <a:r>
              <a:rPr lang="en-US"/>
              <a:t>Fourth level bullet (bullet 16pt)</a:t>
            </a:r>
          </a:p>
          <a:p>
            <a:pPr lvl="4"/>
            <a:r>
              <a:rPr lang="en-US"/>
              <a:t>Fifth level bullet (bullet 16pt)</a:t>
            </a:r>
          </a:p>
        </p:txBody>
      </p:sp>
      <p:sp>
        <p:nvSpPr>
          <p:cNvPr id="9" name="object 3">
            <a:extLst>
              <a:ext uri="{FF2B5EF4-FFF2-40B4-BE49-F238E27FC236}">
                <a16:creationId xmlns:a16="http://schemas.microsoft.com/office/drawing/2014/main" id="{796E9F4E-EE0D-4D06-87D0-1E078562A375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74490B14-BE03-4E90-BB75-C3E5F78D216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39084" y="6432376"/>
            <a:ext cx="1311547" cy="228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350498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ottom black rectangle">
            <a:extLst>
              <a:ext uri="{FF2B5EF4-FFF2-40B4-BE49-F238E27FC236}">
                <a16:creationId xmlns:a16="http://schemas.microsoft.com/office/drawing/2014/main" id="{394EF33C-E010-4503-AC38-BB48E62572E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6311898"/>
            <a:ext cx="12192000" cy="546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9FBA5D0-31E2-4328-8652-3E01F6886FC8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>
          <a:xfrm>
            <a:off x="11427813" y="6480576"/>
            <a:ext cx="381600" cy="132523"/>
          </a:xfrm>
        </p:spPr>
        <p:txBody>
          <a:bodyPr/>
          <a:lstStyle>
            <a:lvl1pPr>
              <a:defRPr>
                <a:solidFill>
                  <a:schemeClr val="tx1">
                    <a:alpha val="65000"/>
                  </a:schemeClr>
                </a:solidFill>
              </a:defRPr>
            </a:lvl1pPr>
          </a:lstStyle>
          <a:p>
            <a:fld id="{7F8EB60C-7CC2-49F0-B2EE-C81F067DE041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6" name="Lines">
            <a:extLst>
              <a:ext uri="{FF2B5EF4-FFF2-40B4-BE49-F238E27FC236}">
                <a16:creationId xmlns:a16="http://schemas.microsoft.com/office/drawing/2014/main" id="{DBB73324-C59A-497E-9735-6FD793E3C22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-2"/>
            <a:ext cx="6096008" cy="6311902"/>
            <a:chOff x="0" y="-2"/>
            <a:chExt cx="6096008" cy="6311902"/>
          </a:xfrm>
        </p:grpSpPr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149C8D0A-C37D-4D9A-9703-8A0AFB18570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0" y="3155950"/>
              <a:ext cx="6096008" cy="0"/>
            </a:xfrm>
            <a:prstGeom prst="line">
              <a:avLst/>
            </a:prstGeom>
            <a:ln w="127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1BE5BBCC-C957-48B6-99B6-EF1F3E80F62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047998" y="-2"/>
              <a:ext cx="0" cy="6311902"/>
            </a:xfrm>
            <a:prstGeom prst="line">
              <a:avLst/>
            </a:prstGeom>
            <a:ln w="127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Number 1">
            <a:extLst>
              <a:ext uri="{FF2B5EF4-FFF2-40B4-BE49-F238E27FC236}">
                <a16:creationId xmlns:a16="http://schemas.microsoft.com/office/drawing/2014/main" id="{8D7539E0-EC97-4984-8CDD-85CC949BB7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1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sp>
        <p:nvSpPr>
          <p:cNvPr id="19" name="Text Placeholder 1">
            <a:extLst>
              <a:ext uri="{FF2B5EF4-FFF2-40B4-BE49-F238E27FC236}">
                <a16:creationId xmlns:a16="http://schemas.microsoft.com/office/drawing/2014/main" id="{4E1C6933-00B1-4D90-8BAD-4EE2DF68A9B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80986" y="1490071"/>
            <a:ext cx="2285996" cy="12848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spcBef>
                <a:spcPts val="600"/>
              </a:spcBef>
              <a:defRPr sz="1600">
                <a:solidFill>
                  <a:schemeClr val="bg1"/>
                </a:solidFill>
              </a:defRPr>
            </a:lvl2pPr>
            <a:lvl3pPr>
              <a:spcBef>
                <a:spcPts val="300"/>
              </a:spcBef>
              <a:defRPr sz="1600"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Stat headlin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6" name="Number 2">
            <a:extLst>
              <a:ext uri="{FF2B5EF4-FFF2-40B4-BE49-F238E27FC236}">
                <a16:creationId xmlns:a16="http://schemas.microsoft.com/office/drawing/2014/main" id="{FFC38A35-5CA3-4459-9AC5-201C715349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28992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EACD279-7AEE-4C7A-A2E2-3E020A0A203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428992" y="1490071"/>
            <a:ext cx="2285996" cy="12848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spcBef>
                <a:spcPts val="600"/>
              </a:spcBef>
              <a:defRPr sz="1600">
                <a:solidFill>
                  <a:schemeClr val="bg1"/>
                </a:solidFill>
              </a:defRPr>
            </a:lvl2pPr>
            <a:lvl3pPr>
              <a:spcBef>
                <a:spcPts val="300"/>
              </a:spcBef>
              <a:defRPr sz="1600"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Stat headlin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8" name="Number 3">
            <a:extLst>
              <a:ext uri="{FF2B5EF4-FFF2-40B4-BE49-F238E27FC236}">
                <a16:creationId xmlns:a16="http://schemas.microsoft.com/office/drawing/2014/main" id="{84A1985F-A4F6-4997-A4BD-E305CB1A47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1001" y="3536948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2E318712-A8C1-4002-A797-E93C005F613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80986" y="4657998"/>
            <a:ext cx="2285996" cy="12848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spcBef>
                <a:spcPts val="600"/>
              </a:spcBef>
              <a:defRPr sz="1600">
                <a:solidFill>
                  <a:schemeClr val="bg1"/>
                </a:solidFill>
              </a:defRPr>
            </a:lvl2pPr>
            <a:lvl3pPr>
              <a:spcBef>
                <a:spcPts val="300"/>
              </a:spcBef>
              <a:defRPr sz="1600"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Stat headlin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0" name="Number 4">
            <a:extLst>
              <a:ext uri="{FF2B5EF4-FFF2-40B4-BE49-F238E27FC236}">
                <a16:creationId xmlns:a16="http://schemas.microsoft.com/office/drawing/2014/main" id="{E5121ACC-7E33-431F-A8A1-419F515D40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28992" y="3536948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067616F1-A8AB-4604-838C-1D739A26628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428992" y="4657998"/>
            <a:ext cx="2285996" cy="12848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spcBef>
                <a:spcPts val="600"/>
              </a:spcBef>
              <a:defRPr sz="1600">
                <a:solidFill>
                  <a:schemeClr val="bg1"/>
                </a:solidFill>
              </a:defRPr>
            </a:lvl2pPr>
            <a:lvl3pPr>
              <a:spcBef>
                <a:spcPts val="300"/>
              </a:spcBef>
              <a:defRPr sz="1600"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Stat headlin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8" name="Picture Placeholder 1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5992" y="-2"/>
            <a:ext cx="6096008" cy="6311900"/>
          </a:xfrm>
          <a:solidFill>
            <a:schemeClr val="tx2"/>
          </a:solidFill>
        </p:spPr>
        <p:txBody>
          <a:bodyPr tIns="1080000" anchor="t" anchorCtr="0"/>
          <a:lstStyle>
            <a:lvl1pPr marL="0" indent="0" algn="ctr">
              <a:spcBef>
                <a:spcPts val="0"/>
              </a:spcBef>
              <a:buNone/>
              <a:defRPr sz="1400" b="0">
                <a:solidFill>
                  <a:schemeClr val="bg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pPr lvl="0">
              <a:spcBef>
                <a:spcPts val="0"/>
              </a:spcBef>
            </a:pPr>
            <a:r>
              <a:rPr lang="en-CA"/>
              <a:t>Click on the icon or drag image </a:t>
            </a:r>
            <a:br>
              <a:rPr lang="en-CA"/>
            </a:br>
            <a:r>
              <a:rPr lang="en-CA"/>
              <a:t>to insert an image </a:t>
            </a:r>
            <a:endParaRPr lang="en-US"/>
          </a:p>
        </p:txBody>
      </p:sp>
      <p:sp>
        <p:nvSpPr>
          <p:cNvPr id="18" name="object 3">
            <a:extLst>
              <a:ext uri="{FF2B5EF4-FFF2-40B4-BE49-F238E27FC236}">
                <a16:creationId xmlns:a16="http://schemas.microsoft.com/office/drawing/2014/main" id="{207DCA0B-66E4-4542-82A5-C2B4063D6769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B3718B3B-CD36-4CAA-A208-149704F21A9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39084" y="6432376"/>
            <a:ext cx="1311547" cy="228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65620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" orient="horz" pos="1979">
          <p15:clr>
            <a:srgbClr val="5ACBF0"/>
          </p15:clr>
        </p15:guide>
      </p15:sldGuideLst>
    </p:ext>
  </p:extLs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ottom purple rectangle">
            <a:extLst>
              <a:ext uri="{FF2B5EF4-FFF2-40B4-BE49-F238E27FC236}">
                <a16:creationId xmlns:a16="http://schemas.microsoft.com/office/drawing/2014/main" id="{7F8DBAF1-DC97-4CAB-B174-0AAA55CCB2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6311900"/>
            <a:ext cx="12192000" cy="546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B5E1666-E302-4B21-BC93-78093E95F817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65000"/>
                  </a:schemeClr>
                </a:solidFill>
              </a:defRPr>
            </a:lvl1pPr>
          </a:lstStyle>
          <a:p>
            <a:fld id="{7F8EB60C-7CC2-49F0-B2EE-C81F067DE04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3CA812E-2286-4EEF-A561-7833A483A5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8941" y="1011351"/>
            <a:ext cx="5453548" cy="1107996"/>
          </a:xfrm>
        </p:spPr>
        <p:txBody>
          <a:bodyPr/>
          <a:lstStyle>
            <a:lvl1pPr>
              <a:defRPr sz="4000"/>
            </a:lvl1pPr>
          </a:lstStyle>
          <a:p>
            <a:r>
              <a:rPr lang="en-US"/>
              <a:t>Place headline here (minimum 28 pt)</a:t>
            </a:r>
            <a:endParaRPr lang="en-CA"/>
          </a:p>
        </p:txBody>
      </p:sp>
      <p:sp>
        <p:nvSpPr>
          <p:cNvPr id="38" name="Picture Placeholder 1">
            <a:extLst>
              <a:ext uri="{FF2B5EF4-FFF2-40B4-BE49-F238E27FC236}">
                <a16:creationId xmlns:a16="http://schemas.microsoft.com/office/drawing/2014/main" id="{92A5DC07-3811-41E7-B3BC-1DF4ED905C7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5200" y="-1"/>
            <a:ext cx="3049200" cy="3151189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/>
              <a:t>Add image here</a:t>
            </a:r>
            <a:endParaRPr lang="en-US"/>
          </a:p>
        </p:txBody>
      </p:sp>
      <p:sp>
        <p:nvSpPr>
          <p:cNvPr id="46" name="Number 1">
            <a:extLst>
              <a:ext uri="{FF2B5EF4-FFF2-40B4-BE49-F238E27FC236}">
                <a16:creationId xmlns:a16="http://schemas.microsoft.com/office/drawing/2014/main" id="{FFC38A35-5CA3-4459-9AC5-201C715349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525007" y="380999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sp>
        <p:nvSpPr>
          <p:cNvPr id="26" name="Text Placeholder 1">
            <a:extLst>
              <a:ext uri="{FF2B5EF4-FFF2-40B4-BE49-F238E27FC236}">
                <a16:creationId xmlns:a16="http://schemas.microsoft.com/office/drawing/2014/main" id="{8D950ED1-F28A-4072-AC2A-150BCE0B513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525001" y="1490071"/>
            <a:ext cx="2285996" cy="12848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spcBef>
                <a:spcPts val="600"/>
              </a:spcBef>
              <a:defRPr sz="1600">
                <a:solidFill>
                  <a:schemeClr val="tx1"/>
                </a:solidFill>
              </a:defRPr>
            </a:lvl2pPr>
            <a:lvl3pPr>
              <a:spcBef>
                <a:spcPts val="300"/>
              </a:spcBef>
              <a:defRPr sz="1600"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Stat headlin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4CA191CE-F49B-4889-A102-DDD1279F3FB2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3155942"/>
            <a:ext cx="3049200" cy="315595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marL="0" indent="0" algn="ctr">
              <a:spcBef>
                <a:spcPts val="0"/>
              </a:spcBef>
              <a:buNone/>
              <a:defRPr lang="en-US" sz="1400" dirty="0">
                <a:latin typeface="+mn-lt"/>
              </a:defRPr>
            </a:lvl1pPr>
          </a:lstStyle>
          <a:p>
            <a:pPr marL="228600" lvl="0" indent="-228600" algn="ctr"/>
            <a:r>
              <a:rPr lang="en-GB"/>
              <a:t>Add image here</a:t>
            </a:r>
            <a:endParaRPr lang="en-US"/>
          </a:p>
        </p:txBody>
      </p:sp>
      <p:sp>
        <p:nvSpPr>
          <p:cNvPr id="8" name="Purple rectangle">
            <a:extLst>
              <a:ext uri="{FF2B5EF4-FFF2-40B4-BE49-F238E27FC236}">
                <a16:creationId xmlns:a16="http://schemas.microsoft.com/office/drawing/2014/main" id="{3D16F949-3472-4EBC-9DC1-05EC807C9FC0}"/>
              </a:ext>
            </a:extLst>
          </p:cNvPr>
          <p:cNvSpPr/>
          <p:nvPr userDrawn="1"/>
        </p:nvSpPr>
        <p:spPr>
          <a:xfrm>
            <a:off x="3047600" y="3155948"/>
            <a:ext cx="3049200" cy="315595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Number 2">
            <a:extLst>
              <a:ext uri="{FF2B5EF4-FFF2-40B4-BE49-F238E27FC236}">
                <a16:creationId xmlns:a16="http://schemas.microsoft.com/office/drawing/2014/main" id="{84A1985F-A4F6-4997-A4BD-E305CB1A47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29202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6F4BC038-14B9-4038-AD5B-54FA68B5FD3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429202" y="4647835"/>
            <a:ext cx="2285996" cy="12848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spcBef>
                <a:spcPts val="600"/>
              </a:spcBef>
              <a:defRPr sz="1600">
                <a:solidFill>
                  <a:schemeClr val="bg1"/>
                </a:solidFill>
              </a:defRPr>
            </a:lvl2pPr>
            <a:lvl3pPr>
              <a:spcBef>
                <a:spcPts val="300"/>
              </a:spcBef>
              <a:defRPr sz="1600"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Stat headlin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0" name="Number 3">
            <a:extLst>
              <a:ext uri="{FF2B5EF4-FFF2-40B4-BE49-F238E27FC236}">
                <a16:creationId xmlns:a16="http://schemas.microsoft.com/office/drawing/2014/main" id="{E5121ACC-7E33-431F-A8A1-419F515D40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76802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0879C497-214C-42C9-9B2B-5A2BD31ECDF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476802" y="4647835"/>
            <a:ext cx="2285996" cy="12848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spcBef>
                <a:spcPts val="600"/>
              </a:spcBef>
              <a:defRPr sz="1600">
                <a:solidFill>
                  <a:schemeClr val="tx1"/>
                </a:solidFill>
              </a:defRPr>
            </a:lvl2pPr>
            <a:lvl3pPr>
              <a:spcBef>
                <a:spcPts val="300"/>
              </a:spcBef>
              <a:defRPr sz="1600"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Stat headlin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9" name="Gray rectangle">
            <a:extLst>
              <a:ext uri="{FF2B5EF4-FFF2-40B4-BE49-F238E27FC236}">
                <a16:creationId xmlns:a16="http://schemas.microsoft.com/office/drawing/2014/main" id="{F2E53630-789F-425F-8AB1-96EFF4EA1E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142800" y="3155948"/>
            <a:ext cx="3049200" cy="315595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Number 4">
            <a:extLst>
              <a:ext uri="{FF2B5EF4-FFF2-40B4-BE49-F238E27FC236}">
                <a16:creationId xmlns:a16="http://schemas.microsoft.com/office/drawing/2014/main" id="{86209476-BF69-4014-99E6-B53C87141B4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524402" y="3538763"/>
            <a:ext cx="2285996" cy="912223"/>
          </a:xfrm>
        </p:spPr>
        <p:txBody>
          <a:bodyPr anchor="ctr"/>
          <a:lstStyle>
            <a:lvl1pPr marL="0" indent="0">
              <a:buNone/>
              <a:defRPr lang="en-US" sz="48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228600" lvl="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/>
              <a:t>00x</a:t>
            </a:r>
            <a:endParaRPr lang="en-US"/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F62BB050-7246-46AB-B871-967AE0F2EC5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524402" y="4647835"/>
            <a:ext cx="2285996" cy="12848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spcBef>
                <a:spcPts val="600"/>
              </a:spcBef>
              <a:defRPr sz="1600">
                <a:solidFill>
                  <a:schemeClr val="tx1"/>
                </a:solidFill>
              </a:defRPr>
            </a:lvl2pPr>
            <a:lvl3pPr>
              <a:spcBef>
                <a:spcPts val="300"/>
              </a:spcBef>
              <a:defRPr sz="1600"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Stat headlin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0" name="object 3">
            <a:extLst>
              <a:ext uri="{FF2B5EF4-FFF2-40B4-BE49-F238E27FC236}">
                <a16:creationId xmlns:a16="http://schemas.microsoft.com/office/drawing/2014/main" id="{CF71CDB2-62EF-48EE-8F46-3C049A1BD4A5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229E0AC6-53CE-41D3-9AD1-7CF246F5DBB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39084" y="6432376"/>
            <a:ext cx="1311547" cy="228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91944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" orient="horz" pos="1985">
          <p15:clr>
            <a:srgbClr val="5ACBF0"/>
          </p15:clr>
        </p15:guide>
      </p15:sldGuideLst>
    </p:ext>
  </p:extLs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tructions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005F1BE8-FFE8-4211-81DC-48142AF98F46}"/>
              </a:ext>
            </a:extLst>
          </p:cNvPr>
          <p:cNvSpPr/>
          <p:nvPr userDrawn="1"/>
        </p:nvSpPr>
        <p:spPr>
          <a:xfrm>
            <a:off x="5905500" y="0"/>
            <a:ext cx="6286499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6891656-90BE-40E9-808C-CA7B0B2F5D4A}"/>
              </a:ext>
            </a:extLst>
          </p:cNvPr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3E4D264-6D4A-4BD5-A7B6-B2EF3F7B20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2048" y="963705"/>
            <a:ext cx="4679190" cy="1218795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Insert short headline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D7FE724D-C664-48DA-94EA-48C0EE3C9DA2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46514" y="2732059"/>
            <a:ext cx="4648227" cy="844810"/>
          </a:xfrm>
          <a:prstGeom prst="rect">
            <a:avLst/>
          </a:prstGeom>
        </p:spPr>
        <p:txBody>
          <a:bodyPr wrap="square" lIns="0" tIns="288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800">
                <a:solidFill>
                  <a:schemeClr val="accent1"/>
                </a:solidFill>
                <a:latin typeface="Arial Nova Light" panose="020B0304020202020204" pitchFamily="34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18 pt, align box to the baseline of the title</a:t>
            </a:r>
          </a:p>
        </p:txBody>
      </p:sp>
      <p:sp>
        <p:nvSpPr>
          <p:cNvPr id="12" name="Intro">
            <a:extLst>
              <a:ext uri="{FF2B5EF4-FFF2-40B4-BE49-F238E27FC236}">
                <a16:creationId xmlns:a16="http://schemas.microsoft.com/office/drawing/2014/main" id="{9E781E2A-2D68-451D-9B4D-46656701DE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50848" y="3981993"/>
            <a:ext cx="4648227" cy="1386000"/>
          </a:xfrm>
        </p:spPr>
        <p:txBody>
          <a:bodyPr tIns="0"/>
          <a:lstStyle>
            <a:lvl1pPr>
              <a:defRPr sz="20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20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object 3">
            <a:extLst>
              <a:ext uri="{FF2B5EF4-FFF2-40B4-BE49-F238E27FC236}">
                <a16:creationId xmlns:a16="http://schemas.microsoft.com/office/drawing/2014/main" id="{BDDDBC53-6E2B-49A2-B4DD-98B3AEFD5130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C753F18D-C5C6-4833-8BCF-2F81A626C5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39084" y="6432376"/>
            <a:ext cx="1311547" cy="228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8054305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tructions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333AA94-8E1D-4492-918F-8FABC9C4181F}"/>
              </a:ext>
            </a:extLst>
          </p:cNvPr>
          <p:cNvSpPr>
            <a:spLocks noGrp="1"/>
          </p:cNvSpPr>
          <p:nvPr>
            <p:ph type="sldNum" sz="quarter" idx="38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itle 3">
            <a:extLst>
              <a:ext uri="{FF2B5EF4-FFF2-40B4-BE49-F238E27FC236}">
                <a16:creationId xmlns:a16="http://schemas.microsoft.com/office/drawing/2014/main" id="{4E06863E-511E-4386-A3DB-1BD54130EA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2048" y="969708"/>
            <a:ext cx="4300790" cy="1218795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Insert short headlin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03BC2BBD-90EF-468A-AA63-20B57869AE48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650846" y="3030071"/>
            <a:ext cx="4271991" cy="3011952"/>
          </a:xfrm>
        </p:spPr>
        <p:txBody>
          <a:bodyPr/>
          <a:lstStyle>
            <a:lvl1pPr>
              <a:defRPr sz="1800"/>
            </a:lvl1pPr>
            <a:lvl2pPr>
              <a:spcAft>
                <a:spcPts val="800"/>
              </a:spcAft>
              <a:defRPr/>
            </a:lvl2pPr>
            <a:lvl4pPr marL="216000" indent="-216000">
              <a:spcAft>
                <a:spcPts val="800"/>
              </a:spcAft>
              <a:buClr>
                <a:schemeClr val="accent1"/>
              </a:buClr>
              <a:buFont typeface="+mj-lt"/>
              <a:buAutoNum type="arabicPeriod"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object 3">
            <a:extLst>
              <a:ext uri="{FF2B5EF4-FFF2-40B4-BE49-F238E27FC236}">
                <a16:creationId xmlns:a16="http://schemas.microsoft.com/office/drawing/2014/main" id="{FD103A92-96A9-486A-9EAD-32A90DFC9BCA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455657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F7A2532-1452-4025-A9EE-41FD70A080E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7F8EB60C-7CC2-49F0-B2EE-C81F067DE04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03D72F-7FBE-4E35-8F61-E9D5957A3F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200" y="346108"/>
            <a:ext cx="8886875" cy="4985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ubtitle">
            <a:extLst>
              <a:ext uri="{FF2B5EF4-FFF2-40B4-BE49-F238E27FC236}">
                <a16:creationId xmlns:a16="http://schemas.microsoft.com/office/drawing/2014/main" id="{D6A2D405-2B18-4C9F-9DCE-9782B35E4BB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2282" y="1209096"/>
            <a:ext cx="8873793" cy="458757"/>
          </a:xfrm>
        </p:spPr>
        <p:txBody>
          <a:bodyPr wrap="square" tIns="180000">
            <a:spAutoFit/>
          </a:bodyPr>
          <a:lstStyle>
            <a:lvl1pPr>
              <a:defRPr sz="1800">
                <a:latin typeface="Arial Nova Light" panose="020B0304020202020204" pitchFamily="34" charset="0"/>
              </a:defRPr>
            </a:lvl1pPr>
          </a:lstStyle>
          <a:p>
            <a:pPr lvl="0"/>
            <a:r>
              <a:rPr lang="en-US"/>
              <a:t>Insert subtitle here at 18 pt and align to the baseline of the title</a:t>
            </a:r>
          </a:p>
        </p:txBody>
      </p:sp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DDAC503A-6438-4F4D-8CAA-8C78A2F5DDD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1000" y="2214000"/>
            <a:ext cx="8855075" cy="38280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ources">
            <a:extLst>
              <a:ext uri="{FF2B5EF4-FFF2-40B4-BE49-F238E27FC236}">
                <a16:creationId xmlns:a16="http://schemas.microsoft.com/office/drawing/2014/main" id="{A6308600-CF44-4BC5-97D1-F92ED9336D5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80550" y="6471584"/>
            <a:ext cx="6287026" cy="138499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900" i="1">
                <a:latin typeface="+mn-lt"/>
              </a:defRPr>
            </a:lvl1pPr>
          </a:lstStyle>
          <a:p>
            <a:pPr lvl="0"/>
            <a:r>
              <a:rPr lang="en-US"/>
              <a:t>Insert sources</a:t>
            </a:r>
          </a:p>
        </p:txBody>
      </p:sp>
      <p:sp>
        <p:nvSpPr>
          <p:cNvPr id="9" name="object 3">
            <a:extLst>
              <a:ext uri="{FF2B5EF4-FFF2-40B4-BE49-F238E27FC236}">
                <a16:creationId xmlns:a16="http://schemas.microsoft.com/office/drawing/2014/main" id="{AA80B7AF-8E1D-4F3A-8DDE-06605076EA49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688090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gradFill>
          <a:gsLst>
            <a:gs pos="1000">
              <a:schemeClr val="accent1"/>
            </a:gs>
            <a:gs pos="54000">
              <a:schemeClr val="accent1">
                <a:lumMod val="75000"/>
                <a:lumOff val="25000"/>
              </a:schemeClr>
            </a:gs>
            <a:gs pos="85000">
              <a:schemeClr val="accent4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9B0651-DF79-4B40-BC0F-E10A1C0406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7778" y="2370368"/>
            <a:ext cx="6569797" cy="2025824"/>
          </a:xfrm>
        </p:spPr>
        <p:txBody>
          <a:bodyPr tIns="216000" anchor="ctr">
            <a:noAutofit/>
          </a:bodyPr>
          <a:lstStyle>
            <a:lvl1pPr algn="l">
              <a:lnSpc>
                <a:spcPct val="75000"/>
              </a:lnSpc>
              <a:defRPr sz="8800" b="1" spc="-100" baseline="0">
                <a:latin typeface="Arial Nova" panose="020B0504020202020204" pitchFamily="34" charset="0"/>
              </a:defRPr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5E2D1DD-2EA2-4AD0-9770-14BA02C69F4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38312" y="2946068"/>
            <a:ext cx="989356" cy="8744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7160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(Gradient 2)">
    <p:bg>
      <p:bgPr>
        <a:gradFill flip="none" rotWithShape="1">
          <a:gsLst>
            <a:gs pos="99000">
              <a:schemeClr val="accent5"/>
            </a:gs>
            <a:gs pos="1000">
              <a:schemeClr val="accent1"/>
            </a:gs>
            <a:gs pos="43000">
              <a:schemeClr val="accent1">
                <a:lumMod val="75000"/>
                <a:lumOff val="25000"/>
              </a:schemeClr>
            </a:gs>
            <a:gs pos="69000">
              <a:schemeClr val="accent4"/>
            </a:gs>
          </a:gsLst>
          <a:path path="circle">
            <a:fillToRect t="100000" r="100000"/>
          </a:path>
          <a:tileRect l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9B0651-DF79-4B40-BC0F-E10A1C0406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7778" y="2370368"/>
            <a:ext cx="6569797" cy="2025824"/>
          </a:xfrm>
        </p:spPr>
        <p:txBody>
          <a:bodyPr tIns="216000" anchor="ctr">
            <a:noAutofit/>
          </a:bodyPr>
          <a:lstStyle>
            <a:lvl1pPr algn="l">
              <a:lnSpc>
                <a:spcPct val="75000"/>
              </a:lnSpc>
              <a:defRPr sz="8800" b="1" spc="-100" baseline="0">
                <a:latin typeface="Arial Nova" panose="020B0504020202020204" pitchFamily="34" charset="0"/>
              </a:defRPr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1A55F79-0A1C-4376-BCFF-EAEBE30792E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38312" y="2946068"/>
            <a:ext cx="989356" cy="8744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23757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ids &amp; 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06440CF9-639E-4C23-B573-79A7A9FC3824}"/>
              </a:ext>
            </a:extLst>
          </p:cNvPr>
          <p:cNvGrpSpPr/>
          <p:nvPr userDrawn="1"/>
        </p:nvGrpSpPr>
        <p:grpSpPr>
          <a:xfrm>
            <a:off x="381600" y="381599"/>
            <a:ext cx="11517312" cy="6203351"/>
            <a:chOff x="381600" y="381599"/>
            <a:chExt cx="11517312" cy="6203351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30B4F3D9-1637-4AE7-A86A-765EA59FA20D}"/>
                </a:ext>
              </a:extLst>
            </p:cNvPr>
            <p:cNvGrpSpPr/>
            <p:nvPr userDrawn="1"/>
          </p:nvGrpSpPr>
          <p:grpSpPr>
            <a:xfrm>
              <a:off x="381600" y="381599"/>
              <a:ext cx="11427690" cy="6203351"/>
              <a:chOff x="381600" y="381599"/>
              <a:chExt cx="11427690" cy="6136675"/>
            </a:xfrm>
          </p:grpSpPr>
          <p:cxnSp>
            <p:nvCxnSpPr>
              <p:cNvPr id="11" name="Straight Connector 10">
                <a:extLst>
                  <a:ext uri="{FF2B5EF4-FFF2-40B4-BE49-F238E27FC236}">
                    <a16:creationId xmlns:a16="http://schemas.microsoft.com/office/drawing/2014/main" id="{3052E104-7F3D-4C28-9000-7E756A33414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809290" y="383004"/>
                <a:ext cx="0" cy="6135270"/>
              </a:xfrm>
              <a:prstGeom prst="line">
                <a:avLst/>
              </a:prstGeom>
              <a:ln cap="rnd">
                <a:solidFill>
                  <a:srgbClr val="00B0F0">
                    <a:alpha val="40000"/>
                  </a:srgbClr>
                </a:solidFill>
                <a:prstDash val="dash"/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2" name="Group 11">
                <a:extLst>
                  <a:ext uri="{FF2B5EF4-FFF2-40B4-BE49-F238E27FC236}">
                    <a16:creationId xmlns:a16="http://schemas.microsoft.com/office/drawing/2014/main" id="{ACB9B211-50F3-428D-A3EA-3C9BA811A04E}"/>
                  </a:ext>
                </a:extLst>
              </p:cNvPr>
              <p:cNvGrpSpPr/>
              <p:nvPr userDrawn="1"/>
            </p:nvGrpSpPr>
            <p:grpSpPr>
              <a:xfrm>
                <a:off x="987407" y="383004"/>
                <a:ext cx="378000" cy="6135270"/>
                <a:chOff x="1458913" y="327025"/>
                <a:chExt cx="359087" cy="6191250"/>
              </a:xfrm>
            </p:grpSpPr>
            <p:cxnSp>
              <p:nvCxnSpPr>
                <p:cNvPr id="44" name="Straight Connector 43">
                  <a:extLst>
                    <a:ext uri="{FF2B5EF4-FFF2-40B4-BE49-F238E27FC236}">
                      <a16:creationId xmlns:a16="http://schemas.microsoft.com/office/drawing/2014/main" id="{6C198AC3-8D63-4A5A-A65D-67AD0247218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818000" y="327025"/>
                  <a:ext cx="0" cy="6191250"/>
                </a:xfrm>
                <a:prstGeom prst="line">
                  <a:avLst/>
                </a:prstGeom>
                <a:ln cap="rnd">
                  <a:solidFill>
                    <a:srgbClr val="00B0F0">
                      <a:alpha val="40000"/>
                    </a:srgbClr>
                  </a:solidFill>
                  <a:prstDash val="dash"/>
                  <a:round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5" name="Straight Connector 44">
                  <a:extLst>
                    <a:ext uri="{FF2B5EF4-FFF2-40B4-BE49-F238E27FC236}">
                      <a16:creationId xmlns:a16="http://schemas.microsoft.com/office/drawing/2014/main" id="{6805B438-F85D-46DE-9E2B-E6BEC9762B5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458913" y="327025"/>
                  <a:ext cx="0" cy="6191250"/>
                </a:xfrm>
                <a:prstGeom prst="line">
                  <a:avLst/>
                </a:prstGeom>
                <a:ln cap="rnd">
                  <a:solidFill>
                    <a:srgbClr val="00B0F0">
                      <a:alpha val="40000"/>
                    </a:srgbClr>
                  </a:solidFill>
                  <a:prstDash val="dash"/>
                  <a:round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13" name="Straight Connector 12">
                <a:extLst>
                  <a:ext uri="{FF2B5EF4-FFF2-40B4-BE49-F238E27FC236}">
                    <a16:creationId xmlns:a16="http://schemas.microsoft.com/office/drawing/2014/main" id="{ACF2F110-D97A-4929-96A7-9CDB0365ED7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81600" y="381599"/>
                <a:ext cx="0" cy="6135270"/>
              </a:xfrm>
              <a:prstGeom prst="line">
                <a:avLst/>
              </a:prstGeom>
              <a:ln cap="rnd">
                <a:solidFill>
                  <a:srgbClr val="00B0F0">
                    <a:alpha val="40000"/>
                  </a:srgbClr>
                </a:solidFill>
                <a:prstDash val="dash"/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4" name="Group 13">
                <a:extLst>
                  <a:ext uri="{FF2B5EF4-FFF2-40B4-BE49-F238E27FC236}">
                    <a16:creationId xmlns:a16="http://schemas.microsoft.com/office/drawing/2014/main" id="{9B4547EF-26A5-4111-83BE-A275F88AA636}"/>
                  </a:ext>
                </a:extLst>
              </p:cNvPr>
              <p:cNvGrpSpPr/>
              <p:nvPr userDrawn="1"/>
            </p:nvGrpSpPr>
            <p:grpSpPr>
              <a:xfrm>
                <a:off x="1971214" y="383004"/>
                <a:ext cx="378000" cy="6135270"/>
                <a:chOff x="2944800" y="327025"/>
                <a:chExt cx="360000" cy="6191250"/>
              </a:xfrm>
            </p:grpSpPr>
            <p:cxnSp>
              <p:nvCxnSpPr>
                <p:cNvPr id="42" name="Straight Connector 41">
                  <a:extLst>
                    <a:ext uri="{FF2B5EF4-FFF2-40B4-BE49-F238E27FC236}">
                      <a16:creationId xmlns:a16="http://schemas.microsoft.com/office/drawing/2014/main" id="{BA1DBAD2-F4AF-4F6F-A5B0-3436F7A4F0F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304800" y="327025"/>
                  <a:ext cx="0" cy="6191250"/>
                </a:xfrm>
                <a:prstGeom prst="line">
                  <a:avLst/>
                </a:prstGeom>
                <a:ln cap="rnd">
                  <a:solidFill>
                    <a:srgbClr val="00B0F0">
                      <a:alpha val="40000"/>
                    </a:srgbClr>
                  </a:solidFill>
                  <a:prstDash val="dash"/>
                  <a:round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3" name="Straight Connector 42">
                  <a:extLst>
                    <a:ext uri="{FF2B5EF4-FFF2-40B4-BE49-F238E27FC236}">
                      <a16:creationId xmlns:a16="http://schemas.microsoft.com/office/drawing/2014/main" id="{C8F04C3C-4AA6-43EF-AB30-ED55EFA2687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944800" y="327025"/>
                  <a:ext cx="0" cy="6191250"/>
                </a:xfrm>
                <a:prstGeom prst="line">
                  <a:avLst/>
                </a:prstGeom>
                <a:ln cap="rnd">
                  <a:solidFill>
                    <a:srgbClr val="00B0F0">
                      <a:alpha val="40000"/>
                    </a:srgbClr>
                  </a:solidFill>
                  <a:prstDash val="dash"/>
                  <a:round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5" name="Group 14">
                <a:extLst>
                  <a:ext uri="{FF2B5EF4-FFF2-40B4-BE49-F238E27FC236}">
                    <a16:creationId xmlns:a16="http://schemas.microsoft.com/office/drawing/2014/main" id="{A5C9AE8A-78A2-40B4-B50E-B7F78FB7D6B7}"/>
                  </a:ext>
                </a:extLst>
              </p:cNvPr>
              <p:cNvGrpSpPr/>
              <p:nvPr userDrawn="1"/>
            </p:nvGrpSpPr>
            <p:grpSpPr>
              <a:xfrm>
                <a:off x="2955021" y="383004"/>
                <a:ext cx="378000" cy="6135270"/>
                <a:chOff x="4430713" y="327025"/>
                <a:chExt cx="360000" cy="6191250"/>
              </a:xfrm>
            </p:grpSpPr>
            <p:cxnSp>
              <p:nvCxnSpPr>
                <p:cNvPr id="40" name="Straight Connector 39">
                  <a:extLst>
                    <a:ext uri="{FF2B5EF4-FFF2-40B4-BE49-F238E27FC236}">
                      <a16:creationId xmlns:a16="http://schemas.microsoft.com/office/drawing/2014/main" id="{185BFD62-22A0-4C82-9837-DAAB5F1DF15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4790713" y="327025"/>
                  <a:ext cx="0" cy="6191250"/>
                </a:xfrm>
                <a:prstGeom prst="line">
                  <a:avLst/>
                </a:prstGeom>
                <a:ln cap="rnd">
                  <a:solidFill>
                    <a:srgbClr val="00B0F0">
                      <a:alpha val="40000"/>
                    </a:srgbClr>
                  </a:solidFill>
                  <a:prstDash val="dash"/>
                  <a:round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1" name="Straight Connector 40">
                  <a:extLst>
                    <a:ext uri="{FF2B5EF4-FFF2-40B4-BE49-F238E27FC236}">
                      <a16:creationId xmlns:a16="http://schemas.microsoft.com/office/drawing/2014/main" id="{E8A900B8-BB19-4AEB-92EE-449DBD9A48A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4430713" y="327025"/>
                  <a:ext cx="0" cy="6191250"/>
                </a:xfrm>
                <a:prstGeom prst="line">
                  <a:avLst/>
                </a:prstGeom>
                <a:ln cap="rnd">
                  <a:solidFill>
                    <a:srgbClr val="00B0F0">
                      <a:alpha val="40000"/>
                    </a:srgbClr>
                  </a:solidFill>
                  <a:prstDash val="dash"/>
                  <a:round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6" name="Group 15">
                <a:extLst>
                  <a:ext uri="{FF2B5EF4-FFF2-40B4-BE49-F238E27FC236}">
                    <a16:creationId xmlns:a16="http://schemas.microsoft.com/office/drawing/2014/main" id="{02E43C37-21D0-4C2F-8E9A-39B139BCCCD9}"/>
                  </a:ext>
                </a:extLst>
              </p:cNvPr>
              <p:cNvGrpSpPr/>
              <p:nvPr userDrawn="1"/>
            </p:nvGrpSpPr>
            <p:grpSpPr>
              <a:xfrm>
                <a:off x="3938828" y="383004"/>
                <a:ext cx="378000" cy="6135270"/>
                <a:chOff x="5916613" y="327025"/>
                <a:chExt cx="360000" cy="6191250"/>
              </a:xfrm>
            </p:grpSpPr>
            <p:cxnSp>
              <p:nvCxnSpPr>
                <p:cNvPr id="38" name="Straight Connector 37">
                  <a:extLst>
                    <a:ext uri="{FF2B5EF4-FFF2-40B4-BE49-F238E27FC236}">
                      <a16:creationId xmlns:a16="http://schemas.microsoft.com/office/drawing/2014/main" id="{8CAC251D-5D54-4DBA-9C2F-F449E04DD8B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276613" y="327025"/>
                  <a:ext cx="0" cy="6191250"/>
                </a:xfrm>
                <a:prstGeom prst="line">
                  <a:avLst/>
                </a:prstGeom>
                <a:ln cap="rnd">
                  <a:solidFill>
                    <a:srgbClr val="00B0F0">
                      <a:alpha val="40000"/>
                    </a:srgbClr>
                  </a:solidFill>
                  <a:prstDash val="dash"/>
                  <a:round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9" name="Straight Connector 38">
                  <a:extLst>
                    <a:ext uri="{FF2B5EF4-FFF2-40B4-BE49-F238E27FC236}">
                      <a16:creationId xmlns:a16="http://schemas.microsoft.com/office/drawing/2014/main" id="{4A5C651A-A90D-481A-894E-200191FB237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916613" y="327025"/>
                  <a:ext cx="0" cy="6191250"/>
                </a:xfrm>
                <a:prstGeom prst="line">
                  <a:avLst/>
                </a:prstGeom>
                <a:ln cap="rnd">
                  <a:solidFill>
                    <a:srgbClr val="00B0F0">
                      <a:alpha val="40000"/>
                    </a:srgbClr>
                  </a:solidFill>
                  <a:prstDash val="dash"/>
                  <a:round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7" name="Group 16">
                <a:extLst>
                  <a:ext uri="{FF2B5EF4-FFF2-40B4-BE49-F238E27FC236}">
                    <a16:creationId xmlns:a16="http://schemas.microsoft.com/office/drawing/2014/main" id="{F8519B41-13EF-4CEA-B4DF-BA6D1291A953}"/>
                  </a:ext>
                </a:extLst>
              </p:cNvPr>
              <p:cNvGrpSpPr/>
              <p:nvPr userDrawn="1"/>
            </p:nvGrpSpPr>
            <p:grpSpPr>
              <a:xfrm>
                <a:off x="4922635" y="383004"/>
                <a:ext cx="378000" cy="6135270"/>
                <a:chOff x="7398000" y="327025"/>
                <a:chExt cx="360000" cy="6191250"/>
              </a:xfrm>
            </p:grpSpPr>
            <p:cxnSp>
              <p:nvCxnSpPr>
                <p:cNvPr id="36" name="Straight Connector 35">
                  <a:extLst>
                    <a:ext uri="{FF2B5EF4-FFF2-40B4-BE49-F238E27FC236}">
                      <a16:creationId xmlns:a16="http://schemas.microsoft.com/office/drawing/2014/main" id="{C64D906D-61C5-47D3-AEF3-629DA70A06A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758000" y="327025"/>
                  <a:ext cx="0" cy="6191250"/>
                </a:xfrm>
                <a:prstGeom prst="line">
                  <a:avLst/>
                </a:prstGeom>
                <a:ln cap="rnd">
                  <a:solidFill>
                    <a:srgbClr val="00B0F0">
                      <a:alpha val="40000"/>
                    </a:srgbClr>
                  </a:solidFill>
                  <a:prstDash val="dash"/>
                  <a:round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" name="Straight Connector 36">
                  <a:extLst>
                    <a:ext uri="{FF2B5EF4-FFF2-40B4-BE49-F238E27FC236}">
                      <a16:creationId xmlns:a16="http://schemas.microsoft.com/office/drawing/2014/main" id="{2B7BAE1C-DF0D-4C48-B08A-FC2653C3912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398000" y="327025"/>
                  <a:ext cx="0" cy="6191250"/>
                </a:xfrm>
                <a:prstGeom prst="line">
                  <a:avLst/>
                </a:prstGeom>
                <a:ln cap="rnd">
                  <a:solidFill>
                    <a:srgbClr val="00B0F0">
                      <a:alpha val="40000"/>
                    </a:srgbClr>
                  </a:solidFill>
                  <a:prstDash val="dash"/>
                  <a:round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967F4B04-DADF-4450-A738-1C29EC4A9971}"/>
                  </a:ext>
                </a:extLst>
              </p:cNvPr>
              <p:cNvGrpSpPr/>
              <p:nvPr userDrawn="1"/>
            </p:nvGrpSpPr>
            <p:grpSpPr>
              <a:xfrm>
                <a:off x="5906442" y="383004"/>
                <a:ext cx="378000" cy="6135270"/>
                <a:chOff x="8883650" y="327025"/>
                <a:chExt cx="360000" cy="6191250"/>
              </a:xfrm>
            </p:grpSpPr>
            <p:cxnSp>
              <p:nvCxnSpPr>
                <p:cNvPr id="34" name="Straight Connector 33">
                  <a:extLst>
                    <a:ext uri="{FF2B5EF4-FFF2-40B4-BE49-F238E27FC236}">
                      <a16:creationId xmlns:a16="http://schemas.microsoft.com/office/drawing/2014/main" id="{2F033A2F-1DBB-46D0-A93E-AA656245E6B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9243650" y="327025"/>
                  <a:ext cx="0" cy="6191250"/>
                </a:xfrm>
                <a:prstGeom prst="line">
                  <a:avLst/>
                </a:prstGeom>
                <a:ln cap="rnd">
                  <a:solidFill>
                    <a:srgbClr val="00B0F0">
                      <a:alpha val="40000"/>
                    </a:srgbClr>
                  </a:solidFill>
                  <a:prstDash val="dash"/>
                  <a:round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5" name="Straight Connector 34">
                  <a:extLst>
                    <a:ext uri="{FF2B5EF4-FFF2-40B4-BE49-F238E27FC236}">
                      <a16:creationId xmlns:a16="http://schemas.microsoft.com/office/drawing/2014/main" id="{ACEF10F4-8BB5-4C85-B77C-0D1E4A341B6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8883650" y="327025"/>
                  <a:ext cx="0" cy="6191250"/>
                </a:xfrm>
                <a:prstGeom prst="line">
                  <a:avLst/>
                </a:prstGeom>
                <a:ln cap="rnd">
                  <a:solidFill>
                    <a:srgbClr val="00B0F0">
                      <a:alpha val="40000"/>
                    </a:srgbClr>
                  </a:solidFill>
                  <a:prstDash val="dash"/>
                  <a:round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9" name="Group 18">
                <a:extLst>
                  <a:ext uri="{FF2B5EF4-FFF2-40B4-BE49-F238E27FC236}">
                    <a16:creationId xmlns:a16="http://schemas.microsoft.com/office/drawing/2014/main" id="{29F7D70E-FB98-4D1D-AFD4-4DE6CEF8416D}"/>
                  </a:ext>
                </a:extLst>
              </p:cNvPr>
              <p:cNvGrpSpPr/>
              <p:nvPr userDrawn="1"/>
            </p:nvGrpSpPr>
            <p:grpSpPr>
              <a:xfrm>
                <a:off x="6890249" y="383004"/>
                <a:ext cx="378000" cy="6135270"/>
                <a:chOff x="10369550" y="327025"/>
                <a:chExt cx="360000" cy="6191250"/>
              </a:xfrm>
            </p:grpSpPr>
            <p:cxnSp>
              <p:nvCxnSpPr>
                <p:cNvPr id="32" name="Straight Connector 31">
                  <a:extLst>
                    <a:ext uri="{FF2B5EF4-FFF2-40B4-BE49-F238E27FC236}">
                      <a16:creationId xmlns:a16="http://schemas.microsoft.com/office/drawing/2014/main" id="{BCAF667D-2044-4DD9-9C6D-EE67052E5F3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0729550" y="327025"/>
                  <a:ext cx="0" cy="6191250"/>
                </a:xfrm>
                <a:prstGeom prst="line">
                  <a:avLst/>
                </a:prstGeom>
                <a:ln cap="rnd">
                  <a:solidFill>
                    <a:srgbClr val="00B0F0">
                      <a:alpha val="40000"/>
                    </a:srgbClr>
                  </a:solidFill>
                  <a:prstDash val="dash"/>
                  <a:round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" name="Straight Connector 32">
                  <a:extLst>
                    <a:ext uri="{FF2B5EF4-FFF2-40B4-BE49-F238E27FC236}">
                      <a16:creationId xmlns:a16="http://schemas.microsoft.com/office/drawing/2014/main" id="{98ED28AE-CD2E-4279-A028-18DB365D8A8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0369550" y="327025"/>
                  <a:ext cx="0" cy="6191250"/>
                </a:xfrm>
                <a:prstGeom prst="line">
                  <a:avLst/>
                </a:prstGeom>
                <a:ln cap="rnd">
                  <a:solidFill>
                    <a:srgbClr val="00B0F0">
                      <a:alpha val="40000"/>
                    </a:srgbClr>
                  </a:solidFill>
                  <a:prstDash val="dash"/>
                  <a:round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0" name="Group 19">
                <a:extLst>
                  <a:ext uri="{FF2B5EF4-FFF2-40B4-BE49-F238E27FC236}">
                    <a16:creationId xmlns:a16="http://schemas.microsoft.com/office/drawing/2014/main" id="{7DC71FE8-8B45-4DF0-904D-539CE6DC7B25}"/>
                  </a:ext>
                </a:extLst>
              </p:cNvPr>
              <p:cNvGrpSpPr/>
              <p:nvPr userDrawn="1"/>
            </p:nvGrpSpPr>
            <p:grpSpPr>
              <a:xfrm>
                <a:off x="7874056" y="383004"/>
                <a:ext cx="378000" cy="6135270"/>
                <a:chOff x="10369550" y="327025"/>
                <a:chExt cx="360000" cy="6191250"/>
              </a:xfrm>
            </p:grpSpPr>
            <p:cxnSp>
              <p:nvCxnSpPr>
                <p:cNvPr id="30" name="Straight Connector 29">
                  <a:extLst>
                    <a:ext uri="{FF2B5EF4-FFF2-40B4-BE49-F238E27FC236}">
                      <a16:creationId xmlns:a16="http://schemas.microsoft.com/office/drawing/2014/main" id="{F261F08D-4F3E-4740-9560-8D6A86784FB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0729550" y="327025"/>
                  <a:ext cx="0" cy="6191250"/>
                </a:xfrm>
                <a:prstGeom prst="line">
                  <a:avLst/>
                </a:prstGeom>
                <a:ln cap="rnd">
                  <a:solidFill>
                    <a:srgbClr val="00B0F0">
                      <a:alpha val="40000"/>
                    </a:srgbClr>
                  </a:solidFill>
                  <a:prstDash val="dash"/>
                  <a:round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1" name="Straight Connector 30">
                  <a:extLst>
                    <a:ext uri="{FF2B5EF4-FFF2-40B4-BE49-F238E27FC236}">
                      <a16:creationId xmlns:a16="http://schemas.microsoft.com/office/drawing/2014/main" id="{72E24BA9-F58C-4D44-B811-854EAED1F18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0369550" y="327025"/>
                  <a:ext cx="0" cy="6191250"/>
                </a:xfrm>
                <a:prstGeom prst="line">
                  <a:avLst/>
                </a:prstGeom>
                <a:ln cap="rnd">
                  <a:solidFill>
                    <a:srgbClr val="00B0F0">
                      <a:alpha val="40000"/>
                    </a:srgbClr>
                  </a:solidFill>
                  <a:prstDash val="dash"/>
                  <a:round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1" name="Group 20">
                <a:extLst>
                  <a:ext uri="{FF2B5EF4-FFF2-40B4-BE49-F238E27FC236}">
                    <a16:creationId xmlns:a16="http://schemas.microsoft.com/office/drawing/2014/main" id="{2D31CAD4-00EB-4384-B304-720429EF3151}"/>
                  </a:ext>
                </a:extLst>
              </p:cNvPr>
              <p:cNvGrpSpPr/>
              <p:nvPr userDrawn="1"/>
            </p:nvGrpSpPr>
            <p:grpSpPr>
              <a:xfrm>
                <a:off x="9841670" y="383004"/>
                <a:ext cx="378000" cy="6135270"/>
                <a:chOff x="10369550" y="327025"/>
                <a:chExt cx="360000" cy="6191250"/>
              </a:xfrm>
            </p:grpSpPr>
            <p:cxnSp>
              <p:nvCxnSpPr>
                <p:cNvPr id="28" name="Straight Connector 27">
                  <a:extLst>
                    <a:ext uri="{FF2B5EF4-FFF2-40B4-BE49-F238E27FC236}">
                      <a16:creationId xmlns:a16="http://schemas.microsoft.com/office/drawing/2014/main" id="{3F290373-23B2-4564-9A97-E8DB1749F92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0729550" y="327025"/>
                  <a:ext cx="0" cy="6191250"/>
                </a:xfrm>
                <a:prstGeom prst="line">
                  <a:avLst/>
                </a:prstGeom>
                <a:ln cap="rnd">
                  <a:solidFill>
                    <a:srgbClr val="00B0F0">
                      <a:alpha val="40000"/>
                    </a:srgbClr>
                  </a:solidFill>
                  <a:prstDash val="dash"/>
                  <a:round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" name="Straight Connector 28">
                  <a:extLst>
                    <a:ext uri="{FF2B5EF4-FFF2-40B4-BE49-F238E27FC236}">
                      <a16:creationId xmlns:a16="http://schemas.microsoft.com/office/drawing/2014/main" id="{D928E4E2-A299-4A47-9231-D32698C9B5B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0369550" y="327025"/>
                  <a:ext cx="0" cy="6191250"/>
                </a:xfrm>
                <a:prstGeom prst="line">
                  <a:avLst/>
                </a:prstGeom>
                <a:ln cap="rnd">
                  <a:solidFill>
                    <a:srgbClr val="00B0F0">
                      <a:alpha val="40000"/>
                    </a:srgbClr>
                  </a:solidFill>
                  <a:prstDash val="dash"/>
                  <a:round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57CCA3E1-CDAF-4B28-8840-DD20ED9888DB}"/>
                  </a:ext>
                </a:extLst>
              </p:cNvPr>
              <p:cNvGrpSpPr/>
              <p:nvPr userDrawn="1"/>
            </p:nvGrpSpPr>
            <p:grpSpPr>
              <a:xfrm>
                <a:off x="8857863" y="383004"/>
                <a:ext cx="378000" cy="6135270"/>
                <a:chOff x="10369550" y="327025"/>
                <a:chExt cx="360000" cy="6191250"/>
              </a:xfrm>
            </p:grpSpPr>
            <p:cxnSp>
              <p:nvCxnSpPr>
                <p:cNvPr id="26" name="Straight Connector 25">
                  <a:extLst>
                    <a:ext uri="{FF2B5EF4-FFF2-40B4-BE49-F238E27FC236}">
                      <a16:creationId xmlns:a16="http://schemas.microsoft.com/office/drawing/2014/main" id="{E2AFB0FD-36AF-406E-9555-388C92F8CC6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0729550" y="327025"/>
                  <a:ext cx="0" cy="6191250"/>
                </a:xfrm>
                <a:prstGeom prst="line">
                  <a:avLst/>
                </a:prstGeom>
                <a:ln cap="rnd">
                  <a:solidFill>
                    <a:srgbClr val="00B0F0">
                      <a:alpha val="40000"/>
                    </a:srgbClr>
                  </a:solidFill>
                  <a:prstDash val="dash"/>
                  <a:round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" name="Straight Connector 26">
                  <a:extLst>
                    <a:ext uri="{FF2B5EF4-FFF2-40B4-BE49-F238E27FC236}">
                      <a16:creationId xmlns:a16="http://schemas.microsoft.com/office/drawing/2014/main" id="{D36BFC1B-8AFA-4C29-9F93-7B221F2FFFB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0369550" y="327025"/>
                  <a:ext cx="0" cy="6191250"/>
                </a:xfrm>
                <a:prstGeom prst="line">
                  <a:avLst/>
                </a:prstGeom>
                <a:ln cap="rnd">
                  <a:solidFill>
                    <a:srgbClr val="00B0F0">
                      <a:alpha val="40000"/>
                    </a:srgbClr>
                  </a:solidFill>
                  <a:prstDash val="dash"/>
                  <a:round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3" name="Group 22">
                <a:extLst>
                  <a:ext uri="{FF2B5EF4-FFF2-40B4-BE49-F238E27FC236}">
                    <a16:creationId xmlns:a16="http://schemas.microsoft.com/office/drawing/2014/main" id="{9F3EF562-1047-44AC-92B6-4083D747CCB5}"/>
                  </a:ext>
                </a:extLst>
              </p:cNvPr>
              <p:cNvGrpSpPr/>
              <p:nvPr userDrawn="1"/>
            </p:nvGrpSpPr>
            <p:grpSpPr>
              <a:xfrm>
                <a:off x="10825477" y="383004"/>
                <a:ext cx="378000" cy="6135270"/>
                <a:chOff x="10369550" y="327025"/>
                <a:chExt cx="360000" cy="6191250"/>
              </a:xfrm>
            </p:grpSpPr>
            <p:cxnSp>
              <p:nvCxnSpPr>
                <p:cNvPr id="24" name="Straight Connector 23">
                  <a:extLst>
                    <a:ext uri="{FF2B5EF4-FFF2-40B4-BE49-F238E27FC236}">
                      <a16:creationId xmlns:a16="http://schemas.microsoft.com/office/drawing/2014/main" id="{A1C7DAFE-A4D3-45D4-99A3-807C6F66D47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0729550" y="327025"/>
                  <a:ext cx="0" cy="6191250"/>
                </a:xfrm>
                <a:prstGeom prst="line">
                  <a:avLst/>
                </a:prstGeom>
                <a:ln cap="rnd">
                  <a:solidFill>
                    <a:srgbClr val="00B0F0">
                      <a:alpha val="40000"/>
                    </a:srgbClr>
                  </a:solidFill>
                  <a:prstDash val="dash"/>
                  <a:round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" name="Straight Connector 24">
                  <a:extLst>
                    <a:ext uri="{FF2B5EF4-FFF2-40B4-BE49-F238E27FC236}">
                      <a16:creationId xmlns:a16="http://schemas.microsoft.com/office/drawing/2014/main" id="{CA968907-AEC9-4652-BA69-DBF955F7812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0369550" y="327025"/>
                  <a:ext cx="0" cy="6191250"/>
                </a:xfrm>
                <a:prstGeom prst="line">
                  <a:avLst/>
                </a:prstGeom>
                <a:ln cap="rnd">
                  <a:solidFill>
                    <a:srgbClr val="00B0F0">
                      <a:alpha val="40000"/>
                    </a:srgbClr>
                  </a:solidFill>
                  <a:prstDash val="dash"/>
                  <a:round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2C3119CA-C1A6-450F-B6B8-4D4AB17F55FB}"/>
                </a:ext>
              </a:extLst>
            </p:cNvPr>
            <p:cNvGrpSpPr/>
            <p:nvPr userDrawn="1"/>
          </p:nvGrpSpPr>
          <p:grpSpPr>
            <a:xfrm>
              <a:off x="381600" y="381600"/>
              <a:ext cx="11517312" cy="6203349"/>
              <a:chOff x="381600" y="381600"/>
              <a:chExt cx="11517312" cy="6203349"/>
            </a:xfrm>
          </p:grpSpPr>
          <p:cxnSp>
            <p:nvCxnSpPr>
              <p:cNvPr id="8" name="Straight Connector 7">
                <a:extLst>
                  <a:ext uri="{FF2B5EF4-FFF2-40B4-BE49-F238E27FC236}">
                    <a16:creationId xmlns:a16="http://schemas.microsoft.com/office/drawing/2014/main" id="{43151D3D-9185-46E8-BA3D-FDD6CEC86C12}"/>
                  </a:ext>
                </a:extLst>
              </p:cNvPr>
              <p:cNvCxnSpPr/>
              <p:nvPr/>
            </p:nvCxnSpPr>
            <p:spPr>
              <a:xfrm>
                <a:off x="381600" y="381600"/>
                <a:ext cx="11517312" cy="0"/>
              </a:xfrm>
              <a:prstGeom prst="line">
                <a:avLst/>
              </a:prstGeom>
              <a:ln cap="rnd">
                <a:solidFill>
                  <a:srgbClr val="00B0F0">
                    <a:alpha val="40000"/>
                  </a:srgbClr>
                </a:solidFill>
                <a:prstDash val="dash"/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" name="Straight Connector 8">
                <a:extLst>
                  <a:ext uri="{FF2B5EF4-FFF2-40B4-BE49-F238E27FC236}">
                    <a16:creationId xmlns:a16="http://schemas.microsoft.com/office/drawing/2014/main" id="{C3BCAE42-C981-4EEB-828E-7541D7174A64}"/>
                  </a:ext>
                </a:extLst>
              </p:cNvPr>
              <p:cNvCxnSpPr/>
              <p:nvPr userDrawn="1"/>
            </p:nvCxnSpPr>
            <p:spPr>
              <a:xfrm>
                <a:off x="411062" y="6311900"/>
                <a:ext cx="11398228" cy="0"/>
              </a:xfrm>
              <a:prstGeom prst="line">
                <a:avLst/>
              </a:prstGeom>
              <a:ln cap="rnd">
                <a:solidFill>
                  <a:srgbClr val="00B0F0">
                    <a:alpha val="40000"/>
                  </a:srgbClr>
                </a:solidFill>
                <a:prstDash val="dash"/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Straight Connector 9">
                <a:extLst>
                  <a:ext uri="{FF2B5EF4-FFF2-40B4-BE49-F238E27FC236}">
                    <a16:creationId xmlns:a16="http://schemas.microsoft.com/office/drawing/2014/main" id="{8FE2C8B9-B615-4CD2-9004-902FDB48585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411062" y="6584949"/>
                <a:ext cx="11398228" cy="0"/>
              </a:xfrm>
              <a:prstGeom prst="line">
                <a:avLst/>
              </a:prstGeom>
              <a:ln cap="rnd">
                <a:solidFill>
                  <a:srgbClr val="00B0F0">
                    <a:alpha val="40000"/>
                  </a:srgbClr>
                </a:solidFill>
                <a:prstDash val="dash"/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1244471076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rontp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6EA533F-94AF-4D02-A54D-267AD6DA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64693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4" imgH="344" progId="TCLayout.ActiveDocument.1">
                  <p:embed/>
                </p:oleObj>
              </mc:Choice>
              <mc:Fallback>
                <p:oleObj name="think-cell Slide" r:id="rId9" imgW="344" imgH="34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6EA533F-94AF-4D02-A54D-267AD6DA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54CE3BD-55D7-42CB-8D9D-17E2A0D7458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3"/>
            </p:custDataLst>
          </p:nvPr>
        </p:nvSpPr>
        <p:spPr>
          <a:xfrm>
            <a:off x="551942" y="326582"/>
            <a:ext cx="1998218" cy="1045018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54736" y="4510168"/>
            <a:ext cx="6255258" cy="215444"/>
          </a:xfrm>
          <a:prstGeom prst="rect">
            <a:avLst/>
          </a:prstGeom>
          <a:solidFill>
            <a:schemeClr val="tx1"/>
          </a:solidFill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bg2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change dat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551942" y="4092559"/>
            <a:ext cx="6255258" cy="307777"/>
          </a:xfrm>
          <a:prstGeom prst="rect">
            <a:avLst/>
          </a:prstGeom>
          <a:solidFill>
            <a:schemeClr val="tx1"/>
          </a:solidFill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change Master subtitle style</a:t>
            </a:r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551942" y="2519680"/>
            <a:ext cx="6255258" cy="1451832"/>
          </a:xfrm>
          <a:prstGeom prst="rect">
            <a:avLst/>
          </a:prstGeom>
          <a:solidFill>
            <a:schemeClr val="tx1"/>
          </a:solidFill>
        </p:spPr>
        <p:txBody>
          <a:bodyPr vert="horz"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bg2"/>
                </a:solidFill>
              </a:defRPr>
            </a:lvl1pPr>
          </a:lstStyle>
          <a:p>
            <a:r>
              <a:rPr lang="en-US"/>
              <a:t>Click to change Master title style</a:t>
            </a:r>
          </a:p>
        </p:txBody>
      </p:sp>
      <p:sp>
        <p:nvSpPr>
          <p:cNvPr id="2" name="1. On-page tracker">
            <a:extLst>
              <a:ext uri="{FF2B5EF4-FFF2-40B4-BE49-F238E27FC236}">
                <a16:creationId xmlns:a16="http://schemas.microsoft.com/office/drawing/2014/main" id="{C0D3CBF4-D047-32CB-A092-652CAC857033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Section marker</a:t>
            </a:r>
          </a:p>
        </p:txBody>
      </p:sp>
    </p:spTree>
    <p:extLst>
      <p:ext uri="{BB962C8B-B14F-4D97-AF65-F5344CB8AC3E}">
        <p14:creationId xmlns:p14="http://schemas.microsoft.com/office/powerpoint/2010/main" val="2519735551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8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90505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8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7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55092"/>
            <a:ext cx="11082528" cy="73152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1318966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Section marker</a:t>
            </a:r>
          </a:p>
        </p:txBody>
      </p:sp>
    </p:spTree>
    <p:extLst>
      <p:ext uri="{BB962C8B-B14F-4D97-AF65-F5344CB8AC3E}">
        <p14:creationId xmlns:p14="http://schemas.microsoft.com/office/powerpoint/2010/main" val="1322442592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2279F3A-E785-A817-A43D-2AB5BBAC0C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757215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7772400" imgH="10058400" progId="TCLayout.ActiveDocument.1">
                  <p:embed/>
                </p:oleObj>
              </mc:Choice>
              <mc:Fallback>
                <p:oleObj name="think-cell Slide" r:id="rId7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2279F3A-E785-A817-A43D-2AB5BBAC0C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154603C-472B-D4E8-F358-1CD0ED401B4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Section marker</a:t>
            </a:r>
          </a:p>
        </p:txBody>
      </p:sp>
    </p:spTree>
    <p:extLst>
      <p:ext uri="{BB962C8B-B14F-4D97-AF65-F5344CB8AC3E}">
        <p14:creationId xmlns:p14="http://schemas.microsoft.com/office/powerpoint/2010/main" val="2551588964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2" name="1. On-page tracker">
            <a:extLst>
              <a:ext uri="{FF2B5EF4-FFF2-40B4-BE49-F238E27FC236}">
                <a16:creationId xmlns:a16="http://schemas.microsoft.com/office/drawing/2014/main" id="{3057897B-D3C8-A735-DC7E-D4383D1221E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Section marker</a:t>
            </a:r>
          </a:p>
        </p:txBody>
      </p:sp>
    </p:spTree>
    <p:extLst>
      <p:ext uri="{BB962C8B-B14F-4D97-AF65-F5344CB8AC3E}">
        <p14:creationId xmlns:p14="http://schemas.microsoft.com/office/powerpoint/2010/main" val="2241846127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3" name="1. On-page tracker">
            <a:extLst>
              <a:ext uri="{FF2B5EF4-FFF2-40B4-BE49-F238E27FC236}">
                <a16:creationId xmlns:a16="http://schemas.microsoft.com/office/drawing/2014/main" id="{77387CA2-37E3-E660-67B4-16D621E80E7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Section marker</a:t>
            </a:r>
          </a:p>
        </p:txBody>
      </p:sp>
    </p:spTree>
    <p:extLst>
      <p:ext uri="{BB962C8B-B14F-4D97-AF65-F5344CB8AC3E}">
        <p14:creationId xmlns:p14="http://schemas.microsoft.com/office/powerpoint/2010/main" val="560246921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53238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tx1">
                  <a:lumMod val="85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10443870" y="6499381"/>
            <a:ext cx="833562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Company Name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2133601"/>
            <a:ext cx="2514600" cy="1380210"/>
          </a:xfrm>
        </p:spPr>
        <p:txBody>
          <a:bodyPr vert="horz" anchor="b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4" name="1. On-page tracker">
            <a:extLst>
              <a:ext uri="{FF2B5EF4-FFF2-40B4-BE49-F238E27FC236}">
                <a16:creationId xmlns:a16="http://schemas.microsoft.com/office/drawing/2014/main" id="{C3405AEA-74D5-910E-C204-B62E695DB02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Section marker</a:t>
            </a:r>
          </a:p>
        </p:txBody>
      </p:sp>
    </p:spTree>
    <p:extLst>
      <p:ext uri="{BB962C8B-B14F-4D97-AF65-F5344CB8AC3E}">
        <p14:creationId xmlns:p14="http://schemas.microsoft.com/office/powerpoint/2010/main" val="198147098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83999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443870" y="6499381"/>
            <a:ext cx="833562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Company Name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4" name="1. On-page tracker">
            <a:extLst>
              <a:ext uri="{FF2B5EF4-FFF2-40B4-BE49-F238E27FC236}">
                <a16:creationId xmlns:a16="http://schemas.microsoft.com/office/drawing/2014/main" id="{1AB19973-CFDD-3FB8-6DFF-498B601C379D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Section marker</a:t>
            </a:r>
          </a:p>
        </p:txBody>
      </p:sp>
    </p:spTree>
    <p:extLst>
      <p:ext uri="{BB962C8B-B14F-4D97-AF65-F5344CB8AC3E}">
        <p14:creationId xmlns:p14="http://schemas.microsoft.com/office/powerpoint/2010/main" val="407409872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091E3F4-3E4E-4572-878D-B0FAE513811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7F8EB60C-7CC2-49F0-B2EE-C81F067DE04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E1EC6DE-0D74-45A2-890D-493647E72E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DDAC503A-6438-4F4D-8CAA-8C78A2F5DDD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79500" y="1717675"/>
            <a:ext cx="5526000" cy="43243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90B0F4AD-13EA-465B-8CCF-8FB4C1FB53E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84913" y="1717675"/>
            <a:ext cx="5526000" cy="43243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ources">
            <a:extLst>
              <a:ext uri="{FF2B5EF4-FFF2-40B4-BE49-F238E27FC236}">
                <a16:creationId xmlns:a16="http://schemas.microsoft.com/office/drawing/2014/main" id="{A21034EE-4120-4833-87EF-46C30CAD4E6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80550" y="6471584"/>
            <a:ext cx="6287026" cy="138499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900" i="1">
                <a:latin typeface="+mn-lt"/>
              </a:defRPr>
            </a:lvl1pPr>
          </a:lstStyle>
          <a:p>
            <a:pPr lvl="0"/>
            <a:r>
              <a:rPr lang="en-US"/>
              <a:t>Insert sources</a:t>
            </a:r>
          </a:p>
        </p:txBody>
      </p:sp>
      <p:sp>
        <p:nvSpPr>
          <p:cNvPr id="10" name="object 3">
            <a:extLst>
              <a:ext uri="{FF2B5EF4-FFF2-40B4-BE49-F238E27FC236}">
                <a16:creationId xmlns:a16="http://schemas.microsoft.com/office/drawing/2014/main" id="{9A3ACDA5-B6A6-4A5A-BC59-5C671D8357C9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4320949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90617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443870" y="6499381"/>
            <a:ext cx="833562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Company Name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355092"/>
            <a:ext cx="5065776" cy="73152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1287435"/>
            <a:ext cx="5065776" cy="3046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467FBB9-900F-D74F-181C-8D3946FC8460}"/>
              </a:ext>
            </a:extLst>
          </p:cNvPr>
          <p:cNvSpPr txBox="1"/>
          <p:nvPr userDrawn="1"/>
        </p:nvSpPr>
        <p:spPr>
          <a:xfrm>
            <a:off x="335280" y="1503680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DK" sz="1600"/>
          </a:p>
        </p:txBody>
      </p:sp>
      <p:sp>
        <p:nvSpPr>
          <p:cNvPr id="5" name="1. On-page tracker">
            <a:extLst>
              <a:ext uri="{FF2B5EF4-FFF2-40B4-BE49-F238E27FC236}">
                <a16:creationId xmlns:a16="http://schemas.microsoft.com/office/drawing/2014/main" id="{84B0356F-D00A-3854-0BBC-656B43F1CE5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Section marker</a:t>
            </a:r>
          </a:p>
        </p:txBody>
      </p:sp>
    </p:spTree>
    <p:extLst>
      <p:ext uri="{BB962C8B-B14F-4D97-AF65-F5344CB8AC3E}">
        <p14:creationId xmlns:p14="http://schemas.microsoft.com/office/powerpoint/2010/main" val="3009014133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/2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90617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0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443870" y="6499381"/>
            <a:ext cx="833562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Company Name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6573171" y="355092"/>
            <a:ext cx="5065776" cy="73152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6573171" y="1287435"/>
            <a:ext cx="5065776" cy="3046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467FBB9-900F-D74F-181C-8D3946FC8460}"/>
              </a:ext>
            </a:extLst>
          </p:cNvPr>
          <p:cNvSpPr txBox="1"/>
          <p:nvPr userDrawn="1"/>
        </p:nvSpPr>
        <p:spPr>
          <a:xfrm>
            <a:off x="335280" y="1503680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DK" sz="1600"/>
          </a:p>
        </p:txBody>
      </p:sp>
      <p:sp>
        <p:nvSpPr>
          <p:cNvPr id="5" name="1. On-page tracker">
            <a:extLst>
              <a:ext uri="{FF2B5EF4-FFF2-40B4-BE49-F238E27FC236}">
                <a16:creationId xmlns:a16="http://schemas.microsoft.com/office/drawing/2014/main" id="{84B0356F-D00A-3854-0BBC-656B43F1CE5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Section marker</a:t>
            </a:r>
          </a:p>
        </p:txBody>
      </p:sp>
    </p:spTree>
    <p:extLst>
      <p:ext uri="{BB962C8B-B14F-4D97-AF65-F5344CB8AC3E}">
        <p14:creationId xmlns:p14="http://schemas.microsoft.com/office/powerpoint/2010/main" val="3124927937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95370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572" imgH="588" progId="TCLayout.ActiveDocument.1">
                  <p:embed/>
                </p:oleObj>
              </mc:Choice>
              <mc:Fallback>
                <p:oleObj name="think-cell Slide" r:id="rId16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55092"/>
            <a:ext cx="6967728" cy="73152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443870" y="6499381"/>
            <a:ext cx="833562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Company Name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12911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4" name="1. On-page tracker">
            <a:extLst>
              <a:ext uri="{FF2B5EF4-FFF2-40B4-BE49-F238E27FC236}">
                <a16:creationId xmlns:a16="http://schemas.microsoft.com/office/drawing/2014/main" id="{81FC95FE-98AE-2D03-2407-7155AFECE47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Section marker</a:t>
            </a:r>
          </a:p>
        </p:txBody>
      </p:sp>
    </p:spTree>
    <p:extLst>
      <p:ext uri="{BB962C8B-B14F-4D97-AF65-F5344CB8AC3E}">
        <p14:creationId xmlns:p14="http://schemas.microsoft.com/office/powerpoint/2010/main" val="3195946686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15643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443870" y="6499381"/>
            <a:ext cx="833562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Company Name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7" name="BottomLineRight">
            <a:extLst>
              <a:ext uri="{FF2B5EF4-FFF2-40B4-BE49-F238E27FC236}">
                <a16:creationId xmlns:a16="http://schemas.microsoft.com/office/drawing/2014/main" id="{C7EF0021-7C64-4C3A-BB10-343D51B3F040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BottomLineLeft">
            <a:extLst>
              <a:ext uri="{FF2B5EF4-FFF2-40B4-BE49-F238E27FC236}">
                <a16:creationId xmlns:a16="http://schemas.microsoft.com/office/drawing/2014/main" id="{769848ED-A1D9-4D6F-AC16-5512562B47A0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TopLineRight">
            <a:extLst>
              <a:ext uri="{FF2B5EF4-FFF2-40B4-BE49-F238E27FC236}">
                <a16:creationId xmlns:a16="http://schemas.microsoft.com/office/drawing/2014/main" id="{9DD5C457-8894-4C00-BE39-CE61754727F6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Left">
            <a:extLst>
              <a:ext uri="{FF2B5EF4-FFF2-40B4-BE49-F238E27FC236}">
                <a16:creationId xmlns:a16="http://schemas.microsoft.com/office/drawing/2014/main" id="{8B2884B5-93FA-4ECC-9065-3398231F02FC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354162"/>
            <a:ext cx="7918704" cy="73152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6" y="1291125"/>
            <a:ext cx="7918704" cy="29718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4" name="1. On-page tracker">
            <a:extLst>
              <a:ext uri="{FF2B5EF4-FFF2-40B4-BE49-F238E27FC236}">
                <a16:creationId xmlns:a16="http://schemas.microsoft.com/office/drawing/2014/main" id="{40C50DBC-77FE-61C3-BB9B-59D91329110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Section marker</a:t>
            </a:r>
          </a:p>
        </p:txBody>
      </p:sp>
    </p:spTree>
    <p:extLst>
      <p:ext uri="{BB962C8B-B14F-4D97-AF65-F5344CB8AC3E}">
        <p14:creationId xmlns:p14="http://schemas.microsoft.com/office/powerpoint/2010/main" val="1525848679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32E4BA7-205B-4431-879A-B60A0FD6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7888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32E4BA7-205B-4431-879A-B60A0FD6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2" name="ClientLogo">
            <a:extLst>
              <a:ext uri="{FF2B5EF4-FFF2-40B4-BE49-F238E27FC236}">
                <a16:creationId xmlns:a16="http://schemas.microsoft.com/office/drawing/2014/main" id="{360045FA-4F2B-7CCC-BC88-DBB2BC856EF6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3"/>
            </p:custDataLst>
          </p:nvPr>
        </p:nvSpPr>
        <p:spPr>
          <a:xfrm>
            <a:off x="5096891" y="2906491"/>
            <a:ext cx="1998218" cy="1045018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logo goes here.</a:t>
            </a:r>
          </a:p>
        </p:txBody>
      </p:sp>
    </p:spTree>
    <p:extLst>
      <p:ext uri="{BB962C8B-B14F-4D97-AF65-F5344CB8AC3E}">
        <p14:creationId xmlns:p14="http://schemas.microsoft.com/office/powerpoint/2010/main" val="1653620025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er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10C5396-A74C-51C3-AEC5-D35E7FDD26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000826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7772400" imgH="10058400" progId="TCLayout.ActiveDocument.1">
                  <p:embed/>
                </p:oleObj>
              </mc:Choice>
              <mc:Fallback>
                <p:oleObj name="think-cell Slide" r:id="rId7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10C5396-A74C-51C3-AEC5-D35E7FDD26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4580468"/>
            <a:ext cx="11082528" cy="677108"/>
          </a:xfrm>
        </p:spPr>
        <p:txBody>
          <a:bodyPr vert="horz" anchor="b">
            <a:noAutofit/>
          </a:bodyPr>
          <a:lstStyle>
            <a:lvl1pPr>
              <a:lnSpc>
                <a:spcPct val="100000"/>
              </a:lnSpc>
              <a:defRPr sz="4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BB5FB0D-5CC7-9318-47B3-B932C5E0C6E2}"/>
              </a:ext>
            </a:extLst>
          </p:cNvPr>
          <p:cNvSpPr txBox="1"/>
          <p:nvPr userDrawn="1"/>
        </p:nvSpPr>
        <p:spPr>
          <a:xfrm>
            <a:off x="1843088" y="-800100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DK" sz="1600"/>
          </a:p>
        </p:txBody>
      </p:sp>
      <p:sp>
        <p:nvSpPr>
          <p:cNvPr id="2" name="1. On-page tracker">
            <a:extLst>
              <a:ext uri="{FF2B5EF4-FFF2-40B4-BE49-F238E27FC236}">
                <a16:creationId xmlns:a16="http://schemas.microsoft.com/office/drawing/2014/main" id="{51CB7D96-238D-424E-1A92-C27F075F834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Section marker</a:t>
            </a:r>
          </a:p>
        </p:txBody>
      </p:sp>
    </p:spTree>
    <p:extLst>
      <p:ext uri="{BB962C8B-B14F-4D97-AF65-F5344CB8AC3E}">
        <p14:creationId xmlns:p14="http://schemas.microsoft.com/office/powerpoint/2010/main" val="1285164401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userDrawn="1">
  <p:cSld name="Title and Content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57"/>
          <p:cNvSpPr txBox="1">
            <a:spLocks noGrp="1"/>
          </p:cNvSpPr>
          <p:nvPr>
            <p:ph type="title"/>
          </p:nvPr>
        </p:nvSpPr>
        <p:spPr>
          <a:xfrm>
            <a:off x="467806" y="365126"/>
            <a:ext cx="11173331" cy="8112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71616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" name="Google Shape;34;p57"/>
          <p:cNvSpPr txBox="1">
            <a:spLocks noGrp="1"/>
          </p:cNvSpPr>
          <p:nvPr>
            <p:ph type="body" idx="1"/>
          </p:nvPr>
        </p:nvSpPr>
        <p:spPr>
          <a:xfrm>
            <a:off x="569118" y="1400032"/>
            <a:ext cx="11072019" cy="48294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171616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171616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171616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171616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171616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" name="Slide Number">
            <a:extLst>
              <a:ext uri="{FF2B5EF4-FFF2-40B4-BE49-F238E27FC236}">
                <a16:creationId xmlns:a16="http://schemas.microsoft.com/office/drawing/2014/main" id="{3771A5E6-4EA7-C278-CF9B-197E6937D3F5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3" name="1. On-page tracker">
            <a:extLst>
              <a:ext uri="{FF2B5EF4-FFF2-40B4-BE49-F238E27FC236}">
                <a16:creationId xmlns:a16="http://schemas.microsoft.com/office/drawing/2014/main" id="{8B23C019-3D76-9585-DF94-4D39967D422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2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Section marker</a:t>
            </a:r>
          </a:p>
        </p:txBody>
      </p:sp>
    </p:spTree>
    <p:extLst>
      <p:ext uri="{BB962C8B-B14F-4D97-AF65-F5344CB8AC3E}">
        <p14:creationId xmlns:p14="http://schemas.microsoft.com/office/powerpoint/2010/main" val="346963078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lank" userDrawn="1">
  <p:cSld name="Blank">
    <p:spTree>
      <p:nvGrpSpPr>
        <p:cNvPr id="1" name="Shape 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8EA2B47-10D4-7DBD-8DB4-FE8BB18230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567511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8EA2B47-10D4-7DBD-8DB4-FE8BB18230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oogle Shape;13;p38">
            <a:extLst>
              <a:ext uri="{FF2B5EF4-FFF2-40B4-BE49-F238E27FC236}">
                <a16:creationId xmlns:a16="http://schemas.microsoft.com/office/drawing/2014/main" id="{80EE66BF-B90E-BB4C-AA8F-835FC7CC5886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11164566" y="6425800"/>
            <a:ext cx="53647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06203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06203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06203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06203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06203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06203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06203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06203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06203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sp>
        <p:nvSpPr>
          <p:cNvPr id="4" name="Google Shape;13;p38">
            <a:extLst>
              <a:ext uri="{FF2B5EF4-FFF2-40B4-BE49-F238E27FC236}">
                <a16:creationId xmlns:a16="http://schemas.microsoft.com/office/drawing/2014/main" id="{1EB9819E-3DFE-56B3-6789-17704A7BB8F5}"/>
              </a:ext>
            </a:extLst>
          </p:cNvPr>
          <p:cNvSpPr txBox="1">
            <a:spLocks/>
          </p:cNvSpPr>
          <p:nvPr userDrawn="1"/>
        </p:nvSpPr>
        <p:spPr>
          <a:xfrm>
            <a:off x="11164566" y="6425800"/>
            <a:ext cx="53647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06203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06203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06203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06203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06203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06203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06203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06203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06203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1. On-page tracker">
            <a:extLst>
              <a:ext uri="{FF2B5EF4-FFF2-40B4-BE49-F238E27FC236}">
                <a16:creationId xmlns:a16="http://schemas.microsoft.com/office/drawing/2014/main" id="{251045C4-024B-CA7B-E270-32B5FE04C1F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2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Section marker</a:t>
            </a:r>
          </a:p>
        </p:txBody>
      </p:sp>
    </p:spTree>
    <p:extLst>
      <p:ext uri="{BB962C8B-B14F-4D97-AF65-F5344CB8AC3E}">
        <p14:creationId xmlns:p14="http://schemas.microsoft.com/office/powerpoint/2010/main" val="2276762937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genda" userDrawn="1">
  <p:cSld name="Agenda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40"/>
          <p:cNvSpPr txBox="1">
            <a:spLocks noGrp="1"/>
          </p:cNvSpPr>
          <p:nvPr>
            <p:ph type="title"/>
          </p:nvPr>
        </p:nvSpPr>
        <p:spPr>
          <a:xfrm>
            <a:off x="469838" y="1661489"/>
            <a:ext cx="3004599" cy="8112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71616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" name="Google Shape;24;p40"/>
          <p:cNvSpPr txBox="1">
            <a:spLocks noGrp="1"/>
          </p:cNvSpPr>
          <p:nvPr>
            <p:ph type="body" idx="1"/>
          </p:nvPr>
        </p:nvSpPr>
        <p:spPr>
          <a:xfrm>
            <a:off x="4991582" y="1661489"/>
            <a:ext cx="6649556" cy="44465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30200" algn="l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>
                <a:srgbClr val="171616"/>
              </a:buClr>
              <a:buSzPts val="1600"/>
              <a:buChar char="•"/>
              <a:defRPr sz="1600" b="0">
                <a:solidFill>
                  <a:srgbClr val="171616"/>
                </a:solidFill>
              </a:defRPr>
            </a:lvl1pPr>
            <a:lvl2pPr marL="914400" lvl="1" indent="-330200" algn="l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>
                <a:srgbClr val="171616"/>
              </a:buClr>
              <a:buSzPts val="1600"/>
              <a:buChar char="•"/>
              <a:defRPr sz="1600" b="0">
                <a:solidFill>
                  <a:srgbClr val="171616"/>
                </a:solidFill>
              </a:defRPr>
            </a:lvl2pPr>
            <a:lvl3pPr marL="1371600" lvl="2" indent="-330200" algn="l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>
                <a:srgbClr val="171616"/>
              </a:buClr>
              <a:buSzPts val="1600"/>
              <a:buChar char="•"/>
              <a:defRPr sz="1600" b="0">
                <a:solidFill>
                  <a:srgbClr val="171616"/>
                </a:solidFill>
              </a:defRPr>
            </a:lvl3pPr>
            <a:lvl4pPr marL="1828800" lvl="3" indent="-330200" algn="l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>
                <a:srgbClr val="171616"/>
              </a:buClr>
              <a:buSzPts val="1600"/>
              <a:buChar char="•"/>
              <a:defRPr sz="1600" b="0">
                <a:solidFill>
                  <a:srgbClr val="171616"/>
                </a:solidFill>
              </a:defRPr>
            </a:lvl4pPr>
            <a:lvl5pPr marL="2286000" lvl="4" indent="-330200" algn="l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Clr>
                <a:srgbClr val="171616"/>
              </a:buClr>
              <a:buSzPts val="1600"/>
              <a:buChar char="•"/>
              <a:defRPr sz="1600" b="0">
                <a:solidFill>
                  <a:srgbClr val="171616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" name="Google Shape;13;p38">
            <a:extLst>
              <a:ext uri="{FF2B5EF4-FFF2-40B4-BE49-F238E27FC236}">
                <a16:creationId xmlns:a16="http://schemas.microsoft.com/office/drawing/2014/main" id="{D4D1A348-40FE-1447-81CE-FE09F29F6982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11164566" y="6425800"/>
            <a:ext cx="53647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06203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06203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06203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06203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06203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06203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06203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06203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06203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sp>
        <p:nvSpPr>
          <p:cNvPr id="2" name="1. On-page tracker">
            <a:extLst>
              <a:ext uri="{FF2B5EF4-FFF2-40B4-BE49-F238E27FC236}">
                <a16:creationId xmlns:a16="http://schemas.microsoft.com/office/drawing/2014/main" id="{D2CA4751-B1D3-6C52-458C-3874A5CCDA6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Section marker</a:t>
            </a:r>
          </a:p>
        </p:txBody>
      </p:sp>
    </p:spTree>
    <p:extLst>
      <p:ext uri="{BB962C8B-B14F-4D97-AF65-F5344CB8AC3E}">
        <p14:creationId xmlns:p14="http://schemas.microsoft.com/office/powerpoint/2010/main" val="2305494432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userDrawn="1">
  <p:cSld name="Title Only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41"/>
          <p:cNvSpPr txBox="1">
            <a:spLocks noGrp="1"/>
          </p:cNvSpPr>
          <p:nvPr>
            <p:ph type="title"/>
          </p:nvPr>
        </p:nvSpPr>
        <p:spPr>
          <a:xfrm>
            <a:off x="467806" y="365126"/>
            <a:ext cx="11173331" cy="8112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71616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" name="Google Shape;13;p38">
            <a:extLst>
              <a:ext uri="{FF2B5EF4-FFF2-40B4-BE49-F238E27FC236}">
                <a16:creationId xmlns:a16="http://schemas.microsoft.com/office/drawing/2014/main" id="{CAD07A3F-36D5-1048-A077-B86C0D0FCB40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11164566" y="6425800"/>
            <a:ext cx="53647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06203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06203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06203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06203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06203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06203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06203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06203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06203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sp>
        <p:nvSpPr>
          <p:cNvPr id="2" name="1. On-page tracker">
            <a:extLst>
              <a:ext uri="{FF2B5EF4-FFF2-40B4-BE49-F238E27FC236}">
                <a16:creationId xmlns:a16="http://schemas.microsoft.com/office/drawing/2014/main" id="{280E36D8-9727-3A66-B568-44AB140574C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"/>
            </p:custDataLst>
          </p:nvPr>
        </p:nvSpPr>
        <p:spPr>
          <a:xfrm>
            <a:off x="7630160" y="100540"/>
            <a:ext cx="4007104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Section marker</a:t>
            </a:r>
          </a:p>
        </p:txBody>
      </p:sp>
    </p:spTree>
    <p:extLst>
      <p:ext uri="{BB962C8B-B14F-4D97-AF65-F5344CB8AC3E}">
        <p14:creationId xmlns:p14="http://schemas.microsoft.com/office/powerpoint/2010/main" val="388670637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Columns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D13C721-6786-4EED-8E96-C5E819CC3BA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F8EB60C-7CC2-49F0-B2EE-C81F067DE04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2E4DBE6-6503-46E1-9A39-54EC411C8D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B2A11E5B-C2C9-4D35-B53E-E341B6F5511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2282" y="1209096"/>
            <a:ext cx="11460163" cy="458757"/>
          </a:xfrm>
        </p:spPr>
        <p:txBody>
          <a:bodyPr tIns="180000">
            <a:spAutoFit/>
          </a:bodyPr>
          <a:lstStyle>
            <a:lvl1pPr>
              <a:defRPr lang="en-US" sz="1800" kern="1200" dirty="0">
                <a:solidFill>
                  <a:schemeClr val="tx1"/>
                </a:solidFill>
                <a:latin typeface="Arial Nova Light" panose="020B03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None/>
            </a:pPr>
            <a:r>
              <a:rPr lang="en-US"/>
              <a:t>Insert subtitle here at 18 pt and align to the baseline of the title</a:t>
            </a:r>
          </a:p>
        </p:txBody>
      </p:sp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DDAC503A-6438-4F4D-8CAA-8C78A2F5DDD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79500" y="2214000"/>
            <a:ext cx="5526000" cy="38280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90B0F4AD-13EA-465B-8CCF-8FB4C1FB53E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84913" y="2214000"/>
            <a:ext cx="5526000" cy="38280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ources">
            <a:extLst>
              <a:ext uri="{FF2B5EF4-FFF2-40B4-BE49-F238E27FC236}">
                <a16:creationId xmlns:a16="http://schemas.microsoft.com/office/drawing/2014/main" id="{04DFEC96-1783-4369-9F57-213BEE0F50D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80550" y="6471584"/>
            <a:ext cx="6287026" cy="138499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900" i="1">
                <a:latin typeface="+mn-lt"/>
              </a:defRPr>
            </a:lvl1pPr>
          </a:lstStyle>
          <a:p>
            <a:pPr lvl="0"/>
            <a:r>
              <a:rPr lang="en-US"/>
              <a:t>Insert sources</a:t>
            </a:r>
          </a:p>
        </p:txBody>
      </p:sp>
      <p:sp>
        <p:nvSpPr>
          <p:cNvPr id="11" name="object 3">
            <a:extLst>
              <a:ext uri="{FF2B5EF4-FFF2-40B4-BE49-F238E27FC236}">
                <a16:creationId xmlns:a16="http://schemas.microsoft.com/office/drawing/2014/main" id="{93E5C91E-FF8C-4136-8827-9F4250A68158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4092789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rontpage dar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6EA533F-94AF-4D02-A54D-267AD6DA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42391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4" imgH="344" progId="TCLayout.ActiveDocument.1">
                  <p:embed/>
                </p:oleObj>
              </mc:Choice>
              <mc:Fallback>
                <p:oleObj name="think-cell Slide" r:id="rId8" imgW="344" imgH="34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6EA533F-94AF-4D02-A54D-267AD6DA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54CE3BD-55D7-42CB-8D9D-17E2A0D7458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3"/>
            </p:custDataLst>
          </p:nvPr>
        </p:nvSpPr>
        <p:spPr>
          <a:xfrm>
            <a:off x="551942" y="326582"/>
            <a:ext cx="1998218" cy="1045018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54736" y="4510168"/>
            <a:ext cx="6255258" cy="215444"/>
          </a:xfrm>
          <a:prstGeom prst="rect">
            <a:avLst/>
          </a:prstGeom>
          <a:noFill/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change dat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551942" y="4092559"/>
            <a:ext cx="6255258" cy="307777"/>
          </a:xfrm>
          <a:prstGeom prst="rect">
            <a:avLst/>
          </a:prstGeom>
          <a:noFill/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change Master subtitle style</a:t>
            </a:r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551942" y="2519680"/>
            <a:ext cx="6255258" cy="1451832"/>
          </a:xfrm>
          <a:prstGeom prst="rect">
            <a:avLst/>
          </a:prstGeom>
          <a:noFill/>
        </p:spPr>
        <p:txBody>
          <a:bodyPr vert="horz"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/>
              <a:t>Click to change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3109432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D05DDE-08ED-4939-B42D-FCE998A24D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DK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1D3418-51D4-5391-448E-744257B6D5F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DK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ABE5C14E-9F3C-E044-4B8C-5BF995BDD99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63905" y="6425800"/>
            <a:ext cx="3400661" cy="365125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rgbClr val="0620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ompany Name</a:t>
            </a:r>
            <a:endParaRPr lang="en-DK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3200485C-8F67-920E-49CB-9AB93BAAA5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31616" y="6425800"/>
            <a:ext cx="369425" cy="365125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rgbClr val="0620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50CA70B-A3EC-A048-ABBD-42CEA7B77B28}" type="slidenum">
              <a:rPr lang="en-DK" smtClean="0"/>
              <a:pPr/>
              <a:t>‹#›</a:t>
            </a:fld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3648773538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1_Title Only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41"/>
          <p:cNvSpPr txBox="1">
            <a:spLocks noGrp="1"/>
          </p:cNvSpPr>
          <p:nvPr>
            <p:ph type="title"/>
          </p:nvPr>
        </p:nvSpPr>
        <p:spPr>
          <a:xfrm>
            <a:off x="467806" y="365126"/>
            <a:ext cx="11173331" cy="8112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71616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" name="Google Shape;27;p41"/>
          <p:cNvSpPr txBox="1"/>
          <p:nvPr/>
        </p:nvSpPr>
        <p:spPr>
          <a:xfrm>
            <a:off x="7763905" y="6425800"/>
            <a:ext cx="340066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900" b="0" i="0" u="none" strike="noStrike" cap="none">
                <a:solidFill>
                  <a:srgbClr val="171616"/>
                </a:solidFill>
                <a:latin typeface="Arial"/>
                <a:ea typeface="Arial"/>
                <a:cs typeface="Arial"/>
                <a:sym typeface="Arial"/>
              </a:rPr>
              <a:t>Company Name</a:t>
            </a:r>
            <a:endParaRPr sz="900" b="0" i="0" u="none" strike="noStrike" cap="none">
              <a:solidFill>
                <a:srgbClr val="17161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8" name="Google Shape;28;p41"/>
          <p:cNvSpPr txBox="1"/>
          <p:nvPr/>
        </p:nvSpPr>
        <p:spPr>
          <a:xfrm>
            <a:off x="11331616" y="6425800"/>
            <a:ext cx="36942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900" b="0" i="0" u="none" strike="noStrike" cap="none">
                <a:solidFill>
                  <a:srgbClr val="171616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900" b="0" i="0" u="none" strike="noStrike" cap="none">
              <a:solidFill>
                <a:srgbClr val="171616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1590052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BF2E42C-458A-44BF-B645-B8081642845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F8EB60C-7CC2-49F0-B2EE-C81F067DE04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1140E2A-A703-4596-8616-5CFC24CA85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DDAC503A-6438-4F4D-8CAA-8C78A2F5DDD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79500" y="1717675"/>
            <a:ext cx="3560675" cy="43243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90B0F4AD-13EA-465B-8CCF-8FB4C1FB53E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6413" y="1717675"/>
            <a:ext cx="3560675" cy="43243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FC2C5888-6750-49EC-8C05-C5BF059C529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248737" y="1717675"/>
            <a:ext cx="3560675" cy="43243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ources">
            <a:extLst>
              <a:ext uri="{FF2B5EF4-FFF2-40B4-BE49-F238E27FC236}">
                <a16:creationId xmlns:a16="http://schemas.microsoft.com/office/drawing/2014/main" id="{042C1C24-F525-4434-9D19-2FB0DAC7FC4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80550" y="6471584"/>
            <a:ext cx="6287026" cy="138499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900" i="1">
                <a:latin typeface="+mn-lt"/>
              </a:defRPr>
            </a:lvl1pPr>
          </a:lstStyle>
          <a:p>
            <a:pPr lvl="0"/>
            <a:r>
              <a:rPr lang="en-US"/>
              <a:t>Insert sources</a:t>
            </a:r>
          </a:p>
        </p:txBody>
      </p:sp>
      <p:sp>
        <p:nvSpPr>
          <p:cNvPr id="11" name="object 3">
            <a:extLst>
              <a:ext uri="{FF2B5EF4-FFF2-40B4-BE49-F238E27FC236}">
                <a16:creationId xmlns:a16="http://schemas.microsoft.com/office/drawing/2014/main" id="{40288D8E-4FC7-4105-9758-8BCB4BC50CA4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018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tings Slide - Logo">
    <p:bg>
      <p:bgPr>
        <a:gradFill>
          <a:gsLst>
            <a:gs pos="1000">
              <a:schemeClr val="accent1"/>
            </a:gs>
            <a:gs pos="54000">
              <a:schemeClr val="accent1">
                <a:lumMod val="75000"/>
                <a:lumOff val="25000"/>
              </a:schemeClr>
            </a:gs>
            <a:gs pos="85000">
              <a:schemeClr val="accent4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75624" y="2819602"/>
            <a:ext cx="7040753" cy="1218795"/>
          </a:xfrm>
        </p:spPr>
        <p:txBody>
          <a:bodyPr anchor="ctr"/>
          <a:lstStyle>
            <a:lvl1pPr algn="ctr">
              <a:defRPr sz="8800" b="1">
                <a:solidFill>
                  <a:schemeClr val="tx1"/>
                </a:solidFill>
                <a:latin typeface="Arial Nova" panose="020B05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Welcome</a:t>
            </a:r>
            <a:endParaRPr lang="en-US"/>
          </a:p>
        </p:txBody>
      </p:sp>
      <p:pic>
        <p:nvPicPr>
          <p:cNvPr id="8" name="Picture 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6436F6DA-99A4-4B90-25C4-EBC58F02567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97424" y="4533798"/>
            <a:ext cx="1997151" cy="182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92064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Columns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68EBC0D-9CAC-4A6E-8B25-0FD13501F56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F8EB60C-7CC2-49F0-B2EE-C81F067DE04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996E69C-0276-4792-A54C-F3EE324B8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B85F2A0C-23E9-4A49-B324-275E7CA20A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2282" y="1209096"/>
            <a:ext cx="11460163" cy="458757"/>
          </a:xfrm>
        </p:spPr>
        <p:txBody>
          <a:bodyPr tIns="180000">
            <a:spAutoFit/>
          </a:bodyPr>
          <a:lstStyle>
            <a:lvl1pPr>
              <a:defRPr lang="en-US" sz="1800" kern="1200" dirty="0">
                <a:solidFill>
                  <a:schemeClr val="tx1"/>
                </a:solidFill>
                <a:latin typeface="Arial Nova Light" panose="020B03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None/>
            </a:pPr>
            <a:r>
              <a:rPr lang="en-US"/>
              <a:t>Insert subtitle here at 18 pt and align to the baseline of the title</a:t>
            </a:r>
          </a:p>
        </p:txBody>
      </p:sp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DDAC503A-6438-4F4D-8CAA-8C78A2F5DDD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79500" y="2214000"/>
            <a:ext cx="3560675" cy="38280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90B0F4AD-13EA-465B-8CCF-8FB4C1FB53E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6413" y="2214000"/>
            <a:ext cx="3560675" cy="38280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FC2C5888-6750-49EC-8C05-C5BF059C529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248737" y="2214000"/>
            <a:ext cx="3560675" cy="38280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Sources">
            <a:extLst>
              <a:ext uri="{FF2B5EF4-FFF2-40B4-BE49-F238E27FC236}">
                <a16:creationId xmlns:a16="http://schemas.microsoft.com/office/drawing/2014/main" id="{06AB5DC8-2704-4850-ACFF-815EAD433F3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80550" y="6471584"/>
            <a:ext cx="6287026" cy="138499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900" i="1">
                <a:latin typeface="+mn-lt"/>
              </a:defRPr>
            </a:lvl1pPr>
          </a:lstStyle>
          <a:p>
            <a:pPr lvl="0"/>
            <a:r>
              <a:rPr lang="en-US"/>
              <a:t>Insert sources</a:t>
            </a:r>
          </a:p>
        </p:txBody>
      </p:sp>
      <p:sp>
        <p:nvSpPr>
          <p:cNvPr id="12" name="object 3">
            <a:extLst>
              <a:ext uri="{FF2B5EF4-FFF2-40B4-BE49-F238E27FC236}">
                <a16:creationId xmlns:a16="http://schemas.microsoft.com/office/drawing/2014/main" id="{BB1250C9-5E01-49B7-A2E5-0503788D8841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359889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Keypoints –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1E72000-54E2-4676-917B-741ECA627B87}"/>
              </a:ext>
            </a:extLst>
          </p:cNvPr>
          <p:cNvSpPr>
            <a:spLocks noGrp="1"/>
          </p:cNvSpPr>
          <p:nvPr>
            <p:ph type="sldNum" sz="quarter" idx="46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B3EFB98-51A4-4263-B26D-9017F18F14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D0818C70-A8E1-4BE4-9EF2-0E79CEB29C4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63598" y="1209600"/>
            <a:ext cx="11458800" cy="458757"/>
          </a:xfrm>
          <a:prstGeom prst="rect">
            <a:avLst/>
          </a:prstGeom>
        </p:spPr>
        <p:txBody>
          <a:bodyPr wrap="square" lIns="0" tIns="180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lang="en-US" sz="1800" kern="1200" dirty="0">
                <a:solidFill>
                  <a:schemeClr val="tx1"/>
                </a:solidFill>
                <a:latin typeface="Arial Nova Light" panose="020B03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18 pt and align to the baseline of the title</a:t>
            </a:r>
          </a:p>
        </p:txBody>
      </p:sp>
      <p:sp>
        <p:nvSpPr>
          <p:cNvPr id="12" name="Number 1">
            <a:extLst>
              <a:ext uri="{FF2B5EF4-FFF2-40B4-BE49-F238E27FC236}">
                <a16:creationId xmlns:a16="http://schemas.microsoft.com/office/drawing/2014/main" id="{1B37E57C-1FF2-4EE3-9168-6499E7419111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324542" y="2445181"/>
            <a:ext cx="351058" cy="830997"/>
          </a:xfrm>
        </p:spPr>
        <p:txBody>
          <a:bodyPr wrap="none">
            <a:spAutoFit/>
          </a:bodyPr>
          <a:lstStyle>
            <a:lvl1pPr algn="l">
              <a:defRPr sz="5400">
                <a:solidFill>
                  <a:schemeClr val="accent3"/>
                </a:solidFill>
                <a:latin typeface="+mj-lt"/>
              </a:defRPr>
            </a:lvl1pPr>
            <a:lvl2pPr>
              <a:defRPr sz="1800"/>
            </a:lvl2pPr>
            <a:lvl3pPr>
              <a:defRPr sz="18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</a:t>
            </a:r>
          </a:p>
        </p:txBody>
      </p:sp>
      <p:sp>
        <p:nvSpPr>
          <p:cNvPr id="7" name="Subhead 1">
            <a:extLst>
              <a:ext uri="{FF2B5EF4-FFF2-40B4-BE49-F238E27FC236}">
                <a16:creationId xmlns:a16="http://schemas.microsoft.com/office/drawing/2014/main" id="{1926B193-B868-48CA-990F-8C6716DB9CF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910109" y="2550261"/>
            <a:ext cx="3043500" cy="644281"/>
          </a:xfrm>
        </p:spPr>
        <p:txBody>
          <a:bodyPr anchor="ctr"/>
          <a:lstStyle/>
          <a:p>
            <a:pPr lvl="0"/>
            <a:r>
              <a:rPr lang="en-US"/>
              <a:t>Insert subhead minimum 18 pt</a:t>
            </a:r>
          </a:p>
        </p:txBody>
      </p:sp>
      <p:sp>
        <p:nvSpPr>
          <p:cNvPr id="18" name="Text Placeholder 1">
            <a:extLst>
              <a:ext uri="{FF2B5EF4-FFF2-40B4-BE49-F238E27FC236}">
                <a16:creationId xmlns:a16="http://schemas.microsoft.com/office/drawing/2014/main" id="{2F973F8C-96D5-4894-96E6-EB42D3132AD1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363599" y="3419999"/>
            <a:ext cx="3595626" cy="2622025"/>
          </a:xfrm>
        </p:spPr>
        <p:txBody>
          <a:bodyPr/>
          <a:lstStyle>
            <a:lvl1pPr>
              <a:spcBef>
                <a:spcPts val="800"/>
              </a:spcBef>
              <a:defRPr sz="18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/>
            </a:lvl2pPr>
            <a:lvl3pPr marL="360000">
              <a:buFont typeface="Graphik" panose="020B0503030202060203" pitchFamily="34" charset="0"/>
              <a:buChar char="–"/>
              <a:defRPr sz="1600"/>
            </a:lvl3pPr>
            <a:lvl4pPr marL="540000">
              <a:buFont typeface="Arial" panose="020B0604020202020204" pitchFamily="34" charset="0"/>
              <a:buChar char="•"/>
              <a:defRPr/>
            </a:lvl4pPr>
          </a:lstStyle>
          <a:p>
            <a:pPr lvl="0"/>
            <a:r>
              <a:rPr lang="en-US"/>
              <a:t>Insert body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9" name="Number 2">
            <a:extLst>
              <a:ext uri="{FF2B5EF4-FFF2-40B4-BE49-F238E27FC236}">
                <a16:creationId xmlns:a16="http://schemas.microsoft.com/office/drawing/2014/main" id="{B5E11C6D-3A0C-4C94-B1F3-1F9A851D0941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4254949" y="2445181"/>
            <a:ext cx="351058" cy="830997"/>
          </a:xfrm>
        </p:spPr>
        <p:txBody>
          <a:bodyPr wrap="none">
            <a:spAutoFit/>
          </a:bodyPr>
          <a:lstStyle>
            <a:lvl1pPr algn="l">
              <a:defRPr sz="5400">
                <a:solidFill>
                  <a:schemeClr val="accent3"/>
                </a:solidFill>
                <a:latin typeface="+mj-lt"/>
              </a:defRPr>
            </a:lvl1pPr>
            <a:lvl2pPr>
              <a:defRPr sz="1800"/>
            </a:lvl2pPr>
            <a:lvl3pPr>
              <a:defRPr sz="18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</a:t>
            </a:r>
          </a:p>
        </p:txBody>
      </p:sp>
      <p:sp>
        <p:nvSpPr>
          <p:cNvPr id="20" name="Subhead 2">
            <a:extLst>
              <a:ext uri="{FF2B5EF4-FFF2-40B4-BE49-F238E27FC236}">
                <a16:creationId xmlns:a16="http://schemas.microsoft.com/office/drawing/2014/main" id="{381FBD1A-DB9E-4E50-9A34-B0B48DF8BD04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4840516" y="2550261"/>
            <a:ext cx="3043500" cy="644281"/>
          </a:xfrm>
        </p:spPr>
        <p:txBody>
          <a:bodyPr anchor="ctr"/>
          <a:lstStyle/>
          <a:p>
            <a:pPr lvl="0"/>
            <a:r>
              <a:rPr lang="en-US"/>
              <a:t>Insert subhead minimum 18 pt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4C6B634C-B827-4026-B9E1-969EAEB30346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4294006" y="3419999"/>
            <a:ext cx="3595626" cy="2622025"/>
          </a:xfrm>
        </p:spPr>
        <p:txBody>
          <a:bodyPr/>
          <a:lstStyle>
            <a:lvl1pPr>
              <a:spcBef>
                <a:spcPts val="800"/>
              </a:spcBef>
              <a:defRPr sz="18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/>
            </a:lvl2pPr>
            <a:lvl3pPr marL="360000">
              <a:buFont typeface="Graphik" panose="020B0503030202060203" pitchFamily="34" charset="0"/>
              <a:buChar char="–"/>
              <a:defRPr sz="1600"/>
            </a:lvl3pPr>
            <a:lvl4pPr marL="540000">
              <a:buFont typeface="Arial" panose="020B0604020202020204" pitchFamily="34" charset="0"/>
              <a:buChar char="•"/>
              <a:defRPr/>
            </a:lvl4pPr>
          </a:lstStyle>
          <a:p>
            <a:pPr lvl="0"/>
            <a:r>
              <a:rPr lang="en-US"/>
              <a:t>Insert body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2" name="Number 3">
            <a:extLst>
              <a:ext uri="{FF2B5EF4-FFF2-40B4-BE49-F238E27FC236}">
                <a16:creationId xmlns:a16="http://schemas.microsoft.com/office/drawing/2014/main" id="{86FDDA22-E16A-4C33-8E29-56D8E2A86BE7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8191764" y="2445181"/>
            <a:ext cx="351058" cy="830997"/>
          </a:xfrm>
        </p:spPr>
        <p:txBody>
          <a:bodyPr wrap="none">
            <a:spAutoFit/>
          </a:bodyPr>
          <a:lstStyle>
            <a:lvl1pPr algn="l">
              <a:defRPr sz="5400">
                <a:solidFill>
                  <a:schemeClr val="accent3"/>
                </a:solidFill>
                <a:latin typeface="+mj-lt"/>
              </a:defRPr>
            </a:lvl1pPr>
            <a:lvl2pPr>
              <a:defRPr sz="1800"/>
            </a:lvl2pPr>
            <a:lvl3pPr>
              <a:defRPr sz="18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</a:t>
            </a:r>
          </a:p>
        </p:txBody>
      </p:sp>
      <p:sp>
        <p:nvSpPr>
          <p:cNvPr id="23" name="Subhead 3">
            <a:extLst>
              <a:ext uri="{FF2B5EF4-FFF2-40B4-BE49-F238E27FC236}">
                <a16:creationId xmlns:a16="http://schemas.microsoft.com/office/drawing/2014/main" id="{BBB5DE66-FF85-4B95-B08E-CC40ECCBD6CD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8777331" y="2550261"/>
            <a:ext cx="3043500" cy="644281"/>
          </a:xfrm>
        </p:spPr>
        <p:txBody>
          <a:bodyPr anchor="ctr"/>
          <a:lstStyle/>
          <a:p>
            <a:pPr lvl="0"/>
            <a:r>
              <a:rPr lang="en-US"/>
              <a:t>Insert subhead minimum 18 pt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9E298CD5-E83F-4BE6-AAF6-8E9C4B4CC42C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8230821" y="3419999"/>
            <a:ext cx="3595626" cy="2622025"/>
          </a:xfrm>
        </p:spPr>
        <p:txBody>
          <a:bodyPr/>
          <a:lstStyle>
            <a:lvl1pPr>
              <a:spcBef>
                <a:spcPts val="800"/>
              </a:spcBef>
              <a:defRPr sz="18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/>
            </a:lvl2pPr>
            <a:lvl3pPr marL="360000">
              <a:buFont typeface="Graphik" panose="020B0503030202060203" pitchFamily="34" charset="0"/>
              <a:buChar char="–"/>
              <a:defRPr sz="1600"/>
            </a:lvl3pPr>
            <a:lvl4pPr marL="540000">
              <a:buFont typeface="Arial" panose="020B0604020202020204" pitchFamily="34" charset="0"/>
              <a:buChar char="•"/>
              <a:defRPr/>
            </a:lvl4pPr>
          </a:lstStyle>
          <a:p>
            <a:pPr lvl="0"/>
            <a:r>
              <a:rPr lang="en-US"/>
              <a:t>Insert body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Sources">
            <a:extLst>
              <a:ext uri="{FF2B5EF4-FFF2-40B4-BE49-F238E27FC236}">
                <a16:creationId xmlns:a16="http://schemas.microsoft.com/office/drawing/2014/main" id="{930E9E95-7A30-4AA3-B4DF-BDF54E036A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80550" y="6471584"/>
            <a:ext cx="6287026" cy="138499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900" i="1">
                <a:latin typeface="+mn-lt"/>
              </a:defRPr>
            </a:lvl1pPr>
          </a:lstStyle>
          <a:p>
            <a:pPr lvl="0"/>
            <a:r>
              <a:rPr lang="en-US"/>
              <a:t>Insert sources</a:t>
            </a:r>
          </a:p>
        </p:txBody>
      </p:sp>
      <p:sp>
        <p:nvSpPr>
          <p:cNvPr id="16" name="object 3">
            <a:extLst>
              <a:ext uri="{FF2B5EF4-FFF2-40B4-BE49-F238E27FC236}">
                <a16:creationId xmlns:a16="http://schemas.microsoft.com/office/drawing/2014/main" id="{428EAE8B-84A6-42B2-A668-B7867700C984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89473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422454E-D29D-449B-8549-6146B4DE5B9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F8EB60C-7CC2-49F0-B2EE-C81F067DE04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DA1ADF0-A8CB-43F6-A0C3-4923005D4A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DDAC503A-6438-4F4D-8CAA-8C78A2F5DDD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79501" y="1717675"/>
            <a:ext cx="2574838" cy="43243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90B0F4AD-13EA-465B-8CCF-8FB4C1FB53E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2251" y="1717675"/>
            <a:ext cx="2574000" cy="43243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FC2C5888-6750-49EC-8C05-C5BF059C529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84163" y="1717675"/>
            <a:ext cx="2574000" cy="43243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CED0C529-1EB2-4AFF-93A5-965F43AD86B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236075" y="1717675"/>
            <a:ext cx="2574000" cy="43243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Sources">
            <a:extLst>
              <a:ext uri="{FF2B5EF4-FFF2-40B4-BE49-F238E27FC236}">
                <a16:creationId xmlns:a16="http://schemas.microsoft.com/office/drawing/2014/main" id="{071C6FAE-6432-4454-BD66-802906EB72C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80550" y="6471584"/>
            <a:ext cx="6287026" cy="138499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900" i="1">
                <a:latin typeface="+mn-lt"/>
              </a:defRPr>
            </a:lvl1pPr>
          </a:lstStyle>
          <a:p>
            <a:pPr lvl="0"/>
            <a:r>
              <a:rPr lang="en-US"/>
              <a:t>Insert sources</a:t>
            </a:r>
          </a:p>
        </p:txBody>
      </p:sp>
      <p:sp>
        <p:nvSpPr>
          <p:cNvPr id="12" name="object 3">
            <a:extLst>
              <a:ext uri="{FF2B5EF4-FFF2-40B4-BE49-F238E27FC236}">
                <a16:creationId xmlns:a16="http://schemas.microsoft.com/office/drawing/2014/main" id="{E0AE6815-799E-4063-BC87-38F03B8FEBD9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858515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lumns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3F472E18-A161-4231-8299-BAAB50ED3D1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7F8EB60C-7CC2-49F0-B2EE-C81F067DE04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40D8367-4710-42EB-9EAD-06FF483D39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88211ED0-A96C-4760-A1CF-51298E46588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2282" y="1209096"/>
            <a:ext cx="11460163" cy="458757"/>
          </a:xfrm>
        </p:spPr>
        <p:txBody>
          <a:bodyPr tIns="180000">
            <a:spAutoFit/>
          </a:bodyPr>
          <a:lstStyle>
            <a:lvl1pPr>
              <a:defRPr lang="en-US" sz="1800" kern="1200" dirty="0">
                <a:solidFill>
                  <a:schemeClr val="tx1"/>
                </a:solidFill>
                <a:latin typeface="Arial Nova Light" panose="020B03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18 pt and align to the baseline of the title</a:t>
            </a:r>
          </a:p>
        </p:txBody>
      </p:sp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DDAC503A-6438-4F4D-8CAA-8C78A2F5DDD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79501" y="2214000"/>
            <a:ext cx="2574838" cy="38280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90B0F4AD-13EA-465B-8CCF-8FB4C1FB53E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2251" y="2214000"/>
            <a:ext cx="2574000" cy="38280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FC2C5888-6750-49EC-8C05-C5BF059C529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84163" y="2214000"/>
            <a:ext cx="2574000" cy="38280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CED0C529-1EB2-4AFF-93A5-965F43AD86B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236075" y="2214000"/>
            <a:ext cx="2574000" cy="38280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Sources">
            <a:extLst>
              <a:ext uri="{FF2B5EF4-FFF2-40B4-BE49-F238E27FC236}">
                <a16:creationId xmlns:a16="http://schemas.microsoft.com/office/drawing/2014/main" id="{6C5747C7-6E8F-4A51-A924-8A95C0F85AE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80550" y="6471584"/>
            <a:ext cx="6287026" cy="138499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900" i="1">
                <a:latin typeface="+mn-lt"/>
              </a:defRPr>
            </a:lvl1pPr>
          </a:lstStyle>
          <a:p>
            <a:pPr lvl="0"/>
            <a:r>
              <a:rPr lang="en-US"/>
              <a:t>Insert sources</a:t>
            </a:r>
          </a:p>
        </p:txBody>
      </p:sp>
      <p:sp>
        <p:nvSpPr>
          <p:cNvPr id="13" name="object 3">
            <a:extLst>
              <a:ext uri="{FF2B5EF4-FFF2-40B4-BE49-F238E27FC236}">
                <a16:creationId xmlns:a16="http://schemas.microsoft.com/office/drawing/2014/main" id="{1B38AE08-5150-4788-AA2D-A7F63C5ED64B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521172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lumns w/ 2nd level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5439E356-4691-4FB4-90C9-74D87A67D1F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7F8EB60C-7CC2-49F0-B2EE-C81F067DE04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Second level headline">
            <a:extLst>
              <a:ext uri="{FF2B5EF4-FFF2-40B4-BE49-F238E27FC236}">
                <a16:creationId xmlns:a16="http://schemas.microsoft.com/office/drawing/2014/main" id="{9F5147B3-D6BA-40DA-811A-794CE6808F6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4675" y="335827"/>
            <a:ext cx="11444737" cy="537034"/>
          </a:xfrm>
        </p:spPr>
        <p:txBody>
          <a:bodyPr wrap="square" bIns="288000">
            <a:spAutoFit/>
          </a:bodyPr>
          <a:lstStyle>
            <a:lvl1pPr>
              <a:defRPr sz="1600">
                <a:latin typeface="Graphik Medium" panose="020B0603030202060203" pitchFamily="34" charset="0"/>
              </a:defRPr>
            </a:lvl1pPr>
          </a:lstStyle>
          <a:p>
            <a:pPr lvl="0"/>
            <a:r>
              <a:rPr lang="en-US"/>
              <a:t>Second level headl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80C83E0-3A40-4218-894A-1614176FA6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199" y="835200"/>
            <a:ext cx="11460213" cy="4985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88211ED0-A96C-4760-A1CF-51298E46588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2282" y="1209600"/>
            <a:ext cx="11444737" cy="458757"/>
          </a:xfrm>
        </p:spPr>
        <p:txBody>
          <a:bodyPr wrap="square" tIns="180000">
            <a:spAutoFit/>
          </a:bodyPr>
          <a:lstStyle>
            <a:lvl1pPr>
              <a:defRPr lang="en-US" sz="1800" kern="1200" dirty="0">
                <a:solidFill>
                  <a:schemeClr val="tx1"/>
                </a:solidFill>
                <a:latin typeface="Arial Nova Light" panose="020B03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Insert subtitle here at 18 pt and align to the baseline of the title</a:t>
            </a:r>
          </a:p>
        </p:txBody>
      </p:sp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DDAC503A-6438-4F4D-8CAA-8C78A2F5DDD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79501" y="2214000"/>
            <a:ext cx="2574838" cy="38280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90B0F4AD-13EA-465B-8CCF-8FB4C1FB53E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32251" y="2214000"/>
            <a:ext cx="2574000" cy="38280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FC2C5888-6750-49EC-8C05-C5BF059C529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84163" y="2214000"/>
            <a:ext cx="2574000" cy="38280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CED0C529-1EB2-4AFF-93A5-965F43AD86B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236075" y="2214000"/>
            <a:ext cx="2574000" cy="38280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ources">
            <a:extLst>
              <a:ext uri="{FF2B5EF4-FFF2-40B4-BE49-F238E27FC236}">
                <a16:creationId xmlns:a16="http://schemas.microsoft.com/office/drawing/2014/main" id="{84783589-8356-4DA7-B769-14BB7B2F704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80550" y="6471584"/>
            <a:ext cx="6287026" cy="138499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900" i="1">
                <a:latin typeface="+mn-lt"/>
              </a:defRPr>
            </a:lvl1pPr>
          </a:lstStyle>
          <a:p>
            <a:pPr lvl="0"/>
            <a:r>
              <a:rPr lang="en-US"/>
              <a:t>Insert sources</a:t>
            </a:r>
          </a:p>
        </p:txBody>
      </p:sp>
      <p:sp>
        <p:nvSpPr>
          <p:cNvPr id="14" name="object 3">
            <a:extLst>
              <a:ext uri="{FF2B5EF4-FFF2-40B4-BE49-F238E27FC236}">
                <a16:creationId xmlns:a16="http://schemas.microsoft.com/office/drawing/2014/main" id="{D3119F7F-E285-4508-A66B-483D7B4F3B75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615613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Keypoints –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1E72000-54E2-4676-917B-741ECA627B87}"/>
              </a:ext>
            </a:extLst>
          </p:cNvPr>
          <p:cNvSpPr>
            <a:spLocks noGrp="1"/>
          </p:cNvSpPr>
          <p:nvPr>
            <p:ph type="sldNum" sz="quarter" idx="46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1E77375-283F-4C0C-8285-A800644CF5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D0818C70-A8E1-4BE4-9EF2-0E79CEB29C4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63598" y="1209600"/>
            <a:ext cx="11458800" cy="458757"/>
          </a:xfrm>
          <a:prstGeom prst="rect">
            <a:avLst/>
          </a:prstGeom>
        </p:spPr>
        <p:txBody>
          <a:bodyPr wrap="square" lIns="0" tIns="180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lang="en-US" sz="1800" kern="1200" dirty="0">
                <a:solidFill>
                  <a:schemeClr val="tx1"/>
                </a:solidFill>
                <a:latin typeface="Arial Nova Light" panose="020B03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Insert subtitle here at 18 pt and align to the baseline of the title</a:t>
            </a:r>
          </a:p>
        </p:txBody>
      </p:sp>
      <p:sp>
        <p:nvSpPr>
          <p:cNvPr id="12" name="Number 1">
            <a:extLst>
              <a:ext uri="{FF2B5EF4-FFF2-40B4-BE49-F238E27FC236}">
                <a16:creationId xmlns:a16="http://schemas.microsoft.com/office/drawing/2014/main" id="{1B37E57C-1FF2-4EE3-9168-6499E7419111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324542" y="2445181"/>
            <a:ext cx="351058" cy="830997"/>
          </a:xfrm>
        </p:spPr>
        <p:txBody>
          <a:bodyPr wrap="none">
            <a:spAutoFit/>
          </a:bodyPr>
          <a:lstStyle>
            <a:lvl1pPr algn="l">
              <a:defRPr sz="5400">
                <a:solidFill>
                  <a:schemeClr val="accent3"/>
                </a:solidFill>
                <a:latin typeface="+mj-lt"/>
              </a:defRPr>
            </a:lvl1pPr>
            <a:lvl2pPr>
              <a:defRPr sz="1800"/>
            </a:lvl2pPr>
            <a:lvl3pPr>
              <a:defRPr sz="18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</a:t>
            </a:r>
          </a:p>
        </p:txBody>
      </p:sp>
      <p:sp>
        <p:nvSpPr>
          <p:cNvPr id="7" name="Subhead 1">
            <a:extLst>
              <a:ext uri="{FF2B5EF4-FFF2-40B4-BE49-F238E27FC236}">
                <a16:creationId xmlns:a16="http://schemas.microsoft.com/office/drawing/2014/main" id="{1926B193-B868-48CA-990F-8C6716DB9CF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910109" y="2550261"/>
            <a:ext cx="2044229" cy="644281"/>
          </a:xfrm>
        </p:spPr>
        <p:txBody>
          <a:bodyPr anchor="ctr"/>
          <a:lstStyle/>
          <a:p>
            <a:pPr lvl="0"/>
            <a:r>
              <a:rPr lang="en-US"/>
              <a:t>Insert subhead minimum 18 pt</a:t>
            </a:r>
          </a:p>
        </p:txBody>
      </p:sp>
      <p:sp>
        <p:nvSpPr>
          <p:cNvPr id="18" name="Text Placeholder 1">
            <a:extLst>
              <a:ext uri="{FF2B5EF4-FFF2-40B4-BE49-F238E27FC236}">
                <a16:creationId xmlns:a16="http://schemas.microsoft.com/office/drawing/2014/main" id="{2F973F8C-96D5-4894-96E6-EB42D3132AD1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363599" y="3419999"/>
            <a:ext cx="2590739" cy="2622025"/>
          </a:xfrm>
        </p:spPr>
        <p:txBody>
          <a:bodyPr/>
          <a:lstStyle>
            <a:lvl1pPr>
              <a:spcBef>
                <a:spcPts val="800"/>
              </a:spcBef>
              <a:defRPr sz="18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/>
            </a:lvl2pPr>
            <a:lvl3pPr marL="360000">
              <a:buFont typeface="Graphik" panose="020B0503030202060203" pitchFamily="34" charset="0"/>
              <a:buChar char="–"/>
              <a:defRPr sz="1600"/>
            </a:lvl3pPr>
            <a:lvl4pPr marL="540000">
              <a:buFont typeface="Arial" panose="020B0604020202020204" pitchFamily="34" charset="0"/>
              <a:buChar char="•"/>
              <a:defRPr/>
            </a:lvl4pPr>
          </a:lstStyle>
          <a:p>
            <a:pPr lvl="0"/>
            <a:r>
              <a:rPr lang="en-US"/>
              <a:t>Insert body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Number 2">
            <a:extLst>
              <a:ext uri="{FF2B5EF4-FFF2-40B4-BE49-F238E27FC236}">
                <a16:creationId xmlns:a16="http://schemas.microsoft.com/office/drawing/2014/main" id="{29D98BC3-0D08-4AFD-9DAE-C4D9FC6FB121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3275190" y="2445181"/>
            <a:ext cx="351058" cy="830997"/>
          </a:xfrm>
        </p:spPr>
        <p:txBody>
          <a:bodyPr wrap="none">
            <a:spAutoFit/>
          </a:bodyPr>
          <a:lstStyle>
            <a:lvl1pPr algn="l">
              <a:defRPr sz="5400">
                <a:solidFill>
                  <a:schemeClr val="accent3"/>
                </a:solidFill>
                <a:latin typeface="+mj-lt"/>
              </a:defRPr>
            </a:lvl1pPr>
            <a:lvl2pPr>
              <a:defRPr sz="1800"/>
            </a:lvl2pPr>
            <a:lvl3pPr>
              <a:defRPr sz="18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</a:t>
            </a:r>
          </a:p>
        </p:txBody>
      </p:sp>
      <p:sp>
        <p:nvSpPr>
          <p:cNvPr id="16" name="Subhead 2">
            <a:extLst>
              <a:ext uri="{FF2B5EF4-FFF2-40B4-BE49-F238E27FC236}">
                <a16:creationId xmlns:a16="http://schemas.microsoft.com/office/drawing/2014/main" id="{412C9B84-BEA4-43C2-9A9C-AF44141B8598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3860757" y="2550261"/>
            <a:ext cx="2044229" cy="644281"/>
          </a:xfrm>
        </p:spPr>
        <p:txBody>
          <a:bodyPr anchor="ctr"/>
          <a:lstStyle/>
          <a:p>
            <a:pPr lvl="0"/>
            <a:r>
              <a:rPr lang="en-US"/>
              <a:t>Insert subhead minimum 18 pt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1B2EF5FA-21F8-4BFF-BB57-320EEFBBBD7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3314247" y="3419999"/>
            <a:ext cx="2590739" cy="2622025"/>
          </a:xfrm>
        </p:spPr>
        <p:txBody>
          <a:bodyPr/>
          <a:lstStyle>
            <a:lvl1pPr>
              <a:spcBef>
                <a:spcPts val="800"/>
              </a:spcBef>
              <a:defRPr sz="18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/>
            </a:lvl2pPr>
            <a:lvl3pPr marL="360000">
              <a:buFont typeface="Graphik" panose="020B0503030202060203" pitchFamily="34" charset="0"/>
              <a:buChar char="–"/>
              <a:defRPr sz="1600"/>
            </a:lvl3pPr>
            <a:lvl4pPr marL="540000">
              <a:buFont typeface="Arial" panose="020B0604020202020204" pitchFamily="34" charset="0"/>
              <a:buChar char="•"/>
              <a:defRPr/>
            </a:lvl4pPr>
          </a:lstStyle>
          <a:p>
            <a:pPr lvl="0"/>
            <a:r>
              <a:rPr lang="en-US"/>
              <a:t>Insert body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6" name="Number 3">
            <a:extLst>
              <a:ext uri="{FF2B5EF4-FFF2-40B4-BE49-F238E27FC236}">
                <a16:creationId xmlns:a16="http://schemas.microsoft.com/office/drawing/2014/main" id="{4DCB1D78-0C37-47BF-B3DF-715ADCE6CAD4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223067" y="2445181"/>
            <a:ext cx="351058" cy="830997"/>
          </a:xfrm>
        </p:spPr>
        <p:txBody>
          <a:bodyPr wrap="none">
            <a:spAutoFit/>
          </a:bodyPr>
          <a:lstStyle>
            <a:lvl1pPr algn="l">
              <a:defRPr sz="5400">
                <a:solidFill>
                  <a:schemeClr val="accent3"/>
                </a:solidFill>
                <a:latin typeface="+mj-lt"/>
              </a:defRPr>
            </a:lvl1pPr>
            <a:lvl2pPr>
              <a:defRPr sz="1800"/>
            </a:lvl2pPr>
            <a:lvl3pPr>
              <a:defRPr sz="18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</a:t>
            </a:r>
          </a:p>
        </p:txBody>
      </p:sp>
      <p:sp>
        <p:nvSpPr>
          <p:cNvPr id="27" name="Subhead 3">
            <a:extLst>
              <a:ext uri="{FF2B5EF4-FFF2-40B4-BE49-F238E27FC236}">
                <a16:creationId xmlns:a16="http://schemas.microsoft.com/office/drawing/2014/main" id="{28985E81-EE7A-43C7-B984-A39ECD1300F6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808634" y="2550261"/>
            <a:ext cx="2044229" cy="644281"/>
          </a:xfrm>
        </p:spPr>
        <p:txBody>
          <a:bodyPr anchor="ctr"/>
          <a:lstStyle/>
          <a:p>
            <a:pPr lvl="0"/>
            <a:r>
              <a:rPr lang="en-US"/>
              <a:t>Insert subhead minimum 18 pt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3BBEC514-3ABC-444F-9609-8722CBAFC7E9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262124" y="3419999"/>
            <a:ext cx="2590739" cy="2622025"/>
          </a:xfrm>
        </p:spPr>
        <p:txBody>
          <a:bodyPr/>
          <a:lstStyle>
            <a:lvl1pPr>
              <a:spcBef>
                <a:spcPts val="800"/>
              </a:spcBef>
              <a:defRPr sz="18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/>
            </a:lvl2pPr>
            <a:lvl3pPr marL="360000">
              <a:buFont typeface="Graphik" panose="020B0503030202060203" pitchFamily="34" charset="0"/>
              <a:buChar char="–"/>
              <a:defRPr sz="1600"/>
            </a:lvl3pPr>
            <a:lvl4pPr marL="540000">
              <a:buFont typeface="Arial" panose="020B0604020202020204" pitchFamily="34" charset="0"/>
              <a:buChar char="•"/>
              <a:defRPr/>
            </a:lvl4pPr>
          </a:lstStyle>
          <a:p>
            <a:pPr lvl="0"/>
            <a:r>
              <a:rPr lang="en-US"/>
              <a:t>Insert body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9" name="Number 4">
            <a:extLst>
              <a:ext uri="{FF2B5EF4-FFF2-40B4-BE49-F238E27FC236}">
                <a16:creationId xmlns:a16="http://schemas.microsoft.com/office/drawing/2014/main" id="{08C97952-F2E4-4423-A790-78EDD72AA396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9176795" y="2445181"/>
            <a:ext cx="351058" cy="830997"/>
          </a:xfrm>
        </p:spPr>
        <p:txBody>
          <a:bodyPr wrap="none">
            <a:spAutoFit/>
          </a:bodyPr>
          <a:lstStyle>
            <a:lvl1pPr algn="l">
              <a:defRPr sz="5400">
                <a:solidFill>
                  <a:schemeClr val="accent3"/>
                </a:solidFill>
                <a:latin typeface="+mj-lt"/>
              </a:defRPr>
            </a:lvl1pPr>
            <a:lvl2pPr>
              <a:defRPr sz="1800"/>
            </a:lvl2pPr>
            <a:lvl3pPr>
              <a:defRPr sz="18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</a:t>
            </a:r>
          </a:p>
        </p:txBody>
      </p:sp>
      <p:sp>
        <p:nvSpPr>
          <p:cNvPr id="30" name="Subhead 4">
            <a:extLst>
              <a:ext uri="{FF2B5EF4-FFF2-40B4-BE49-F238E27FC236}">
                <a16:creationId xmlns:a16="http://schemas.microsoft.com/office/drawing/2014/main" id="{4BC06D79-1953-4134-BD34-FD8D0B9D2236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9762362" y="2550261"/>
            <a:ext cx="2044229" cy="644281"/>
          </a:xfrm>
        </p:spPr>
        <p:txBody>
          <a:bodyPr anchor="ctr"/>
          <a:lstStyle/>
          <a:p>
            <a:pPr lvl="0"/>
            <a:r>
              <a:rPr lang="en-US"/>
              <a:t>Insert subhead minimum 18 pt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069D0CBC-F9AC-4F3D-808E-76D82F9558B9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9215852" y="3419999"/>
            <a:ext cx="2590739" cy="2622025"/>
          </a:xfrm>
        </p:spPr>
        <p:txBody>
          <a:bodyPr/>
          <a:lstStyle>
            <a:lvl1pPr>
              <a:spcBef>
                <a:spcPts val="800"/>
              </a:spcBef>
              <a:defRPr sz="18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/>
            </a:lvl2pPr>
            <a:lvl3pPr marL="360000">
              <a:buFont typeface="Graphik" panose="020B0503030202060203" pitchFamily="34" charset="0"/>
              <a:buChar char="–"/>
              <a:defRPr sz="1600"/>
            </a:lvl3pPr>
            <a:lvl4pPr marL="540000">
              <a:buFont typeface="Arial" panose="020B0604020202020204" pitchFamily="34" charset="0"/>
              <a:buChar char="•"/>
              <a:defRPr/>
            </a:lvl4pPr>
          </a:lstStyle>
          <a:p>
            <a:pPr lvl="0"/>
            <a:r>
              <a:rPr lang="en-US"/>
              <a:t>Insert body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9" name="Sources">
            <a:extLst>
              <a:ext uri="{FF2B5EF4-FFF2-40B4-BE49-F238E27FC236}">
                <a16:creationId xmlns:a16="http://schemas.microsoft.com/office/drawing/2014/main" id="{C4823C33-5281-45E5-9205-61D9D110535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80550" y="6471584"/>
            <a:ext cx="6287026" cy="138499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900" i="1">
                <a:latin typeface="+mn-lt"/>
              </a:defRPr>
            </a:lvl1pPr>
          </a:lstStyle>
          <a:p>
            <a:pPr lvl="0"/>
            <a:r>
              <a:rPr lang="en-US"/>
              <a:t>Insert sources</a:t>
            </a:r>
          </a:p>
        </p:txBody>
      </p:sp>
      <p:sp>
        <p:nvSpPr>
          <p:cNvPr id="20" name="object 3">
            <a:extLst>
              <a:ext uri="{FF2B5EF4-FFF2-40B4-BE49-F238E27FC236}">
                <a16:creationId xmlns:a16="http://schemas.microsoft.com/office/drawing/2014/main" id="{9FEE4B3D-C400-48C9-83A0-FCED5127F2FD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272670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 &amp; content (chart,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88BB501-0919-4F56-B3FE-2CA805C79F6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7F8EB60C-7CC2-49F0-B2EE-C81F067DE04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88FF7E6-A0F6-4849-90A7-DE0F78A0D3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DDAC503A-6438-4F4D-8CAA-8C78A2F5DDD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79501" y="1717675"/>
            <a:ext cx="4255561" cy="43243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0EED40EC-5280-4084-9A97-13F36BF991B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299075" y="1717675"/>
            <a:ext cx="6510338" cy="43243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ources">
            <a:extLst>
              <a:ext uri="{FF2B5EF4-FFF2-40B4-BE49-F238E27FC236}">
                <a16:creationId xmlns:a16="http://schemas.microsoft.com/office/drawing/2014/main" id="{88CA2A38-25D7-44C4-8C3A-F4165CEFF6E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80550" y="6471584"/>
            <a:ext cx="6287026" cy="138499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900" i="1">
                <a:latin typeface="+mn-lt"/>
              </a:defRPr>
            </a:lvl1pPr>
          </a:lstStyle>
          <a:p>
            <a:pPr lvl="0"/>
            <a:r>
              <a:rPr lang="en-US"/>
              <a:t>Insert sources</a:t>
            </a:r>
          </a:p>
        </p:txBody>
      </p:sp>
      <p:sp>
        <p:nvSpPr>
          <p:cNvPr id="9" name="object 3">
            <a:extLst>
              <a:ext uri="{FF2B5EF4-FFF2-40B4-BE49-F238E27FC236}">
                <a16:creationId xmlns:a16="http://schemas.microsoft.com/office/drawing/2014/main" id="{BC34A0ED-9DC1-4AE7-AD78-CE01950C07D8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07133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029A97-5C06-4D7C-A367-B8AAB19D89F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F8EB60C-7CC2-49F0-B2EE-C81F067DE04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A3AEEB4-3608-4564-9D5D-97163ACB44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ources">
            <a:extLst>
              <a:ext uri="{FF2B5EF4-FFF2-40B4-BE49-F238E27FC236}">
                <a16:creationId xmlns:a16="http://schemas.microsoft.com/office/drawing/2014/main" id="{24B162B3-0F25-47EF-934A-E95B4D33895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80550" y="6471584"/>
            <a:ext cx="6287026" cy="138499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900" i="1">
                <a:latin typeface="+mn-lt"/>
              </a:defRPr>
            </a:lvl1pPr>
          </a:lstStyle>
          <a:p>
            <a:pPr lvl="0"/>
            <a:r>
              <a:rPr lang="en-US"/>
              <a:t>Insert sources</a:t>
            </a:r>
          </a:p>
        </p:txBody>
      </p:sp>
      <p:sp>
        <p:nvSpPr>
          <p:cNvPr id="7" name="object 3">
            <a:extLst>
              <a:ext uri="{FF2B5EF4-FFF2-40B4-BE49-F238E27FC236}">
                <a16:creationId xmlns:a16="http://schemas.microsoft.com/office/drawing/2014/main" id="{0D16D61F-5C28-43EF-A356-5D6AC67AD86B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27273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–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B9A6FB1-36C1-4AFF-BAE9-B151826856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F8EB60C-7CC2-49F0-B2EE-C81F067DE04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6D978F1-B14F-452E-B097-D4D764F613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ources">
            <a:extLst>
              <a:ext uri="{FF2B5EF4-FFF2-40B4-BE49-F238E27FC236}">
                <a16:creationId xmlns:a16="http://schemas.microsoft.com/office/drawing/2014/main" id="{89516934-D3B6-42D2-8372-7EFFA3BDFC8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80550" y="6471584"/>
            <a:ext cx="6287026" cy="138499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900" i="1">
                <a:latin typeface="+mn-lt"/>
              </a:defRPr>
            </a:lvl1pPr>
          </a:lstStyle>
          <a:p>
            <a:pPr lvl="0"/>
            <a:r>
              <a:rPr lang="en-US"/>
              <a:t>Insert sources</a:t>
            </a:r>
          </a:p>
        </p:txBody>
      </p:sp>
      <p:sp>
        <p:nvSpPr>
          <p:cNvPr id="9" name="object 3">
            <a:extLst>
              <a:ext uri="{FF2B5EF4-FFF2-40B4-BE49-F238E27FC236}">
                <a16:creationId xmlns:a16="http://schemas.microsoft.com/office/drawing/2014/main" id="{40F8D959-B775-4929-8BA1-AB00022AF00B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3F4D5BD7-C93D-4656-8B1A-03E7AC6F101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39084" y="6432376"/>
            <a:ext cx="1311547" cy="228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57489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DC9840E-7882-460A-AE74-BC2DACA6D5B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F8EB60C-7CC2-49F0-B2EE-C81F067DE04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8FA151BF-81C1-4188-B3FD-BA8C1BC9BA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ubtitle">
            <a:extLst>
              <a:ext uri="{FF2B5EF4-FFF2-40B4-BE49-F238E27FC236}">
                <a16:creationId xmlns:a16="http://schemas.microsoft.com/office/drawing/2014/main" id="{D982B787-2459-44BF-A9F2-44CE1AFBECA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2282" y="1209096"/>
            <a:ext cx="11460163" cy="458757"/>
          </a:xfrm>
        </p:spPr>
        <p:txBody>
          <a:bodyPr tIns="180000">
            <a:spAutoFit/>
          </a:bodyPr>
          <a:lstStyle>
            <a:lvl1pPr>
              <a:defRPr lang="en-US" sz="1800" kern="1200" dirty="0">
                <a:solidFill>
                  <a:schemeClr val="tx1"/>
                </a:solidFill>
                <a:latin typeface="Arial Nova Light" panose="020B03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Insert subtitle here at 18 pt and align to the baseline of the title</a:t>
            </a:r>
          </a:p>
        </p:txBody>
      </p:sp>
      <p:sp>
        <p:nvSpPr>
          <p:cNvPr id="6" name="Sources">
            <a:extLst>
              <a:ext uri="{FF2B5EF4-FFF2-40B4-BE49-F238E27FC236}">
                <a16:creationId xmlns:a16="http://schemas.microsoft.com/office/drawing/2014/main" id="{773DDFAF-1D3C-401D-A7D9-ECDC0899B65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80550" y="6471584"/>
            <a:ext cx="6287026" cy="138499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900" i="1">
                <a:latin typeface="+mn-lt"/>
              </a:defRPr>
            </a:lvl1pPr>
          </a:lstStyle>
          <a:p>
            <a:pPr lvl="0"/>
            <a:r>
              <a:rPr lang="en-US"/>
              <a:t>Insert sources</a:t>
            </a:r>
          </a:p>
        </p:txBody>
      </p:sp>
      <p:sp>
        <p:nvSpPr>
          <p:cNvPr id="8" name="object 3">
            <a:extLst>
              <a:ext uri="{FF2B5EF4-FFF2-40B4-BE49-F238E27FC236}">
                <a16:creationId xmlns:a16="http://schemas.microsoft.com/office/drawing/2014/main" id="{B6F91A99-58C5-4287-84A1-F22188EBAF3C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99212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(Style A) – Up Clos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machine in a factory&#10;&#10;Description automatically generated">
            <a:extLst>
              <a:ext uri="{FF2B5EF4-FFF2-40B4-BE49-F238E27FC236}">
                <a16:creationId xmlns:a16="http://schemas.microsoft.com/office/drawing/2014/main" id="{8E54B5F8-18AA-1D11-BD51-7B7FD244FA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031"/>
          <a:stretch/>
        </p:blipFill>
        <p:spPr>
          <a:xfrm>
            <a:off x="380996" y="380999"/>
            <a:ext cx="11428412" cy="6092829"/>
          </a:xfrm>
          <a:prstGeom prst="rect">
            <a:avLst/>
          </a:prstGeom>
        </p:spPr>
      </p:pic>
      <p:sp>
        <p:nvSpPr>
          <p:cNvPr id="8" name="Overlay">
            <a:extLst>
              <a:ext uri="{FF2B5EF4-FFF2-40B4-BE49-F238E27FC236}">
                <a16:creationId xmlns:a16="http://schemas.microsoft.com/office/drawing/2014/main" id="{DAD3C0E6-A98A-467C-939F-30A0865156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flipH="1">
            <a:off x="729405" y="381000"/>
            <a:ext cx="11080006" cy="6094414"/>
          </a:xfrm>
          <a:prstGeom prst="rect">
            <a:avLst/>
          </a:prstGeom>
          <a:gradFill flip="none" rotWithShape="1">
            <a:gsLst>
              <a:gs pos="6000">
                <a:schemeClr val="bg1">
                  <a:alpha val="67000"/>
                </a:schemeClr>
              </a:gs>
              <a:gs pos="83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30447" y="2444286"/>
            <a:ext cx="5366571" cy="2031325"/>
          </a:xfrm>
        </p:spPr>
        <p:txBody>
          <a:bodyPr anchor="b"/>
          <a:lstStyle>
            <a:lvl1pPr algn="l">
              <a:lnSpc>
                <a:spcPct val="75000"/>
              </a:lnSpc>
              <a:defRPr sz="8800" b="1">
                <a:solidFill>
                  <a:schemeClr val="tx1"/>
                </a:solidFill>
                <a:latin typeface="Arial Nova" panose="020B05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title here</a:t>
            </a:r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57E0760B-6E4B-4E52-AA52-87BEAF8D065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89481" y="4634393"/>
            <a:ext cx="5314104" cy="738187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 Nova" panose="020B05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lace subtitle here in 24 pt</a:t>
            </a:r>
            <a:endParaRPr lang="en-CA"/>
          </a:p>
        </p:txBody>
      </p:sp>
      <p:sp>
        <p:nvSpPr>
          <p:cNvPr id="11" name="Presenter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95773" y="5496207"/>
            <a:ext cx="5307812" cy="530687"/>
          </a:xfrm>
        </p:spPr>
        <p:txBody>
          <a:bodyPr anchor="b"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tx1"/>
                </a:solidFill>
                <a:latin typeface="Arial Nova Light" panose="020B0304020202020204" pitchFamily="34" charset="0"/>
                <a:ea typeface="+mn-ea"/>
                <a:cs typeface="Arial" panose="020B0604020202020204" pitchFamily="34" charset="0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</a:t>
            </a:r>
          </a:p>
        </p:txBody>
      </p:sp>
      <p:pic>
        <p:nvPicPr>
          <p:cNvPr id="4" name="Picture 3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86A3CEFA-A8D7-DF7D-CF5E-891BF61EFED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405" y="5210355"/>
            <a:ext cx="2474704" cy="8933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19012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/ Subtitle – 3/4 Light Gray BG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A516EE0-B925-45C7-A705-0A69D8023AA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F8EB60C-7CC2-49F0-B2EE-C81F067DE04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White BG">
            <a:extLst>
              <a:ext uri="{FF2B5EF4-FFF2-40B4-BE49-F238E27FC236}">
                <a16:creationId xmlns:a16="http://schemas.microsoft.com/office/drawing/2014/main" id="{F23B23E6-4F16-421C-90DF-B4877D85ED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0"/>
            <a:ext cx="12193200" cy="196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5E9CF0C5-F1A8-4A43-B198-21104071C6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ubtitle">
            <a:extLst>
              <a:ext uri="{FF2B5EF4-FFF2-40B4-BE49-F238E27FC236}">
                <a16:creationId xmlns:a16="http://schemas.microsoft.com/office/drawing/2014/main" id="{D982B787-2459-44BF-A9F2-44CE1AFBECA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2282" y="784800"/>
            <a:ext cx="11460163" cy="458757"/>
          </a:xfrm>
        </p:spPr>
        <p:txBody>
          <a:bodyPr tIns="180000">
            <a:spAutoFit/>
          </a:bodyPr>
          <a:lstStyle>
            <a:lvl1pPr>
              <a:defRPr lang="en-US" sz="1800" kern="1200" dirty="0">
                <a:solidFill>
                  <a:schemeClr val="tx1"/>
                </a:solidFill>
                <a:latin typeface="Arial Nova Light" panose="020B03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Insert subtitle here at 18 pt and align to the baseline of the title</a:t>
            </a:r>
          </a:p>
        </p:txBody>
      </p:sp>
      <p:sp>
        <p:nvSpPr>
          <p:cNvPr id="7" name="Sources">
            <a:extLst>
              <a:ext uri="{FF2B5EF4-FFF2-40B4-BE49-F238E27FC236}">
                <a16:creationId xmlns:a16="http://schemas.microsoft.com/office/drawing/2014/main" id="{6FD6FAE2-E425-4BBD-9908-9E7CE5B1780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80550" y="6471584"/>
            <a:ext cx="6287026" cy="138499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900" i="1">
                <a:latin typeface="+mn-lt"/>
              </a:defRPr>
            </a:lvl1pPr>
          </a:lstStyle>
          <a:p>
            <a:pPr lvl="0"/>
            <a:r>
              <a:rPr lang="en-US"/>
              <a:t>Insert sources</a:t>
            </a:r>
          </a:p>
        </p:txBody>
      </p:sp>
      <p:sp>
        <p:nvSpPr>
          <p:cNvPr id="9" name="object 3">
            <a:extLst>
              <a:ext uri="{FF2B5EF4-FFF2-40B4-BE49-F238E27FC236}">
                <a16:creationId xmlns:a16="http://schemas.microsoft.com/office/drawing/2014/main" id="{02736D28-18BB-4622-B9BD-A4995DACA954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673808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nd level – 3/4 Light Gray BG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B913C70-8FF6-4491-ABB4-B2087E696884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7F8EB60C-7CC2-49F0-B2EE-C81F067DE04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White BG">
            <a:extLst>
              <a:ext uri="{FF2B5EF4-FFF2-40B4-BE49-F238E27FC236}">
                <a16:creationId xmlns:a16="http://schemas.microsoft.com/office/drawing/2014/main" id="{C36899BF-129D-4C0E-8A3F-CACE208A27F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22009"/>
            <a:ext cx="12193200" cy="25087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econd level headline">
            <a:extLst>
              <a:ext uri="{FF2B5EF4-FFF2-40B4-BE49-F238E27FC236}">
                <a16:creationId xmlns:a16="http://schemas.microsoft.com/office/drawing/2014/main" id="{9F5147B3-D6BA-40DA-811A-794CE6808F6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4675" y="335827"/>
            <a:ext cx="11444737" cy="537034"/>
          </a:xfrm>
        </p:spPr>
        <p:txBody>
          <a:bodyPr wrap="square" bIns="288000">
            <a:spAutoFit/>
          </a:bodyPr>
          <a:lstStyle>
            <a:lvl1pPr>
              <a:defRPr sz="1600">
                <a:latin typeface="Graphik Medium" panose="020B0603030202060203" pitchFamily="34" charset="0"/>
              </a:defRPr>
            </a:lvl1pPr>
          </a:lstStyle>
          <a:p>
            <a:pPr lvl="0"/>
            <a:r>
              <a:rPr lang="en-US"/>
              <a:t>Second level headl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80C83E0-3A40-4218-894A-1614176FA6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199" y="835200"/>
            <a:ext cx="11460213" cy="4985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88211ED0-A96C-4760-A1CF-51298E46588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2282" y="1227600"/>
            <a:ext cx="11444737" cy="458757"/>
          </a:xfrm>
        </p:spPr>
        <p:txBody>
          <a:bodyPr wrap="square" tIns="180000">
            <a:spAutoFit/>
          </a:bodyPr>
          <a:lstStyle>
            <a:lvl1pPr>
              <a:defRPr lang="en-US" sz="1800" kern="1200" dirty="0">
                <a:solidFill>
                  <a:schemeClr val="tx1"/>
                </a:solidFill>
                <a:latin typeface="Arial Nova Light" panose="020B03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Insert subtitle here at 18 pt and align to the baseline of the title</a:t>
            </a:r>
          </a:p>
        </p:txBody>
      </p:sp>
      <p:sp>
        <p:nvSpPr>
          <p:cNvPr id="8" name="Sources">
            <a:extLst>
              <a:ext uri="{FF2B5EF4-FFF2-40B4-BE49-F238E27FC236}">
                <a16:creationId xmlns:a16="http://schemas.microsoft.com/office/drawing/2014/main" id="{EBDDBE6F-ECAF-474F-BBFD-95B582A0BA3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80550" y="6471584"/>
            <a:ext cx="6287026" cy="138499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900" i="1">
                <a:latin typeface="+mn-lt"/>
              </a:defRPr>
            </a:lvl1pPr>
          </a:lstStyle>
          <a:p>
            <a:pPr lvl="0"/>
            <a:r>
              <a:rPr lang="en-US"/>
              <a:t>Insert sources</a:t>
            </a:r>
          </a:p>
        </p:txBody>
      </p:sp>
      <p:sp>
        <p:nvSpPr>
          <p:cNvPr id="9" name="object 3">
            <a:extLst>
              <a:ext uri="{FF2B5EF4-FFF2-40B4-BE49-F238E27FC236}">
                <a16:creationId xmlns:a16="http://schemas.microsoft.com/office/drawing/2014/main" id="{089E26E6-D1D5-4245-944A-B609B152ADD7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960989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nd level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4D1BAEB-6CFF-49E2-9587-679C1B6C74BD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7F8EB60C-7CC2-49F0-B2EE-C81F067DE04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Second level headline">
            <a:extLst>
              <a:ext uri="{FF2B5EF4-FFF2-40B4-BE49-F238E27FC236}">
                <a16:creationId xmlns:a16="http://schemas.microsoft.com/office/drawing/2014/main" id="{9F5147B3-D6BA-40DA-811A-794CE6808F6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4675" y="335827"/>
            <a:ext cx="11444737" cy="537034"/>
          </a:xfrm>
        </p:spPr>
        <p:txBody>
          <a:bodyPr wrap="square" bIns="288000">
            <a:spAutoFit/>
          </a:bodyPr>
          <a:lstStyle>
            <a:lvl1pPr>
              <a:defRPr sz="1600">
                <a:latin typeface="Arial Nova Cond" panose="020B0506020202020204" pitchFamily="34" charset="0"/>
              </a:defRPr>
            </a:lvl1pPr>
          </a:lstStyle>
          <a:p>
            <a:pPr lvl="0"/>
            <a:r>
              <a:rPr lang="en-US"/>
              <a:t>Second level headl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80C83E0-3A40-4218-894A-1614176FA6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199" y="835200"/>
            <a:ext cx="11460213" cy="4985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88211ED0-A96C-4760-A1CF-51298E46588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2282" y="1228072"/>
            <a:ext cx="11444737" cy="458757"/>
          </a:xfrm>
        </p:spPr>
        <p:txBody>
          <a:bodyPr wrap="square" tIns="180000">
            <a:spAutoFit/>
          </a:bodyPr>
          <a:lstStyle>
            <a:lvl1pPr>
              <a:defRPr lang="en-US" sz="1800" kern="1200" dirty="0">
                <a:solidFill>
                  <a:schemeClr val="tx1"/>
                </a:solidFill>
                <a:latin typeface="Arial Nova Light" panose="020B03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Insert subtitle here at 18 pt and align to the baseline of the title</a:t>
            </a:r>
          </a:p>
        </p:txBody>
      </p:sp>
      <p:sp>
        <p:nvSpPr>
          <p:cNvPr id="7" name="Sources">
            <a:extLst>
              <a:ext uri="{FF2B5EF4-FFF2-40B4-BE49-F238E27FC236}">
                <a16:creationId xmlns:a16="http://schemas.microsoft.com/office/drawing/2014/main" id="{88E4A81C-7F0C-401E-BF0D-945876E45EA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80550" y="6471584"/>
            <a:ext cx="6287026" cy="138499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900" i="1">
                <a:latin typeface="+mn-lt"/>
              </a:defRPr>
            </a:lvl1pPr>
          </a:lstStyle>
          <a:p>
            <a:pPr lvl="0"/>
            <a:r>
              <a:rPr lang="en-US"/>
              <a:t>Insert sources</a:t>
            </a:r>
          </a:p>
        </p:txBody>
      </p:sp>
      <p:sp>
        <p:nvSpPr>
          <p:cNvPr id="8" name="object 3">
            <a:extLst>
              <a:ext uri="{FF2B5EF4-FFF2-40B4-BE49-F238E27FC236}">
                <a16:creationId xmlns:a16="http://schemas.microsoft.com/office/drawing/2014/main" id="{1AF0588C-F27A-48F8-8256-801FE63BF253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594159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nd lev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9AB0881-7629-4C61-B9D7-118CF5F63EB8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7F8EB60C-7CC2-49F0-B2EE-C81F067DE04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Second level headline">
            <a:extLst>
              <a:ext uri="{FF2B5EF4-FFF2-40B4-BE49-F238E27FC236}">
                <a16:creationId xmlns:a16="http://schemas.microsoft.com/office/drawing/2014/main" id="{9F5147B3-D6BA-40DA-811A-794CE6808F6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4675" y="335827"/>
            <a:ext cx="11444737" cy="537034"/>
          </a:xfrm>
        </p:spPr>
        <p:txBody>
          <a:bodyPr wrap="square" bIns="288000">
            <a:spAutoFit/>
          </a:bodyPr>
          <a:lstStyle>
            <a:lvl1pPr>
              <a:defRPr sz="1600">
                <a:latin typeface="Arial Nova Cond" panose="020B0506020202020204" pitchFamily="34" charset="0"/>
              </a:defRPr>
            </a:lvl1pPr>
          </a:lstStyle>
          <a:p>
            <a:pPr lvl="0"/>
            <a:r>
              <a:rPr lang="en-US"/>
              <a:t>Second level headl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80C83E0-3A40-4218-894A-1614176FA6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199" y="835200"/>
            <a:ext cx="11460213" cy="4985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ources">
            <a:extLst>
              <a:ext uri="{FF2B5EF4-FFF2-40B4-BE49-F238E27FC236}">
                <a16:creationId xmlns:a16="http://schemas.microsoft.com/office/drawing/2014/main" id="{6AC808F8-83D8-4BE7-8EEF-780681062D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80550" y="6471584"/>
            <a:ext cx="6287026" cy="138499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900" i="1">
                <a:latin typeface="+mn-lt"/>
              </a:defRPr>
            </a:lvl1pPr>
          </a:lstStyle>
          <a:p>
            <a:pPr lvl="0"/>
            <a:r>
              <a:rPr lang="en-US"/>
              <a:t>Insert sources</a:t>
            </a:r>
          </a:p>
        </p:txBody>
      </p:sp>
      <p:sp>
        <p:nvSpPr>
          <p:cNvPr id="8" name="object 3">
            <a:extLst>
              <a:ext uri="{FF2B5EF4-FFF2-40B4-BE49-F238E27FC236}">
                <a16:creationId xmlns:a16="http://schemas.microsoft.com/office/drawing/2014/main" id="{02F72AE9-7A6F-4CE9-9BF8-E61E89104E7D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19209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3B0CFD8-B921-4C4F-85DF-2C2E3A33280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F8EB60C-7CC2-49F0-B2EE-C81F067DE04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Sources">
            <a:extLst>
              <a:ext uri="{FF2B5EF4-FFF2-40B4-BE49-F238E27FC236}">
                <a16:creationId xmlns:a16="http://schemas.microsoft.com/office/drawing/2014/main" id="{B257F9AB-C621-4EA6-8596-56BA90F5189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80550" y="6471584"/>
            <a:ext cx="6287026" cy="138499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900" i="1">
                <a:latin typeface="+mn-lt"/>
              </a:defRPr>
            </a:lvl1pPr>
          </a:lstStyle>
          <a:p>
            <a:pPr lvl="0"/>
            <a:r>
              <a:rPr lang="en-US"/>
              <a:t>Insert sources</a:t>
            </a:r>
          </a:p>
        </p:txBody>
      </p:sp>
      <p:sp>
        <p:nvSpPr>
          <p:cNvPr id="5" name="object 3">
            <a:extLst>
              <a:ext uri="{FF2B5EF4-FFF2-40B4-BE49-F238E27FC236}">
                <a16:creationId xmlns:a16="http://schemas.microsoft.com/office/drawing/2014/main" id="{5C76265E-50B1-44C5-820E-4807D618F65D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705716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– Sh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F404A10-74A8-44BB-BA8A-C51B1EC7E53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F8EB60C-7CC2-49F0-B2EE-C81F067DE04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2C312E-424D-43D9-8A64-94EB911DD7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4000" y="637411"/>
            <a:ext cx="4918075" cy="1218795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object 3">
            <a:extLst>
              <a:ext uri="{FF2B5EF4-FFF2-40B4-BE49-F238E27FC236}">
                <a16:creationId xmlns:a16="http://schemas.microsoft.com/office/drawing/2014/main" id="{A96F6214-5719-44AD-A33C-3483F101B383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729723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– Short w/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2ADB427-39A9-403F-BD18-117493C7850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solidFill>
            <a:schemeClr val="bg2"/>
          </a:solidFill>
        </p:spPr>
        <p:txBody>
          <a:bodyPr vert="horz" lIns="972000" tIns="1440000" rIns="720000" bIns="900000" rtlCol="0" anchor="ctr" anchorCtr="0">
            <a:noAutofit/>
          </a:bodyPr>
          <a:lstStyle>
            <a:lvl1pPr>
              <a:defRPr lang="en-US" sz="1600" b="0" cap="none" baseline="0" dirty="0">
                <a:solidFill>
                  <a:schemeClr val="tx2">
                    <a:lumMod val="75000"/>
                  </a:schemeClr>
                </a:solidFill>
                <a:latin typeface="+mn-lt"/>
              </a:defRPr>
            </a:lvl1pPr>
          </a:lstStyle>
          <a:p>
            <a:pPr lvl="0">
              <a:spcBef>
                <a:spcPts val="0"/>
              </a:spcBef>
            </a:pPr>
            <a:r>
              <a:rPr lang="en-CA"/>
              <a:t>Click on the icon or drag image </a:t>
            </a:r>
            <a:br>
              <a:rPr lang="en-CA"/>
            </a:br>
            <a:r>
              <a:rPr lang="en-CA"/>
              <a:t>to insert an image 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90BD26-7F16-43E6-93D1-1D8E1BD31E5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7E9DD44-D9D2-4F88-98AA-C2F756B80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4000" y="637200"/>
            <a:ext cx="4928400" cy="1218795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object 3">
            <a:extLst>
              <a:ext uri="{FF2B5EF4-FFF2-40B4-BE49-F238E27FC236}">
                <a16:creationId xmlns:a16="http://schemas.microsoft.com/office/drawing/2014/main" id="{152A783E-D2A7-4953-AABE-357FE299FA3F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0A2860EB-C269-4A38-9618-0C271105606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39084" y="6432376"/>
            <a:ext cx="1311547" cy="228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0875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– Short w/ Image (dark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0D1592F-CF41-47C6-8CB2-5D999085A6F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50000"/>
              <a:lumOff val="50000"/>
            </a:schemeClr>
          </a:solidFill>
        </p:spPr>
        <p:txBody>
          <a:bodyPr vert="horz" lIns="972000" tIns="1440000" rIns="720000" bIns="900000" rtlCol="0" anchor="ctr" anchorCtr="0">
            <a:noAutofit/>
          </a:bodyPr>
          <a:lstStyle>
            <a:lvl1pPr>
              <a:defRPr lang="en-US" sz="1600" b="0" cap="none" baseline="0" dirty="0">
                <a:solidFill>
                  <a:schemeClr val="tx2">
                    <a:lumMod val="75000"/>
                  </a:schemeClr>
                </a:solidFill>
                <a:latin typeface="+mn-lt"/>
              </a:defRPr>
            </a:lvl1pPr>
          </a:lstStyle>
          <a:p>
            <a:pPr lvl="0">
              <a:spcBef>
                <a:spcPts val="0"/>
              </a:spcBef>
            </a:pPr>
            <a:r>
              <a:rPr lang="en-CA"/>
              <a:t>Click on the icon or drag image </a:t>
            </a:r>
            <a:br>
              <a:rPr lang="en-CA"/>
            </a:br>
            <a:r>
              <a:rPr lang="en-CA"/>
              <a:t>to insert an image </a:t>
            </a: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A7F222A-0E11-4684-9CE8-B55A7392251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7F8EB60C-7CC2-49F0-B2EE-C81F067DE04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2C312E-424D-43D9-8A64-94EB911DD7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4000" y="637411"/>
            <a:ext cx="4918075" cy="1218795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object 3">
            <a:extLst>
              <a:ext uri="{FF2B5EF4-FFF2-40B4-BE49-F238E27FC236}">
                <a16:creationId xmlns:a16="http://schemas.microsoft.com/office/drawing/2014/main" id="{FA2F0426-4D52-4A84-8352-B04618977053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EE33EF1D-A217-419B-B145-2C021DD877D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39084" y="6432376"/>
            <a:ext cx="1311547" cy="228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38943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head – w/ Image (Light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45EE7852-B663-4291-B930-31A1F0B928D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solidFill>
            <a:schemeClr val="bg2"/>
          </a:solidFill>
        </p:spPr>
        <p:txBody>
          <a:bodyPr vert="horz" lIns="972000" tIns="1440000" rIns="720000" bIns="900000" rtlCol="0" anchor="ctr" anchorCtr="0">
            <a:noAutofit/>
          </a:bodyPr>
          <a:lstStyle>
            <a:lvl1pPr algn="r">
              <a:defRPr lang="en-US" sz="1600" b="0" cap="none" baseline="0" dirty="0">
                <a:solidFill>
                  <a:schemeClr val="tx2">
                    <a:lumMod val="75000"/>
                  </a:schemeClr>
                </a:solidFill>
                <a:latin typeface="+mn-lt"/>
              </a:defRPr>
            </a:lvl1pPr>
          </a:lstStyle>
          <a:p>
            <a:pPr lvl="0">
              <a:spcBef>
                <a:spcPts val="0"/>
              </a:spcBef>
            </a:pPr>
            <a:r>
              <a:rPr lang="en-CA"/>
              <a:t>Click on the icon or drag image </a:t>
            </a:r>
            <a:br>
              <a:rPr lang="en-CA"/>
            </a:br>
            <a:r>
              <a:rPr lang="en-CA"/>
              <a:t>to insert an image 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416A3E-1D1C-4EC6-B01F-21705E9D92F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76872E1-3CB8-45EA-A826-1429BD5BE353}" type="slidenum">
              <a:rPr lang="en-CA" smtClean="0"/>
              <a:pPr/>
              <a:t>‹#›</a:t>
            </a:fld>
            <a:endParaRPr lang="en-CA"/>
          </a:p>
        </p:txBody>
      </p:sp>
      <p:sp>
        <p:nvSpPr>
          <p:cNvPr id="6" name="Title 4">
            <a:extLst>
              <a:ext uri="{FF2B5EF4-FFF2-40B4-BE49-F238E27FC236}">
                <a16:creationId xmlns:a16="http://schemas.microsoft.com/office/drawing/2014/main" id="{3B6AC9B7-3E47-483E-94BD-45ECDCC8DB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4000" y="2551265"/>
            <a:ext cx="5669034" cy="1218795"/>
          </a:xfrm>
        </p:spPr>
        <p:txBody>
          <a:bodyPr wrap="square" anchor="t">
            <a:spAutoFit/>
          </a:bodyPr>
          <a:lstStyle>
            <a:lvl1pPr>
              <a:defRPr sz="4400"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AU"/>
          </a:p>
        </p:txBody>
      </p:sp>
      <p:sp>
        <p:nvSpPr>
          <p:cNvPr id="7" name="Subtitle">
            <a:extLst>
              <a:ext uri="{FF2B5EF4-FFF2-40B4-BE49-F238E27FC236}">
                <a16:creationId xmlns:a16="http://schemas.microsoft.com/office/drawing/2014/main" id="{E9E85B66-EF4A-4B96-BA5D-48045ADF9855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61341" y="3639073"/>
            <a:ext cx="5650474" cy="956773"/>
          </a:xfrm>
          <a:prstGeom prst="rect">
            <a:avLst/>
          </a:prstGeom>
        </p:spPr>
        <p:txBody>
          <a:bodyPr wrap="square" lIns="0" tIns="216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40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4pt, align to the baseline of the title</a:t>
            </a:r>
          </a:p>
        </p:txBody>
      </p:sp>
      <p:sp>
        <p:nvSpPr>
          <p:cNvPr id="8" name="object 3">
            <a:extLst>
              <a:ext uri="{FF2B5EF4-FFF2-40B4-BE49-F238E27FC236}">
                <a16:creationId xmlns:a16="http://schemas.microsoft.com/office/drawing/2014/main" id="{69A6CF98-6596-4692-81C0-636A52569600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1B2AB2BC-9B68-432E-A01E-3438152133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39084" y="6432376"/>
            <a:ext cx="1311547" cy="228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05401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head – w/ Image (Dark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F57CB9E2-1E6C-4DBA-ADCA-7EDAB804845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50000"/>
              <a:lumOff val="50000"/>
            </a:schemeClr>
          </a:solidFill>
        </p:spPr>
        <p:txBody>
          <a:bodyPr vert="horz" lIns="972000" tIns="1440000" rIns="720000" bIns="900000" rtlCol="0" anchor="ctr" anchorCtr="0">
            <a:noAutofit/>
          </a:bodyPr>
          <a:lstStyle>
            <a:lvl1pPr algn="r">
              <a:defRPr lang="en-US" sz="1600" b="0" cap="none" baseline="0" dirty="0">
                <a:solidFill>
                  <a:schemeClr val="tx2">
                    <a:lumMod val="75000"/>
                  </a:schemeClr>
                </a:solidFill>
                <a:latin typeface="+mn-lt"/>
              </a:defRPr>
            </a:lvl1pPr>
          </a:lstStyle>
          <a:p>
            <a:pPr lvl="0">
              <a:spcBef>
                <a:spcPts val="0"/>
              </a:spcBef>
            </a:pPr>
            <a:r>
              <a:rPr lang="en-CA"/>
              <a:t>Click on the icon or drag image </a:t>
            </a:r>
            <a:br>
              <a:rPr lang="en-CA"/>
            </a:br>
            <a:r>
              <a:rPr lang="en-CA"/>
              <a:t>to insert an image 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416A3E-1D1C-4EC6-B01F-21705E9D92F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76872E1-3CB8-45EA-A826-1429BD5BE353}" type="slidenum">
              <a:rPr lang="en-CA" smtClean="0"/>
              <a:pPr/>
              <a:t>‹#›</a:t>
            </a:fld>
            <a:endParaRPr lang="en-CA"/>
          </a:p>
        </p:txBody>
      </p:sp>
      <p:sp>
        <p:nvSpPr>
          <p:cNvPr id="6" name="Title 4">
            <a:extLst>
              <a:ext uri="{FF2B5EF4-FFF2-40B4-BE49-F238E27FC236}">
                <a16:creationId xmlns:a16="http://schemas.microsoft.com/office/drawing/2014/main" id="{3B6AC9B7-3E47-483E-94BD-45ECDCC8DB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4000" y="2551265"/>
            <a:ext cx="5692558" cy="1218795"/>
          </a:xfrm>
        </p:spPr>
        <p:txBody>
          <a:bodyPr wrap="square" anchor="t">
            <a:spAutoFit/>
          </a:bodyPr>
          <a:lstStyle>
            <a:lvl1pPr>
              <a:defRPr sz="4400"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AU"/>
          </a:p>
        </p:txBody>
      </p:sp>
      <p:sp>
        <p:nvSpPr>
          <p:cNvPr id="7" name="Subtitle">
            <a:extLst>
              <a:ext uri="{FF2B5EF4-FFF2-40B4-BE49-F238E27FC236}">
                <a16:creationId xmlns:a16="http://schemas.microsoft.com/office/drawing/2014/main" id="{E9E85B66-EF4A-4B96-BA5D-48045ADF9855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61340" y="3639073"/>
            <a:ext cx="5673921" cy="956773"/>
          </a:xfrm>
          <a:prstGeom prst="rect">
            <a:avLst/>
          </a:prstGeom>
        </p:spPr>
        <p:txBody>
          <a:bodyPr wrap="square" lIns="0" tIns="216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40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4pt, align to the baseline of the title</a:t>
            </a:r>
          </a:p>
        </p:txBody>
      </p:sp>
      <p:sp>
        <p:nvSpPr>
          <p:cNvPr id="11" name="object 3">
            <a:extLst>
              <a:ext uri="{FF2B5EF4-FFF2-40B4-BE49-F238E27FC236}">
                <a16:creationId xmlns:a16="http://schemas.microsoft.com/office/drawing/2014/main" id="{A75A3207-506D-419D-B848-560C969032AC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0DDD8ADB-92B6-4413-BE2D-2E18400BAD7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39084" y="6432376"/>
            <a:ext cx="1311547" cy="228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6873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– (3) Light Purple BG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66BD657-5D23-46A3-BAB5-048AB9CB8253}"/>
              </a:ext>
            </a:extLst>
          </p:cNvPr>
          <p:cNvSpPr>
            <a:spLocks noGrp="1"/>
          </p:cNvSpPr>
          <p:nvPr>
            <p:ph type="sldNum" sz="quarter" idx="38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65000"/>
                  </a:schemeClr>
                </a:solidFill>
              </a:defRPr>
            </a:lvl1pPr>
          </a:lstStyle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97A3785-78CD-4D63-83AC-448FAB4DB2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68400" y="1054800"/>
            <a:ext cx="1416413" cy="498598"/>
          </a:xfrm>
        </p:spPr>
        <p:txBody>
          <a:bodyPr wrap="none"/>
          <a:lstStyle>
            <a:lvl1pPr>
              <a:defRPr>
                <a:solidFill>
                  <a:schemeClr val="accent3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7" name="Number 1">
            <a:extLst>
              <a:ext uri="{FF2B5EF4-FFF2-40B4-BE49-F238E27FC236}">
                <a16:creationId xmlns:a16="http://schemas.microsoft.com/office/drawing/2014/main" id="{FD86D9DA-5830-47EE-ACD8-460A5383702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4889" y="2549752"/>
            <a:ext cx="961802" cy="1015663"/>
          </a:xfrm>
          <a:prstGeom prst="rect">
            <a:avLst/>
          </a:prstGeom>
        </p:spPr>
        <p:txBody>
          <a:bodyPr wrap="none" rIns="0" anchor="b">
            <a:spAutoFit/>
          </a:bodyPr>
          <a:lstStyle>
            <a:lvl1pPr algn="l">
              <a:defRPr sz="6600" b="1">
                <a:solidFill>
                  <a:schemeClr val="accent3">
                    <a:lumMod val="20000"/>
                    <a:lumOff val="80000"/>
                  </a:schemeClr>
                </a:solidFill>
                <a:latin typeface="Arial Nova" panose="020B05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5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15" name="Text Placeholder 1">
            <a:extLst>
              <a:ext uri="{FF2B5EF4-FFF2-40B4-BE49-F238E27FC236}">
                <a16:creationId xmlns:a16="http://schemas.microsoft.com/office/drawing/2014/main" id="{F45BEB6A-DFB7-4BF9-B97F-25DBA576A70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65393" y="3746468"/>
            <a:ext cx="3096000" cy="1673943"/>
          </a:xfrm>
        </p:spPr>
        <p:txBody>
          <a:bodyPr lIns="0"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1200"/>
              </a:spcAft>
              <a:defRPr sz="2200" b="1">
                <a:solidFill>
                  <a:schemeClr val="bg1"/>
                </a:solidFill>
                <a:latin typeface="Arial Nova" panose="020B0504020202020204" pitchFamily="34" charset="0"/>
              </a:defRPr>
            </a:lvl1pPr>
            <a:lvl2pPr marL="0" indent="0">
              <a:spcBef>
                <a:spcPts val="0"/>
              </a:spcBef>
              <a:spcAft>
                <a:spcPts val="1200"/>
              </a:spcAft>
              <a:buNone/>
              <a:defRPr sz="2000">
                <a:solidFill>
                  <a:schemeClr val="bg1"/>
                </a:solidFill>
                <a:latin typeface="Arial Nova Light" panose="020B0304020202020204" pitchFamily="34" charset="0"/>
              </a:defRPr>
            </a:lvl2pPr>
          </a:lstStyle>
          <a:p>
            <a:pPr lvl="0"/>
            <a:r>
              <a:rPr lang="en-US"/>
              <a:t>Insert subhead minimum 18 pt</a:t>
            </a:r>
          </a:p>
          <a:p>
            <a:pPr lvl="1"/>
            <a:r>
              <a:rPr lang="en-US"/>
              <a:t>Second level</a:t>
            </a:r>
            <a:br>
              <a:rPr lang="en-US"/>
            </a:br>
            <a:r>
              <a:rPr lang="en-US"/>
              <a:t>Maximum 3 lines</a:t>
            </a:r>
          </a:p>
        </p:txBody>
      </p:sp>
      <p:sp>
        <p:nvSpPr>
          <p:cNvPr id="33" name="Number 2">
            <a:extLst>
              <a:ext uri="{FF2B5EF4-FFF2-40B4-BE49-F238E27FC236}">
                <a16:creationId xmlns:a16="http://schemas.microsoft.com/office/drawing/2014/main" id="{7431B048-7F64-4D46-AB21-AF416805B82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494671" y="2549752"/>
            <a:ext cx="961802" cy="1015663"/>
          </a:xfrm>
          <a:prstGeom prst="rect">
            <a:avLst/>
          </a:prstGeom>
        </p:spPr>
        <p:txBody>
          <a:bodyPr wrap="none" rIns="0" anchor="b">
            <a:spAutoFit/>
          </a:bodyPr>
          <a:lstStyle>
            <a:lvl1pPr algn="l">
              <a:defRPr sz="6600" b="1">
                <a:solidFill>
                  <a:schemeClr val="accent3">
                    <a:lumMod val="20000"/>
                    <a:lumOff val="80000"/>
                  </a:schemeClr>
                </a:solidFill>
                <a:latin typeface="Arial Nova" panose="020B05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5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385AA299-1634-4D39-A630-DEE84485CC9E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525175" y="3746468"/>
            <a:ext cx="3096000" cy="1673943"/>
          </a:xfrm>
        </p:spPr>
        <p:txBody>
          <a:bodyPr lIns="0" anchor="t" anchorCtr="0">
            <a:noAutofit/>
          </a:bodyPr>
          <a:lstStyle>
            <a:lvl1pPr>
              <a:spcBef>
                <a:spcPts val="0"/>
              </a:spcBef>
              <a:spcAft>
                <a:spcPts val="1200"/>
              </a:spcAft>
              <a:defRPr lang="en-US" sz="2200" b="1" kern="1200" dirty="0" smtClean="0">
                <a:solidFill>
                  <a:schemeClr val="bg1"/>
                </a:solidFill>
                <a:latin typeface="Arial Nova" panose="020B05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>
              <a:spcBef>
                <a:spcPts val="0"/>
              </a:spcBef>
              <a:spcAft>
                <a:spcPts val="1200"/>
              </a:spcAft>
              <a:buNone/>
              <a:defRPr lang="en-US" sz="2000" kern="1200" dirty="0">
                <a:solidFill>
                  <a:schemeClr val="bg1"/>
                </a:solidFill>
                <a:latin typeface="Arial Nova Light" panose="020B03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US"/>
              <a:t>Insert subhead minimum 18 </a:t>
            </a:r>
            <a:r>
              <a:rPr lang="en-US" err="1"/>
              <a:t>pt</a:t>
            </a:r>
            <a:endParaRPr lang="en-US"/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US"/>
              <a:t>Second level</a:t>
            </a:r>
            <a:br>
              <a:rPr lang="en-US"/>
            </a:br>
            <a:r>
              <a:rPr lang="en-US"/>
              <a:t>Maximum 3 lines</a:t>
            </a:r>
          </a:p>
        </p:txBody>
      </p:sp>
      <p:sp>
        <p:nvSpPr>
          <p:cNvPr id="35" name="Number 3">
            <a:extLst>
              <a:ext uri="{FF2B5EF4-FFF2-40B4-BE49-F238E27FC236}">
                <a16:creationId xmlns:a16="http://schemas.microsoft.com/office/drawing/2014/main" id="{44560475-6058-4FED-BC48-0C8D6696156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056039" y="2549752"/>
            <a:ext cx="961802" cy="1015663"/>
          </a:xfrm>
          <a:prstGeom prst="rect">
            <a:avLst/>
          </a:prstGeom>
        </p:spPr>
        <p:txBody>
          <a:bodyPr wrap="none" rIns="0" anchor="b">
            <a:spAutoFit/>
          </a:bodyPr>
          <a:lstStyle>
            <a:lvl1pPr algn="l">
              <a:defRPr sz="6600" b="1">
                <a:solidFill>
                  <a:schemeClr val="accent3">
                    <a:lumMod val="20000"/>
                    <a:lumOff val="80000"/>
                  </a:schemeClr>
                </a:solidFill>
                <a:latin typeface="Arial Nova" panose="020B05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5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42738869-7028-4FF6-AB5B-DA5BCF49D34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086543" y="3746468"/>
            <a:ext cx="3096000" cy="1673943"/>
          </a:xfrm>
        </p:spPr>
        <p:txBody>
          <a:bodyPr lIns="0" anchor="t" anchorCtr="0">
            <a:noAutofit/>
          </a:bodyPr>
          <a:lstStyle>
            <a:lvl1pPr>
              <a:spcBef>
                <a:spcPts val="0"/>
              </a:spcBef>
              <a:spcAft>
                <a:spcPts val="1200"/>
              </a:spcAft>
              <a:defRPr lang="en-US" sz="2200" b="1" kern="1200" dirty="0">
                <a:solidFill>
                  <a:schemeClr val="bg1"/>
                </a:solidFill>
                <a:latin typeface="Arial Nova" panose="020B05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>
              <a:spcBef>
                <a:spcPts val="0"/>
              </a:spcBef>
              <a:spcAft>
                <a:spcPts val="1200"/>
              </a:spcAft>
              <a:buNone/>
              <a:defRPr lang="en-US" sz="2000" kern="1200" dirty="0">
                <a:solidFill>
                  <a:schemeClr val="bg1"/>
                </a:solidFill>
                <a:latin typeface="Arial Nova Light" panose="020B03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US"/>
              <a:t>Insert subhead minimum 18 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US"/>
              <a:t>Second level</a:t>
            </a:r>
            <a:br>
              <a:rPr lang="en-US"/>
            </a:br>
            <a:r>
              <a:rPr lang="en-US"/>
              <a:t>Maximum 3 lines</a:t>
            </a:r>
          </a:p>
        </p:txBody>
      </p:sp>
      <p:sp>
        <p:nvSpPr>
          <p:cNvPr id="13" name="object 3">
            <a:extLst>
              <a:ext uri="{FF2B5EF4-FFF2-40B4-BE49-F238E27FC236}">
                <a16:creationId xmlns:a16="http://schemas.microsoft.com/office/drawing/2014/main" id="{2A8203CE-E276-4488-8410-0FCC155D3BEA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6F1B8EF2-3460-4FCC-A3F0-3DCCAD1D520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39084" y="6432376"/>
            <a:ext cx="1311547" cy="228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799755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 – Important Point 1.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3">
            <a:extLst>
              <a:ext uri="{FF2B5EF4-FFF2-40B4-BE49-F238E27FC236}">
                <a16:creationId xmlns:a16="http://schemas.microsoft.com/office/drawing/2014/main" id="{DE0A3BC1-0AEE-4CB4-B4CD-8EE1F2C12BD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12192001" cy="6858000"/>
          </a:xfrm>
          <a:prstGeom prst="rect">
            <a:avLst/>
          </a:prstGeom>
          <a:solidFill>
            <a:schemeClr val="bg1">
              <a:lumMod val="50000"/>
              <a:lumOff val="50000"/>
            </a:schemeClr>
          </a:solidFill>
        </p:spPr>
        <p:txBody>
          <a:bodyPr lIns="720000" tIns="0" rIns="720000" bIns="900000" anchor="ctr" anchorCtr="0"/>
          <a:lstStyle>
            <a:lvl1pPr algn="l">
              <a:spcBef>
                <a:spcPts val="0"/>
              </a:spcBef>
              <a:defRPr sz="1600" b="0" cap="none" baseline="0">
                <a:solidFill>
                  <a:schemeClr val="tx2">
                    <a:lumMod val="75000"/>
                  </a:schemeClr>
                </a:solidFill>
                <a:latin typeface="+mn-lt"/>
              </a:defRPr>
            </a:lvl1pPr>
          </a:lstStyle>
          <a:p>
            <a:pPr lvl="0">
              <a:spcBef>
                <a:spcPts val="0"/>
              </a:spcBef>
            </a:pPr>
            <a:r>
              <a:rPr lang="en-CA"/>
              <a:t>Click on the icon or drag image </a:t>
            </a:r>
            <a:br>
              <a:rPr lang="en-CA"/>
            </a:br>
            <a:r>
              <a:rPr lang="en-CA"/>
              <a:t>to insert an image 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6DECC87-9E05-48BC-86ED-66D9B5035C8C}"/>
              </a:ext>
            </a:extLst>
          </p:cNvPr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2B59E07-F27D-44AC-9349-42F4AFF79B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50457" y="1648800"/>
            <a:ext cx="4585734" cy="1218795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Insert short headline</a:t>
            </a:r>
          </a:p>
        </p:txBody>
      </p:sp>
      <p:sp>
        <p:nvSpPr>
          <p:cNvPr id="12" name="Subtitle">
            <a:extLst>
              <a:ext uri="{FF2B5EF4-FFF2-40B4-BE49-F238E27FC236}">
                <a16:creationId xmlns:a16="http://schemas.microsoft.com/office/drawing/2014/main" id="{67F4B460-8D3C-433D-A409-F59422198A72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870580" y="2728800"/>
            <a:ext cx="4570181" cy="956773"/>
          </a:xfrm>
          <a:prstGeom prst="rect">
            <a:avLst/>
          </a:prstGeom>
        </p:spPr>
        <p:txBody>
          <a:bodyPr wrap="square" lIns="0" tIns="216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400">
                <a:solidFill>
                  <a:schemeClr val="accent6"/>
                </a:solidFill>
                <a:latin typeface="GT Sectra Fine Rg" panose="00000500000000000000" pitchFamily="50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4pt, align to the baseline of the title</a:t>
            </a:r>
          </a:p>
        </p:txBody>
      </p:sp>
      <p:sp>
        <p:nvSpPr>
          <p:cNvPr id="13" name="Intro">
            <a:extLst>
              <a:ext uri="{FF2B5EF4-FFF2-40B4-BE49-F238E27FC236}">
                <a16:creationId xmlns:a16="http://schemas.microsoft.com/office/drawing/2014/main" id="{37CAAC6F-F4F5-42EC-9323-119B2F0CF23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89407" y="3981600"/>
            <a:ext cx="4544790" cy="1386000"/>
          </a:xfrm>
        </p:spPr>
        <p:txBody>
          <a:bodyPr tIns="0"/>
          <a:lstStyle>
            <a:lvl1pPr>
              <a:defRPr sz="20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20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object 3">
            <a:extLst>
              <a:ext uri="{FF2B5EF4-FFF2-40B4-BE49-F238E27FC236}">
                <a16:creationId xmlns:a16="http://schemas.microsoft.com/office/drawing/2014/main" id="{95EA3320-0262-4A33-964C-92AE0F43009E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BD3062AA-5490-498F-A613-E692715180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39084" y="6432376"/>
            <a:ext cx="1311547" cy="228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24175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 – Important Point 1.2"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F72A32E-5F45-4313-8818-B37234233FF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76872E1-3CB8-45EA-A826-1429BD5BE353}" type="slidenum">
              <a:rPr lang="en-CA" smtClean="0"/>
              <a:pPr/>
              <a:t>‹#›</a:t>
            </a:fld>
            <a:endParaRPr lang="en-CA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5BBAB69C-4B21-451E-A1B0-FD994C0FDBE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96686" y="0"/>
            <a:ext cx="10797042" cy="4470399"/>
          </a:xfrm>
          <a:custGeom>
            <a:avLst/>
            <a:gdLst>
              <a:gd name="connsiteX0" fmla="*/ 0 w 5302251"/>
              <a:gd name="connsiteY0" fmla="*/ 0 h 6056313"/>
              <a:gd name="connsiteX1" fmla="*/ 5302251 w 5302251"/>
              <a:gd name="connsiteY1" fmla="*/ 0 h 6056313"/>
              <a:gd name="connsiteX2" fmla="*/ 5302251 w 5302251"/>
              <a:gd name="connsiteY2" fmla="*/ 6056313 h 6056313"/>
              <a:gd name="connsiteX3" fmla="*/ 932984 w 5302251"/>
              <a:gd name="connsiteY3" fmla="*/ 6056313 h 6056313"/>
              <a:gd name="connsiteX4" fmla="*/ 0 w 5302251"/>
              <a:gd name="connsiteY4" fmla="*/ 6056313 h 6056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02251" h="6056313">
                <a:moveTo>
                  <a:pt x="0" y="0"/>
                </a:moveTo>
                <a:lnTo>
                  <a:pt x="5302251" y="0"/>
                </a:lnTo>
                <a:lnTo>
                  <a:pt x="5302251" y="6056313"/>
                </a:lnTo>
                <a:lnTo>
                  <a:pt x="932984" y="6056313"/>
                </a:lnTo>
                <a:lnTo>
                  <a:pt x="0" y="6056313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</p:spPr>
        <p:txBody>
          <a:bodyPr wrap="square" lIns="720000" tIns="0" rIns="720000" bIns="900000" anchor="ctr" anchorCtr="0">
            <a:noAutofit/>
          </a:bodyPr>
          <a:lstStyle>
            <a:lvl1pPr algn="ctr">
              <a:spcBef>
                <a:spcPts val="0"/>
              </a:spcBef>
              <a:defRPr sz="1400" b="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</a:t>
            </a:r>
          </a:p>
        </p:txBody>
      </p:sp>
      <p:sp>
        <p:nvSpPr>
          <p:cNvPr id="22" name="Title 21">
            <a:extLst>
              <a:ext uri="{FF2B5EF4-FFF2-40B4-BE49-F238E27FC236}">
                <a16:creationId xmlns:a16="http://schemas.microsoft.com/office/drawing/2014/main" id="{8161052F-7513-4231-9E98-23D4D5A1C6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4609" y="2721629"/>
            <a:ext cx="5565141" cy="1218795"/>
          </a:xfrm>
        </p:spPr>
        <p:txBody>
          <a:bodyPr wrap="square" anchor="b">
            <a:sp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13" name="Intro">
            <a:extLst>
              <a:ext uri="{FF2B5EF4-FFF2-40B4-BE49-F238E27FC236}">
                <a16:creationId xmlns:a16="http://schemas.microsoft.com/office/drawing/2014/main" id="{527539B8-B213-444B-A063-3C22F621896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33749" y="4963885"/>
            <a:ext cx="6507163" cy="1081315"/>
          </a:xfrm>
        </p:spPr>
        <p:txBody>
          <a:bodyPr tIns="0"/>
          <a:lstStyle>
            <a:lvl1pPr>
              <a:lnSpc>
                <a:spcPct val="110000"/>
              </a:lnSpc>
              <a:defRPr sz="2400">
                <a:solidFill>
                  <a:schemeClr val="accent2"/>
                </a:solidFill>
                <a:latin typeface="Arial Nova Light" panose="020B0304020202020204" pitchFamily="34" charset="0"/>
              </a:defRPr>
            </a:lvl1pPr>
            <a:lvl2pPr marL="180000" indent="-180000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object 3">
            <a:extLst>
              <a:ext uri="{FF2B5EF4-FFF2-40B4-BE49-F238E27FC236}">
                <a16:creationId xmlns:a16="http://schemas.microsoft.com/office/drawing/2014/main" id="{6B15A15A-34BF-4310-9BF7-6C812E896AE1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213645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 – Important Point 1.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ACA3B55-CA9B-4C75-8E31-D2EA4E8E571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76872E1-3CB8-45EA-A826-1429BD5BE353}" type="slidenum">
              <a:rPr lang="en-CA" smtClean="0"/>
              <a:pPr/>
              <a:t>‹#›</a:t>
            </a:fld>
            <a:endParaRPr lang="en-CA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5BBAB69C-4B21-451E-A1B0-FD994C0FDBE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96686" y="0"/>
            <a:ext cx="10797042" cy="6045200"/>
          </a:xfrm>
          <a:custGeom>
            <a:avLst/>
            <a:gdLst>
              <a:gd name="connsiteX0" fmla="*/ 0 w 5302251"/>
              <a:gd name="connsiteY0" fmla="*/ 0 h 6056313"/>
              <a:gd name="connsiteX1" fmla="*/ 5302251 w 5302251"/>
              <a:gd name="connsiteY1" fmla="*/ 0 h 6056313"/>
              <a:gd name="connsiteX2" fmla="*/ 5302251 w 5302251"/>
              <a:gd name="connsiteY2" fmla="*/ 6056313 h 6056313"/>
              <a:gd name="connsiteX3" fmla="*/ 932984 w 5302251"/>
              <a:gd name="connsiteY3" fmla="*/ 6056313 h 6056313"/>
              <a:gd name="connsiteX4" fmla="*/ 0 w 5302251"/>
              <a:gd name="connsiteY4" fmla="*/ 6056313 h 6056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02251" h="6056313">
                <a:moveTo>
                  <a:pt x="0" y="0"/>
                </a:moveTo>
                <a:lnTo>
                  <a:pt x="5302251" y="0"/>
                </a:lnTo>
                <a:lnTo>
                  <a:pt x="5302251" y="6056313"/>
                </a:lnTo>
                <a:lnTo>
                  <a:pt x="932984" y="6056313"/>
                </a:lnTo>
                <a:lnTo>
                  <a:pt x="0" y="6056313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</p:spPr>
        <p:txBody>
          <a:bodyPr wrap="square" lIns="720000" tIns="0" rIns="720000" bIns="900000" anchor="ctr" anchorCtr="0">
            <a:noAutofit/>
          </a:bodyPr>
          <a:lstStyle>
            <a:lvl1pPr algn="ctr">
              <a:spcBef>
                <a:spcPts val="0"/>
              </a:spcBef>
              <a:defRPr sz="1400" b="0" cap="none" spc="0" baseline="0">
                <a:ln w="0"/>
                <a:solidFill>
                  <a:schemeClr val="bg1"/>
                </a:solidFill>
                <a:effectLst/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</a:t>
            </a:r>
          </a:p>
        </p:txBody>
      </p:sp>
      <p:sp>
        <p:nvSpPr>
          <p:cNvPr id="10" name="Title 6">
            <a:extLst>
              <a:ext uri="{FF2B5EF4-FFF2-40B4-BE49-F238E27FC236}">
                <a16:creationId xmlns:a16="http://schemas.microsoft.com/office/drawing/2014/main" id="{AECF8B7C-D9DC-4D58-B556-4B65B4598D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22916" y="2815200"/>
            <a:ext cx="4961998" cy="1412694"/>
          </a:xfrm>
        </p:spPr>
        <p:txBody>
          <a:bodyPr wrap="square" anchor="ctr">
            <a:spAutoFit/>
          </a:bodyPr>
          <a:lstStyle>
            <a:lvl1pPr>
              <a:lnSpc>
                <a:spcPct val="85000"/>
              </a:lnSpc>
              <a:defRPr sz="54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Insert short headline</a:t>
            </a:r>
            <a:endParaRPr lang="en-GB"/>
          </a:p>
        </p:txBody>
      </p:sp>
      <p:sp>
        <p:nvSpPr>
          <p:cNvPr id="5" name="object 3">
            <a:extLst>
              <a:ext uri="{FF2B5EF4-FFF2-40B4-BE49-F238E27FC236}">
                <a16:creationId xmlns:a16="http://schemas.microsoft.com/office/drawing/2014/main" id="{49DA3F36-B357-4139-BD59-804929F09E74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748925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w/ Subtitle  – Image and 2/3 Purple BG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CD20211-10B1-4BFA-BF76-C4C8F3A0F9CE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/>
          <a:p>
            <a:fld id="{876872E1-3CB8-45EA-A826-1429BD5BE353}" type="slidenum">
              <a:rPr lang="en-CA" smtClean="0"/>
              <a:pPr/>
              <a:t>‹#›</a:t>
            </a:fld>
            <a:endParaRPr lang="en-CA"/>
          </a:p>
        </p:txBody>
      </p:sp>
      <p:sp>
        <p:nvSpPr>
          <p:cNvPr id="2" name="White Rectangle">
            <a:extLst>
              <a:ext uri="{FF2B5EF4-FFF2-40B4-BE49-F238E27FC236}">
                <a16:creationId xmlns:a16="http://schemas.microsoft.com/office/drawing/2014/main" id="{25CB5CEB-FAC4-4361-91EB-C3194532CF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12192000" cy="2844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>
              <a:solidFill>
                <a:schemeClr val="bg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4D91CB7-C93C-4501-AEEF-F5BBB20EB6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64401" y="637200"/>
            <a:ext cx="5569636" cy="1235723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9D5C45F2-481D-4E10-8351-2C95D549E15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888898" y="1721838"/>
            <a:ext cx="5545138" cy="567811"/>
          </a:xfrm>
          <a:prstGeom prst="rect">
            <a:avLst/>
          </a:prstGeom>
        </p:spPr>
        <p:txBody>
          <a:bodyPr wrap="square" tIns="288000" r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800">
                <a:solidFill>
                  <a:schemeClr val="bg1"/>
                </a:solidFill>
                <a:latin typeface="Arial Nova Light" panose="020B0304020202020204" pitchFamily="34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18 pt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5BBAB69C-4B21-451E-A1B0-FD994C0FDBE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1000" y="381000"/>
            <a:ext cx="4918075" cy="5664200"/>
          </a:xfrm>
          <a:custGeom>
            <a:avLst/>
            <a:gdLst>
              <a:gd name="connsiteX0" fmla="*/ 0 w 5302251"/>
              <a:gd name="connsiteY0" fmla="*/ 0 h 6056313"/>
              <a:gd name="connsiteX1" fmla="*/ 5302251 w 5302251"/>
              <a:gd name="connsiteY1" fmla="*/ 0 h 6056313"/>
              <a:gd name="connsiteX2" fmla="*/ 5302251 w 5302251"/>
              <a:gd name="connsiteY2" fmla="*/ 6056313 h 6056313"/>
              <a:gd name="connsiteX3" fmla="*/ 932984 w 5302251"/>
              <a:gd name="connsiteY3" fmla="*/ 6056313 h 6056313"/>
              <a:gd name="connsiteX4" fmla="*/ 0 w 5302251"/>
              <a:gd name="connsiteY4" fmla="*/ 6056313 h 6056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02251" h="6056313">
                <a:moveTo>
                  <a:pt x="0" y="0"/>
                </a:moveTo>
                <a:lnTo>
                  <a:pt x="5302251" y="0"/>
                </a:lnTo>
                <a:lnTo>
                  <a:pt x="5302251" y="6056313"/>
                </a:lnTo>
                <a:lnTo>
                  <a:pt x="932984" y="6056313"/>
                </a:lnTo>
                <a:lnTo>
                  <a:pt x="0" y="6056313"/>
                </a:lnTo>
                <a:close/>
              </a:path>
            </a:pathLst>
          </a:custGeom>
          <a:solidFill>
            <a:schemeClr val="tx1">
              <a:lumMod val="95000"/>
            </a:schemeClr>
          </a:solidFill>
        </p:spPr>
        <p:txBody>
          <a:bodyPr wrap="square" lIns="720000" tIns="0" rIns="720000" bIns="900000" anchor="ctr" anchorCtr="0">
            <a:noAutofit/>
          </a:bodyPr>
          <a:lstStyle>
            <a:lvl1pPr algn="ctr">
              <a:spcBef>
                <a:spcPts val="0"/>
              </a:spcBef>
              <a:defRPr sz="1400" b="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</a:t>
            </a:r>
          </a:p>
        </p:txBody>
      </p:sp>
      <p:sp>
        <p:nvSpPr>
          <p:cNvPr id="10" name="object 3">
            <a:extLst>
              <a:ext uri="{FF2B5EF4-FFF2-40B4-BE49-F238E27FC236}">
                <a16:creationId xmlns:a16="http://schemas.microsoft.com/office/drawing/2014/main" id="{502EA983-9095-4223-892A-2ABB9FF52871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232022A3-72F3-454B-AA3C-1933ABF888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39084" y="6432376"/>
            <a:ext cx="1311547" cy="228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2006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mium layout 1.3 – 2nd level title (Image top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F51CCCB-D514-4A3C-A324-6392839999C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7F8EB60C-7CC2-49F0-B2EE-C81F067DE04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822BEC5-5B5D-4F2B-9A06-115215234F6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-1" y="0"/>
            <a:ext cx="12193200" cy="2988000"/>
          </a:xfrm>
          <a:solidFill>
            <a:schemeClr val="bg2"/>
          </a:solidFill>
        </p:spPr>
        <p:txBody>
          <a:bodyPr bIns="1080000" anchor="ctr"/>
          <a:lstStyle>
            <a:lvl1pPr algn="ctr"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pPr lvl="0">
              <a:spcBef>
                <a:spcPts val="0"/>
              </a:spcBef>
            </a:pPr>
            <a:r>
              <a:rPr lang="en-CA"/>
              <a:t>Click on the icon or drag image </a:t>
            </a:r>
            <a:br>
              <a:rPr lang="en-CA"/>
            </a:br>
            <a:r>
              <a:rPr lang="en-CA"/>
              <a:t>to insert an image </a:t>
            </a:r>
            <a:endParaRPr lang="en-US"/>
          </a:p>
        </p:txBody>
      </p:sp>
      <p:sp>
        <p:nvSpPr>
          <p:cNvPr id="7" name="Second level headline">
            <a:extLst>
              <a:ext uri="{FF2B5EF4-FFF2-40B4-BE49-F238E27FC236}">
                <a16:creationId xmlns:a16="http://schemas.microsoft.com/office/drawing/2014/main" id="{AACD19E1-0CC5-4391-B015-3C68BBE44E7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4674" y="3342358"/>
            <a:ext cx="4930567" cy="537034"/>
          </a:xfrm>
        </p:spPr>
        <p:txBody>
          <a:bodyPr wrap="square" bIns="288000">
            <a:spAutoFit/>
          </a:bodyPr>
          <a:lstStyle>
            <a:lvl1pPr>
              <a:defRPr sz="1600">
                <a:solidFill>
                  <a:schemeClr val="tx1"/>
                </a:solidFill>
                <a:latin typeface="Arial Nova Cond" panose="020B0506020202020204" pitchFamily="34" charset="0"/>
              </a:defRPr>
            </a:lvl1pPr>
          </a:lstStyle>
          <a:p>
            <a:pPr lvl="0"/>
            <a:r>
              <a:rPr lang="en-US"/>
              <a:t>Second level headl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A9CF60-4F5A-4261-BAB5-1AF1DB1452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2000" y="3805574"/>
            <a:ext cx="4949875" cy="1218795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Insert short headline</a:t>
            </a:r>
          </a:p>
        </p:txBody>
      </p:sp>
      <p:sp>
        <p:nvSpPr>
          <p:cNvPr id="8" name="Intro">
            <a:extLst>
              <a:ext uri="{FF2B5EF4-FFF2-40B4-BE49-F238E27FC236}">
                <a16:creationId xmlns:a16="http://schemas.microsoft.com/office/drawing/2014/main" id="{470EC52A-FEFC-45D6-BCB6-A06D3AEEA9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892494" y="3928032"/>
            <a:ext cx="5310494" cy="2113993"/>
          </a:xfrm>
        </p:spPr>
        <p:txBody>
          <a:bodyPr/>
          <a:lstStyle>
            <a:lvl1pPr>
              <a:defRPr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object 3">
            <a:extLst>
              <a:ext uri="{FF2B5EF4-FFF2-40B4-BE49-F238E27FC236}">
                <a16:creationId xmlns:a16="http://schemas.microsoft.com/office/drawing/2014/main" id="{9D16FBD6-9CE1-4722-AF7B-82C0406F3722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219935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 – Full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D0E5E14-BABF-4AC2-A8BF-7F7705F43E3E}"/>
              </a:ext>
            </a:extLst>
          </p:cNvPr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5BBAB69C-4B21-451E-A1B0-FD994C0FDBE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045200"/>
          </a:xfrm>
          <a:custGeom>
            <a:avLst/>
            <a:gdLst>
              <a:gd name="connsiteX0" fmla="*/ 0 w 5302251"/>
              <a:gd name="connsiteY0" fmla="*/ 0 h 6056313"/>
              <a:gd name="connsiteX1" fmla="*/ 5302251 w 5302251"/>
              <a:gd name="connsiteY1" fmla="*/ 0 h 6056313"/>
              <a:gd name="connsiteX2" fmla="*/ 5302251 w 5302251"/>
              <a:gd name="connsiteY2" fmla="*/ 6056313 h 6056313"/>
              <a:gd name="connsiteX3" fmla="*/ 932984 w 5302251"/>
              <a:gd name="connsiteY3" fmla="*/ 6056313 h 6056313"/>
              <a:gd name="connsiteX4" fmla="*/ 0 w 5302251"/>
              <a:gd name="connsiteY4" fmla="*/ 6056313 h 6056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02251" h="6056313">
                <a:moveTo>
                  <a:pt x="0" y="0"/>
                </a:moveTo>
                <a:lnTo>
                  <a:pt x="5302251" y="0"/>
                </a:lnTo>
                <a:lnTo>
                  <a:pt x="5302251" y="6056313"/>
                </a:lnTo>
                <a:lnTo>
                  <a:pt x="932984" y="6056313"/>
                </a:lnTo>
                <a:lnTo>
                  <a:pt x="0" y="60563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0" tIns="0" rIns="720000" bIns="900000" anchor="ctr" anchorCtr="0">
            <a:noAutofit/>
          </a:bodyPr>
          <a:lstStyle>
            <a:lvl1pPr algn="l">
              <a:spcBef>
                <a:spcPts val="0"/>
              </a:spcBef>
              <a:defRPr sz="1400" b="0" cap="none" spc="0" baseline="0">
                <a:ln w="0"/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7157986-86F0-4B5F-8B45-ACE7B479A4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45039" y="1648800"/>
            <a:ext cx="4964282" cy="1218795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Insert short headline</a:t>
            </a:r>
          </a:p>
        </p:txBody>
      </p:sp>
      <p:sp>
        <p:nvSpPr>
          <p:cNvPr id="12" name="Subtitle">
            <a:extLst>
              <a:ext uri="{FF2B5EF4-FFF2-40B4-BE49-F238E27FC236}">
                <a16:creationId xmlns:a16="http://schemas.microsoft.com/office/drawing/2014/main" id="{29C47F81-C62F-4527-97FE-689546B1BC5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262304" y="2728142"/>
            <a:ext cx="4936349" cy="772107"/>
          </a:xfrm>
          <a:prstGeom prst="rect">
            <a:avLst/>
          </a:prstGeom>
        </p:spPr>
        <p:txBody>
          <a:bodyPr wrap="square" lIns="0" tIns="216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800">
                <a:solidFill>
                  <a:schemeClr val="accent1"/>
                </a:solidFill>
                <a:latin typeface="Arial Nova Light" panose="020B0304020202020204" pitchFamily="34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18 pt, align to the baseline of the title</a:t>
            </a:r>
          </a:p>
        </p:txBody>
      </p:sp>
      <p:sp>
        <p:nvSpPr>
          <p:cNvPr id="13" name="Intro">
            <a:extLst>
              <a:ext uri="{FF2B5EF4-FFF2-40B4-BE49-F238E27FC236}">
                <a16:creationId xmlns:a16="http://schemas.microsoft.com/office/drawing/2014/main" id="{527539B8-B213-444B-A063-3C22F621896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66638" y="3980880"/>
            <a:ext cx="4936349" cy="1386000"/>
          </a:xfrm>
        </p:spPr>
        <p:txBody>
          <a:bodyPr tIns="0"/>
          <a:lstStyle>
            <a:lvl1pPr>
              <a:defRPr sz="20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20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object 3">
            <a:extLst>
              <a:ext uri="{FF2B5EF4-FFF2-40B4-BE49-F238E27FC236}">
                <a16:creationId xmlns:a16="http://schemas.microsoft.com/office/drawing/2014/main" id="{AF96194B-3657-4BBC-AFDC-0D124931AA1B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185660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mium Layout 1.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0350812-FD2A-483C-9979-5E5AA1BC4573}"/>
              </a:ext>
            </a:extLst>
          </p:cNvPr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5BBAB69C-4B21-451E-A1B0-FD994C0FDBE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33749" y="636858"/>
            <a:ext cx="8221393" cy="5408342"/>
          </a:xfrm>
          <a:custGeom>
            <a:avLst/>
            <a:gdLst>
              <a:gd name="connsiteX0" fmla="*/ 0 w 5302251"/>
              <a:gd name="connsiteY0" fmla="*/ 0 h 6056313"/>
              <a:gd name="connsiteX1" fmla="*/ 5302251 w 5302251"/>
              <a:gd name="connsiteY1" fmla="*/ 0 h 6056313"/>
              <a:gd name="connsiteX2" fmla="*/ 5302251 w 5302251"/>
              <a:gd name="connsiteY2" fmla="*/ 6056313 h 6056313"/>
              <a:gd name="connsiteX3" fmla="*/ 932984 w 5302251"/>
              <a:gd name="connsiteY3" fmla="*/ 6056313 h 6056313"/>
              <a:gd name="connsiteX4" fmla="*/ 0 w 5302251"/>
              <a:gd name="connsiteY4" fmla="*/ 6056313 h 6056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02251" h="6056313">
                <a:moveTo>
                  <a:pt x="0" y="0"/>
                </a:moveTo>
                <a:lnTo>
                  <a:pt x="5302251" y="0"/>
                </a:lnTo>
                <a:lnTo>
                  <a:pt x="5302251" y="6056313"/>
                </a:lnTo>
                <a:lnTo>
                  <a:pt x="932984" y="6056313"/>
                </a:lnTo>
                <a:lnTo>
                  <a:pt x="0" y="60563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0" tIns="0" rIns="720000" bIns="900000" anchor="ctr" anchorCtr="0">
            <a:noAutofit/>
          </a:bodyPr>
          <a:lstStyle>
            <a:lvl1pPr algn="ctr">
              <a:spcBef>
                <a:spcPts val="0"/>
              </a:spcBef>
              <a:defRPr sz="1400" b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F776891-5ECA-4726-A03B-D33D5A53A6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4000" y="1648800"/>
            <a:ext cx="4955100" cy="1218795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Insert short headline</a:t>
            </a:r>
          </a:p>
        </p:txBody>
      </p:sp>
      <p:sp>
        <p:nvSpPr>
          <p:cNvPr id="12" name="Subtitle">
            <a:extLst>
              <a:ext uri="{FF2B5EF4-FFF2-40B4-BE49-F238E27FC236}">
                <a16:creationId xmlns:a16="http://schemas.microsoft.com/office/drawing/2014/main" id="{29C47F81-C62F-4527-97FE-689546B1BC5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72000" y="2728800"/>
            <a:ext cx="4929900" cy="772107"/>
          </a:xfrm>
          <a:prstGeom prst="rect">
            <a:avLst/>
          </a:prstGeom>
        </p:spPr>
        <p:txBody>
          <a:bodyPr wrap="square" lIns="0" tIns="216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800">
                <a:solidFill>
                  <a:schemeClr val="accent1"/>
                </a:solidFill>
                <a:latin typeface="Arial Nova Light" panose="020B0304020202020204" pitchFamily="34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18 pt, align box to the baseline of the title</a:t>
            </a:r>
          </a:p>
        </p:txBody>
      </p:sp>
      <p:sp>
        <p:nvSpPr>
          <p:cNvPr id="13" name="Intro">
            <a:extLst>
              <a:ext uri="{FF2B5EF4-FFF2-40B4-BE49-F238E27FC236}">
                <a16:creationId xmlns:a16="http://schemas.microsoft.com/office/drawing/2014/main" id="{527539B8-B213-444B-A063-3C22F621896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75600" y="3981600"/>
            <a:ext cx="4929900" cy="1386000"/>
          </a:xfrm>
        </p:spPr>
        <p:txBody>
          <a:bodyPr tIns="0"/>
          <a:lstStyle>
            <a:lvl1pPr>
              <a:defRPr sz="20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20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object 3">
            <a:extLst>
              <a:ext uri="{FF2B5EF4-FFF2-40B4-BE49-F238E27FC236}">
                <a16:creationId xmlns:a16="http://schemas.microsoft.com/office/drawing/2014/main" id="{59293C27-A875-49C3-88A9-996F7143ECFB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809439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mium Layout 1.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097108A-ACDA-47A3-A4ED-7692DC9C7B6D}"/>
              </a:ext>
            </a:extLst>
          </p:cNvPr>
          <p:cNvSpPr>
            <a:spLocks noGrp="1"/>
          </p:cNvSpPr>
          <p:nvPr>
            <p:ph type="sldNum" sz="quarter" idx="56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Picture Placeholder 13">
            <a:extLst>
              <a:ext uri="{FF2B5EF4-FFF2-40B4-BE49-F238E27FC236}">
                <a16:creationId xmlns:a16="http://schemas.microsoft.com/office/drawing/2014/main" id="{AAA8BDDE-6F91-4C15-8A57-71AFAFC1135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8647113" cy="60452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720000" tIns="0" rIns="720000" bIns="900000" anchor="ctr" anchorCtr="0"/>
          <a:lstStyle>
            <a:lvl1pPr algn="l">
              <a:spcBef>
                <a:spcPts val="0"/>
              </a:spcBef>
              <a:defRPr sz="1600" b="0" cap="none" baseline="0"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 and use the crop tool </a:t>
            </a:r>
            <a:br>
              <a:rPr lang="en-US"/>
            </a:br>
            <a:r>
              <a:rPr lang="en-US"/>
              <a:t>to adjust the image cropping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526E002-E12C-4B7D-A5DB-397B3DED9F75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6282531" y="1717676"/>
            <a:ext cx="5907087" cy="4327525"/>
          </a:xfrm>
          <a:solidFill>
            <a:schemeClr val="accent3"/>
          </a:solidFill>
        </p:spPr>
        <p:txBody>
          <a:bodyPr lIns="576000" tIns="360000" rIns="684000" bIns="360000" anchor="ctr" anchorCtr="0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1400"/>
              </a:spcAft>
              <a:defRPr sz="4400" b="1">
                <a:solidFill>
                  <a:schemeClr val="bg1"/>
                </a:solidFill>
                <a:latin typeface="Arial Nova" panose="020B0504020202020204" pitchFamily="34" charset="0"/>
              </a:defRPr>
            </a:lvl1pPr>
            <a:lvl2pPr>
              <a:lnSpc>
                <a:spcPct val="105000"/>
              </a:lnSpc>
              <a:spcBef>
                <a:spcPts val="900"/>
              </a:spcBef>
              <a:defRPr sz="2000">
                <a:solidFill>
                  <a:schemeClr val="bg1"/>
                </a:solidFill>
                <a:latin typeface="Arial Nova Light" panose="020B0304020202020204" pitchFamily="34" charset="0"/>
              </a:defRPr>
            </a:lvl2pPr>
            <a:lvl3pPr>
              <a:lnSpc>
                <a:spcPct val="105000"/>
              </a:lnSpc>
              <a:spcBef>
                <a:spcPts val="900"/>
              </a:spcBef>
              <a:defRPr sz="2000">
                <a:solidFill>
                  <a:schemeClr val="bg1"/>
                </a:solidFill>
                <a:latin typeface="Arial Nova Light" panose="020B0304020202020204" pitchFamily="34" charset="0"/>
              </a:defRPr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object 3">
            <a:extLst>
              <a:ext uri="{FF2B5EF4-FFF2-40B4-BE49-F238E27FC236}">
                <a16:creationId xmlns:a16="http://schemas.microsoft.com/office/drawing/2014/main" id="{F58E6833-324E-4A42-9D63-C0F506214003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688839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mium Layout 1.3 (Image 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6891656-90BE-40E9-808C-CA7B0B2F5D4A}"/>
              </a:ext>
            </a:extLst>
          </p:cNvPr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3E4D264-6D4A-4BD5-A7B6-B2EF3F7B20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6800" y="1645200"/>
            <a:ext cx="4352275" cy="1218795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Insert short headline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D7FE724D-C664-48DA-94EA-48C0EE3C9DA2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71266" y="2732059"/>
            <a:ext cx="4323475" cy="772107"/>
          </a:xfrm>
          <a:prstGeom prst="rect">
            <a:avLst/>
          </a:prstGeom>
        </p:spPr>
        <p:txBody>
          <a:bodyPr wrap="square" lIns="0" tIns="216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800">
                <a:solidFill>
                  <a:schemeClr val="accent1"/>
                </a:solidFill>
                <a:latin typeface="Arial Nova Light" panose="020B0304020202020204" pitchFamily="34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18 pt, align box to the baseline of the title</a:t>
            </a:r>
          </a:p>
        </p:txBody>
      </p:sp>
      <p:sp>
        <p:nvSpPr>
          <p:cNvPr id="12" name="Intro">
            <a:extLst>
              <a:ext uri="{FF2B5EF4-FFF2-40B4-BE49-F238E27FC236}">
                <a16:creationId xmlns:a16="http://schemas.microsoft.com/office/drawing/2014/main" id="{9E781E2A-2D68-451D-9B4D-46656701DE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75600" y="3981993"/>
            <a:ext cx="4323475" cy="1386000"/>
          </a:xfrm>
        </p:spPr>
        <p:txBody>
          <a:bodyPr tIns="0"/>
          <a:lstStyle>
            <a:lvl1pPr>
              <a:defRPr sz="20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20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5BBAB69C-4B21-451E-A1B0-FD994C0FDBE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913020" y="0"/>
            <a:ext cx="6278980" cy="6045200"/>
          </a:xfrm>
          <a:custGeom>
            <a:avLst/>
            <a:gdLst>
              <a:gd name="connsiteX0" fmla="*/ 0 w 5302251"/>
              <a:gd name="connsiteY0" fmla="*/ 0 h 6056313"/>
              <a:gd name="connsiteX1" fmla="*/ 5302251 w 5302251"/>
              <a:gd name="connsiteY1" fmla="*/ 0 h 6056313"/>
              <a:gd name="connsiteX2" fmla="*/ 5302251 w 5302251"/>
              <a:gd name="connsiteY2" fmla="*/ 6056313 h 6056313"/>
              <a:gd name="connsiteX3" fmla="*/ 932984 w 5302251"/>
              <a:gd name="connsiteY3" fmla="*/ 6056313 h 6056313"/>
              <a:gd name="connsiteX4" fmla="*/ 0 w 5302251"/>
              <a:gd name="connsiteY4" fmla="*/ 6056313 h 6056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02251" h="6056313">
                <a:moveTo>
                  <a:pt x="0" y="0"/>
                </a:moveTo>
                <a:lnTo>
                  <a:pt x="5302251" y="0"/>
                </a:lnTo>
                <a:lnTo>
                  <a:pt x="5302251" y="6056313"/>
                </a:lnTo>
                <a:lnTo>
                  <a:pt x="932984" y="6056313"/>
                </a:lnTo>
                <a:lnTo>
                  <a:pt x="0" y="60563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0" tIns="0" rIns="720000" bIns="900000" anchor="ctr" anchorCtr="0">
            <a:noAutofit/>
          </a:bodyPr>
          <a:lstStyle>
            <a:lvl1pPr algn="ctr">
              <a:spcBef>
                <a:spcPts val="0"/>
              </a:spcBef>
              <a:defRPr sz="1400" b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</a:t>
            </a:r>
          </a:p>
        </p:txBody>
      </p:sp>
      <p:sp>
        <p:nvSpPr>
          <p:cNvPr id="7" name="object 3">
            <a:extLst>
              <a:ext uri="{FF2B5EF4-FFF2-40B4-BE49-F238E27FC236}">
                <a16:creationId xmlns:a16="http://schemas.microsoft.com/office/drawing/2014/main" id="{63C6558F-8651-4CFB-A8B5-CB9F87541A1E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576143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mium Layout 1.4 (Image 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FD0AD58-924C-4A3A-AAD9-8C60161D1E2B}"/>
              </a:ext>
            </a:extLst>
          </p:cNvPr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C76E7BB-1F18-41B4-9CAB-7E150F30D1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6800" y="1645200"/>
            <a:ext cx="4352275" cy="1218795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Insert short headline</a:t>
            </a:r>
          </a:p>
        </p:txBody>
      </p:sp>
      <p:sp>
        <p:nvSpPr>
          <p:cNvPr id="12" name="Subtitle">
            <a:extLst>
              <a:ext uri="{FF2B5EF4-FFF2-40B4-BE49-F238E27FC236}">
                <a16:creationId xmlns:a16="http://schemas.microsoft.com/office/drawing/2014/main" id="{29C47F81-C62F-4527-97FE-689546B1BC5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71266" y="2732059"/>
            <a:ext cx="4323475" cy="772107"/>
          </a:xfrm>
          <a:prstGeom prst="rect">
            <a:avLst/>
          </a:prstGeom>
        </p:spPr>
        <p:txBody>
          <a:bodyPr wrap="square" lIns="0" tIns="216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800">
                <a:solidFill>
                  <a:schemeClr val="accent1"/>
                </a:solidFill>
                <a:latin typeface="Arial Nova Light" panose="020B0304020202020204" pitchFamily="34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18 pt, align box to the baseline of the title</a:t>
            </a:r>
          </a:p>
        </p:txBody>
      </p:sp>
      <p:sp>
        <p:nvSpPr>
          <p:cNvPr id="13" name="Intro">
            <a:extLst>
              <a:ext uri="{FF2B5EF4-FFF2-40B4-BE49-F238E27FC236}">
                <a16:creationId xmlns:a16="http://schemas.microsoft.com/office/drawing/2014/main" id="{527539B8-B213-444B-A063-3C22F621896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75600" y="3981993"/>
            <a:ext cx="4323475" cy="1386000"/>
          </a:xfrm>
        </p:spPr>
        <p:txBody>
          <a:bodyPr tIns="0"/>
          <a:lstStyle>
            <a:lvl1pPr>
              <a:defRPr sz="20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20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5BBAB69C-4B21-451E-A1B0-FD994C0FDBE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913020" y="0"/>
            <a:ext cx="5893460" cy="6045200"/>
          </a:xfrm>
          <a:custGeom>
            <a:avLst/>
            <a:gdLst>
              <a:gd name="connsiteX0" fmla="*/ 0 w 5302251"/>
              <a:gd name="connsiteY0" fmla="*/ 0 h 6056313"/>
              <a:gd name="connsiteX1" fmla="*/ 5302251 w 5302251"/>
              <a:gd name="connsiteY1" fmla="*/ 0 h 6056313"/>
              <a:gd name="connsiteX2" fmla="*/ 5302251 w 5302251"/>
              <a:gd name="connsiteY2" fmla="*/ 6056313 h 6056313"/>
              <a:gd name="connsiteX3" fmla="*/ 932984 w 5302251"/>
              <a:gd name="connsiteY3" fmla="*/ 6056313 h 6056313"/>
              <a:gd name="connsiteX4" fmla="*/ 0 w 5302251"/>
              <a:gd name="connsiteY4" fmla="*/ 6056313 h 6056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02251" h="6056313">
                <a:moveTo>
                  <a:pt x="0" y="0"/>
                </a:moveTo>
                <a:lnTo>
                  <a:pt x="5302251" y="0"/>
                </a:lnTo>
                <a:lnTo>
                  <a:pt x="5302251" y="6056313"/>
                </a:lnTo>
                <a:lnTo>
                  <a:pt x="932984" y="6056313"/>
                </a:lnTo>
                <a:lnTo>
                  <a:pt x="0" y="60563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0" tIns="0" rIns="720000" bIns="900000" anchor="ctr" anchorCtr="0">
            <a:noAutofit/>
          </a:bodyPr>
          <a:lstStyle>
            <a:lvl1pPr algn="ctr">
              <a:spcBef>
                <a:spcPts val="0"/>
              </a:spcBef>
              <a:defRPr sz="1400" b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</a:t>
            </a:r>
          </a:p>
        </p:txBody>
      </p:sp>
      <p:sp>
        <p:nvSpPr>
          <p:cNvPr id="7" name="object 3">
            <a:extLst>
              <a:ext uri="{FF2B5EF4-FFF2-40B4-BE49-F238E27FC236}">
                <a16:creationId xmlns:a16="http://schemas.microsoft.com/office/drawing/2014/main" id="{F7A4A432-FA89-4C0E-B5BF-B4DABA1EECE3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5748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– (4) White 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259D84D-0ED3-4958-9A33-9C2A19E3DD2F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CBE3E89-49F3-4862-94B0-CF9862F039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3600" y="1054800"/>
            <a:ext cx="1771319" cy="498598"/>
          </a:xfrm>
        </p:spPr>
        <p:txBody>
          <a:bodyPr wrap="none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7" name="Number 1">
            <a:extLst>
              <a:ext uri="{FF2B5EF4-FFF2-40B4-BE49-F238E27FC236}">
                <a16:creationId xmlns:a16="http://schemas.microsoft.com/office/drawing/2014/main" id="{FD86D9DA-5830-47EE-ACD8-460A5383702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27669" y="2549752"/>
            <a:ext cx="961802" cy="1015663"/>
          </a:xfrm>
          <a:prstGeom prst="rect">
            <a:avLst/>
          </a:prstGeom>
        </p:spPr>
        <p:txBody>
          <a:bodyPr wrap="none" rIns="0" anchor="b">
            <a:spAutoFit/>
          </a:bodyPr>
          <a:lstStyle>
            <a:lvl1pPr algn="l">
              <a:defRPr sz="6600" b="1">
                <a:solidFill>
                  <a:schemeClr val="accent2"/>
                </a:solidFill>
                <a:latin typeface="Arial Nova" panose="020B05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5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15" name="Text Placeholder 1">
            <a:extLst>
              <a:ext uri="{FF2B5EF4-FFF2-40B4-BE49-F238E27FC236}">
                <a16:creationId xmlns:a16="http://schemas.microsoft.com/office/drawing/2014/main" id="{F45BEB6A-DFB7-4BF9-B97F-25DBA576A70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60216" y="3746468"/>
            <a:ext cx="2594122" cy="1673943"/>
          </a:xfrm>
        </p:spPr>
        <p:txBody>
          <a:bodyPr lIns="0"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1200"/>
              </a:spcAft>
              <a:defRPr sz="2200" b="1">
                <a:solidFill>
                  <a:schemeClr val="tx1"/>
                </a:solidFill>
                <a:latin typeface="Arial Nova" panose="020B0504020202020204" pitchFamily="34" charset="0"/>
              </a:defRPr>
            </a:lvl1pPr>
            <a:lvl2pPr marL="0" indent="0">
              <a:spcBef>
                <a:spcPts val="0"/>
              </a:spcBef>
              <a:spcAft>
                <a:spcPts val="1200"/>
              </a:spcAft>
              <a:buNone/>
              <a:defRPr sz="2000">
                <a:solidFill>
                  <a:schemeClr val="tx1"/>
                </a:solidFill>
                <a:latin typeface="Arial Nova Light" panose="020B0304020202020204" pitchFamily="34" charset="0"/>
              </a:defRPr>
            </a:lvl2pPr>
          </a:lstStyle>
          <a:p>
            <a:pPr lvl="0"/>
            <a:r>
              <a:rPr lang="en-US"/>
              <a:t>Insert subhead minimum 18 pt</a:t>
            </a:r>
          </a:p>
          <a:p>
            <a:pPr lvl="1"/>
            <a:r>
              <a:rPr lang="en-US"/>
              <a:t>Second level</a:t>
            </a:r>
            <a:br>
              <a:rPr lang="en-US"/>
            </a:br>
            <a:r>
              <a:rPr lang="en-US"/>
              <a:t>Maximum 3 lines</a:t>
            </a:r>
          </a:p>
        </p:txBody>
      </p:sp>
      <p:sp>
        <p:nvSpPr>
          <p:cNvPr id="33" name="Number 2">
            <a:extLst>
              <a:ext uri="{FF2B5EF4-FFF2-40B4-BE49-F238E27FC236}">
                <a16:creationId xmlns:a16="http://schemas.microsoft.com/office/drawing/2014/main" id="{7431B048-7F64-4D46-AB21-AF416805B82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290291" y="2549752"/>
            <a:ext cx="961802" cy="1015663"/>
          </a:xfrm>
          <a:prstGeom prst="rect">
            <a:avLst/>
          </a:prstGeom>
        </p:spPr>
        <p:txBody>
          <a:bodyPr wrap="none" rIns="0" anchor="b">
            <a:spAutoFit/>
          </a:bodyPr>
          <a:lstStyle>
            <a:lvl1pPr algn="l">
              <a:defRPr lang="en-US" sz="6600" b="1" kern="1200" dirty="0">
                <a:solidFill>
                  <a:schemeClr val="accent2"/>
                </a:solidFill>
                <a:latin typeface="Arial Nova" panose="020B05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None/>
            </a:pPr>
            <a:r>
              <a:rPr lang="en-US"/>
              <a:t>02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385AA299-1634-4D39-A630-DEE84485CC9E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311686" y="3746468"/>
            <a:ext cx="2593813" cy="1673943"/>
          </a:xfrm>
        </p:spPr>
        <p:txBody>
          <a:bodyPr lIns="0" anchor="t" anchorCtr="0">
            <a:noAutofit/>
          </a:bodyPr>
          <a:lstStyle>
            <a:lvl1pPr>
              <a:spcBef>
                <a:spcPts val="0"/>
              </a:spcBef>
              <a:spcAft>
                <a:spcPts val="1200"/>
              </a:spcAft>
              <a:defRPr lang="en-US" sz="2200" b="1" kern="1200" dirty="0">
                <a:solidFill>
                  <a:schemeClr val="tx1"/>
                </a:solidFill>
                <a:latin typeface="Arial Nova" panose="020B05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>
              <a:spcBef>
                <a:spcPts val="0"/>
              </a:spcBef>
              <a:spcAft>
                <a:spcPts val="1200"/>
              </a:spcAft>
              <a:buNone/>
              <a:defRPr lang="en-US" sz="2000" kern="1200" dirty="0">
                <a:solidFill>
                  <a:schemeClr val="tx1"/>
                </a:solidFill>
                <a:latin typeface="Arial Nova Light" panose="020B03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US"/>
              <a:t>Insert subhead minimum 18 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US"/>
              <a:t>Second level</a:t>
            </a:r>
            <a:br>
              <a:rPr lang="en-US"/>
            </a:br>
            <a:r>
              <a:rPr lang="en-US"/>
              <a:t>Maximum 3 lines</a:t>
            </a:r>
          </a:p>
        </p:txBody>
      </p:sp>
      <p:sp>
        <p:nvSpPr>
          <p:cNvPr id="35" name="Number 3">
            <a:extLst>
              <a:ext uri="{FF2B5EF4-FFF2-40B4-BE49-F238E27FC236}">
                <a16:creationId xmlns:a16="http://schemas.microsoft.com/office/drawing/2014/main" id="{44560475-6058-4FED-BC48-0C8D6696156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41762" y="2549752"/>
            <a:ext cx="961802" cy="1015663"/>
          </a:xfrm>
          <a:prstGeom prst="rect">
            <a:avLst/>
          </a:prstGeom>
        </p:spPr>
        <p:txBody>
          <a:bodyPr wrap="none" rIns="0" anchor="b">
            <a:spAutoFit/>
          </a:bodyPr>
          <a:lstStyle>
            <a:lvl1pPr algn="l">
              <a:defRPr lang="en-US" sz="6600" b="1" kern="1200" dirty="0">
                <a:solidFill>
                  <a:schemeClr val="accent2"/>
                </a:solidFill>
                <a:latin typeface="Arial Nova" panose="020B05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None/>
            </a:pPr>
            <a:r>
              <a:rPr lang="en-US"/>
              <a:t>03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42738869-7028-4FF6-AB5B-DA5BCF49D34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63158" y="3746468"/>
            <a:ext cx="2595092" cy="1673943"/>
          </a:xfrm>
        </p:spPr>
        <p:txBody>
          <a:bodyPr lIns="0" anchor="t" anchorCtr="0">
            <a:noAutofit/>
          </a:bodyPr>
          <a:lstStyle>
            <a:lvl1pPr>
              <a:spcBef>
                <a:spcPts val="0"/>
              </a:spcBef>
              <a:spcAft>
                <a:spcPts val="1200"/>
              </a:spcAft>
              <a:defRPr lang="en-US" sz="2200" b="1" kern="1200" dirty="0">
                <a:solidFill>
                  <a:schemeClr val="tx1"/>
                </a:solidFill>
                <a:latin typeface="Arial Nova" panose="020B05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>
              <a:spcBef>
                <a:spcPts val="0"/>
              </a:spcBef>
              <a:spcAft>
                <a:spcPts val="1200"/>
              </a:spcAft>
              <a:buNone/>
              <a:defRPr lang="en-US" sz="2000" kern="1200" dirty="0">
                <a:solidFill>
                  <a:schemeClr val="tx1"/>
                </a:solidFill>
                <a:latin typeface="Arial Nova Light" panose="020B03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US"/>
              <a:t>Insert subhead minimum 18 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US"/>
              <a:t>Second level</a:t>
            </a:r>
            <a:br>
              <a:rPr lang="en-US"/>
            </a:br>
            <a:r>
              <a:rPr lang="en-US"/>
              <a:t>Maximum 3 lines</a:t>
            </a:r>
          </a:p>
        </p:txBody>
      </p:sp>
      <p:sp>
        <p:nvSpPr>
          <p:cNvPr id="11" name="Number 4">
            <a:extLst>
              <a:ext uri="{FF2B5EF4-FFF2-40B4-BE49-F238E27FC236}">
                <a16:creationId xmlns:a16="http://schemas.microsoft.com/office/drawing/2014/main" id="{512EA553-0023-47B6-B9A9-8AA26968E29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193232" y="2549752"/>
            <a:ext cx="961802" cy="1015663"/>
          </a:xfrm>
          <a:prstGeom prst="rect">
            <a:avLst/>
          </a:prstGeom>
        </p:spPr>
        <p:txBody>
          <a:bodyPr wrap="none" rIns="0" anchor="b">
            <a:spAutoFit/>
          </a:bodyPr>
          <a:lstStyle>
            <a:lvl1pPr algn="l">
              <a:defRPr lang="en-US" sz="6600" b="1" kern="1200" dirty="0">
                <a:solidFill>
                  <a:schemeClr val="accent2"/>
                </a:solidFill>
                <a:latin typeface="Arial Nova" panose="020B05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5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None/>
            </a:pPr>
            <a:r>
              <a:rPr lang="en-US"/>
              <a:t>04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6D1D90DD-547F-4C47-A3BA-C91E404E484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214627" y="3746468"/>
            <a:ext cx="2594785" cy="1673943"/>
          </a:xfrm>
        </p:spPr>
        <p:txBody>
          <a:bodyPr lIns="0" anchor="t" anchorCtr="0">
            <a:noAutofit/>
          </a:bodyPr>
          <a:lstStyle>
            <a:lvl1pPr>
              <a:spcBef>
                <a:spcPts val="0"/>
              </a:spcBef>
              <a:spcAft>
                <a:spcPts val="1200"/>
              </a:spcAft>
              <a:defRPr lang="en-US" sz="2200" b="1" kern="1200" dirty="0">
                <a:solidFill>
                  <a:schemeClr val="tx1"/>
                </a:solidFill>
                <a:latin typeface="Arial Nova" panose="020B05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>
              <a:spcBef>
                <a:spcPts val="0"/>
              </a:spcBef>
              <a:spcAft>
                <a:spcPts val="1200"/>
              </a:spcAft>
              <a:buNone/>
              <a:defRPr lang="en-US" sz="2000" kern="1200" dirty="0">
                <a:solidFill>
                  <a:schemeClr val="tx1"/>
                </a:solidFill>
                <a:latin typeface="Arial Nova Light" panose="020B03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US"/>
              <a:t>Insert subhead minimum 18 pt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US"/>
              <a:t>Second level</a:t>
            </a:r>
            <a:br>
              <a:rPr lang="en-US"/>
            </a:br>
            <a:r>
              <a:rPr lang="en-US"/>
              <a:t>Maximum 3 lines</a:t>
            </a:r>
          </a:p>
        </p:txBody>
      </p:sp>
      <p:sp>
        <p:nvSpPr>
          <p:cNvPr id="13" name="object 3">
            <a:extLst>
              <a:ext uri="{FF2B5EF4-FFF2-40B4-BE49-F238E27FC236}">
                <a16:creationId xmlns:a16="http://schemas.microsoft.com/office/drawing/2014/main" id="{75E68C20-D2A6-4491-823D-B99200677107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945455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mium Layout 1.5 – 2nd level title (Image 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496BDF5-5C55-4D0E-9EFD-58912A1AFD8E}"/>
              </a:ext>
            </a:extLst>
          </p:cNvPr>
          <p:cNvSpPr>
            <a:spLocks noGrp="1"/>
          </p:cNvSpPr>
          <p:nvPr>
            <p:ph type="sldNum" sz="quarter" idx="53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Gray BG">
            <a:extLst>
              <a:ext uri="{FF2B5EF4-FFF2-40B4-BE49-F238E27FC236}">
                <a16:creationId xmlns:a16="http://schemas.microsoft.com/office/drawing/2014/main" id="{C7420837-320F-4B73-A430-1ABAD1A067B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12192000" cy="60452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5BBAB69C-4B21-451E-A1B0-FD994C0FDBE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-1" y="0"/>
            <a:ext cx="6284913" cy="6045200"/>
          </a:xfrm>
          <a:custGeom>
            <a:avLst/>
            <a:gdLst>
              <a:gd name="connsiteX0" fmla="*/ 0 w 5302251"/>
              <a:gd name="connsiteY0" fmla="*/ 0 h 6056313"/>
              <a:gd name="connsiteX1" fmla="*/ 5302251 w 5302251"/>
              <a:gd name="connsiteY1" fmla="*/ 0 h 6056313"/>
              <a:gd name="connsiteX2" fmla="*/ 5302251 w 5302251"/>
              <a:gd name="connsiteY2" fmla="*/ 6056313 h 6056313"/>
              <a:gd name="connsiteX3" fmla="*/ 932984 w 5302251"/>
              <a:gd name="connsiteY3" fmla="*/ 6056313 h 6056313"/>
              <a:gd name="connsiteX4" fmla="*/ 0 w 5302251"/>
              <a:gd name="connsiteY4" fmla="*/ 6056313 h 6056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02251" h="6056313">
                <a:moveTo>
                  <a:pt x="0" y="0"/>
                </a:moveTo>
                <a:lnTo>
                  <a:pt x="5302251" y="0"/>
                </a:lnTo>
                <a:lnTo>
                  <a:pt x="5302251" y="6056313"/>
                </a:lnTo>
                <a:lnTo>
                  <a:pt x="932984" y="6056313"/>
                </a:lnTo>
                <a:lnTo>
                  <a:pt x="0" y="60563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0" tIns="0" rIns="720000" bIns="900000" anchor="ctr" anchorCtr="0">
            <a:noAutofit/>
          </a:bodyPr>
          <a:lstStyle>
            <a:lvl1pPr algn="ctr">
              <a:spcBef>
                <a:spcPts val="0"/>
              </a:spcBef>
              <a:defRPr sz="1400" b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</a:t>
            </a:r>
          </a:p>
        </p:txBody>
      </p:sp>
      <p:sp>
        <p:nvSpPr>
          <p:cNvPr id="8" name="Second level headline">
            <a:extLst>
              <a:ext uri="{FF2B5EF4-FFF2-40B4-BE49-F238E27FC236}">
                <a16:creationId xmlns:a16="http://schemas.microsoft.com/office/drawing/2014/main" id="{6EE14444-6CC0-4BCF-8C1A-CA4CD2792A0E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889750" y="1247358"/>
            <a:ext cx="4323475" cy="736967"/>
          </a:xfrm>
        </p:spPr>
        <p:txBody>
          <a:bodyPr wrap="square" bIns="486000">
            <a:spAutoFit/>
          </a:bodyPr>
          <a:lstStyle>
            <a:lvl1pPr>
              <a:defRPr sz="1600" b="0">
                <a:solidFill>
                  <a:schemeClr val="accent2"/>
                </a:solidFill>
                <a:latin typeface="Graphik Medium" panose="020B0603030202060203" pitchFamily="34" charset="0"/>
              </a:defRPr>
            </a:lvl1pPr>
            <a:lvl2pPr>
              <a:defRPr sz="2800">
                <a:latin typeface="Graphik Semibold" panose="020B0703030202060203" pitchFamily="34" charset="0"/>
              </a:defRPr>
            </a:lvl2pPr>
          </a:lstStyle>
          <a:p>
            <a:pPr lvl="0"/>
            <a:r>
              <a:rPr lang="en-US"/>
              <a:t>Second level headline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3A6BF12-C3EF-4EDC-BBBF-E2FA451471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50800" y="1990800"/>
            <a:ext cx="4362425" cy="1218795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Insert short headline</a:t>
            </a:r>
          </a:p>
        </p:txBody>
      </p:sp>
      <p:sp>
        <p:nvSpPr>
          <p:cNvPr id="13" name="Intro">
            <a:extLst>
              <a:ext uri="{FF2B5EF4-FFF2-40B4-BE49-F238E27FC236}">
                <a16:creationId xmlns:a16="http://schemas.microsoft.com/office/drawing/2014/main" id="{527539B8-B213-444B-A063-3C22F621896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89750" y="3497039"/>
            <a:ext cx="4323475" cy="1924660"/>
          </a:xfrm>
        </p:spPr>
        <p:txBody>
          <a:bodyPr tIns="0"/>
          <a:lstStyle>
            <a:lvl1pPr>
              <a:defRPr sz="2000">
                <a:latin typeface="Arial Nova Light" panose="020B0304020202020204" pitchFamily="34" charset="0"/>
              </a:defRPr>
            </a:lvl1pPr>
            <a:lvl2pPr marL="180000" indent="-180000">
              <a:buFont typeface="Arial" panose="020B0604020202020204" pitchFamily="34" charset="0"/>
              <a:buChar char="•"/>
              <a:defRPr sz="2000">
                <a:latin typeface="Arial Nova Light" panose="020B030402020202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object 3">
            <a:extLst>
              <a:ext uri="{FF2B5EF4-FFF2-40B4-BE49-F238E27FC236}">
                <a16:creationId xmlns:a16="http://schemas.microsoft.com/office/drawing/2014/main" id="{11C5F131-5A91-4304-B684-697B62C07DF1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869014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mium Layout 1.6 – 2nd level title (Image 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8C1508-E9A7-4858-9034-390D9BEE1B00}"/>
              </a:ext>
            </a:extLst>
          </p:cNvPr>
          <p:cNvSpPr>
            <a:spLocks noGrp="1"/>
          </p:cNvSpPr>
          <p:nvPr>
            <p:ph type="sldNum" sz="quarter" idx="53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10">
            <a:extLst>
              <a:ext uri="{FF2B5EF4-FFF2-40B4-BE49-F238E27FC236}">
                <a16:creationId xmlns:a16="http://schemas.microsoft.com/office/drawing/2014/main" id="{C77CF619-8EE1-437D-A60C-37609B3EC68A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381000" y="0"/>
            <a:ext cx="5897980" cy="6045200"/>
          </a:xfrm>
          <a:custGeom>
            <a:avLst/>
            <a:gdLst>
              <a:gd name="connsiteX0" fmla="*/ 0 w 5302251"/>
              <a:gd name="connsiteY0" fmla="*/ 0 h 6056313"/>
              <a:gd name="connsiteX1" fmla="*/ 5302251 w 5302251"/>
              <a:gd name="connsiteY1" fmla="*/ 0 h 6056313"/>
              <a:gd name="connsiteX2" fmla="*/ 5302251 w 5302251"/>
              <a:gd name="connsiteY2" fmla="*/ 6056313 h 6056313"/>
              <a:gd name="connsiteX3" fmla="*/ 932984 w 5302251"/>
              <a:gd name="connsiteY3" fmla="*/ 6056313 h 6056313"/>
              <a:gd name="connsiteX4" fmla="*/ 0 w 5302251"/>
              <a:gd name="connsiteY4" fmla="*/ 6056313 h 6056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02251" h="6056313">
                <a:moveTo>
                  <a:pt x="0" y="0"/>
                </a:moveTo>
                <a:lnTo>
                  <a:pt x="5302251" y="0"/>
                </a:lnTo>
                <a:lnTo>
                  <a:pt x="5302251" y="6056313"/>
                </a:lnTo>
                <a:lnTo>
                  <a:pt x="932984" y="6056313"/>
                </a:lnTo>
                <a:lnTo>
                  <a:pt x="0" y="60563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0" tIns="0" rIns="720000" bIns="900000" anchor="ctr" anchorCtr="0">
            <a:noAutofit/>
          </a:bodyPr>
          <a:lstStyle>
            <a:lvl1pPr algn="ctr">
              <a:spcBef>
                <a:spcPts val="0"/>
              </a:spcBef>
              <a:defRPr sz="1400" b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</a:t>
            </a:r>
          </a:p>
        </p:txBody>
      </p:sp>
      <p:sp>
        <p:nvSpPr>
          <p:cNvPr id="14" name="Second level headline">
            <a:extLst>
              <a:ext uri="{FF2B5EF4-FFF2-40B4-BE49-F238E27FC236}">
                <a16:creationId xmlns:a16="http://schemas.microsoft.com/office/drawing/2014/main" id="{09BD0337-09F3-4BAD-A861-7128D7636F71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889750" y="1247358"/>
            <a:ext cx="4323475" cy="736967"/>
          </a:xfrm>
        </p:spPr>
        <p:txBody>
          <a:bodyPr wrap="square" bIns="486000">
            <a:spAutoFit/>
          </a:bodyPr>
          <a:lstStyle>
            <a:lvl1pPr>
              <a:defRPr sz="1600" b="0">
                <a:solidFill>
                  <a:schemeClr val="tx1"/>
                </a:solidFill>
                <a:latin typeface="Graphik Medium" panose="020B0603030202060203" pitchFamily="34" charset="0"/>
              </a:defRPr>
            </a:lvl1pPr>
            <a:lvl2pPr>
              <a:defRPr sz="2800">
                <a:latin typeface="Graphik Semibold" panose="020B0703030202060203" pitchFamily="34" charset="0"/>
              </a:defRPr>
            </a:lvl2pPr>
          </a:lstStyle>
          <a:p>
            <a:pPr lvl="0"/>
            <a:r>
              <a:rPr lang="en-US"/>
              <a:t>Second level headline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95A7B74-8549-4E7A-B880-B87D4B76D3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50800" y="1990800"/>
            <a:ext cx="4362425" cy="1218795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Insert short headline</a:t>
            </a:r>
          </a:p>
        </p:txBody>
      </p:sp>
      <p:sp>
        <p:nvSpPr>
          <p:cNvPr id="13" name="Intro">
            <a:extLst>
              <a:ext uri="{FF2B5EF4-FFF2-40B4-BE49-F238E27FC236}">
                <a16:creationId xmlns:a16="http://schemas.microsoft.com/office/drawing/2014/main" id="{527539B8-B213-444B-A063-3C22F621896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89750" y="3495600"/>
            <a:ext cx="4323475" cy="1924660"/>
          </a:xfrm>
        </p:spPr>
        <p:txBody>
          <a:bodyPr tIns="0"/>
          <a:lstStyle>
            <a:lvl1pPr>
              <a:defRPr sz="2000">
                <a:latin typeface="Arial Nova Light" panose="020B0304020202020204" pitchFamily="34" charset="0"/>
              </a:defRPr>
            </a:lvl1pPr>
            <a:lvl2pPr marL="180000" indent="-180000">
              <a:buFont typeface="Arial" panose="020B0604020202020204" pitchFamily="34" charset="0"/>
              <a:buChar char="•"/>
              <a:defRPr sz="2000">
                <a:latin typeface="Arial Nova Light" panose="020B030402020202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object 3">
            <a:extLst>
              <a:ext uri="{FF2B5EF4-FFF2-40B4-BE49-F238E27FC236}">
                <a16:creationId xmlns:a16="http://schemas.microsoft.com/office/drawing/2014/main" id="{6B2812D7-7E72-4F27-9276-354DC77B2AD6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878874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1.1 – Light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40F12CD-D713-4062-BC01-61FF73A78915}"/>
              </a:ext>
            </a:extLst>
          </p:cNvPr>
          <p:cNvSpPr>
            <a:spLocks noGrp="1"/>
          </p:cNvSpPr>
          <p:nvPr>
            <p:ph type="sldNum" sz="quarter" idx="38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Gray Rectangle">
            <a:extLst>
              <a:ext uri="{FF2B5EF4-FFF2-40B4-BE49-F238E27FC236}">
                <a16:creationId xmlns:a16="http://schemas.microsoft.com/office/drawing/2014/main" id="{8F3C7A3D-C34C-401F-87A9-09B8085650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"/>
            <a:ext cx="12192000" cy="144303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5BBAB69C-4B21-451E-A1B0-FD994C0FDBE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1000" y="381000"/>
            <a:ext cx="4918075" cy="5664200"/>
          </a:xfrm>
          <a:custGeom>
            <a:avLst/>
            <a:gdLst>
              <a:gd name="connsiteX0" fmla="*/ 0 w 5302251"/>
              <a:gd name="connsiteY0" fmla="*/ 0 h 6056313"/>
              <a:gd name="connsiteX1" fmla="*/ 5302251 w 5302251"/>
              <a:gd name="connsiteY1" fmla="*/ 0 h 6056313"/>
              <a:gd name="connsiteX2" fmla="*/ 5302251 w 5302251"/>
              <a:gd name="connsiteY2" fmla="*/ 6056313 h 6056313"/>
              <a:gd name="connsiteX3" fmla="*/ 932984 w 5302251"/>
              <a:gd name="connsiteY3" fmla="*/ 6056313 h 6056313"/>
              <a:gd name="connsiteX4" fmla="*/ 0 w 5302251"/>
              <a:gd name="connsiteY4" fmla="*/ 6056313 h 6056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02251" h="6056313">
                <a:moveTo>
                  <a:pt x="0" y="0"/>
                </a:moveTo>
                <a:lnTo>
                  <a:pt x="5302251" y="0"/>
                </a:lnTo>
                <a:lnTo>
                  <a:pt x="5302251" y="6056313"/>
                </a:lnTo>
                <a:lnTo>
                  <a:pt x="932984" y="6056313"/>
                </a:lnTo>
                <a:lnTo>
                  <a:pt x="0" y="60563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0" tIns="0" rIns="720000" bIns="900000" anchor="ctr" anchorCtr="0">
            <a:noAutofit/>
          </a:bodyPr>
          <a:lstStyle>
            <a:lvl1pPr algn="ctr">
              <a:spcBef>
                <a:spcPts val="0"/>
              </a:spcBef>
              <a:defRPr sz="1400" b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D5DC070A-0CBF-4D1C-8612-1335C55A4C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05499" y="1660525"/>
            <a:ext cx="5520055" cy="1218795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 lang="en-CA"/>
          </a:p>
        </p:txBody>
      </p:sp>
      <p:sp>
        <p:nvSpPr>
          <p:cNvPr id="13" name="Intro">
            <a:extLst>
              <a:ext uri="{FF2B5EF4-FFF2-40B4-BE49-F238E27FC236}">
                <a16:creationId xmlns:a16="http://schemas.microsoft.com/office/drawing/2014/main" id="{527539B8-B213-444B-A063-3C22F621896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914585" y="3135181"/>
            <a:ext cx="5288403" cy="1386000"/>
          </a:xfrm>
        </p:spPr>
        <p:txBody>
          <a:bodyPr tIns="0"/>
          <a:lstStyle>
            <a:lvl1pPr>
              <a:defRPr sz="2000">
                <a:solidFill>
                  <a:schemeClr val="tx1"/>
                </a:solidFill>
                <a:latin typeface="Arial Nova Light" panose="020B0304020202020204" pitchFamily="34" charset="0"/>
              </a:defRPr>
            </a:lvl1pPr>
            <a:lvl2pPr marL="180000" indent="-180000"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 Nova Light" panose="020B030402020202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">
            <a:extLst>
              <a:ext uri="{FF2B5EF4-FFF2-40B4-BE49-F238E27FC236}">
                <a16:creationId xmlns:a16="http://schemas.microsoft.com/office/drawing/2014/main" id="{2F6BA696-4079-452A-BB4A-013C12FAB92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905500" y="5602060"/>
            <a:ext cx="1296000" cy="249299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800">
                <a:latin typeface="+mn-lt"/>
              </a:defRPr>
            </a:lvl1pPr>
          </a:lstStyle>
          <a:p>
            <a:pPr lvl="0"/>
            <a:r>
              <a:rPr lang="en-US"/>
              <a:t>Insert text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5E1EDA76-2C84-4E31-A095-914421A02DF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435145" y="5602060"/>
            <a:ext cx="1296000" cy="249299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800">
                <a:latin typeface="+mn-lt"/>
              </a:defRPr>
            </a:lvl1pPr>
          </a:lstStyle>
          <a:p>
            <a:pPr lvl="0"/>
            <a:r>
              <a:rPr lang="en-US"/>
              <a:t>Insert text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3CA71A9F-6ECC-473F-B3EE-2893DC076DD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964790" y="5602060"/>
            <a:ext cx="1296000" cy="249299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800">
                <a:latin typeface="+mn-lt"/>
              </a:defRPr>
            </a:lvl1pPr>
          </a:lstStyle>
          <a:p>
            <a:pPr lvl="0"/>
            <a:r>
              <a:rPr lang="en-US"/>
              <a:t>Insert text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91C2BCBE-38D2-4C60-A505-37E042C50A4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0494436" y="5602060"/>
            <a:ext cx="1296000" cy="249299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800">
                <a:latin typeface="+mn-lt"/>
              </a:defRPr>
            </a:lvl1pPr>
          </a:lstStyle>
          <a:p>
            <a:pPr lvl="0"/>
            <a:r>
              <a:rPr lang="en-US"/>
              <a:t>Insert text</a:t>
            </a:r>
          </a:p>
        </p:txBody>
      </p:sp>
      <p:sp>
        <p:nvSpPr>
          <p:cNvPr id="12" name="object 3">
            <a:extLst>
              <a:ext uri="{FF2B5EF4-FFF2-40B4-BE49-F238E27FC236}">
                <a16:creationId xmlns:a16="http://schemas.microsoft.com/office/drawing/2014/main" id="{C9B8D11D-8ABE-4BE4-AD44-01026156F7ED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053229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1.2 – Dark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58987F7-2DF5-4399-9909-ED70D1660689}"/>
              </a:ext>
            </a:extLst>
          </p:cNvPr>
          <p:cNvSpPr>
            <a:spLocks noGrp="1"/>
          </p:cNvSpPr>
          <p:nvPr>
            <p:ph type="sldNum" sz="quarter" idx="38"/>
          </p:nvPr>
        </p:nvSpPr>
        <p:spPr/>
        <p:txBody>
          <a:bodyPr/>
          <a:lstStyle/>
          <a:p>
            <a:fld id="{876872E1-3CB8-45EA-A826-1429BD5BE353}" type="slidenum">
              <a:rPr lang="en-CA" smtClean="0"/>
              <a:pPr/>
              <a:t>‹#›</a:t>
            </a:fld>
            <a:endParaRPr lang="en-CA"/>
          </a:p>
        </p:txBody>
      </p:sp>
      <p:sp>
        <p:nvSpPr>
          <p:cNvPr id="2" name="Light Purple Rectangle">
            <a:extLst>
              <a:ext uri="{FF2B5EF4-FFF2-40B4-BE49-F238E27FC236}">
                <a16:creationId xmlns:a16="http://schemas.microsoft.com/office/drawing/2014/main" id="{25CB5CEB-FAC4-4361-91EB-C3194532CF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12192000" cy="43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5BBAB69C-4B21-451E-A1B0-FD994C0FDBE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1000" y="381000"/>
            <a:ext cx="4918075" cy="5664200"/>
          </a:xfrm>
          <a:custGeom>
            <a:avLst/>
            <a:gdLst>
              <a:gd name="connsiteX0" fmla="*/ 0 w 5302251"/>
              <a:gd name="connsiteY0" fmla="*/ 0 h 6056313"/>
              <a:gd name="connsiteX1" fmla="*/ 5302251 w 5302251"/>
              <a:gd name="connsiteY1" fmla="*/ 0 h 6056313"/>
              <a:gd name="connsiteX2" fmla="*/ 5302251 w 5302251"/>
              <a:gd name="connsiteY2" fmla="*/ 6056313 h 6056313"/>
              <a:gd name="connsiteX3" fmla="*/ 932984 w 5302251"/>
              <a:gd name="connsiteY3" fmla="*/ 6056313 h 6056313"/>
              <a:gd name="connsiteX4" fmla="*/ 0 w 5302251"/>
              <a:gd name="connsiteY4" fmla="*/ 6056313 h 6056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02251" h="6056313">
                <a:moveTo>
                  <a:pt x="0" y="0"/>
                </a:moveTo>
                <a:lnTo>
                  <a:pt x="5302251" y="0"/>
                </a:lnTo>
                <a:lnTo>
                  <a:pt x="5302251" y="6056313"/>
                </a:lnTo>
                <a:lnTo>
                  <a:pt x="932984" y="6056313"/>
                </a:lnTo>
                <a:lnTo>
                  <a:pt x="0" y="60563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0" tIns="0" rIns="720000" bIns="900000" anchor="ctr" anchorCtr="0">
            <a:noAutofit/>
          </a:bodyPr>
          <a:lstStyle>
            <a:lvl1pPr algn="ctr">
              <a:spcBef>
                <a:spcPts val="0"/>
              </a:spcBef>
              <a:defRPr sz="1400" b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</a:t>
            </a:r>
          </a:p>
        </p:txBody>
      </p:sp>
      <p:sp>
        <p:nvSpPr>
          <p:cNvPr id="27" name="Title 26">
            <a:extLst>
              <a:ext uri="{FF2B5EF4-FFF2-40B4-BE49-F238E27FC236}">
                <a16:creationId xmlns:a16="http://schemas.microsoft.com/office/drawing/2014/main" id="{7D28D97F-C6F5-4873-9659-D2BFDE7F3C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65743" y="968400"/>
            <a:ext cx="5337245" cy="1218795"/>
          </a:xfrm>
        </p:spPr>
        <p:txBody>
          <a:bodyPr wrap="square">
            <a:spAutoFit/>
          </a:bodyPr>
          <a:lstStyle>
            <a:lvl1pPr>
              <a:defRPr sz="44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CA"/>
          </a:p>
        </p:txBody>
      </p:sp>
      <p:sp>
        <p:nvSpPr>
          <p:cNvPr id="13" name="Intro">
            <a:extLst>
              <a:ext uri="{FF2B5EF4-FFF2-40B4-BE49-F238E27FC236}">
                <a16:creationId xmlns:a16="http://schemas.microsoft.com/office/drawing/2014/main" id="{527539B8-B213-444B-A063-3C22F621896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94113" y="2464789"/>
            <a:ext cx="5288403" cy="1386000"/>
          </a:xfrm>
        </p:spPr>
        <p:txBody>
          <a:bodyPr tIns="0"/>
          <a:lstStyle>
            <a:lvl1pPr>
              <a:defRPr sz="2000">
                <a:solidFill>
                  <a:schemeClr val="accent1"/>
                </a:solidFill>
                <a:latin typeface="Arial Nova Light" panose="020B0304020202020204" pitchFamily="34" charset="0"/>
              </a:defRPr>
            </a:lvl1pPr>
            <a:lvl2pPr marL="180000" indent="-180000">
              <a:buFont typeface="Arial" panose="020B0604020202020204" pitchFamily="34" charset="0"/>
              <a:buChar char="•"/>
              <a:defRPr sz="2000">
                <a:solidFill>
                  <a:schemeClr val="accent1"/>
                </a:solidFill>
                <a:latin typeface="Arial Nova Light" panose="020B030402020202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6" name="Text Placeholder 1">
            <a:extLst>
              <a:ext uri="{FF2B5EF4-FFF2-40B4-BE49-F238E27FC236}">
                <a16:creationId xmlns:a16="http://schemas.microsoft.com/office/drawing/2014/main" id="{F8444A5F-06F5-4AEA-BE6C-2778E28A129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905500" y="5602060"/>
            <a:ext cx="1296000" cy="249299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800">
                <a:latin typeface="+mn-lt"/>
              </a:defRPr>
            </a:lvl1pPr>
          </a:lstStyle>
          <a:p>
            <a:pPr lvl="0"/>
            <a:r>
              <a:rPr lang="en-US"/>
              <a:t>Insert text</a:t>
            </a: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C4B04E9E-6245-4FA3-8316-3639571CD08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435145" y="5602060"/>
            <a:ext cx="1296000" cy="249299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800">
                <a:latin typeface="+mn-lt"/>
              </a:defRPr>
            </a:lvl1pPr>
          </a:lstStyle>
          <a:p>
            <a:pPr lvl="0"/>
            <a:r>
              <a:rPr lang="en-US"/>
              <a:t>Insert text</a:t>
            </a:r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11670A7A-925C-45FE-A59E-8AD50E366E9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964790" y="5602060"/>
            <a:ext cx="1296000" cy="249299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800">
                <a:latin typeface="+mn-lt"/>
              </a:defRPr>
            </a:lvl1pPr>
          </a:lstStyle>
          <a:p>
            <a:pPr lvl="0"/>
            <a:r>
              <a:rPr lang="en-US"/>
              <a:t>Insert text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D344C638-DE64-4A73-937E-A6B288AA4FB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0494436" y="5602060"/>
            <a:ext cx="1296000" cy="249299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800">
                <a:latin typeface="+mn-lt"/>
              </a:defRPr>
            </a:lvl1pPr>
          </a:lstStyle>
          <a:p>
            <a:pPr lvl="0"/>
            <a:r>
              <a:rPr lang="en-US"/>
              <a:t>Insert text</a:t>
            </a:r>
          </a:p>
        </p:txBody>
      </p:sp>
      <p:sp>
        <p:nvSpPr>
          <p:cNvPr id="12" name="object 3">
            <a:extLst>
              <a:ext uri="{FF2B5EF4-FFF2-40B4-BE49-F238E27FC236}">
                <a16:creationId xmlns:a16="http://schemas.microsoft.com/office/drawing/2014/main" id="{EDB716FB-59D0-41B6-BD03-5FB9E269755D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482907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1.3 – Light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AB20809-A900-46D9-AF0F-3C4935154F0E}"/>
              </a:ext>
            </a:extLst>
          </p:cNvPr>
          <p:cNvSpPr>
            <a:spLocks noGrp="1"/>
          </p:cNvSpPr>
          <p:nvPr>
            <p:ph type="sldNum" sz="quarter" idx="37"/>
          </p:nvPr>
        </p:nvSpPr>
        <p:spPr/>
        <p:txBody>
          <a:bodyPr/>
          <a:lstStyle/>
          <a:p>
            <a:fld id="{876872E1-3CB8-45EA-A826-1429BD5BE353}" type="slidenum">
              <a:rPr lang="en-CA" smtClean="0"/>
              <a:pPr/>
              <a:t>‹#›</a:t>
            </a:fld>
            <a:endParaRPr lang="en-CA"/>
          </a:p>
        </p:txBody>
      </p:sp>
      <p:sp>
        <p:nvSpPr>
          <p:cNvPr id="2" name="Gray Rectangle">
            <a:extLst>
              <a:ext uri="{FF2B5EF4-FFF2-40B4-BE49-F238E27FC236}">
                <a16:creationId xmlns:a16="http://schemas.microsoft.com/office/drawing/2014/main" id="{25CB5CEB-FAC4-4361-91EB-C3194532CF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12192000" cy="43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5BBAB69C-4B21-451E-A1B0-FD994C0FDBE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891338" y="381000"/>
            <a:ext cx="4918075" cy="5664200"/>
          </a:xfrm>
          <a:custGeom>
            <a:avLst/>
            <a:gdLst>
              <a:gd name="connsiteX0" fmla="*/ 0 w 5302251"/>
              <a:gd name="connsiteY0" fmla="*/ 0 h 6056313"/>
              <a:gd name="connsiteX1" fmla="*/ 5302251 w 5302251"/>
              <a:gd name="connsiteY1" fmla="*/ 0 h 6056313"/>
              <a:gd name="connsiteX2" fmla="*/ 5302251 w 5302251"/>
              <a:gd name="connsiteY2" fmla="*/ 6056313 h 6056313"/>
              <a:gd name="connsiteX3" fmla="*/ 932984 w 5302251"/>
              <a:gd name="connsiteY3" fmla="*/ 6056313 h 6056313"/>
              <a:gd name="connsiteX4" fmla="*/ 0 w 5302251"/>
              <a:gd name="connsiteY4" fmla="*/ 6056313 h 6056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02251" h="6056313">
                <a:moveTo>
                  <a:pt x="0" y="0"/>
                </a:moveTo>
                <a:lnTo>
                  <a:pt x="5302251" y="0"/>
                </a:lnTo>
                <a:lnTo>
                  <a:pt x="5302251" y="6056313"/>
                </a:lnTo>
                <a:lnTo>
                  <a:pt x="932984" y="6056313"/>
                </a:lnTo>
                <a:lnTo>
                  <a:pt x="0" y="60563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0" tIns="0" rIns="720000" bIns="900000" anchor="ctr" anchorCtr="0">
            <a:noAutofit/>
          </a:bodyPr>
          <a:lstStyle>
            <a:lvl1pPr algn="ctr">
              <a:spcBef>
                <a:spcPts val="0"/>
              </a:spcBef>
              <a:defRPr sz="1400" b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EC0AF00-2E57-43D4-B0BB-95F9AF2943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4000" y="968400"/>
            <a:ext cx="5337244" cy="1218795"/>
          </a:xfrm>
        </p:spPr>
        <p:txBody>
          <a:bodyPr wrap="square">
            <a:spAutoFit/>
          </a:bodyPr>
          <a:lstStyle>
            <a:lvl1pPr>
              <a:defRPr sz="4400"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CA"/>
          </a:p>
        </p:txBody>
      </p:sp>
      <p:sp>
        <p:nvSpPr>
          <p:cNvPr id="13" name="Intro">
            <a:extLst>
              <a:ext uri="{FF2B5EF4-FFF2-40B4-BE49-F238E27FC236}">
                <a16:creationId xmlns:a16="http://schemas.microsoft.com/office/drawing/2014/main" id="{527539B8-B213-444B-A063-3C22F621896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76038" y="2470789"/>
            <a:ext cx="5308875" cy="1386000"/>
          </a:xfrm>
        </p:spPr>
        <p:txBody>
          <a:bodyPr tIns="0"/>
          <a:lstStyle>
            <a:lvl1pPr>
              <a:defRPr sz="2000">
                <a:solidFill>
                  <a:schemeClr val="tx1"/>
                </a:solidFill>
                <a:latin typeface="Arial Nova Light" panose="020B0304020202020204" pitchFamily="34" charset="0"/>
              </a:defRPr>
            </a:lvl1pPr>
            <a:lvl2pPr marL="180000" indent="-180000"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 Nova Light" panose="020B030402020202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">
            <a:extLst>
              <a:ext uri="{FF2B5EF4-FFF2-40B4-BE49-F238E27FC236}">
                <a16:creationId xmlns:a16="http://schemas.microsoft.com/office/drawing/2014/main" id="{2F6BA696-4079-452A-BB4A-013C12FAB92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87425" y="5602060"/>
            <a:ext cx="1476000" cy="249299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800">
                <a:latin typeface="+mn-lt"/>
              </a:defRPr>
            </a:lvl1pPr>
          </a:lstStyle>
          <a:p>
            <a:pPr lvl="0"/>
            <a:r>
              <a:rPr lang="en-US"/>
              <a:t>Insert text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5E1EDA76-2C84-4E31-A095-914421A02DF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898169" y="5602060"/>
            <a:ext cx="1476000" cy="249299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800">
                <a:latin typeface="+mn-lt"/>
              </a:defRPr>
            </a:lvl1pPr>
          </a:lstStyle>
          <a:p>
            <a:pPr lvl="0"/>
            <a:r>
              <a:rPr lang="en-US"/>
              <a:t>Insert text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3CA71A9F-6ECC-473F-B3EE-2893DC076DD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808913" y="5602060"/>
            <a:ext cx="1476000" cy="249299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800">
                <a:latin typeface="+mn-lt"/>
              </a:defRPr>
            </a:lvl1pPr>
          </a:lstStyle>
          <a:p>
            <a:pPr lvl="0"/>
            <a:r>
              <a:rPr lang="en-US"/>
              <a:t>Insert text</a:t>
            </a:r>
          </a:p>
        </p:txBody>
      </p:sp>
      <p:sp>
        <p:nvSpPr>
          <p:cNvPr id="10" name="object 3">
            <a:extLst>
              <a:ext uri="{FF2B5EF4-FFF2-40B4-BE49-F238E27FC236}">
                <a16:creationId xmlns:a16="http://schemas.microsoft.com/office/drawing/2014/main" id="{2CD4B253-5A42-427E-ABCA-64AC924F7A7C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655816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1.4 – Three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6D73657-1543-49AF-B307-45138ABD2195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48F9283-8546-4145-B506-366ACC5958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4000" y="972000"/>
            <a:ext cx="4352275" cy="1218795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Insert short headline</a:t>
            </a:r>
          </a:p>
        </p:txBody>
      </p:sp>
      <p:sp>
        <p:nvSpPr>
          <p:cNvPr id="12" name="Subtitle">
            <a:extLst>
              <a:ext uri="{FF2B5EF4-FFF2-40B4-BE49-F238E27FC236}">
                <a16:creationId xmlns:a16="http://schemas.microsoft.com/office/drawing/2014/main" id="{29C47F81-C62F-4527-97FE-689546B1BC5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72000" y="2048400"/>
            <a:ext cx="4323475" cy="772107"/>
          </a:xfrm>
          <a:prstGeom prst="rect">
            <a:avLst/>
          </a:prstGeom>
        </p:spPr>
        <p:txBody>
          <a:bodyPr wrap="square" lIns="0" tIns="216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800">
                <a:solidFill>
                  <a:schemeClr val="tx1"/>
                </a:solidFill>
                <a:latin typeface="Arial Nova Light" panose="020B0304020202020204" pitchFamily="34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18 pt, align box to the baseline of the title</a:t>
            </a:r>
          </a:p>
        </p:txBody>
      </p:sp>
      <p:sp>
        <p:nvSpPr>
          <p:cNvPr id="17" name="Picture Placeholder 10">
            <a:extLst>
              <a:ext uri="{FF2B5EF4-FFF2-40B4-BE49-F238E27FC236}">
                <a16:creationId xmlns:a16="http://schemas.microsoft.com/office/drawing/2014/main" id="{9E8A1F14-DE97-4901-A101-7CF2C02AFD8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550923" y="380998"/>
            <a:ext cx="5258486" cy="5664202"/>
          </a:xfrm>
          <a:custGeom>
            <a:avLst/>
            <a:gdLst>
              <a:gd name="connsiteX0" fmla="*/ 0 w 5302251"/>
              <a:gd name="connsiteY0" fmla="*/ 0 h 6056313"/>
              <a:gd name="connsiteX1" fmla="*/ 5302251 w 5302251"/>
              <a:gd name="connsiteY1" fmla="*/ 0 h 6056313"/>
              <a:gd name="connsiteX2" fmla="*/ 5302251 w 5302251"/>
              <a:gd name="connsiteY2" fmla="*/ 6056313 h 6056313"/>
              <a:gd name="connsiteX3" fmla="*/ 932984 w 5302251"/>
              <a:gd name="connsiteY3" fmla="*/ 6056313 h 6056313"/>
              <a:gd name="connsiteX4" fmla="*/ 0 w 5302251"/>
              <a:gd name="connsiteY4" fmla="*/ 6056313 h 6056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02251" h="6056313">
                <a:moveTo>
                  <a:pt x="0" y="0"/>
                </a:moveTo>
                <a:lnTo>
                  <a:pt x="5302251" y="0"/>
                </a:lnTo>
                <a:lnTo>
                  <a:pt x="5302251" y="6056313"/>
                </a:lnTo>
                <a:lnTo>
                  <a:pt x="932984" y="6056313"/>
                </a:lnTo>
                <a:lnTo>
                  <a:pt x="0" y="60563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0" tIns="0" rIns="720000" bIns="900000" anchor="ctr" anchorCtr="0">
            <a:noAutofit/>
          </a:bodyPr>
          <a:lstStyle>
            <a:lvl1pPr algn="ctr">
              <a:spcBef>
                <a:spcPts val="0"/>
              </a:spcBef>
              <a:defRPr sz="1400" b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</a:t>
            </a:r>
          </a:p>
        </p:txBody>
      </p:sp>
      <p:sp>
        <p:nvSpPr>
          <p:cNvPr id="22" name="Text Placeholder 1">
            <a:extLst>
              <a:ext uri="{FF2B5EF4-FFF2-40B4-BE49-F238E27FC236}">
                <a16:creationId xmlns:a16="http://schemas.microsoft.com/office/drawing/2014/main" id="{745F6938-47DA-4001-818F-25278A014A3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87425" y="3646773"/>
            <a:ext cx="2302975" cy="2398427"/>
          </a:xfrm>
          <a:solidFill>
            <a:schemeClr val="accent1"/>
          </a:solidFill>
        </p:spPr>
        <p:txBody>
          <a:bodyPr lIns="216000" tIns="1206000" rIns="216000" bIns="360000"/>
          <a:lstStyle>
            <a:lvl1pPr algn="ctr"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Insert description minimum 16 pt max three lines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3F1733A2-9D94-42B9-8374-A6B8E3B8B03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468137" y="3646773"/>
            <a:ext cx="2302975" cy="2398427"/>
          </a:xfrm>
          <a:solidFill>
            <a:schemeClr val="accent2"/>
          </a:solidFill>
        </p:spPr>
        <p:txBody>
          <a:bodyPr lIns="216000" tIns="1206000" rIns="216000" bIns="360000"/>
          <a:lstStyle>
            <a:lvl1pPr algn="ctr"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Insert description minimum 16 pt max three lines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C30DD30C-F796-4A17-9CED-FEAB3CE571B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948850" y="3646773"/>
            <a:ext cx="2302975" cy="2398427"/>
          </a:xfrm>
          <a:solidFill>
            <a:schemeClr val="accent3"/>
          </a:solidFill>
        </p:spPr>
        <p:txBody>
          <a:bodyPr lIns="216000" tIns="1206000" rIns="216000" bIns="360000"/>
          <a:lstStyle>
            <a:lvl1pPr algn="ctr"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Insert description minimum 16 pt max three lines</a:t>
            </a:r>
          </a:p>
        </p:txBody>
      </p:sp>
      <p:sp>
        <p:nvSpPr>
          <p:cNvPr id="9" name="object 3">
            <a:extLst>
              <a:ext uri="{FF2B5EF4-FFF2-40B4-BE49-F238E27FC236}">
                <a16:creationId xmlns:a16="http://schemas.microsoft.com/office/drawing/2014/main" id="{63EF1CE4-35CC-44D3-A78A-058B50463001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30959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1.5 – Numbers and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FACC993-6776-4B21-9B8B-0375DA5AAE74}"/>
              </a:ext>
            </a:extLst>
          </p:cNvPr>
          <p:cNvSpPr>
            <a:spLocks noGrp="1"/>
          </p:cNvSpPr>
          <p:nvPr>
            <p:ph type="sldNum" sz="quarter" idx="45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LIght Gray Rectangle">
            <a:extLst>
              <a:ext uri="{FF2B5EF4-FFF2-40B4-BE49-F238E27FC236}">
                <a16:creationId xmlns:a16="http://schemas.microsoft.com/office/drawing/2014/main" id="{8D4C6466-8046-499D-B16E-8CAE864C5A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5632704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5F8C3AD-6233-4169-AC1C-20F49724E5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46000" y="972000"/>
            <a:ext cx="4580750" cy="1218795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Insert short headline</a:t>
            </a:r>
          </a:p>
        </p:txBody>
      </p:sp>
      <p:sp>
        <p:nvSpPr>
          <p:cNvPr id="12" name="Subtitle">
            <a:extLst>
              <a:ext uri="{FF2B5EF4-FFF2-40B4-BE49-F238E27FC236}">
                <a16:creationId xmlns:a16="http://schemas.microsoft.com/office/drawing/2014/main" id="{29C47F81-C62F-4527-97FE-689546B1BC5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264027" y="2052365"/>
            <a:ext cx="4548172" cy="772107"/>
          </a:xfrm>
          <a:prstGeom prst="rect">
            <a:avLst/>
          </a:prstGeom>
        </p:spPr>
        <p:txBody>
          <a:bodyPr wrap="square" lIns="0" tIns="216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800">
                <a:solidFill>
                  <a:schemeClr val="tx1"/>
                </a:solidFill>
                <a:latin typeface="Arial Nova Light" panose="020B0304020202020204" pitchFamily="34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18 pt, align box to the baseline of the title</a:t>
            </a:r>
          </a:p>
        </p:txBody>
      </p:sp>
      <p:sp>
        <p:nvSpPr>
          <p:cNvPr id="21" name="Number 1">
            <a:extLst>
              <a:ext uri="{FF2B5EF4-FFF2-40B4-BE49-F238E27FC236}">
                <a16:creationId xmlns:a16="http://schemas.microsoft.com/office/drawing/2014/main" id="{16A93937-8672-4281-9A48-2D7ED9F9450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96862" y="917466"/>
            <a:ext cx="2943313" cy="1395254"/>
          </a:xfrm>
        </p:spPr>
        <p:txBody>
          <a:bodyPr wrap="square">
            <a:spAutoFit/>
          </a:bodyPr>
          <a:lstStyle>
            <a:lvl1pPr>
              <a:defRPr sz="4400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 sz="2000"/>
            </a:lvl2pPr>
            <a:lvl3pPr>
              <a:defRPr sz="20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5" name="Number 2">
            <a:extLst>
              <a:ext uri="{FF2B5EF4-FFF2-40B4-BE49-F238E27FC236}">
                <a16:creationId xmlns:a16="http://schemas.microsoft.com/office/drawing/2014/main" id="{D85268B6-2E47-4507-94E3-43A348F2396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996862" y="2629039"/>
            <a:ext cx="2943313" cy="1395254"/>
          </a:xfrm>
        </p:spPr>
        <p:txBody>
          <a:bodyPr wrap="square">
            <a:spAutoFit/>
          </a:bodyPr>
          <a:lstStyle>
            <a:lvl1pPr>
              <a:defRPr sz="4400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 sz="2000"/>
            </a:lvl2pPr>
            <a:lvl3pPr>
              <a:defRPr sz="20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6" name="Number 3">
            <a:extLst>
              <a:ext uri="{FF2B5EF4-FFF2-40B4-BE49-F238E27FC236}">
                <a16:creationId xmlns:a16="http://schemas.microsoft.com/office/drawing/2014/main" id="{6846C765-6C15-4A8B-AA58-27F5C481E2FC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96862" y="4378025"/>
            <a:ext cx="2943313" cy="1395254"/>
          </a:xfrm>
        </p:spPr>
        <p:txBody>
          <a:bodyPr wrap="square">
            <a:spAutoFit/>
          </a:bodyPr>
          <a:lstStyle>
            <a:lvl1pPr>
              <a:defRPr sz="4400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 sz="2000"/>
            </a:lvl2pPr>
            <a:lvl3pPr>
              <a:defRPr sz="20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Text Placeholder 1">
            <a:extLst>
              <a:ext uri="{FF2B5EF4-FFF2-40B4-BE49-F238E27FC236}">
                <a16:creationId xmlns:a16="http://schemas.microsoft.com/office/drawing/2014/main" id="{745F6938-47DA-4001-818F-25278A014A3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545013" y="3646773"/>
            <a:ext cx="2302975" cy="2398427"/>
          </a:xfrm>
          <a:solidFill>
            <a:schemeClr val="accent1"/>
          </a:solidFill>
        </p:spPr>
        <p:txBody>
          <a:bodyPr lIns="216000" tIns="1206000" rIns="216000" bIns="360000"/>
          <a:lstStyle>
            <a:lvl1pPr algn="ctr"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Insert description minimum 16 pt max three lines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3F1733A2-9D94-42B9-8374-A6B8E3B8B03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025726" y="3646773"/>
            <a:ext cx="2302975" cy="2398427"/>
          </a:xfrm>
          <a:solidFill>
            <a:schemeClr val="accent2"/>
          </a:solidFill>
        </p:spPr>
        <p:txBody>
          <a:bodyPr lIns="216000" tIns="1206000" rIns="216000" bIns="360000"/>
          <a:lstStyle>
            <a:lvl1pPr algn="ctr"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Insert description minimum 16 pt max three lines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C30DD30C-F796-4A17-9CED-FEAB3CE571B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506438" y="3646773"/>
            <a:ext cx="2302975" cy="2398427"/>
          </a:xfrm>
          <a:solidFill>
            <a:schemeClr val="accent3"/>
          </a:solidFill>
        </p:spPr>
        <p:txBody>
          <a:bodyPr lIns="216000" tIns="1206000" rIns="216000" bIns="360000"/>
          <a:lstStyle>
            <a:lvl1pPr algn="ctr"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Insert description minimum 16 pt max three lines</a:t>
            </a:r>
          </a:p>
        </p:txBody>
      </p:sp>
      <p:sp>
        <p:nvSpPr>
          <p:cNvPr id="13" name="object 3">
            <a:extLst>
              <a:ext uri="{FF2B5EF4-FFF2-40B4-BE49-F238E27FC236}">
                <a16:creationId xmlns:a16="http://schemas.microsoft.com/office/drawing/2014/main" id="{04F4AA74-CD48-4819-8FFB-F91CC715DF3A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914054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cons 1.6 – Dark purpl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White BG">
            <a:extLst>
              <a:ext uri="{FF2B5EF4-FFF2-40B4-BE49-F238E27FC236}">
                <a16:creationId xmlns:a16="http://schemas.microsoft.com/office/drawing/2014/main" id="{088C38D8-C195-4F4A-9AD9-7825090A4D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flipH="1">
            <a:off x="-12143" y="0"/>
            <a:ext cx="6096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33E3BE-EA62-4012-9FC6-DA15240346B6}"/>
              </a:ext>
            </a:extLst>
          </p:cNvPr>
          <p:cNvSpPr>
            <a:spLocks noGrp="1"/>
          </p:cNvSpPr>
          <p:nvPr>
            <p:ph type="sldNum" sz="quarter" idx="44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3794BDF-4F22-417D-AF8C-220B506026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4000" y="1360800"/>
            <a:ext cx="4401698" cy="1218795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Insert short headline</a:t>
            </a:r>
          </a:p>
        </p:txBody>
      </p:sp>
      <p:sp>
        <p:nvSpPr>
          <p:cNvPr id="12" name="Subtitle">
            <a:extLst>
              <a:ext uri="{FF2B5EF4-FFF2-40B4-BE49-F238E27FC236}">
                <a16:creationId xmlns:a16="http://schemas.microsoft.com/office/drawing/2014/main" id="{29C47F81-C62F-4527-97FE-689546B1BC5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71266" y="2443365"/>
            <a:ext cx="4323475" cy="772107"/>
          </a:xfrm>
          <a:prstGeom prst="rect">
            <a:avLst/>
          </a:prstGeom>
        </p:spPr>
        <p:txBody>
          <a:bodyPr wrap="square" lIns="0" tIns="216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800">
                <a:solidFill>
                  <a:schemeClr val="bg1"/>
                </a:solidFill>
                <a:latin typeface="Arial Nova Light" panose="020B0304020202020204" pitchFamily="34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18 pt, align box to the baseline of the title</a:t>
            </a:r>
          </a:p>
        </p:txBody>
      </p:sp>
      <p:sp>
        <p:nvSpPr>
          <p:cNvPr id="13" name="Intro">
            <a:extLst>
              <a:ext uri="{FF2B5EF4-FFF2-40B4-BE49-F238E27FC236}">
                <a16:creationId xmlns:a16="http://schemas.microsoft.com/office/drawing/2014/main" id="{527539B8-B213-444B-A063-3C22F621896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75600" y="3826840"/>
            <a:ext cx="4323475" cy="2218360"/>
          </a:xfrm>
        </p:spPr>
        <p:txBody>
          <a:bodyPr tIns="0"/>
          <a:lstStyle>
            <a:lvl1pPr>
              <a:defRPr sz="2000">
                <a:solidFill>
                  <a:schemeClr val="bg1"/>
                </a:solidFill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2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Text Placeholder 1">
            <a:extLst>
              <a:ext uri="{FF2B5EF4-FFF2-40B4-BE49-F238E27FC236}">
                <a16:creationId xmlns:a16="http://schemas.microsoft.com/office/drawing/2014/main" id="{FECFBB03-0377-4308-AC2C-782EFA5E77C1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872973" y="2367344"/>
            <a:ext cx="1968500" cy="1136459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Insert subhead</a:t>
            </a:r>
          </a:p>
          <a:p>
            <a:pPr lvl="1"/>
            <a:r>
              <a:rPr lang="en-US"/>
              <a:t>Insert description maximum 3 lines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9C4DAEE-A287-4110-95F7-7469BFD7CAA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617294" y="2367344"/>
            <a:ext cx="1968500" cy="1136459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Insert subhead</a:t>
            </a:r>
          </a:p>
          <a:p>
            <a:pPr lvl="1"/>
            <a:r>
              <a:rPr lang="en-US"/>
              <a:t>Insert description maximum 3 lines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AB733FFC-29E8-4A30-A618-C41E2B20D85A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872973" y="4862519"/>
            <a:ext cx="1968500" cy="1136459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Insert subhead</a:t>
            </a:r>
          </a:p>
          <a:p>
            <a:pPr lvl="1"/>
            <a:r>
              <a:rPr lang="en-US"/>
              <a:t>Insert description maximum 3 lines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A5251F99-75AC-4CC1-AA92-5FC87186334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9617294" y="4862519"/>
            <a:ext cx="1968500" cy="1136459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Insert subhead</a:t>
            </a:r>
          </a:p>
          <a:p>
            <a:pPr lvl="1"/>
            <a:r>
              <a:rPr lang="en-US"/>
              <a:t>Insert description maximum 3 lines</a:t>
            </a:r>
          </a:p>
        </p:txBody>
      </p:sp>
      <p:sp>
        <p:nvSpPr>
          <p:cNvPr id="14" name="object 3">
            <a:extLst>
              <a:ext uri="{FF2B5EF4-FFF2-40B4-BE49-F238E27FC236}">
                <a16:creationId xmlns:a16="http://schemas.microsoft.com/office/drawing/2014/main" id="{9877082A-2017-4270-AF14-E8729C433DC1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707E6F3C-FE8D-4ADF-B04F-43D1866321C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39084" y="6432376"/>
            <a:ext cx="1311547" cy="228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13465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1.7 – Four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FBDE83E-D865-4E93-9A1C-011D556BCB5E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Picture Placeholder 13">
            <a:extLst>
              <a:ext uri="{FF2B5EF4-FFF2-40B4-BE49-F238E27FC236}">
                <a16:creationId xmlns:a16="http://schemas.microsoft.com/office/drawing/2014/main" id="{9589D129-26FF-46C1-9253-43DCC936EF15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"/>
            <a:ext cx="2692400" cy="6045200"/>
          </a:xfrm>
          <a:custGeom>
            <a:avLst/>
            <a:gdLst>
              <a:gd name="connsiteX0" fmla="*/ 0 w 3662594"/>
              <a:gd name="connsiteY0" fmla="*/ 0 h 5335588"/>
              <a:gd name="connsiteX1" fmla="*/ 3662594 w 3662594"/>
              <a:gd name="connsiteY1" fmla="*/ 0 h 5335588"/>
              <a:gd name="connsiteX2" fmla="*/ 3662594 w 3662594"/>
              <a:gd name="connsiteY2" fmla="*/ 5335588 h 5335588"/>
              <a:gd name="connsiteX3" fmla="*/ 0 w 3662594"/>
              <a:gd name="connsiteY3" fmla="*/ 5335588 h 5335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62594" h="5335588">
                <a:moveTo>
                  <a:pt x="0" y="0"/>
                </a:moveTo>
                <a:lnTo>
                  <a:pt x="3662594" y="0"/>
                </a:lnTo>
                <a:lnTo>
                  <a:pt x="3662594" y="5335588"/>
                </a:lnTo>
                <a:lnTo>
                  <a:pt x="0" y="533558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vert="horz" wrap="square" lIns="720000" tIns="0" rIns="720000" bIns="900000" rtlCol="0" anchor="ctr" anchorCtr="0">
            <a:noAutofit/>
          </a:bodyPr>
          <a:lstStyle>
            <a:lvl1pPr algn="ctr">
              <a:spcBef>
                <a:spcPts val="0"/>
              </a:spcBef>
              <a:defRPr lang="en-US" sz="1600" b="0" cap="none" baseline="0">
                <a:latin typeface="+mn-lt"/>
              </a:defRPr>
            </a:lvl1pPr>
          </a:lstStyle>
          <a:p>
            <a:pPr lvl="0" algn="ctr"/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C3E1C56-4813-41A4-8826-A71B6A3B0A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0363" y="637200"/>
            <a:ext cx="8499050" cy="609398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17" name="Subhead 1">
            <a:extLst>
              <a:ext uri="{FF2B5EF4-FFF2-40B4-BE49-F238E27FC236}">
                <a16:creationId xmlns:a16="http://schemas.microsoft.com/office/drawing/2014/main" id="{F12330EA-3553-4736-B917-C77E5D17B80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35763" y="3328303"/>
            <a:ext cx="1908000" cy="338554"/>
          </a:xfrm>
        </p:spPr>
        <p:txBody>
          <a:bodyPr wrap="square">
            <a:spAutoFit/>
          </a:bodyPr>
          <a:lstStyle>
            <a:lvl1pPr>
              <a:defRPr sz="2200">
                <a:solidFill>
                  <a:schemeClr val="accent3"/>
                </a:solidFill>
                <a:latin typeface="+mj-lt"/>
              </a:defRPr>
            </a:lvl1pPr>
            <a:lvl2pPr marL="0" indent="0">
              <a:buNone/>
              <a:defRPr sz="16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21" name="Text Placeholder 1">
            <a:extLst>
              <a:ext uri="{FF2B5EF4-FFF2-40B4-BE49-F238E27FC236}">
                <a16:creationId xmlns:a16="http://schemas.microsoft.com/office/drawing/2014/main" id="{855E053D-16F9-4B9C-9F0A-650DA9F3CDA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333750" y="3974336"/>
            <a:ext cx="1908000" cy="936000"/>
          </a:xfrm>
        </p:spPr>
        <p:txBody>
          <a:bodyPr/>
          <a:lstStyle>
            <a:lvl1pPr>
              <a:defRPr sz="16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1600"/>
            </a:lvl2pPr>
            <a:lvl3pPr marL="18000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2" name="Text Box 1">
            <a:extLst>
              <a:ext uri="{FF2B5EF4-FFF2-40B4-BE49-F238E27FC236}">
                <a16:creationId xmlns:a16="http://schemas.microsoft.com/office/drawing/2014/main" id="{485301DD-D7AC-4730-9806-A9D3AF3260F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335763" y="5186248"/>
            <a:ext cx="1908000" cy="858952"/>
          </a:xfrm>
          <a:ln>
            <a:solidFill>
              <a:schemeClr val="tx1"/>
            </a:solidFill>
          </a:ln>
        </p:spPr>
        <p:txBody>
          <a:bodyPr wrap="square" lIns="180000" tIns="108000" rIns="108000" bIns="144000">
            <a:noAutofit/>
          </a:bodyPr>
          <a:lstStyle>
            <a:lvl1pPr>
              <a:defRPr sz="1400"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 sz="16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/>
              <a:t>Insert text</a:t>
            </a:r>
          </a:p>
        </p:txBody>
      </p:sp>
      <p:sp>
        <p:nvSpPr>
          <p:cNvPr id="23" name="Subhead 2">
            <a:extLst>
              <a:ext uri="{FF2B5EF4-FFF2-40B4-BE49-F238E27FC236}">
                <a16:creationId xmlns:a16="http://schemas.microsoft.com/office/drawing/2014/main" id="{527BDB5A-A082-4721-9529-31805E30227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523225" y="3328303"/>
            <a:ext cx="1908000" cy="338554"/>
          </a:xfrm>
        </p:spPr>
        <p:txBody>
          <a:bodyPr wrap="square">
            <a:spAutoFit/>
          </a:bodyPr>
          <a:lstStyle>
            <a:lvl1pPr>
              <a:defRPr sz="2200">
                <a:solidFill>
                  <a:schemeClr val="accent3"/>
                </a:solidFill>
                <a:latin typeface="+mj-lt"/>
              </a:defRPr>
            </a:lvl1pPr>
            <a:lvl2pPr marL="0" indent="0">
              <a:buNone/>
              <a:defRPr sz="16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7D63ED7A-BFDB-44D0-99C2-1A42E55B34A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523225" y="3974336"/>
            <a:ext cx="1908000" cy="936000"/>
          </a:xfrm>
        </p:spPr>
        <p:txBody>
          <a:bodyPr/>
          <a:lstStyle>
            <a:lvl1pPr>
              <a:defRPr sz="16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1600"/>
            </a:lvl2pPr>
            <a:lvl3pPr marL="18000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5" name="Text Box 2">
            <a:extLst>
              <a:ext uri="{FF2B5EF4-FFF2-40B4-BE49-F238E27FC236}">
                <a16:creationId xmlns:a16="http://schemas.microsoft.com/office/drawing/2014/main" id="{78EEAAC3-A7FF-4557-9352-7836502A580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523225" y="5186248"/>
            <a:ext cx="1908000" cy="858952"/>
          </a:xfrm>
          <a:ln>
            <a:solidFill>
              <a:schemeClr val="tx1"/>
            </a:solidFill>
          </a:ln>
        </p:spPr>
        <p:txBody>
          <a:bodyPr wrap="square" lIns="180000" tIns="108000" rIns="108000" bIns="144000">
            <a:noAutofit/>
          </a:bodyPr>
          <a:lstStyle>
            <a:lvl1pPr>
              <a:defRPr sz="1400"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 sz="16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/>
              <a:t>Insert text</a:t>
            </a:r>
          </a:p>
        </p:txBody>
      </p:sp>
      <p:sp>
        <p:nvSpPr>
          <p:cNvPr id="26" name="Subhead 3">
            <a:extLst>
              <a:ext uri="{FF2B5EF4-FFF2-40B4-BE49-F238E27FC236}">
                <a16:creationId xmlns:a16="http://schemas.microsoft.com/office/drawing/2014/main" id="{726E943E-B3B0-4828-BFBF-D9586AD29EA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710687" y="3328303"/>
            <a:ext cx="1908000" cy="338554"/>
          </a:xfrm>
        </p:spPr>
        <p:txBody>
          <a:bodyPr wrap="square">
            <a:spAutoFit/>
          </a:bodyPr>
          <a:lstStyle>
            <a:lvl1pPr>
              <a:defRPr sz="2200">
                <a:solidFill>
                  <a:schemeClr val="accent3"/>
                </a:solidFill>
                <a:latin typeface="+mj-lt"/>
              </a:defRPr>
            </a:lvl1pPr>
            <a:lvl2pPr marL="0" indent="0">
              <a:buNone/>
              <a:defRPr sz="16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93B65C47-EB89-472B-96DE-E63CAB52BFA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7710687" y="3974336"/>
            <a:ext cx="1908000" cy="936000"/>
          </a:xfrm>
        </p:spPr>
        <p:txBody>
          <a:bodyPr/>
          <a:lstStyle>
            <a:lvl1pPr>
              <a:defRPr sz="16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1600"/>
            </a:lvl2pPr>
            <a:lvl3pPr marL="18000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8" name="Text Box 3">
            <a:extLst>
              <a:ext uri="{FF2B5EF4-FFF2-40B4-BE49-F238E27FC236}">
                <a16:creationId xmlns:a16="http://schemas.microsoft.com/office/drawing/2014/main" id="{3F45D821-26AE-48BA-AAF4-B00742531A8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710687" y="5186248"/>
            <a:ext cx="1908000" cy="858952"/>
          </a:xfrm>
          <a:ln>
            <a:solidFill>
              <a:schemeClr val="tx1"/>
            </a:solidFill>
          </a:ln>
        </p:spPr>
        <p:txBody>
          <a:bodyPr wrap="square" lIns="180000" tIns="108000" rIns="108000" bIns="144000">
            <a:noAutofit/>
          </a:bodyPr>
          <a:lstStyle>
            <a:lvl1pPr>
              <a:defRPr sz="1400"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 sz="16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/>
              <a:t>Insert text</a:t>
            </a:r>
          </a:p>
        </p:txBody>
      </p:sp>
      <p:sp>
        <p:nvSpPr>
          <p:cNvPr id="29" name="Subhead 4">
            <a:extLst>
              <a:ext uri="{FF2B5EF4-FFF2-40B4-BE49-F238E27FC236}">
                <a16:creationId xmlns:a16="http://schemas.microsoft.com/office/drawing/2014/main" id="{0F20FB0F-2A4E-4395-93A9-D99DC0071ED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898150" y="3328303"/>
            <a:ext cx="1908000" cy="338554"/>
          </a:xfrm>
        </p:spPr>
        <p:txBody>
          <a:bodyPr wrap="square">
            <a:spAutoFit/>
          </a:bodyPr>
          <a:lstStyle>
            <a:lvl1pPr>
              <a:defRPr sz="2200">
                <a:solidFill>
                  <a:schemeClr val="accent3"/>
                </a:solidFill>
                <a:latin typeface="+mj-lt"/>
              </a:defRPr>
            </a:lvl1pPr>
            <a:lvl2pPr marL="0" indent="0">
              <a:buNone/>
              <a:defRPr sz="16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DEE09BCC-F15F-4D8E-AB2F-502DE3C20AA7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9896137" y="3974336"/>
            <a:ext cx="1908000" cy="936000"/>
          </a:xfrm>
        </p:spPr>
        <p:txBody>
          <a:bodyPr/>
          <a:lstStyle>
            <a:lvl1pPr>
              <a:defRPr sz="16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1600"/>
            </a:lvl2pPr>
            <a:lvl3pPr marL="18000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1" name="Text Box 4">
            <a:extLst>
              <a:ext uri="{FF2B5EF4-FFF2-40B4-BE49-F238E27FC236}">
                <a16:creationId xmlns:a16="http://schemas.microsoft.com/office/drawing/2014/main" id="{83317B06-A7DA-442B-A652-A170222DED5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898150" y="5186248"/>
            <a:ext cx="1908000" cy="858952"/>
          </a:xfrm>
          <a:ln>
            <a:solidFill>
              <a:schemeClr val="tx1"/>
            </a:solidFill>
          </a:ln>
        </p:spPr>
        <p:txBody>
          <a:bodyPr wrap="square" lIns="180000" tIns="108000" rIns="108000" bIns="144000">
            <a:noAutofit/>
          </a:bodyPr>
          <a:lstStyle>
            <a:lvl1pPr>
              <a:defRPr sz="1400"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 sz="16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/>
              <a:t>Insert text</a:t>
            </a:r>
          </a:p>
        </p:txBody>
      </p:sp>
      <p:sp>
        <p:nvSpPr>
          <p:cNvPr id="18" name="object 3">
            <a:extLst>
              <a:ext uri="{FF2B5EF4-FFF2-40B4-BE49-F238E27FC236}">
                <a16:creationId xmlns:a16="http://schemas.microsoft.com/office/drawing/2014/main" id="{D4FC0F0B-A69B-4BDB-834D-2BE8D325317E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747366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Keypoints 2.1"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314B634-9389-4EB4-89A0-FF81BB911971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White Rectangle">
            <a:extLst>
              <a:ext uri="{FF2B5EF4-FFF2-40B4-BE49-F238E27FC236}">
                <a16:creationId xmlns:a16="http://schemas.microsoft.com/office/drawing/2014/main" id="{25CB5CEB-FAC4-4361-91EB-C3194532CF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12192000" cy="3200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>
              <a:solidFill>
                <a:schemeClr val="bg1"/>
              </a:solidFill>
            </a:endParaRP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5BBAB69C-4B21-451E-A1B0-FD994C0FDBE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1000" y="381000"/>
            <a:ext cx="4918075" cy="5664200"/>
          </a:xfrm>
          <a:custGeom>
            <a:avLst/>
            <a:gdLst>
              <a:gd name="connsiteX0" fmla="*/ 0 w 5302251"/>
              <a:gd name="connsiteY0" fmla="*/ 0 h 6056313"/>
              <a:gd name="connsiteX1" fmla="*/ 5302251 w 5302251"/>
              <a:gd name="connsiteY1" fmla="*/ 0 h 6056313"/>
              <a:gd name="connsiteX2" fmla="*/ 5302251 w 5302251"/>
              <a:gd name="connsiteY2" fmla="*/ 6056313 h 6056313"/>
              <a:gd name="connsiteX3" fmla="*/ 932984 w 5302251"/>
              <a:gd name="connsiteY3" fmla="*/ 6056313 h 6056313"/>
              <a:gd name="connsiteX4" fmla="*/ 0 w 5302251"/>
              <a:gd name="connsiteY4" fmla="*/ 6056313 h 6056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02251" h="6056313">
                <a:moveTo>
                  <a:pt x="0" y="0"/>
                </a:moveTo>
                <a:lnTo>
                  <a:pt x="5302251" y="0"/>
                </a:lnTo>
                <a:lnTo>
                  <a:pt x="5302251" y="6056313"/>
                </a:lnTo>
                <a:lnTo>
                  <a:pt x="932984" y="6056313"/>
                </a:lnTo>
                <a:lnTo>
                  <a:pt x="0" y="60563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0" tIns="0" rIns="720000" bIns="900000" anchor="ctr" anchorCtr="0">
            <a:noAutofit/>
          </a:bodyPr>
          <a:lstStyle>
            <a:lvl1pPr algn="ctr">
              <a:spcBef>
                <a:spcPts val="0"/>
              </a:spcBef>
              <a:defRPr sz="1400" b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2193412-0D1D-4FC6-B411-5959479488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64401" y="637200"/>
            <a:ext cx="5569636" cy="1218795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9D5C45F2-481D-4E10-8351-2C95D549E15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888898" y="1721838"/>
            <a:ext cx="5545138" cy="844810"/>
          </a:xfrm>
          <a:prstGeom prst="rect">
            <a:avLst/>
          </a:prstGeom>
        </p:spPr>
        <p:txBody>
          <a:bodyPr wrap="square" tIns="288000" r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800">
                <a:solidFill>
                  <a:schemeClr val="tx1"/>
                </a:solidFill>
                <a:latin typeface="Arial Nova Light" panose="020B0304020202020204" pitchFamily="34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18 pt, align to the baseline of the title</a:t>
            </a:r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2C7F9058-7DED-407D-A36C-815B142F2FB8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5905689" y="3659421"/>
            <a:ext cx="2578227" cy="20880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0FA439AC-763D-491F-8D3E-7748BD832991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8847327" y="3659421"/>
            <a:ext cx="2578227" cy="20880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9" name="object 3">
            <a:extLst>
              <a:ext uri="{FF2B5EF4-FFF2-40B4-BE49-F238E27FC236}">
                <a16:creationId xmlns:a16="http://schemas.microsoft.com/office/drawing/2014/main" id="{48302DD6-D61E-481C-A03A-0C60A80820D8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99965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– (4) Gradient BG">
    <p:bg>
      <p:bgPr>
        <a:gradFill>
          <a:gsLst>
            <a:gs pos="1000">
              <a:schemeClr val="accent1"/>
            </a:gs>
            <a:gs pos="54000">
              <a:schemeClr val="accent1">
                <a:lumMod val="75000"/>
                <a:lumOff val="25000"/>
              </a:schemeClr>
            </a:gs>
            <a:gs pos="85000">
              <a:schemeClr val="accent4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F61DA7F-EC1D-415C-8A25-1CF5DBF4CF5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fld id="{FC1BBE33-A891-48E8-970C-4A8D55F96D53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5" name="Text Placeholder1">
            <a:extLst>
              <a:ext uri="{FF2B5EF4-FFF2-40B4-BE49-F238E27FC236}">
                <a16:creationId xmlns:a16="http://schemas.microsoft.com/office/drawing/2014/main" id="{CB11F205-13C3-4779-91F0-20803C855F1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10529" y="1138813"/>
            <a:ext cx="5488144" cy="77559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2800" b="0">
                <a:solidFill>
                  <a:schemeClr val="bg1"/>
                </a:solidFill>
                <a:latin typeface="Arial Nova" panose="020B0504020202020204" pitchFamily="34" charset="0"/>
              </a:defRPr>
            </a:lvl1pPr>
            <a:lvl2pPr marL="0" indent="0">
              <a:buNone/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Insert item 28 pt minimum 24 pt maximum 2 lines</a:t>
            </a:r>
          </a:p>
        </p:txBody>
      </p:sp>
      <p:sp>
        <p:nvSpPr>
          <p:cNvPr id="14" name="Number 1">
            <a:extLst>
              <a:ext uri="{FF2B5EF4-FFF2-40B4-BE49-F238E27FC236}">
                <a16:creationId xmlns:a16="http://schemas.microsoft.com/office/drawing/2014/main" id="{ED44F01A-DC9C-41DC-BE25-87CADD81393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0241364" y="1026993"/>
            <a:ext cx="623569" cy="677108"/>
          </a:xfrm>
          <a:prstGeom prst="rect">
            <a:avLst/>
          </a:prstGeom>
        </p:spPr>
        <p:txBody>
          <a:bodyPr wrap="none" anchor="b">
            <a:spAutoFit/>
          </a:bodyPr>
          <a:lstStyle>
            <a:lvl1pPr algn="r">
              <a:defRPr sz="4400" b="0">
                <a:solidFill>
                  <a:schemeClr val="bg1">
                    <a:alpha val="50000"/>
                  </a:schemeClr>
                </a:solidFill>
                <a:latin typeface="Arial Nova" panose="020B05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5pPr>
          </a:lstStyle>
          <a:p>
            <a:pPr lvl="0"/>
            <a:r>
              <a:rPr lang="en-GB" noProof="0"/>
              <a:t>01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90706F3A-63AA-4A49-8F94-D838F0A5849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910529" y="2411765"/>
            <a:ext cx="5488144" cy="775597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0000"/>
              </a:lnSpc>
              <a:defRPr sz="2800" b="0">
                <a:solidFill>
                  <a:schemeClr val="bg1"/>
                </a:solidFill>
                <a:latin typeface="Arial Nova" panose="020B0504020202020204" pitchFamily="34" charset="0"/>
              </a:defRPr>
            </a:lvl1pPr>
            <a:lvl2pPr marL="0" indent="0">
              <a:buNone/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Insert item 28 </a:t>
            </a:r>
            <a:r>
              <a:rPr lang="en-GB" noProof="0" err="1"/>
              <a:t>pt</a:t>
            </a:r>
            <a:r>
              <a:rPr lang="en-GB" noProof="0"/>
              <a:t> minimum 24 </a:t>
            </a:r>
            <a:r>
              <a:rPr lang="en-GB" noProof="0" err="1"/>
              <a:t>pt</a:t>
            </a:r>
            <a:r>
              <a:rPr lang="en-GB" noProof="0"/>
              <a:t> maximum 2 lines</a:t>
            </a:r>
          </a:p>
        </p:txBody>
      </p:sp>
      <p:sp>
        <p:nvSpPr>
          <p:cNvPr id="29" name="Number 2">
            <a:extLst>
              <a:ext uri="{FF2B5EF4-FFF2-40B4-BE49-F238E27FC236}">
                <a16:creationId xmlns:a16="http://schemas.microsoft.com/office/drawing/2014/main" id="{070CCA7F-9F4E-488D-8922-181D30B8152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236556" y="2318648"/>
            <a:ext cx="628377" cy="677108"/>
          </a:xfrm>
          <a:prstGeom prst="rect">
            <a:avLst/>
          </a:prstGeom>
        </p:spPr>
        <p:txBody>
          <a:bodyPr wrap="none" anchor="b">
            <a:spAutoFit/>
          </a:bodyPr>
          <a:lstStyle>
            <a:lvl1pPr algn="r">
              <a:defRPr sz="4400" b="0">
                <a:solidFill>
                  <a:schemeClr val="bg1">
                    <a:alpha val="50000"/>
                  </a:schemeClr>
                </a:solidFill>
                <a:latin typeface="Arial Nova" panose="020B05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5pPr>
          </a:lstStyle>
          <a:p>
            <a:pPr lvl="0"/>
            <a:r>
              <a:rPr lang="en-GB" noProof="0"/>
              <a:t>02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4EA7F043-7881-498F-A81E-75B54F42FCB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910529" y="3684717"/>
            <a:ext cx="5488144" cy="775597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0000"/>
              </a:lnSpc>
              <a:defRPr sz="2800" b="0">
                <a:solidFill>
                  <a:schemeClr val="bg1"/>
                </a:solidFill>
                <a:latin typeface="Arial Nova" panose="020B0504020202020204" pitchFamily="34" charset="0"/>
              </a:defRPr>
            </a:lvl1pPr>
            <a:lvl2pPr marL="0" indent="0">
              <a:buNone/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Insert item 28 </a:t>
            </a:r>
            <a:r>
              <a:rPr lang="en-GB" noProof="0" err="1"/>
              <a:t>pt</a:t>
            </a:r>
            <a:r>
              <a:rPr lang="en-GB" noProof="0"/>
              <a:t> minimum 24 </a:t>
            </a:r>
            <a:r>
              <a:rPr lang="en-GB" noProof="0" err="1"/>
              <a:t>pt</a:t>
            </a:r>
            <a:r>
              <a:rPr lang="en-GB" noProof="0"/>
              <a:t> maximum 2 lines</a:t>
            </a:r>
          </a:p>
        </p:txBody>
      </p:sp>
      <p:sp>
        <p:nvSpPr>
          <p:cNvPr id="31" name="Number 3">
            <a:extLst>
              <a:ext uri="{FF2B5EF4-FFF2-40B4-BE49-F238E27FC236}">
                <a16:creationId xmlns:a16="http://schemas.microsoft.com/office/drawing/2014/main" id="{B7DCA8EC-FBDE-4440-8977-42B428C7E03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0236556" y="3591324"/>
            <a:ext cx="628377" cy="677108"/>
          </a:xfrm>
          <a:prstGeom prst="rect">
            <a:avLst/>
          </a:prstGeom>
        </p:spPr>
        <p:txBody>
          <a:bodyPr wrap="none" anchor="b">
            <a:spAutoFit/>
          </a:bodyPr>
          <a:lstStyle>
            <a:lvl1pPr algn="r">
              <a:defRPr sz="4400" b="0">
                <a:solidFill>
                  <a:schemeClr val="bg1">
                    <a:alpha val="50000"/>
                  </a:schemeClr>
                </a:solidFill>
                <a:latin typeface="Arial Nova" panose="020B05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5pPr>
          </a:lstStyle>
          <a:p>
            <a:pPr lvl="0"/>
            <a:r>
              <a:rPr lang="en-GB" noProof="0"/>
              <a:t>03</a:t>
            </a:r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D02F4B9D-5596-44CF-A6AC-490EF97984B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10529" y="4957669"/>
            <a:ext cx="5488144" cy="775597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0000"/>
              </a:lnSpc>
              <a:defRPr sz="2800" b="0">
                <a:solidFill>
                  <a:schemeClr val="bg1"/>
                </a:solidFill>
                <a:latin typeface="Arial Nova" panose="020B0504020202020204" pitchFamily="34" charset="0"/>
              </a:defRPr>
            </a:lvl1pPr>
            <a:lvl2pPr marL="0" indent="0">
              <a:buNone/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Insert item 28 </a:t>
            </a:r>
            <a:r>
              <a:rPr lang="en-GB" noProof="0" err="1"/>
              <a:t>pt</a:t>
            </a:r>
            <a:r>
              <a:rPr lang="en-GB" noProof="0"/>
              <a:t> minimum 24 </a:t>
            </a:r>
            <a:r>
              <a:rPr lang="en-GB" noProof="0" err="1"/>
              <a:t>pt</a:t>
            </a:r>
            <a:r>
              <a:rPr lang="en-GB" noProof="0"/>
              <a:t> maximum 2 lines</a:t>
            </a:r>
          </a:p>
        </p:txBody>
      </p:sp>
      <p:sp>
        <p:nvSpPr>
          <p:cNvPr id="38" name="Number 4">
            <a:extLst>
              <a:ext uri="{FF2B5EF4-FFF2-40B4-BE49-F238E27FC236}">
                <a16:creationId xmlns:a16="http://schemas.microsoft.com/office/drawing/2014/main" id="{FF5D9BE0-F70F-4ED9-9866-494A719463C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236556" y="4856735"/>
            <a:ext cx="628377" cy="677108"/>
          </a:xfrm>
          <a:prstGeom prst="rect">
            <a:avLst/>
          </a:prstGeom>
        </p:spPr>
        <p:txBody>
          <a:bodyPr wrap="none" anchor="b">
            <a:spAutoFit/>
          </a:bodyPr>
          <a:lstStyle>
            <a:lvl1pPr algn="r">
              <a:defRPr sz="4400" b="0">
                <a:solidFill>
                  <a:schemeClr val="bg1">
                    <a:alpha val="50000"/>
                  </a:schemeClr>
                </a:solidFill>
                <a:latin typeface="Arial Nova" panose="020B05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5pPr>
          </a:lstStyle>
          <a:p>
            <a:pPr lvl="0"/>
            <a:r>
              <a:rPr lang="en-GB" noProof="0"/>
              <a:t>04</a:t>
            </a:r>
          </a:p>
        </p:txBody>
      </p:sp>
      <p:sp>
        <p:nvSpPr>
          <p:cNvPr id="15" name="object 3">
            <a:extLst>
              <a:ext uri="{FF2B5EF4-FFF2-40B4-BE49-F238E27FC236}">
                <a16:creationId xmlns:a16="http://schemas.microsoft.com/office/drawing/2014/main" id="{B8744314-CAE1-4DAB-90E2-F2716C913986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128D75B2-7301-440B-9E78-E81ACEFD96A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39084" y="6432376"/>
            <a:ext cx="1311547" cy="228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386075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Keypoints 2.2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C544CF-5885-4589-86F6-31F66B6AEA76}"/>
              </a:ext>
            </a:extLst>
          </p:cNvPr>
          <p:cNvSpPr>
            <a:spLocks noGrp="1"/>
          </p:cNvSpPr>
          <p:nvPr>
            <p:ph type="sldNum" sz="quarter" idx="41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White Rectangle">
            <a:extLst>
              <a:ext uri="{FF2B5EF4-FFF2-40B4-BE49-F238E27FC236}">
                <a16:creationId xmlns:a16="http://schemas.microsoft.com/office/drawing/2014/main" id="{7F85634B-D655-45F5-B274-ED1F723718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" y="0"/>
            <a:ext cx="12192000" cy="31985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2A9B6F5-B699-46FD-B06A-3DD60E8D1F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2800" y="637200"/>
            <a:ext cx="5552700" cy="1218795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DDCE2E31-D391-493B-B358-C32EC9B2584E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63600" y="1718824"/>
            <a:ext cx="5524500" cy="772107"/>
          </a:xfrm>
          <a:prstGeom prst="rect">
            <a:avLst/>
          </a:prstGeom>
        </p:spPr>
        <p:txBody>
          <a:bodyPr wrap="square" lIns="0" tIns="216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800">
                <a:solidFill>
                  <a:schemeClr val="accent3"/>
                </a:solidFill>
                <a:latin typeface="Arial Nova Light" panose="020B0304020202020204" pitchFamily="34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18 pt, align to the baseline of the title</a:t>
            </a:r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03A9521C-1018-4C92-B2C0-6F99BF3459D5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370456" y="3659421"/>
            <a:ext cx="2583882" cy="20880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255303EE-8D35-46EB-BCBD-89ABAC587C7C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322636" y="3659421"/>
            <a:ext cx="2578227" cy="20880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09BFCDC0-631D-46D2-B500-99178E8EC2A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284912" y="-1"/>
            <a:ext cx="5907087" cy="6045201"/>
          </a:xfrm>
          <a:custGeom>
            <a:avLst/>
            <a:gdLst>
              <a:gd name="connsiteX0" fmla="*/ 0 w 5302251"/>
              <a:gd name="connsiteY0" fmla="*/ 0 h 6056313"/>
              <a:gd name="connsiteX1" fmla="*/ 5302251 w 5302251"/>
              <a:gd name="connsiteY1" fmla="*/ 0 h 6056313"/>
              <a:gd name="connsiteX2" fmla="*/ 5302251 w 5302251"/>
              <a:gd name="connsiteY2" fmla="*/ 6056313 h 6056313"/>
              <a:gd name="connsiteX3" fmla="*/ 932984 w 5302251"/>
              <a:gd name="connsiteY3" fmla="*/ 6056313 h 6056313"/>
              <a:gd name="connsiteX4" fmla="*/ 0 w 5302251"/>
              <a:gd name="connsiteY4" fmla="*/ 6056313 h 6056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02251" h="6056313">
                <a:moveTo>
                  <a:pt x="0" y="0"/>
                </a:moveTo>
                <a:lnTo>
                  <a:pt x="5302251" y="0"/>
                </a:lnTo>
                <a:lnTo>
                  <a:pt x="5302251" y="6056313"/>
                </a:lnTo>
                <a:lnTo>
                  <a:pt x="932984" y="6056313"/>
                </a:lnTo>
                <a:lnTo>
                  <a:pt x="0" y="60563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0" tIns="0" rIns="720000" bIns="900000" anchor="ctr" anchorCtr="0">
            <a:noAutofit/>
          </a:bodyPr>
          <a:lstStyle>
            <a:lvl1pPr algn="ctr">
              <a:spcBef>
                <a:spcPts val="0"/>
              </a:spcBef>
              <a:defRPr sz="1400" b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</a:t>
            </a:r>
          </a:p>
        </p:txBody>
      </p:sp>
      <p:sp>
        <p:nvSpPr>
          <p:cNvPr id="10" name="object 3">
            <a:extLst>
              <a:ext uri="{FF2B5EF4-FFF2-40B4-BE49-F238E27FC236}">
                <a16:creationId xmlns:a16="http://schemas.microsoft.com/office/drawing/2014/main" id="{53A2A731-3202-42AE-9111-C5DF61D6F111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005018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Keypoints 2.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18F7A2E-90F2-4CFE-95E0-31628EAAE0E9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8C6A52FF-A360-45D4-A0DA-FE35585D3F3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1"/>
            <a:ext cx="5299075" cy="6045200"/>
          </a:xfrm>
          <a:custGeom>
            <a:avLst/>
            <a:gdLst>
              <a:gd name="connsiteX0" fmla="*/ 0 w 5299075"/>
              <a:gd name="connsiteY0" fmla="*/ 0 h 6874525"/>
              <a:gd name="connsiteX1" fmla="*/ 5299075 w 5299075"/>
              <a:gd name="connsiteY1" fmla="*/ 0 h 6874525"/>
              <a:gd name="connsiteX2" fmla="*/ 5299075 w 5299075"/>
              <a:gd name="connsiteY2" fmla="*/ 462776 h 6874525"/>
              <a:gd name="connsiteX3" fmla="*/ 5299075 w 5299075"/>
              <a:gd name="connsiteY3" fmla="*/ 2606040 h 6874525"/>
              <a:gd name="connsiteX4" fmla="*/ 5299075 w 5299075"/>
              <a:gd name="connsiteY4" fmla="*/ 3526971 h 6874525"/>
              <a:gd name="connsiteX5" fmla="*/ 5299075 w 5299075"/>
              <a:gd name="connsiteY5" fmla="*/ 3530827 h 6874525"/>
              <a:gd name="connsiteX6" fmla="*/ 5299075 w 5299075"/>
              <a:gd name="connsiteY6" fmla="*/ 6058582 h 6874525"/>
              <a:gd name="connsiteX7" fmla="*/ 5299075 w 5299075"/>
              <a:gd name="connsiteY7" fmla="*/ 6311900 h 6874525"/>
              <a:gd name="connsiteX8" fmla="*/ 5299075 w 5299075"/>
              <a:gd name="connsiteY8" fmla="*/ 6395224 h 6874525"/>
              <a:gd name="connsiteX9" fmla="*/ 5299075 w 5299075"/>
              <a:gd name="connsiteY9" fmla="*/ 6874525 h 6874525"/>
              <a:gd name="connsiteX10" fmla="*/ 0 w 5299075"/>
              <a:gd name="connsiteY10" fmla="*/ 6874525 h 6874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299075" h="6874525">
                <a:moveTo>
                  <a:pt x="0" y="0"/>
                </a:moveTo>
                <a:lnTo>
                  <a:pt x="5299075" y="0"/>
                </a:lnTo>
                <a:lnTo>
                  <a:pt x="5299075" y="462776"/>
                </a:lnTo>
                <a:lnTo>
                  <a:pt x="5299075" y="2606040"/>
                </a:lnTo>
                <a:lnTo>
                  <a:pt x="5299075" y="3526971"/>
                </a:lnTo>
                <a:lnTo>
                  <a:pt x="5299075" y="3530827"/>
                </a:lnTo>
                <a:lnTo>
                  <a:pt x="5299075" y="6058582"/>
                </a:lnTo>
                <a:lnTo>
                  <a:pt x="5299075" y="6311900"/>
                </a:lnTo>
                <a:lnTo>
                  <a:pt x="5299075" y="6395224"/>
                </a:lnTo>
                <a:lnTo>
                  <a:pt x="5299075" y="6874525"/>
                </a:lnTo>
                <a:lnTo>
                  <a:pt x="0" y="687452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0" tIns="0" rIns="720000" bIns="900000" anchor="ctr" anchorCtr="0">
            <a:noAutofit/>
          </a:bodyPr>
          <a:lstStyle>
            <a:lvl1pPr algn="ctr">
              <a:spcBef>
                <a:spcPts val="0"/>
              </a:spcBef>
              <a:defRPr sz="1600" b="0" cap="none" baseline="0"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B372AC1-5443-4EE8-BC10-774D03DD9A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64401" y="637200"/>
            <a:ext cx="5569636" cy="1218795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26" name="Subtitle">
            <a:extLst>
              <a:ext uri="{FF2B5EF4-FFF2-40B4-BE49-F238E27FC236}">
                <a16:creationId xmlns:a16="http://schemas.microsoft.com/office/drawing/2014/main" id="{56F7E2F6-D11D-40E2-9D76-AA56F366FF38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888898" y="1721838"/>
            <a:ext cx="5545138" cy="844810"/>
          </a:xfrm>
          <a:prstGeom prst="rect">
            <a:avLst/>
          </a:prstGeom>
        </p:spPr>
        <p:txBody>
          <a:bodyPr wrap="square" tIns="288000" r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800">
                <a:solidFill>
                  <a:schemeClr val="accent3"/>
                </a:solidFill>
                <a:latin typeface="Arial Nova Light" panose="020B0304020202020204" pitchFamily="34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18 pt, align to the baseline of the title</a:t>
            </a:r>
          </a:p>
        </p:txBody>
      </p:sp>
      <p:sp>
        <p:nvSpPr>
          <p:cNvPr id="15" name="Text Placeholder 1">
            <a:extLst>
              <a:ext uri="{FF2B5EF4-FFF2-40B4-BE49-F238E27FC236}">
                <a16:creationId xmlns:a16="http://schemas.microsoft.com/office/drawing/2014/main" id="{9C85E620-A2D4-43E8-9D2A-B69667604B93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5905689" y="3659421"/>
            <a:ext cx="2578227" cy="20880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25DCCBA7-6D80-4A2A-B92E-606AFD5217F5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8847327" y="3659421"/>
            <a:ext cx="2578227" cy="20880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8" name="object 3">
            <a:extLst>
              <a:ext uri="{FF2B5EF4-FFF2-40B4-BE49-F238E27FC236}">
                <a16:creationId xmlns:a16="http://schemas.microsoft.com/office/drawing/2014/main" id="{E4115219-262B-4994-825E-E7CCD0687932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746612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Keypoints 2.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0FA7C35-7CEE-4CCE-B0DF-09129FEF24E4}"/>
              </a:ext>
            </a:extLst>
          </p:cNvPr>
          <p:cNvSpPr>
            <a:spLocks noGrp="1"/>
          </p:cNvSpPr>
          <p:nvPr>
            <p:ph type="sldNum" sz="quarter" idx="38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Dark Purple Rectangle">
            <a:extLst>
              <a:ext uri="{FF2B5EF4-FFF2-40B4-BE49-F238E27FC236}">
                <a16:creationId xmlns:a16="http://schemas.microsoft.com/office/drawing/2014/main" id="{A656AD26-F13A-4B39-8273-7759A63205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3200400" y="3532732"/>
            <a:ext cx="8991600" cy="252775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926CDCD2-43D6-4FC6-B663-3A01B5227A5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5299075" cy="6874525"/>
          </a:xfrm>
          <a:custGeom>
            <a:avLst/>
            <a:gdLst>
              <a:gd name="connsiteX0" fmla="*/ 0 w 5284685"/>
              <a:gd name="connsiteY0" fmla="*/ 0 h 6874525"/>
              <a:gd name="connsiteX1" fmla="*/ 5284685 w 5284685"/>
              <a:gd name="connsiteY1" fmla="*/ 0 h 6874525"/>
              <a:gd name="connsiteX2" fmla="*/ 5284685 w 5284685"/>
              <a:gd name="connsiteY2" fmla="*/ 2606040 h 6874525"/>
              <a:gd name="connsiteX3" fmla="*/ 5284685 w 5284685"/>
              <a:gd name="connsiteY3" fmla="*/ 3526971 h 6874525"/>
              <a:gd name="connsiteX4" fmla="*/ 5284685 w 5284685"/>
              <a:gd name="connsiteY4" fmla="*/ 3530827 h 6874525"/>
              <a:gd name="connsiteX5" fmla="*/ 3333750 w 5284685"/>
              <a:gd name="connsiteY5" fmla="*/ 3530827 h 6874525"/>
              <a:gd name="connsiteX6" fmla="*/ 3333750 w 5284685"/>
              <a:gd name="connsiteY6" fmla="*/ 6058582 h 6874525"/>
              <a:gd name="connsiteX7" fmla="*/ 5284685 w 5284685"/>
              <a:gd name="connsiteY7" fmla="*/ 6058582 h 6874525"/>
              <a:gd name="connsiteX8" fmla="*/ 5284685 w 5284685"/>
              <a:gd name="connsiteY8" fmla="*/ 6311900 h 6874525"/>
              <a:gd name="connsiteX9" fmla="*/ 5284685 w 5284685"/>
              <a:gd name="connsiteY9" fmla="*/ 6874525 h 6874525"/>
              <a:gd name="connsiteX10" fmla="*/ 0 w 5284685"/>
              <a:gd name="connsiteY10" fmla="*/ 6874525 h 6874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284685" h="6874525">
                <a:moveTo>
                  <a:pt x="0" y="0"/>
                </a:moveTo>
                <a:lnTo>
                  <a:pt x="5284685" y="0"/>
                </a:lnTo>
                <a:lnTo>
                  <a:pt x="5284685" y="2606040"/>
                </a:lnTo>
                <a:lnTo>
                  <a:pt x="5284685" y="3526971"/>
                </a:lnTo>
                <a:lnTo>
                  <a:pt x="5284685" y="3530827"/>
                </a:lnTo>
                <a:lnTo>
                  <a:pt x="3333750" y="3530827"/>
                </a:lnTo>
                <a:lnTo>
                  <a:pt x="3333750" y="6058582"/>
                </a:lnTo>
                <a:lnTo>
                  <a:pt x="5284685" y="6058582"/>
                </a:lnTo>
                <a:lnTo>
                  <a:pt x="5284685" y="6311900"/>
                </a:lnTo>
                <a:lnTo>
                  <a:pt x="5284685" y="6874525"/>
                </a:lnTo>
                <a:lnTo>
                  <a:pt x="0" y="687452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0" tIns="0" rIns="720000" bIns="900000" anchor="ctr" anchorCtr="0">
            <a:noAutofit/>
          </a:bodyPr>
          <a:lstStyle>
            <a:lvl1pPr algn="ctr">
              <a:spcBef>
                <a:spcPts val="0"/>
              </a:spcBef>
              <a:defRPr sz="1600" b="0" cap="none" baseline="0"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97F3A9F-AF2D-4CED-9192-0BADD68293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42400" y="637200"/>
            <a:ext cx="5545139" cy="1218795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1AB29080-734B-4EAD-9239-4C27714A50D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66091" y="1721838"/>
            <a:ext cx="5545138" cy="844810"/>
          </a:xfrm>
          <a:prstGeom prst="rect">
            <a:avLst/>
          </a:prstGeom>
        </p:spPr>
        <p:txBody>
          <a:bodyPr wrap="square" tIns="288000" r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800">
                <a:solidFill>
                  <a:schemeClr val="accent3"/>
                </a:solidFill>
                <a:latin typeface="Arial Nova Light" panose="020B0304020202020204" pitchFamily="34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18 pt, align to the baseline of the title</a:t>
            </a:r>
          </a:p>
        </p:txBody>
      </p:sp>
      <p:sp>
        <p:nvSpPr>
          <p:cNvPr id="16" name="Subhead">
            <a:extLst>
              <a:ext uri="{FF2B5EF4-FFF2-40B4-BE49-F238E27FC236}">
                <a16:creationId xmlns:a16="http://schemas.microsoft.com/office/drawing/2014/main" id="{1CC6DDB0-E138-42F8-BB4B-BA5928C4A9E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9512" y="3890848"/>
            <a:ext cx="1907174" cy="307777"/>
          </a:xfrm>
        </p:spPr>
        <p:txBody>
          <a:bodyPr wrap="square">
            <a:spAutoFit/>
          </a:bodyPr>
          <a:lstStyle>
            <a:lvl1pPr>
              <a:defRPr sz="2000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6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3EAC69DF-C7CE-4F64-945D-03BA5D148D5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64274" y="3890848"/>
            <a:ext cx="2410275" cy="1800000"/>
          </a:xfrm>
        </p:spPr>
        <p:txBody>
          <a:bodyPr/>
          <a:lstStyle>
            <a:lvl1pPr>
              <a:spcBef>
                <a:spcPts val="1200"/>
              </a:spcBef>
              <a:defRPr sz="1600">
                <a:solidFill>
                  <a:schemeClr val="bg1"/>
                </a:solidFill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Insert body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60644CA4-1921-4C6B-913F-E6115B98449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6550" y="3890848"/>
            <a:ext cx="2410275" cy="1800000"/>
          </a:xfrm>
        </p:spPr>
        <p:txBody>
          <a:bodyPr/>
          <a:lstStyle>
            <a:lvl1pPr>
              <a:spcBef>
                <a:spcPts val="1200"/>
              </a:spcBef>
              <a:defRPr sz="1600">
                <a:solidFill>
                  <a:schemeClr val="bg1"/>
                </a:solidFill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Insert body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object 3">
            <a:extLst>
              <a:ext uri="{FF2B5EF4-FFF2-40B4-BE49-F238E27FC236}">
                <a16:creationId xmlns:a16="http://schemas.microsoft.com/office/drawing/2014/main" id="{4C441E0F-00A1-402A-B174-83933622CAAF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901718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Keypoints 2.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4E2C06-479A-4650-97BF-3EC48B477C1A}"/>
              </a:ext>
            </a:extLst>
          </p:cNvPr>
          <p:cNvSpPr>
            <a:spLocks noGrp="1"/>
          </p:cNvSpPr>
          <p:nvPr>
            <p:ph type="sldNum" sz="quarter" idx="45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F636F11D-E48D-49A6-BB73-FDEA9FDFC8BE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1"/>
            <a:ext cx="3670300" cy="6045200"/>
          </a:xfrm>
          <a:custGeom>
            <a:avLst/>
            <a:gdLst>
              <a:gd name="connsiteX0" fmla="*/ 0 w 5299075"/>
              <a:gd name="connsiteY0" fmla="*/ 0 h 6874525"/>
              <a:gd name="connsiteX1" fmla="*/ 5299075 w 5299075"/>
              <a:gd name="connsiteY1" fmla="*/ 0 h 6874525"/>
              <a:gd name="connsiteX2" fmla="*/ 5299075 w 5299075"/>
              <a:gd name="connsiteY2" fmla="*/ 462776 h 6874525"/>
              <a:gd name="connsiteX3" fmla="*/ 5299075 w 5299075"/>
              <a:gd name="connsiteY3" fmla="*/ 2606040 h 6874525"/>
              <a:gd name="connsiteX4" fmla="*/ 5299075 w 5299075"/>
              <a:gd name="connsiteY4" fmla="*/ 3526971 h 6874525"/>
              <a:gd name="connsiteX5" fmla="*/ 5299075 w 5299075"/>
              <a:gd name="connsiteY5" fmla="*/ 3530827 h 6874525"/>
              <a:gd name="connsiteX6" fmla="*/ 5299075 w 5299075"/>
              <a:gd name="connsiteY6" fmla="*/ 6058582 h 6874525"/>
              <a:gd name="connsiteX7" fmla="*/ 5299075 w 5299075"/>
              <a:gd name="connsiteY7" fmla="*/ 6311900 h 6874525"/>
              <a:gd name="connsiteX8" fmla="*/ 5299075 w 5299075"/>
              <a:gd name="connsiteY8" fmla="*/ 6395224 h 6874525"/>
              <a:gd name="connsiteX9" fmla="*/ 5299075 w 5299075"/>
              <a:gd name="connsiteY9" fmla="*/ 6874525 h 6874525"/>
              <a:gd name="connsiteX10" fmla="*/ 0 w 5299075"/>
              <a:gd name="connsiteY10" fmla="*/ 6874525 h 6874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299075" h="6874525">
                <a:moveTo>
                  <a:pt x="0" y="0"/>
                </a:moveTo>
                <a:lnTo>
                  <a:pt x="5299075" y="0"/>
                </a:lnTo>
                <a:lnTo>
                  <a:pt x="5299075" y="462776"/>
                </a:lnTo>
                <a:lnTo>
                  <a:pt x="5299075" y="2606040"/>
                </a:lnTo>
                <a:lnTo>
                  <a:pt x="5299075" y="3526971"/>
                </a:lnTo>
                <a:lnTo>
                  <a:pt x="5299075" y="3530827"/>
                </a:lnTo>
                <a:lnTo>
                  <a:pt x="5299075" y="6058582"/>
                </a:lnTo>
                <a:lnTo>
                  <a:pt x="5299075" y="6311900"/>
                </a:lnTo>
                <a:lnTo>
                  <a:pt x="5299075" y="6395224"/>
                </a:lnTo>
                <a:lnTo>
                  <a:pt x="5299075" y="6874525"/>
                </a:lnTo>
                <a:lnTo>
                  <a:pt x="0" y="687452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0" tIns="0" rIns="720000" bIns="900000" anchor="ctr" anchorCtr="0">
            <a:noAutofit/>
          </a:bodyPr>
          <a:lstStyle>
            <a:lvl1pPr algn="ctr">
              <a:spcBef>
                <a:spcPts val="0"/>
              </a:spcBef>
              <a:defRPr sz="1600" b="0" cap="none" baseline="0"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E82B553-5E70-422E-A74D-C564BEC1CC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76655" y="637200"/>
            <a:ext cx="7532757" cy="1218795"/>
          </a:xfrm>
        </p:spPr>
        <p:txBody>
          <a:bodyPr wrap="square" anchor="t">
            <a:spAutoFit/>
          </a:bodyPr>
          <a:lstStyle>
            <a:lvl1pPr>
              <a:defRPr sz="4400"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AU"/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D0818C70-A8E1-4BE4-9EF2-0E79CEB29C4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294742" y="1720800"/>
            <a:ext cx="7493000" cy="495108"/>
          </a:xfrm>
          <a:prstGeom prst="rect">
            <a:avLst/>
          </a:prstGeom>
        </p:spPr>
        <p:txBody>
          <a:bodyPr wrap="square" lIns="0" tIns="216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800">
                <a:solidFill>
                  <a:schemeClr val="tx1"/>
                </a:solidFill>
                <a:latin typeface="Arial Nova Light" panose="020B0304020202020204" pitchFamily="34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18 pt, align the text box to the baseline of the title</a:t>
            </a:r>
          </a:p>
        </p:txBody>
      </p:sp>
      <p:sp>
        <p:nvSpPr>
          <p:cNvPr id="18" name="Text Box Purple">
            <a:extLst>
              <a:ext uri="{FF2B5EF4-FFF2-40B4-BE49-F238E27FC236}">
                <a16:creationId xmlns:a16="http://schemas.microsoft.com/office/drawing/2014/main" id="{ACB3F843-DC36-4BE8-9CD0-75E23E161B03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4316412" y="2937600"/>
            <a:ext cx="7492994" cy="531005"/>
          </a:xfrm>
          <a:solidFill>
            <a:schemeClr val="accent3"/>
          </a:solidFill>
          <a:ln>
            <a:noFill/>
          </a:ln>
        </p:spPr>
        <p:txBody>
          <a:bodyPr lIns="216000" tIns="46800" rIns="216000" bIns="72000" anchor="ctr"/>
          <a:lstStyle>
            <a:lvl1pPr algn="ctr"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0EB93430-BE2C-484C-A61F-42B341860A3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4316412" y="3765599"/>
            <a:ext cx="3557588" cy="2279601"/>
          </a:xfrm>
        </p:spPr>
        <p:txBody>
          <a:bodyPr/>
          <a:lstStyle>
            <a:lvl1pPr>
              <a:defRPr sz="180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1415CA21-78F8-4A21-A8C3-EFC62B6B6E3F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8251825" y="3765599"/>
            <a:ext cx="3557588" cy="2279601"/>
          </a:xfrm>
        </p:spPr>
        <p:txBody>
          <a:bodyPr/>
          <a:lstStyle>
            <a:lvl1pPr>
              <a:defRPr sz="180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0" name="object 3">
            <a:extLst>
              <a:ext uri="{FF2B5EF4-FFF2-40B4-BE49-F238E27FC236}">
                <a16:creationId xmlns:a16="http://schemas.microsoft.com/office/drawing/2014/main" id="{29FC6FF2-7266-454E-A5D7-EF228A486BA2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102476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Keypoints 2.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85A0A29-53A4-462E-842F-A4A972DB5CDF}"/>
              </a:ext>
            </a:extLst>
          </p:cNvPr>
          <p:cNvSpPr>
            <a:spLocks noGrp="1"/>
          </p:cNvSpPr>
          <p:nvPr>
            <p:ph type="sldNum" sz="quarter" idx="50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701FBB38-2E3C-42DC-8F82-78C0159577A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1999" cy="6045200"/>
          </a:xfrm>
          <a:custGeom>
            <a:avLst/>
            <a:gdLst>
              <a:gd name="connsiteX0" fmla="*/ 0 w 5302251"/>
              <a:gd name="connsiteY0" fmla="*/ 0 h 6056313"/>
              <a:gd name="connsiteX1" fmla="*/ 5302251 w 5302251"/>
              <a:gd name="connsiteY1" fmla="*/ 0 h 6056313"/>
              <a:gd name="connsiteX2" fmla="*/ 5302251 w 5302251"/>
              <a:gd name="connsiteY2" fmla="*/ 6056313 h 6056313"/>
              <a:gd name="connsiteX3" fmla="*/ 932984 w 5302251"/>
              <a:gd name="connsiteY3" fmla="*/ 6056313 h 6056313"/>
              <a:gd name="connsiteX4" fmla="*/ 0 w 5302251"/>
              <a:gd name="connsiteY4" fmla="*/ 6056313 h 6056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02251" h="6056313">
                <a:moveTo>
                  <a:pt x="0" y="0"/>
                </a:moveTo>
                <a:lnTo>
                  <a:pt x="5302251" y="0"/>
                </a:lnTo>
                <a:lnTo>
                  <a:pt x="5302251" y="6056313"/>
                </a:lnTo>
                <a:lnTo>
                  <a:pt x="932984" y="6056313"/>
                </a:lnTo>
                <a:lnTo>
                  <a:pt x="0" y="60563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0" tIns="0" rIns="720000" bIns="900000" anchor="ctr" anchorCtr="0">
            <a:noAutofit/>
          </a:bodyPr>
          <a:lstStyle>
            <a:lvl1pPr algn="l">
              <a:spcBef>
                <a:spcPts val="0"/>
              </a:spcBef>
              <a:defRPr sz="1400" b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 and use the crop tool </a:t>
            </a:r>
            <a:br>
              <a:rPr lang="en-US"/>
            </a:br>
            <a:r>
              <a:rPr lang="en-US"/>
              <a:t>to adjust the image cropping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CB3E17-0E5C-4FBC-8051-886DB6417F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52347" y="637200"/>
            <a:ext cx="5950642" cy="1152000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AU"/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225CB17E-652C-46AA-807F-522072ED0FB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278555" y="1722075"/>
            <a:ext cx="5926012" cy="567811"/>
          </a:xfrm>
          <a:prstGeom prst="rect">
            <a:avLst/>
          </a:prstGeom>
        </p:spPr>
        <p:txBody>
          <a:bodyPr wrap="square" tIns="288000" r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800">
                <a:solidFill>
                  <a:schemeClr val="tx1"/>
                </a:solidFill>
                <a:latin typeface="Arial Nova Light" panose="020B0304020202020204" pitchFamily="34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18 pt, align to the baseline of the title</a:t>
            </a:r>
          </a:p>
        </p:txBody>
      </p:sp>
      <p:sp>
        <p:nvSpPr>
          <p:cNvPr id="8" name="Number 1">
            <a:extLst>
              <a:ext uri="{FF2B5EF4-FFF2-40B4-BE49-F238E27FC236}">
                <a16:creationId xmlns:a16="http://schemas.microsoft.com/office/drawing/2014/main" id="{DEDE7D73-E78D-43A9-8A2D-02D80B0242E9}"/>
              </a:ext>
            </a:extLst>
          </p:cNvPr>
          <p:cNvSpPr>
            <a:spLocks noGrp="1" noChangeAspect="1"/>
          </p:cNvSpPr>
          <p:nvPr>
            <p:ph type="body" sz="quarter" idx="46" hasCustomPrompt="1"/>
          </p:nvPr>
        </p:nvSpPr>
        <p:spPr>
          <a:xfrm>
            <a:off x="5302487" y="3237271"/>
            <a:ext cx="1008000" cy="1009003"/>
          </a:xfrm>
          <a:prstGeom prst="rect">
            <a:avLst/>
          </a:prstGeom>
          <a:solidFill>
            <a:schemeClr val="accent1"/>
          </a:solidFill>
        </p:spPr>
        <p:txBody>
          <a:bodyPr wrap="square" anchor="ctr">
            <a:noAutofit/>
          </a:bodyPr>
          <a:lstStyle>
            <a:lvl1pPr algn="ctr">
              <a:defRPr sz="3600" b="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5pPr>
          </a:lstStyle>
          <a:p>
            <a:pPr lvl="0"/>
            <a:r>
              <a:rPr lang="en-GB" noProof="0"/>
              <a:t>01</a:t>
            </a: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20EE5D1-E4EB-49E0-B314-5E4CAFEC902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647564" y="3291772"/>
            <a:ext cx="4571883" cy="900000"/>
          </a:xfrm>
        </p:spPr>
        <p:txBody>
          <a:bodyPr tIns="0" anchor="ctr"/>
          <a:lstStyle>
            <a:lvl1pPr>
              <a:defRPr sz="20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Number 2">
            <a:extLst>
              <a:ext uri="{FF2B5EF4-FFF2-40B4-BE49-F238E27FC236}">
                <a16:creationId xmlns:a16="http://schemas.microsoft.com/office/drawing/2014/main" id="{BE4B7693-528B-4FF4-97DC-245634FDFDBF}"/>
              </a:ext>
            </a:extLst>
          </p:cNvPr>
          <p:cNvSpPr>
            <a:spLocks noGrp="1" noChangeAspect="1"/>
          </p:cNvSpPr>
          <p:nvPr>
            <p:ph type="body" sz="quarter" idx="47" hasCustomPrompt="1"/>
          </p:nvPr>
        </p:nvSpPr>
        <p:spPr>
          <a:xfrm>
            <a:off x="5302486" y="4459897"/>
            <a:ext cx="1008000" cy="1009003"/>
          </a:xfrm>
          <a:prstGeom prst="rect">
            <a:avLst/>
          </a:prstGeom>
          <a:solidFill>
            <a:schemeClr val="accent2"/>
          </a:solidFill>
        </p:spPr>
        <p:txBody>
          <a:bodyPr wrap="square" anchor="ctr">
            <a:noAutofit/>
          </a:bodyPr>
          <a:lstStyle>
            <a:lvl1pPr algn="ctr">
              <a:defRPr sz="3600" b="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5pPr>
          </a:lstStyle>
          <a:p>
            <a:pPr lvl="0"/>
            <a:r>
              <a:rPr lang="en-GB" noProof="0"/>
              <a:t>02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1E97EB58-AE58-4035-8213-0B447F62C4F7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6647564" y="4514398"/>
            <a:ext cx="4571883" cy="900000"/>
          </a:xfrm>
        </p:spPr>
        <p:txBody>
          <a:bodyPr tIns="0" anchor="ctr"/>
          <a:lstStyle>
            <a:lvl1pPr>
              <a:defRPr sz="20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object 3">
            <a:extLst>
              <a:ext uri="{FF2B5EF4-FFF2-40B4-BE49-F238E27FC236}">
                <a16:creationId xmlns:a16="http://schemas.microsoft.com/office/drawing/2014/main" id="{C48B68C5-1E79-45D0-AB44-4229C799A8A3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370233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keypoints 2.1 – 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ABA4407-2CFD-416B-8704-52A0CBCF3B8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F8EB60C-7CC2-49F0-B2EE-C81F067DE04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Picture Placeholder 16">
            <a:extLst>
              <a:ext uri="{FF2B5EF4-FFF2-40B4-BE49-F238E27FC236}">
                <a16:creationId xmlns:a16="http://schemas.microsoft.com/office/drawing/2014/main" id="{0E09289C-C5EB-4A5F-9D62-F089B5FD771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89749" y="0"/>
            <a:ext cx="5302251" cy="6042025"/>
          </a:xfrm>
          <a:custGeom>
            <a:avLst/>
            <a:gdLst>
              <a:gd name="connsiteX0" fmla="*/ 0 w 12192000"/>
              <a:gd name="connsiteY0" fmla="*/ 0 h 6042025"/>
              <a:gd name="connsiteX1" fmla="*/ 12192000 w 12192000"/>
              <a:gd name="connsiteY1" fmla="*/ 0 h 6042025"/>
              <a:gd name="connsiteX2" fmla="*/ 12192000 w 12192000"/>
              <a:gd name="connsiteY2" fmla="*/ 2719985 h 6042025"/>
              <a:gd name="connsiteX3" fmla="*/ 12192000 w 12192000"/>
              <a:gd name="connsiteY3" fmla="*/ 4097867 h 6042025"/>
              <a:gd name="connsiteX4" fmla="*/ 12192000 w 12192000"/>
              <a:gd name="connsiteY4" fmla="*/ 6042025 h 6042025"/>
              <a:gd name="connsiteX5" fmla="*/ 6096000 w 12192000"/>
              <a:gd name="connsiteY5" fmla="*/ 6042025 h 6042025"/>
              <a:gd name="connsiteX6" fmla="*/ 3677175 w 12192000"/>
              <a:gd name="connsiteY6" fmla="*/ 6042025 h 6042025"/>
              <a:gd name="connsiteX7" fmla="*/ 0 w 12192000"/>
              <a:gd name="connsiteY7" fmla="*/ 6042025 h 6042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042025">
                <a:moveTo>
                  <a:pt x="0" y="0"/>
                </a:moveTo>
                <a:lnTo>
                  <a:pt x="12192000" y="0"/>
                </a:lnTo>
                <a:lnTo>
                  <a:pt x="12192000" y="2719985"/>
                </a:lnTo>
                <a:lnTo>
                  <a:pt x="12192000" y="4097867"/>
                </a:lnTo>
                <a:lnTo>
                  <a:pt x="12192000" y="6042025"/>
                </a:lnTo>
                <a:lnTo>
                  <a:pt x="6096000" y="6042025"/>
                </a:lnTo>
                <a:lnTo>
                  <a:pt x="3677175" y="6042025"/>
                </a:lnTo>
                <a:lnTo>
                  <a:pt x="0" y="604202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rIns="612000" bIns="1080000" anchor="ctr">
            <a:noAutofit/>
          </a:bodyPr>
          <a:lstStyle>
            <a:lvl1pPr algn="r">
              <a:defRPr sz="16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pPr lvl="0">
              <a:spcBef>
                <a:spcPts val="0"/>
              </a:spcBef>
            </a:pPr>
            <a:r>
              <a:rPr lang="en-CA"/>
              <a:t>Click on the icon or drag image </a:t>
            </a:r>
            <a:br>
              <a:rPr lang="en-CA"/>
            </a:br>
            <a:r>
              <a:rPr lang="en-CA"/>
              <a:t>to insert an image 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1030FDA-BEAA-491E-A083-4A575CC44B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4001" y="971448"/>
            <a:ext cx="5330914" cy="1218795"/>
          </a:xfrm>
        </p:spPr>
        <p:txBody>
          <a:bodyPr/>
          <a:lstStyle>
            <a:lvl1pPr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BB9CB54E-814B-413E-8FAC-65745BD86F2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63493" y="2054655"/>
            <a:ext cx="5330914" cy="844810"/>
          </a:xfrm>
          <a:prstGeom prst="rect">
            <a:avLst/>
          </a:prstGeom>
        </p:spPr>
        <p:txBody>
          <a:bodyPr wrap="square" tIns="288000" r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800">
                <a:solidFill>
                  <a:schemeClr val="tx1"/>
                </a:solidFill>
                <a:latin typeface="Arial Nova Light" panose="020B0304020202020204" pitchFamily="34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18 pt, align to the baseline of the title</a:t>
            </a:r>
          </a:p>
        </p:txBody>
      </p:sp>
      <p:sp>
        <p:nvSpPr>
          <p:cNvPr id="13" name="Number 1">
            <a:extLst>
              <a:ext uri="{FF2B5EF4-FFF2-40B4-BE49-F238E27FC236}">
                <a16:creationId xmlns:a16="http://schemas.microsoft.com/office/drawing/2014/main" id="{E2F5C76D-A442-4083-A676-1F99241BDDEF}"/>
              </a:ext>
            </a:extLst>
          </p:cNvPr>
          <p:cNvSpPr>
            <a:spLocks noGrp="1" noChangeAspect="1"/>
          </p:cNvSpPr>
          <p:nvPr>
            <p:ph type="body" sz="quarter" idx="46" hasCustomPrompt="1"/>
          </p:nvPr>
        </p:nvSpPr>
        <p:spPr>
          <a:xfrm>
            <a:off x="987425" y="3569851"/>
            <a:ext cx="1008000" cy="1009003"/>
          </a:xfrm>
          <a:prstGeom prst="rect">
            <a:avLst/>
          </a:prstGeom>
          <a:solidFill>
            <a:schemeClr val="accent1"/>
          </a:solidFill>
        </p:spPr>
        <p:txBody>
          <a:bodyPr wrap="square" anchor="ctr">
            <a:noAutofit/>
          </a:bodyPr>
          <a:lstStyle>
            <a:lvl1pPr algn="ctr">
              <a:defRPr sz="3600" b="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5pPr>
          </a:lstStyle>
          <a:p>
            <a:pPr lvl="0"/>
            <a:r>
              <a:rPr lang="en-GB" noProof="0"/>
              <a:t>01</a:t>
            </a:r>
          </a:p>
        </p:txBody>
      </p:sp>
      <p:sp>
        <p:nvSpPr>
          <p:cNvPr id="14" name="Text Placeholder 1">
            <a:extLst>
              <a:ext uri="{FF2B5EF4-FFF2-40B4-BE49-F238E27FC236}">
                <a16:creationId xmlns:a16="http://schemas.microsoft.com/office/drawing/2014/main" id="{8D1F2529-83FD-4FD7-9A5D-3EA37516F6D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332502" y="3624352"/>
            <a:ext cx="3952411" cy="900000"/>
          </a:xfrm>
        </p:spPr>
        <p:txBody>
          <a:bodyPr tIns="0" anchor="ctr"/>
          <a:lstStyle>
            <a:lvl1pPr>
              <a:defRPr sz="20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Number 2">
            <a:extLst>
              <a:ext uri="{FF2B5EF4-FFF2-40B4-BE49-F238E27FC236}">
                <a16:creationId xmlns:a16="http://schemas.microsoft.com/office/drawing/2014/main" id="{0B3F0548-D38E-43A2-AE62-EA430F6E9927}"/>
              </a:ext>
            </a:extLst>
          </p:cNvPr>
          <p:cNvSpPr>
            <a:spLocks noGrp="1" noChangeAspect="1"/>
          </p:cNvSpPr>
          <p:nvPr>
            <p:ph type="body" sz="quarter" idx="47" hasCustomPrompt="1"/>
          </p:nvPr>
        </p:nvSpPr>
        <p:spPr>
          <a:xfrm>
            <a:off x="987424" y="4792477"/>
            <a:ext cx="1008000" cy="1009003"/>
          </a:xfrm>
          <a:prstGeom prst="rect">
            <a:avLst/>
          </a:prstGeom>
          <a:solidFill>
            <a:schemeClr val="accent2"/>
          </a:solidFill>
        </p:spPr>
        <p:txBody>
          <a:bodyPr wrap="square" anchor="ctr">
            <a:noAutofit/>
          </a:bodyPr>
          <a:lstStyle>
            <a:lvl1pPr algn="ctr">
              <a:defRPr sz="3600" b="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5pPr>
          </a:lstStyle>
          <a:p>
            <a:pPr lvl="0"/>
            <a:r>
              <a:rPr lang="en-GB" noProof="0"/>
              <a:t>02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4EE81530-AD5C-45FF-914B-67E8D512BDCF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2332502" y="4846978"/>
            <a:ext cx="3952411" cy="900000"/>
          </a:xfrm>
        </p:spPr>
        <p:txBody>
          <a:bodyPr tIns="0" anchor="ctr"/>
          <a:lstStyle>
            <a:lvl1pPr>
              <a:defRPr sz="20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object 3">
            <a:extLst>
              <a:ext uri="{FF2B5EF4-FFF2-40B4-BE49-F238E27FC236}">
                <a16:creationId xmlns:a16="http://schemas.microsoft.com/office/drawing/2014/main" id="{0E464852-7C06-4CFF-8964-7C0C719FCD9B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81959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Keypoints 2.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93C5F34-6E7E-4994-A63C-009BE22D9939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86F22A1-7AEB-488F-B13B-34CB9FFF8D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4000" y="1242000"/>
            <a:ext cx="4348675" cy="1218795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Insert short headline</a:t>
            </a:r>
          </a:p>
        </p:txBody>
      </p:sp>
      <p:sp>
        <p:nvSpPr>
          <p:cNvPr id="36" name="Subtitle">
            <a:extLst>
              <a:ext uri="{FF2B5EF4-FFF2-40B4-BE49-F238E27FC236}">
                <a16:creationId xmlns:a16="http://schemas.microsoft.com/office/drawing/2014/main" id="{D78A2740-67C2-492E-AC27-C95D4C1C9744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67990" y="2331300"/>
            <a:ext cx="4318083" cy="772107"/>
          </a:xfrm>
          <a:prstGeom prst="rect">
            <a:avLst/>
          </a:prstGeom>
        </p:spPr>
        <p:txBody>
          <a:bodyPr wrap="square" lIns="0" tIns="216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800">
                <a:solidFill>
                  <a:schemeClr val="tx1"/>
                </a:solidFill>
                <a:latin typeface="Arial Nova Light" panose="020B0304020202020204" pitchFamily="34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18 pt, align box to the baseline of the title</a:t>
            </a:r>
          </a:p>
        </p:txBody>
      </p:sp>
      <p:sp>
        <p:nvSpPr>
          <p:cNvPr id="34" name="Intro">
            <a:extLst>
              <a:ext uri="{FF2B5EF4-FFF2-40B4-BE49-F238E27FC236}">
                <a16:creationId xmlns:a16="http://schemas.microsoft.com/office/drawing/2014/main" id="{6F17C1E0-1FD8-4B2D-B0A2-E79F4A260DC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75600" y="3699840"/>
            <a:ext cx="4323475" cy="1710360"/>
          </a:xfrm>
        </p:spPr>
        <p:txBody>
          <a:bodyPr tIns="0"/>
          <a:lstStyle>
            <a:lvl1pPr>
              <a:defRPr sz="2000">
                <a:solidFill>
                  <a:schemeClr val="tx1"/>
                </a:solidFill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Gray Rectangle">
            <a:extLst>
              <a:ext uri="{FF2B5EF4-FFF2-40B4-BE49-F238E27FC236}">
                <a16:creationId xmlns:a16="http://schemas.microsoft.com/office/drawing/2014/main" id="{06346790-A48C-46E2-BBD7-0D5ABCBAFD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5905500" y="636858"/>
            <a:ext cx="6286500" cy="541944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4" name="Purple Arrow" descr="Big arrow pointing right">
            <a:extLst>
              <a:ext uri="{FF2B5EF4-FFF2-40B4-BE49-F238E27FC236}">
                <a16:creationId xmlns:a16="http://schemas.microsoft.com/office/drawing/2014/main" id="{CCD473CD-EB8E-49C0-A353-5F94724E779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905500" y="636859"/>
            <a:ext cx="3525971" cy="5419453"/>
          </a:xfrm>
          <a:prstGeom prst="homePlate">
            <a:avLst>
              <a:gd name="adj" fmla="val 11128"/>
            </a:avLst>
          </a:prstGeom>
          <a:solidFill>
            <a:schemeClr val="accent3"/>
          </a:solidFill>
          <a:ln w="19050">
            <a:noFill/>
            <a:miter lim="800000"/>
            <a:headEnd type="none" w="sm" len="sm"/>
            <a:tailEnd type="none" w="sm" len="sm"/>
          </a:ln>
        </p:spPr>
        <p:txBody>
          <a:bodyPr lIns="180000" tIns="46800" rIns="216000" bIns="46800" anchor="ctr"/>
          <a:lstStyle/>
          <a:p>
            <a:pPr marL="0" marR="0" lvl="0" indent="0" algn="r" defTabSz="7032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1" i="0" u="none" strike="noStrike" kern="1200" cap="all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 Black"/>
              <a:ea typeface="+mn-ea"/>
              <a:cs typeface="+mn-cs"/>
            </a:endParaRPr>
          </a:p>
        </p:txBody>
      </p:sp>
      <p:sp>
        <p:nvSpPr>
          <p:cNvPr id="22" name="Text Placeholder 1">
            <a:extLst>
              <a:ext uri="{FF2B5EF4-FFF2-40B4-BE49-F238E27FC236}">
                <a16:creationId xmlns:a16="http://schemas.microsoft.com/office/drawing/2014/main" id="{AEDEC25D-3E07-4748-ADD4-C0E2E086E4BC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95206" y="1337900"/>
            <a:ext cx="2543166" cy="1359859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4800">
                <a:solidFill>
                  <a:schemeClr val="accent3">
                    <a:lumMod val="20000"/>
                    <a:lumOff val="80000"/>
                  </a:schemeClr>
                </a:solidFill>
                <a:latin typeface="+mj-lt"/>
              </a:defRPr>
            </a:lvl1pPr>
            <a:lvl2pPr>
              <a:spcBef>
                <a:spcPts val="300"/>
              </a:spcBef>
              <a:defRPr sz="1800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F1A4F66F-D9A6-4EBB-89AA-BBD9C3C46806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295206" y="3755430"/>
            <a:ext cx="2543166" cy="1359859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4800">
                <a:solidFill>
                  <a:schemeClr val="accent3">
                    <a:lumMod val="20000"/>
                    <a:lumOff val="80000"/>
                  </a:schemeClr>
                </a:solidFill>
                <a:latin typeface="+mj-lt"/>
              </a:defRPr>
            </a:lvl1pPr>
            <a:lvl2pPr>
              <a:spcBef>
                <a:spcPts val="300"/>
              </a:spcBef>
              <a:defRPr sz="1800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4" name="Text">
            <a:extLst>
              <a:ext uri="{FF2B5EF4-FFF2-40B4-BE49-F238E27FC236}">
                <a16:creationId xmlns:a16="http://schemas.microsoft.com/office/drawing/2014/main" id="{90E76472-D6C5-4857-87A3-81E269437D2A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9828206" y="2653579"/>
            <a:ext cx="1981206" cy="1386000"/>
          </a:xfrm>
        </p:spPr>
        <p:txBody>
          <a:bodyPr tIns="0" anchor="ctr"/>
          <a:lstStyle>
            <a:lvl1pPr>
              <a:defRPr sz="2000">
                <a:solidFill>
                  <a:schemeClr val="tx1"/>
                </a:solidFill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object 3">
            <a:extLst>
              <a:ext uri="{FF2B5EF4-FFF2-40B4-BE49-F238E27FC236}">
                <a16:creationId xmlns:a16="http://schemas.microsoft.com/office/drawing/2014/main" id="{06077684-2EE7-45A6-A171-1FE6A5F4E39E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905556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Keypoints 3.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24B1BCD-5E41-4E13-9A41-02E9057F9D7E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Picture Placeholder 10">
            <a:extLst>
              <a:ext uri="{FF2B5EF4-FFF2-40B4-BE49-F238E27FC236}">
                <a16:creationId xmlns:a16="http://schemas.microsoft.com/office/drawing/2014/main" id="{9E8A1F14-DE97-4901-A101-7CF2C02AFD8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380998"/>
            <a:ext cx="5608320" cy="5664202"/>
          </a:xfrm>
          <a:custGeom>
            <a:avLst/>
            <a:gdLst>
              <a:gd name="connsiteX0" fmla="*/ 0 w 5302251"/>
              <a:gd name="connsiteY0" fmla="*/ 0 h 6056313"/>
              <a:gd name="connsiteX1" fmla="*/ 5302251 w 5302251"/>
              <a:gd name="connsiteY1" fmla="*/ 0 h 6056313"/>
              <a:gd name="connsiteX2" fmla="*/ 5302251 w 5302251"/>
              <a:gd name="connsiteY2" fmla="*/ 6056313 h 6056313"/>
              <a:gd name="connsiteX3" fmla="*/ 932984 w 5302251"/>
              <a:gd name="connsiteY3" fmla="*/ 6056313 h 6056313"/>
              <a:gd name="connsiteX4" fmla="*/ 0 w 5302251"/>
              <a:gd name="connsiteY4" fmla="*/ 6056313 h 6056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02251" h="6056313">
                <a:moveTo>
                  <a:pt x="0" y="0"/>
                </a:moveTo>
                <a:lnTo>
                  <a:pt x="5302251" y="0"/>
                </a:lnTo>
                <a:lnTo>
                  <a:pt x="5302251" y="6056313"/>
                </a:lnTo>
                <a:lnTo>
                  <a:pt x="932984" y="6056313"/>
                </a:lnTo>
                <a:lnTo>
                  <a:pt x="0" y="60563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0" tIns="0" rIns="720000" bIns="900000" anchor="ctr" anchorCtr="0">
            <a:noAutofit/>
          </a:bodyPr>
          <a:lstStyle>
            <a:lvl1pPr algn="ctr">
              <a:spcBef>
                <a:spcPts val="0"/>
              </a:spcBef>
              <a:defRPr sz="1400" b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6D36229-5E43-47C8-8EDA-717F9922EF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46000" y="1242000"/>
            <a:ext cx="4550800" cy="1218795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Insert short headline</a:t>
            </a:r>
          </a:p>
        </p:txBody>
      </p:sp>
      <p:sp>
        <p:nvSpPr>
          <p:cNvPr id="12" name="Subtitle">
            <a:extLst>
              <a:ext uri="{FF2B5EF4-FFF2-40B4-BE49-F238E27FC236}">
                <a16:creationId xmlns:a16="http://schemas.microsoft.com/office/drawing/2014/main" id="{29C47F81-C62F-4527-97FE-689546B1BC5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265715" y="2326966"/>
            <a:ext cx="4550800" cy="772107"/>
          </a:xfrm>
          <a:prstGeom prst="rect">
            <a:avLst/>
          </a:prstGeom>
        </p:spPr>
        <p:txBody>
          <a:bodyPr wrap="square" lIns="0" tIns="216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800">
                <a:solidFill>
                  <a:schemeClr val="tx1"/>
                </a:solidFill>
                <a:latin typeface="Arial Nova Light" panose="020B0304020202020204" pitchFamily="34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18 pt, align box to the baseline of the title</a:t>
            </a:r>
          </a:p>
        </p:txBody>
      </p:sp>
      <p:sp>
        <p:nvSpPr>
          <p:cNvPr id="3" name="Text Box Dark Purple">
            <a:extLst>
              <a:ext uri="{FF2B5EF4-FFF2-40B4-BE49-F238E27FC236}">
                <a16:creationId xmlns:a16="http://schemas.microsoft.com/office/drawing/2014/main" id="{D6DD7FE1-AF8C-43EE-8718-18B16CDDDFC4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940176" y="4004769"/>
            <a:ext cx="7262812" cy="2040432"/>
          </a:xfrm>
          <a:solidFill>
            <a:schemeClr val="accent3"/>
          </a:solidFill>
        </p:spPr>
        <p:txBody>
          <a:bodyPr lIns="378000" tIns="252000"/>
          <a:lstStyle>
            <a:lvl1pPr>
              <a:defRPr sz="2800">
                <a:solidFill>
                  <a:schemeClr val="accent3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30" name="Number 1">
            <a:extLst>
              <a:ext uri="{FF2B5EF4-FFF2-40B4-BE49-F238E27FC236}">
                <a16:creationId xmlns:a16="http://schemas.microsoft.com/office/drawing/2014/main" id="{BE035340-E0E4-40E5-9D16-EA5E5415630C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341719" y="4839872"/>
            <a:ext cx="1943194" cy="830997"/>
          </a:xfrm>
        </p:spPr>
        <p:txBody>
          <a:bodyPr wrap="square">
            <a:spAutoFit/>
          </a:bodyPr>
          <a:lstStyle>
            <a:lvl1pPr>
              <a:defRPr sz="3600">
                <a:solidFill>
                  <a:schemeClr val="bg1"/>
                </a:solidFill>
                <a:latin typeface="+mj-lt"/>
              </a:defRPr>
            </a:lvl1pPr>
            <a:lvl2pPr>
              <a:spcBef>
                <a:spcPts val="0"/>
              </a:spcBef>
              <a:defRPr sz="1600">
                <a:solidFill>
                  <a:schemeClr val="bg1"/>
                </a:solidFill>
                <a:latin typeface="+mj-lt"/>
              </a:defRPr>
            </a:lvl2pPr>
            <a:lvl3pPr>
              <a:defRPr sz="20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Insert description</a:t>
            </a:r>
          </a:p>
        </p:txBody>
      </p:sp>
      <p:sp>
        <p:nvSpPr>
          <p:cNvPr id="31" name="Number 2">
            <a:extLst>
              <a:ext uri="{FF2B5EF4-FFF2-40B4-BE49-F238E27FC236}">
                <a16:creationId xmlns:a16="http://schemas.microsoft.com/office/drawing/2014/main" id="{3A0D13C5-80E7-44F5-8E56-5B25C10F899E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6611854" y="4839872"/>
            <a:ext cx="1943194" cy="830997"/>
          </a:xfrm>
        </p:spPr>
        <p:txBody>
          <a:bodyPr wrap="square">
            <a:spAutoFit/>
          </a:bodyPr>
          <a:lstStyle>
            <a:lvl1pPr>
              <a:defRPr sz="3600">
                <a:solidFill>
                  <a:schemeClr val="bg1"/>
                </a:solidFill>
                <a:latin typeface="+mj-lt"/>
              </a:defRPr>
            </a:lvl1pPr>
            <a:lvl2pPr>
              <a:spcBef>
                <a:spcPts val="0"/>
              </a:spcBef>
              <a:defRPr sz="1600">
                <a:solidFill>
                  <a:schemeClr val="bg1"/>
                </a:solidFill>
                <a:latin typeface="+mj-lt"/>
              </a:defRPr>
            </a:lvl2pPr>
            <a:lvl3pPr>
              <a:defRPr sz="20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Insert description</a:t>
            </a:r>
          </a:p>
        </p:txBody>
      </p:sp>
      <p:sp>
        <p:nvSpPr>
          <p:cNvPr id="32" name="Number 3">
            <a:extLst>
              <a:ext uri="{FF2B5EF4-FFF2-40B4-BE49-F238E27FC236}">
                <a16:creationId xmlns:a16="http://schemas.microsoft.com/office/drawing/2014/main" id="{5962FA73-051F-4E05-B3C3-83C235105723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8881989" y="4839872"/>
            <a:ext cx="1943194" cy="830997"/>
          </a:xfrm>
        </p:spPr>
        <p:txBody>
          <a:bodyPr wrap="square">
            <a:spAutoFit/>
          </a:bodyPr>
          <a:lstStyle>
            <a:lvl1pPr>
              <a:defRPr sz="3600">
                <a:solidFill>
                  <a:schemeClr val="bg1"/>
                </a:solidFill>
                <a:latin typeface="+mj-lt"/>
              </a:defRPr>
            </a:lvl1pPr>
            <a:lvl2pPr>
              <a:spcBef>
                <a:spcPts val="0"/>
              </a:spcBef>
              <a:defRPr sz="1600">
                <a:solidFill>
                  <a:schemeClr val="bg1"/>
                </a:solidFill>
                <a:latin typeface="+mj-lt"/>
              </a:defRPr>
            </a:lvl2pPr>
            <a:lvl3pPr>
              <a:defRPr sz="20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Insert description</a:t>
            </a:r>
          </a:p>
        </p:txBody>
      </p:sp>
      <p:sp>
        <p:nvSpPr>
          <p:cNvPr id="10" name="object 3">
            <a:extLst>
              <a:ext uri="{FF2B5EF4-FFF2-40B4-BE49-F238E27FC236}">
                <a16:creationId xmlns:a16="http://schemas.microsoft.com/office/drawing/2014/main" id="{9C977A54-C2F7-4F1A-AB0B-CFFE8CEE3EA3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28342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Keypoints 3.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433FBEE-4D8A-4BBC-BED4-6B8C65554058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FA66C05-7AC3-4FDC-8A1C-A3C4D6899B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0401" y="1242000"/>
            <a:ext cx="4568390" cy="1218795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Insert short headline</a:t>
            </a:r>
          </a:p>
        </p:txBody>
      </p:sp>
      <p:sp>
        <p:nvSpPr>
          <p:cNvPr id="12" name="Subtitle">
            <a:extLst>
              <a:ext uri="{FF2B5EF4-FFF2-40B4-BE49-F238E27FC236}">
                <a16:creationId xmlns:a16="http://schemas.microsoft.com/office/drawing/2014/main" id="{29C47F81-C62F-4527-97FE-689546B1BC5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67990" y="2326966"/>
            <a:ext cx="4550800" cy="772107"/>
          </a:xfrm>
          <a:prstGeom prst="rect">
            <a:avLst/>
          </a:prstGeom>
        </p:spPr>
        <p:txBody>
          <a:bodyPr wrap="square" lIns="0" tIns="216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800">
                <a:solidFill>
                  <a:schemeClr val="tx1"/>
                </a:solidFill>
                <a:latin typeface="Arial Nova Light" panose="020B0304020202020204" pitchFamily="34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18 pt, align box to the baseline of the title</a:t>
            </a:r>
          </a:p>
        </p:txBody>
      </p:sp>
      <p:sp>
        <p:nvSpPr>
          <p:cNvPr id="17" name="Picture Placeholder 10">
            <a:extLst>
              <a:ext uri="{FF2B5EF4-FFF2-40B4-BE49-F238E27FC236}">
                <a16:creationId xmlns:a16="http://schemas.microsoft.com/office/drawing/2014/main" id="{9E8A1F14-DE97-4901-A101-7CF2C02AFD8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583680" y="380998"/>
            <a:ext cx="5608320" cy="5664202"/>
          </a:xfrm>
          <a:custGeom>
            <a:avLst/>
            <a:gdLst>
              <a:gd name="connsiteX0" fmla="*/ 0 w 5302251"/>
              <a:gd name="connsiteY0" fmla="*/ 0 h 6056313"/>
              <a:gd name="connsiteX1" fmla="*/ 5302251 w 5302251"/>
              <a:gd name="connsiteY1" fmla="*/ 0 h 6056313"/>
              <a:gd name="connsiteX2" fmla="*/ 5302251 w 5302251"/>
              <a:gd name="connsiteY2" fmla="*/ 6056313 h 6056313"/>
              <a:gd name="connsiteX3" fmla="*/ 932984 w 5302251"/>
              <a:gd name="connsiteY3" fmla="*/ 6056313 h 6056313"/>
              <a:gd name="connsiteX4" fmla="*/ 0 w 5302251"/>
              <a:gd name="connsiteY4" fmla="*/ 6056313 h 6056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02251" h="6056313">
                <a:moveTo>
                  <a:pt x="0" y="0"/>
                </a:moveTo>
                <a:lnTo>
                  <a:pt x="5302251" y="0"/>
                </a:lnTo>
                <a:lnTo>
                  <a:pt x="5302251" y="6056313"/>
                </a:lnTo>
                <a:lnTo>
                  <a:pt x="932984" y="6056313"/>
                </a:lnTo>
                <a:lnTo>
                  <a:pt x="0" y="60563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0" tIns="0" rIns="720000" bIns="900000" anchor="ctr" anchorCtr="0">
            <a:noAutofit/>
          </a:bodyPr>
          <a:lstStyle>
            <a:lvl1pPr algn="ctr">
              <a:spcBef>
                <a:spcPts val="0"/>
              </a:spcBef>
              <a:defRPr sz="1400" b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</a:t>
            </a:r>
          </a:p>
        </p:txBody>
      </p:sp>
      <p:sp>
        <p:nvSpPr>
          <p:cNvPr id="3" name="Text Box Pink">
            <a:extLst>
              <a:ext uri="{FF2B5EF4-FFF2-40B4-BE49-F238E27FC236}">
                <a16:creationId xmlns:a16="http://schemas.microsoft.com/office/drawing/2014/main" id="{D6DD7FE1-AF8C-43EE-8718-18B16CDDDFC4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89013" y="4004769"/>
            <a:ext cx="7262812" cy="2040432"/>
          </a:xfrm>
          <a:solidFill>
            <a:schemeClr val="accent4"/>
          </a:solidFill>
        </p:spPr>
        <p:txBody>
          <a:bodyPr lIns="378000" tIns="252000"/>
          <a:lstStyle>
            <a:lvl1pPr>
              <a:defRPr sz="2800">
                <a:solidFill>
                  <a:schemeClr val="accent4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30" name="Number 1">
            <a:extLst>
              <a:ext uri="{FF2B5EF4-FFF2-40B4-BE49-F238E27FC236}">
                <a16:creationId xmlns:a16="http://schemas.microsoft.com/office/drawing/2014/main" id="{BE035340-E0E4-40E5-9D16-EA5E5415630C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390556" y="4839872"/>
            <a:ext cx="1943194" cy="1046440"/>
          </a:xfrm>
        </p:spPr>
        <p:txBody>
          <a:bodyPr wrap="square">
            <a:spAutoFit/>
          </a:bodyPr>
          <a:lstStyle>
            <a:lvl1pPr>
              <a:defRPr sz="3600">
                <a:solidFill>
                  <a:schemeClr val="bg1"/>
                </a:solidFill>
                <a:latin typeface="+mj-lt"/>
              </a:defRPr>
            </a:lvl1pPr>
            <a:lvl2pPr>
              <a:spcBef>
                <a:spcPts val="0"/>
              </a:spcBef>
              <a:defRPr sz="1600">
                <a:solidFill>
                  <a:schemeClr val="bg1"/>
                </a:solidFill>
                <a:latin typeface="+mj-lt"/>
              </a:defRPr>
            </a:lvl2pPr>
            <a:lvl3pPr>
              <a:defRPr sz="20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Insert description</a:t>
            </a:r>
          </a:p>
        </p:txBody>
      </p:sp>
      <p:sp>
        <p:nvSpPr>
          <p:cNvPr id="31" name="Number 2">
            <a:extLst>
              <a:ext uri="{FF2B5EF4-FFF2-40B4-BE49-F238E27FC236}">
                <a16:creationId xmlns:a16="http://schemas.microsoft.com/office/drawing/2014/main" id="{3A0D13C5-80E7-44F5-8E56-5B25C10F899E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3660691" y="4839872"/>
            <a:ext cx="1943194" cy="1046440"/>
          </a:xfrm>
        </p:spPr>
        <p:txBody>
          <a:bodyPr wrap="square">
            <a:spAutoFit/>
          </a:bodyPr>
          <a:lstStyle>
            <a:lvl1pPr>
              <a:defRPr sz="3600">
                <a:solidFill>
                  <a:schemeClr val="bg1"/>
                </a:solidFill>
                <a:latin typeface="+mj-lt"/>
              </a:defRPr>
            </a:lvl1pPr>
            <a:lvl2pPr>
              <a:spcBef>
                <a:spcPts val="0"/>
              </a:spcBef>
              <a:defRPr sz="1600">
                <a:solidFill>
                  <a:schemeClr val="bg1"/>
                </a:solidFill>
                <a:latin typeface="+mj-lt"/>
              </a:defRPr>
            </a:lvl2pPr>
            <a:lvl3pPr>
              <a:defRPr sz="20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Insert description</a:t>
            </a:r>
          </a:p>
        </p:txBody>
      </p:sp>
      <p:sp>
        <p:nvSpPr>
          <p:cNvPr id="32" name="Number 3">
            <a:extLst>
              <a:ext uri="{FF2B5EF4-FFF2-40B4-BE49-F238E27FC236}">
                <a16:creationId xmlns:a16="http://schemas.microsoft.com/office/drawing/2014/main" id="{5962FA73-051F-4E05-B3C3-83C235105723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5930826" y="4839872"/>
            <a:ext cx="1943194" cy="1046440"/>
          </a:xfrm>
        </p:spPr>
        <p:txBody>
          <a:bodyPr wrap="square">
            <a:spAutoFit/>
          </a:bodyPr>
          <a:lstStyle>
            <a:lvl1pPr>
              <a:defRPr sz="3600">
                <a:solidFill>
                  <a:schemeClr val="bg1"/>
                </a:solidFill>
                <a:latin typeface="+mj-lt"/>
              </a:defRPr>
            </a:lvl1pPr>
            <a:lvl2pPr>
              <a:spcBef>
                <a:spcPts val="0"/>
              </a:spcBef>
              <a:defRPr sz="1600">
                <a:solidFill>
                  <a:schemeClr val="bg1"/>
                </a:solidFill>
                <a:latin typeface="+mj-lt"/>
              </a:defRPr>
            </a:lvl2pPr>
            <a:lvl3pPr>
              <a:defRPr sz="20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Insert description</a:t>
            </a:r>
          </a:p>
        </p:txBody>
      </p:sp>
      <p:sp>
        <p:nvSpPr>
          <p:cNvPr id="10" name="object 3">
            <a:extLst>
              <a:ext uri="{FF2B5EF4-FFF2-40B4-BE49-F238E27FC236}">
                <a16:creationId xmlns:a16="http://schemas.microsoft.com/office/drawing/2014/main" id="{50E20C92-6F67-4552-A2B1-7B61C537C0E1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97738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Keypoints 3.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4EE4770-356C-495C-85AF-6BE534B686ED}"/>
              </a:ext>
            </a:extLst>
          </p:cNvPr>
          <p:cNvSpPr>
            <a:spLocks noGrp="1"/>
          </p:cNvSpPr>
          <p:nvPr>
            <p:ph type="sldNum" sz="quarter" idx="45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Picture Placeholder 10">
            <a:extLst>
              <a:ext uri="{FF2B5EF4-FFF2-40B4-BE49-F238E27FC236}">
                <a16:creationId xmlns:a16="http://schemas.microsoft.com/office/drawing/2014/main" id="{9E8A1F14-DE97-4901-A101-7CF2C02AFD8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2588" y="380998"/>
            <a:ext cx="5225732" cy="5664202"/>
          </a:xfrm>
          <a:custGeom>
            <a:avLst/>
            <a:gdLst>
              <a:gd name="connsiteX0" fmla="*/ 0 w 5302251"/>
              <a:gd name="connsiteY0" fmla="*/ 0 h 6056313"/>
              <a:gd name="connsiteX1" fmla="*/ 5302251 w 5302251"/>
              <a:gd name="connsiteY1" fmla="*/ 0 h 6056313"/>
              <a:gd name="connsiteX2" fmla="*/ 5302251 w 5302251"/>
              <a:gd name="connsiteY2" fmla="*/ 6056313 h 6056313"/>
              <a:gd name="connsiteX3" fmla="*/ 932984 w 5302251"/>
              <a:gd name="connsiteY3" fmla="*/ 6056313 h 6056313"/>
              <a:gd name="connsiteX4" fmla="*/ 0 w 5302251"/>
              <a:gd name="connsiteY4" fmla="*/ 6056313 h 6056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02251" h="6056313">
                <a:moveTo>
                  <a:pt x="0" y="0"/>
                </a:moveTo>
                <a:lnTo>
                  <a:pt x="5302251" y="0"/>
                </a:lnTo>
                <a:lnTo>
                  <a:pt x="5302251" y="6056313"/>
                </a:lnTo>
                <a:lnTo>
                  <a:pt x="932984" y="6056313"/>
                </a:lnTo>
                <a:lnTo>
                  <a:pt x="0" y="60563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0" tIns="0" rIns="720000" bIns="900000" anchor="ctr" anchorCtr="0">
            <a:noAutofit/>
          </a:bodyPr>
          <a:lstStyle>
            <a:lvl1pPr algn="ctr">
              <a:spcBef>
                <a:spcPts val="0"/>
              </a:spcBef>
              <a:defRPr sz="1400" b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18D0C86-4D41-4EC4-889C-9305DB272C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46000" y="968400"/>
            <a:ext cx="4580750" cy="1235723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Insert short heading</a:t>
            </a:r>
          </a:p>
        </p:txBody>
      </p:sp>
      <p:sp>
        <p:nvSpPr>
          <p:cNvPr id="12" name="Subtitle">
            <a:extLst>
              <a:ext uri="{FF2B5EF4-FFF2-40B4-BE49-F238E27FC236}">
                <a16:creationId xmlns:a16="http://schemas.microsoft.com/office/drawing/2014/main" id="{29C47F81-C62F-4527-97FE-689546B1BC5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265715" y="2056699"/>
            <a:ext cx="4550800" cy="772107"/>
          </a:xfrm>
          <a:prstGeom prst="rect">
            <a:avLst/>
          </a:prstGeom>
        </p:spPr>
        <p:txBody>
          <a:bodyPr wrap="square" lIns="0" tIns="216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800">
                <a:solidFill>
                  <a:schemeClr val="tx1"/>
                </a:solidFill>
                <a:latin typeface="Arial Nova Light" panose="020B0304020202020204" pitchFamily="34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18 pt, align box to the baseline of the title</a:t>
            </a:r>
          </a:p>
        </p:txBody>
      </p:sp>
      <p:sp>
        <p:nvSpPr>
          <p:cNvPr id="16" name="Text Placeholder 1">
            <a:extLst>
              <a:ext uri="{FF2B5EF4-FFF2-40B4-BE49-F238E27FC236}">
                <a16:creationId xmlns:a16="http://schemas.microsoft.com/office/drawing/2014/main" id="{6F4CB88F-30B2-41CB-B850-85E297D4B07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54450" y="3646773"/>
            <a:ext cx="2293538" cy="2398427"/>
          </a:xfrm>
          <a:solidFill>
            <a:schemeClr val="tx2">
              <a:lumMod val="20000"/>
              <a:lumOff val="80000"/>
            </a:schemeClr>
          </a:solidFill>
        </p:spPr>
        <p:txBody>
          <a:bodyPr wrap="square" lIns="216000" tIns="540000" rIns="216000" bIns="360000">
            <a:noAutofit/>
          </a:bodyPr>
          <a:lstStyle>
            <a:lvl1pPr algn="ctr">
              <a:spcBef>
                <a:spcPts val="0"/>
              </a:spcBef>
              <a:spcAft>
                <a:spcPts val="900"/>
              </a:spcAft>
              <a:defRPr sz="3600" spc="-100" baseline="0">
                <a:solidFill>
                  <a:schemeClr val="tx1"/>
                </a:solidFill>
              </a:defRPr>
            </a:lvl1pPr>
            <a:lvl2pPr algn="ctr">
              <a:spcBef>
                <a:spcPts val="0"/>
              </a:spcBef>
              <a:defRPr sz="16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8E01D7C5-420A-477D-A9B8-EFD12A2ECE6B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035162" y="3646773"/>
            <a:ext cx="2293538" cy="2398427"/>
          </a:xfrm>
          <a:solidFill>
            <a:schemeClr val="tx2">
              <a:lumMod val="20000"/>
              <a:lumOff val="80000"/>
            </a:schemeClr>
          </a:solidFill>
        </p:spPr>
        <p:txBody>
          <a:bodyPr wrap="square" lIns="216000" tIns="540000" rIns="216000" bIns="360000">
            <a:noAutofit/>
          </a:bodyPr>
          <a:lstStyle>
            <a:lvl1pPr algn="ctr">
              <a:spcBef>
                <a:spcPts val="0"/>
              </a:spcBef>
              <a:spcAft>
                <a:spcPts val="900"/>
              </a:spcAft>
              <a:defRPr sz="3600" spc="-100" baseline="0">
                <a:solidFill>
                  <a:schemeClr val="tx1"/>
                </a:solidFill>
              </a:defRPr>
            </a:lvl1pPr>
            <a:lvl2pPr algn="ctr">
              <a:spcBef>
                <a:spcPts val="0"/>
              </a:spcBef>
              <a:defRPr sz="16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3618F5C1-6661-44AB-813F-9E14D7F3DAA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515874" y="3646773"/>
            <a:ext cx="2293538" cy="2398427"/>
          </a:xfrm>
          <a:solidFill>
            <a:schemeClr val="tx2">
              <a:lumMod val="20000"/>
              <a:lumOff val="80000"/>
            </a:schemeClr>
          </a:solidFill>
        </p:spPr>
        <p:txBody>
          <a:bodyPr wrap="square" lIns="216000" tIns="540000" rIns="216000" bIns="360000">
            <a:noAutofit/>
          </a:bodyPr>
          <a:lstStyle>
            <a:lvl1pPr algn="ctr">
              <a:spcBef>
                <a:spcPts val="0"/>
              </a:spcBef>
              <a:spcAft>
                <a:spcPts val="900"/>
              </a:spcAft>
              <a:defRPr sz="3600" spc="-100" baseline="0">
                <a:solidFill>
                  <a:schemeClr val="tx1"/>
                </a:solidFill>
              </a:defRPr>
            </a:lvl1pPr>
            <a:lvl2pPr algn="ctr">
              <a:spcBef>
                <a:spcPts val="0"/>
              </a:spcBef>
              <a:defRPr sz="1600">
                <a:solidFill>
                  <a:schemeClr val="tx1"/>
                </a:solidFill>
              </a:defRPr>
            </a:lvl2pPr>
            <a:lvl3pPr>
              <a:defRPr sz="20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object 3">
            <a:extLst>
              <a:ext uri="{FF2B5EF4-FFF2-40B4-BE49-F238E27FC236}">
                <a16:creationId xmlns:a16="http://schemas.microsoft.com/office/drawing/2014/main" id="{ACD6435C-D35D-4B32-A688-81230001EB97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60970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– (6) Dark Purple BG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F61DA7F-EC1D-415C-8A25-1CF5DBF4CF5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fld id="{FC1BBE33-A891-48E8-970C-4A8D55F96D53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0F80826-A7D7-4F3F-ACE9-2F388BD096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66729" y="858567"/>
            <a:ext cx="4103886" cy="777600"/>
          </a:xfrm>
        </p:spPr>
        <p:txBody>
          <a:bodyPr/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ontents</a:t>
            </a:r>
          </a:p>
        </p:txBody>
      </p:sp>
      <p:sp>
        <p:nvSpPr>
          <p:cNvPr id="14" name="Number 1">
            <a:extLst>
              <a:ext uri="{FF2B5EF4-FFF2-40B4-BE49-F238E27FC236}">
                <a16:creationId xmlns:a16="http://schemas.microsoft.com/office/drawing/2014/main" id="{ED44F01A-DC9C-41DC-BE25-87CADD81393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43453" y="863193"/>
            <a:ext cx="730969" cy="738664"/>
          </a:xfrm>
          <a:prstGeom prst="rect">
            <a:avLst/>
          </a:prstGeom>
        </p:spPr>
        <p:txBody>
          <a:bodyPr wrap="none" anchor="b">
            <a:spAutoFit/>
          </a:bodyPr>
          <a:lstStyle>
            <a:lvl1pPr>
              <a:defRPr sz="4800" b="0">
                <a:solidFill>
                  <a:schemeClr val="bg1"/>
                </a:solidFill>
                <a:latin typeface="Arial Rounded MT Bold" panose="020F070403050403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5pPr>
          </a:lstStyle>
          <a:p>
            <a:pPr lvl="0"/>
            <a:r>
              <a:rPr lang="en-GB" noProof="0"/>
              <a:t>01</a:t>
            </a:r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CB11F205-13C3-4779-91F0-20803C855F1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69371" y="1675163"/>
            <a:ext cx="2304363" cy="684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600" b="0">
                <a:solidFill>
                  <a:schemeClr val="bg1"/>
                </a:solidFill>
                <a:latin typeface="Arial Nova" panose="020B0504020202020204" pitchFamily="34" charset="0"/>
              </a:defRPr>
            </a:lvl1pPr>
            <a:lvl2pPr marL="0" indent="0">
              <a:buNone/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Insert item 16pt minimum 14pt maximum 3 lines</a:t>
            </a:r>
          </a:p>
        </p:txBody>
      </p:sp>
      <p:sp>
        <p:nvSpPr>
          <p:cNvPr id="16" name="Number 2">
            <a:extLst>
              <a:ext uri="{FF2B5EF4-FFF2-40B4-BE49-F238E27FC236}">
                <a16:creationId xmlns:a16="http://schemas.microsoft.com/office/drawing/2014/main" id="{B68F41FC-2B8A-4DC8-AA13-3C8BBC0CCB2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43453" y="2704776"/>
            <a:ext cx="730969" cy="738664"/>
          </a:xfrm>
          <a:prstGeom prst="rect">
            <a:avLst/>
          </a:prstGeom>
        </p:spPr>
        <p:txBody>
          <a:bodyPr wrap="none" anchor="b">
            <a:spAutoFit/>
          </a:bodyPr>
          <a:lstStyle>
            <a:lvl1pPr>
              <a:defRPr sz="4800" b="0">
                <a:solidFill>
                  <a:schemeClr val="bg1"/>
                </a:solidFill>
                <a:latin typeface="Arial Rounded MT Bold" panose="020F070403050403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5pPr>
          </a:lstStyle>
          <a:p>
            <a:pPr lvl="0"/>
            <a:r>
              <a:rPr lang="en-GB" noProof="0"/>
              <a:t>02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16C751D-D776-41EF-800E-3660353B522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69371" y="3496157"/>
            <a:ext cx="2304363" cy="684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600" b="0">
                <a:solidFill>
                  <a:schemeClr val="bg1"/>
                </a:solidFill>
                <a:latin typeface="Arial Nova" panose="020B0504020202020204" pitchFamily="34" charset="0"/>
              </a:defRPr>
            </a:lvl1pPr>
            <a:lvl2pPr marL="0" indent="0">
              <a:buNone/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Insert item 16pt minimum 14pt maximum 3 lines</a:t>
            </a:r>
          </a:p>
        </p:txBody>
      </p:sp>
      <p:sp>
        <p:nvSpPr>
          <p:cNvPr id="18" name="Number 3">
            <a:extLst>
              <a:ext uri="{FF2B5EF4-FFF2-40B4-BE49-F238E27FC236}">
                <a16:creationId xmlns:a16="http://schemas.microsoft.com/office/drawing/2014/main" id="{57A626DF-4E32-433B-A935-495018D8892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43453" y="4550661"/>
            <a:ext cx="730969" cy="738664"/>
          </a:xfrm>
          <a:prstGeom prst="rect">
            <a:avLst/>
          </a:prstGeom>
        </p:spPr>
        <p:txBody>
          <a:bodyPr wrap="none" anchor="b">
            <a:spAutoFit/>
          </a:bodyPr>
          <a:lstStyle>
            <a:lvl1pPr>
              <a:defRPr sz="4800" b="0">
                <a:solidFill>
                  <a:schemeClr val="bg1"/>
                </a:solidFill>
                <a:latin typeface="Arial Rounded MT Bold" panose="020F070403050403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5pPr>
          </a:lstStyle>
          <a:p>
            <a:pPr lvl="0"/>
            <a:r>
              <a:rPr lang="en-GB" noProof="0"/>
              <a:t>03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198E063C-466C-4886-8018-B5877658FBC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69371" y="5352337"/>
            <a:ext cx="2304363" cy="684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600" b="0">
                <a:solidFill>
                  <a:schemeClr val="bg1"/>
                </a:solidFill>
                <a:latin typeface="Arial Nova" panose="020B0504020202020204" pitchFamily="34" charset="0"/>
              </a:defRPr>
            </a:lvl1pPr>
            <a:lvl2pPr marL="0" indent="0">
              <a:buNone/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Insert item 16pt minimum 14pt maximum 3 lines</a:t>
            </a:r>
          </a:p>
        </p:txBody>
      </p:sp>
      <p:sp>
        <p:nvSpPr>
          <p:cNvPr id="13" name="Number 4">
            <a:extLst>
              <a:ext uri="{FF2B5EF4-FFF2-40B4-BE49-F238E27FC236}">
                <a16:creationId xmlns:a16="http://schemas.microsoft.com/office/drawing/2014/main" id="{4C6B6E96-A460-4F5A-B164-6F525C17CAA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98456" y="863193"/>
            <a:ext cx="730969" cy="738664"/>
          </a:xfrm>
          <a:prstGeom prst="rect">
            <a:avLst/>
          </a:prstGeom>
        </p:spPr>
        <p:txBody>
          <a:bodyPr wrap="none" anchor="b">
            <a:spAutoFit/>
          </a:bodyPr>
          <a:lstStyle>
            <a:lvl1pPr>
              <a:defRPr sz="4800" b="0">
                <a:solidFill>
                  <a:schemeClr val="bg1"/>
                </a:solidFill>
                <a:latin typeface="Arial Rounded MT Bold" panose="020F070403050403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5pPr>
          </a:lstStyle>
          <a:p>
            <a:pPr lvl="0"/>
            <a:r>
              <a:rPr lang="en-GB" noProof="0"/>
              <a:t>04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0000D618-EA83-49DF-8A81-D181D8F3294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24374" y="1675163"/>
            <a:ext cx="2304363" cy="684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600" b="0">
                <a:solidFill>
                  <a:schemeClr val="bg1"/>
                </a:solidFill>
                <a:latin typeface="Arial Nova" panose="020B0504020202020204" pitchFamily="34" charset="0"/>
              </a:defRPr>
            </a:lvl1pPr>
            <a:lvl2pPr marL="0" indent="0">
              <a:buNone/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Insert item 16pt minimum 14pt maximum 3 lines</a:t>
            </a:r>
          </a:p>
        </p:txBody>
      </p:sp>
      <p:sp>
        <p:nvSpPr>
          <p:cNvPr id="15" name="Number 5">
            <a:extLst>
              <a:ext uri="{FF2B5EF4-FFF2-40B4-BE49-F238E27FC236}">
                <a16:creationId xmlns:a16="http://schemas.microsoft.com/office/drawing/2014/main" id="{B7321C86-9CEC-441F-BD03-F6EE5DC63A3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198456" y="2704776"/>
            <a:ext cx="730969" cy="738664"/>
          </a:xfrm>
          <a:prstGeom prst="rect">
            <a:avLst/>
          </a:prstGeom>
        </p:spPr>
        <p:txBody>
          <a:bodyPr wrap="none" anchor="b">
            <a:spAutoFit/>
          </a:bodyPr>
          <a:lstStyle>
            <a:lvl1pPr>
              <a:defRPr sz="4800" b="0">
                <a:solidFill>
                  <a:schemeClr val="bg1"/>
                </a:solidFill>
                <a:latin typeface="Arial Rounded MT Bold" panose="020F070403050403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5pPr>
          </a:lstStyle>
          <a:p>
            <a:pPr lvl="0"/>
            <a:r>
              <a:rPr lang="en-GB" noProof="0"/>
              <a:t>05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F8612C15-79D9-4AA2-B185-2600A8843F1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224374" y="3496157"/>
            <a:ext cx="2304363" cy="684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600" b="0">
                <a:solidFill>
                  <a:schemeClr val="bg1"/>
                </a:solidFill>
                <a:latin typeface="Arial Nova" panose="020B0504020202020204" pitchFamily="34" charset="0"/>
              </a:defRPr>
            </a:lvl1pPr>
            <a:lvl2pPr marL="0" indent="0">
              <a:buNone/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Insert item 16pt minimum 14pt maximum 3 lines</a:t>
            </a:r>
          </a:p>
        </p:txBody>
      </p:sp>
      <p:sp>
        <p:nvSpPr>
          <p:cNvPr id="17" name="Number 6">
            <a:extLst>
              <a:ext uri="{FF2B5EF4-FFF2-40B4-BE49-F238E27FC236}">
                <a16:creationId xmlns:a16="http://schemas.microsoft.com/office/drawing/2014/main" id="{E22694AF-E6BC-4FD6-84A2-7234BC6148C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198456" y="4550661"/>
            <a:ext cx="730969" cy="738664"/>
          </a:xfrm>
          <a:prstGeom prst="rect">
            <a:avLst/>
          </a:prstGeom>
        </p:spPr>
        <p:txBody>
          <a:bodyPr wrap="none" anchor="b">
            <a:spAutoFit/>
          </a:bodyPr>
          <a:lstStyle>
            <a:lvl1pPr>
              <a:defRPr sz="4800" b="0">
                <a:solidFill>
                  <a:schemeClr val="bg1"/>
                </a:solidFill>
                <a:latin typeface="Arial Rounded MT Bold" panose="020F070403050403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 Black" panose="020B0A04020102020204" pitchFamily="34" charset="0"/>
              </a:defRPr>
            </a:lvl5pPr>
          </a:lstStyle>
          <a:p>
            <a:pPr lvl="0"/>
            <a:r>
              <a:rPr lang="en-GB" noProof="0"/>
              <a:t>06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7BABCE85-56EC-4D87-BAE8-9C84974D732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224374" y="5352337"/>
            <a:ext cx="2304363" cy="684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600" b="0">
                <a:solidFill>
                  <a:schemeClr val="bg1"/>
                </a:solidFill>
                <a:latin typeface="Arial Nova" panose="020B0504020202020204" pitchFamily="34" charset="0"/>
              </a:defRPr>
            </a:lvl1pPr>
            <a:lvl2pPr marL="0" indent="0">
              <a:buNone/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Insert item 16pt minimum 14pt maximum 3 lines</a:t>
            </a:r>
          </a:p>
        </p:txBody>
      </p:sp>
      <p:sp>
        <p:nvSpPr>
          <p:cNvPr id="19" name="object 3">
            <a:extLst>
              <a:ext uri="{FF2B5EF4-FFF2-40B4-BE49-F238E27FC236}">
                <a16:creationId xmlns:a16="http://schemas.microsoft.com/office/drawing/2014/main" id="{8ED0BBB4-5552-46EE-9716-B29FBFB35A25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D6434D2D-9FC0-43BF-A4FC-469B450B008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39084" y="6432376"/>
            <a:ext cx="1311547" cy="228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3869983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Keypoints 3.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B3FF11B-6FC9-4423-BE4A-8DAE25D6A124}"/>
              </a:ext>
            </a:extLst>
          </p:cNvPr>
          <p:cNvSpPr>
            <a:spLocks noGrp="1"/>
          </p:cNvSpPr>
          <p:nvPr>
            <p:ph type="sldNum" sz="quarter" idx="45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7F50FD2-A261-478F-A1BA-755C2FD509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6799" y="968400"/>
            <a:ext cx="4352275" cy="1218795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Insert short headline</a:t>
            </a:r>
          </a:p>
        </p:txBody>
      </p:sp>
      <p:sp>
        <p:nvSpPr>
          <p:cNvPr id="12" name="Subtitle">
            <a:extLst>
              <a:ext uri="{FF2B5EF4-FFF2-40B4-BE49-F238E27FC236}">
                <a16:creationId xmlns:a16="http://schemas.microsoft.com/office/drawing/2014/main" id="{29C47F81-C62F-4527-97FE-689546B1BC5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66932" y="2052365"/>
            <a:ext cx="4323475" cy="772107"/>
          </a:xfrm>
          <a:prstGeom prst="rect">
            <a:avLst/>
          </a:prstGeom>
        </p:spPr>
        <p:txBody>
          <a:bodyPr wrap="square" lIns="0" tIns="216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lang="en-US" sz="1800" kern="1200" dirty="0">
                <a:solidFill>
                  <a:schemeClr val="tx1"/>
                </a:solidFill>
                <a:latin typeface="Arial Nova Light" panose="020B03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18 pt, align box to the baseline of the title</a:t>
            </a:r>
          </a:p>
        </p:txBody>
      </p:sp>
      <p:sp>
        <p:nvSpPr>
          <p:cNvPr id="17" name="Picture Placeholder 10">
            <a:extLst>
              <a:ext uri="{FF2B5EF4-FFF2-40B4-BE49-F238E27FC236}">
                <a16:creationId xmlns:a16="http://schemas.microsoft.com/office/drawing/2014/main" id="{9E8A1F14-DE97-4901-A101-7CF2C02AFD8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550923" y="380998"/>
            <a:ext cx="5258486" cy="5664202"/>
          </a:xfrm>
          <a:custGeom>
            <a:avLst/>
            <a:gdLst>
              <a:gd name="connsiteX0" fmla="*/ 0 w 5302251"/>
              <a:gd name="connsiteY0" fmla="*/ 0 h 6056313"/>
              <a:gd name="connsiteX1" fmla="*/ 5302251 w 5302251"/>
              <a:gd name="connsiteY1" fmla="*/ 0 h 6056313"/>
              <a:gd name="connsiteX2" fmla="*/ 5302251 w 5302251"/>
              <a:gd name="connsiteY2" fmla="*/ 6056313 h 6056313"/>
              <a:gd name="connsiteX3" fmla="*/ 932984 w 5302251"/>
              <a:gd name="connsiteY3" fmla="*/ 6056313 h 6056313"/>
              <a:gd name="connsiteX4" fmla="*/ 0 w 5302251"/>
              <a:gd name="connsiteY4" fmla="*/ 6056313 h 6056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02251" h="6056313">
                <a:moveTo>
                  <a:pt x="0" y="0"/>
                </a:moveTo>
                <a:lnTo>
                  <a:pt x="5302251" y="0"/>
                </a:lnTo>
                <a:lnTo>
                  <a:pt x="5302251" y="6056313"/>
                </a:lnTo>
                <a:lnTo>
                  <a:pt x="932984" y="6056313"/>
                </a:lnTo>
                <a:lnTo>
                  <a:pt x="0" y="60563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0" tIns="0" rIns="720000" bIns="900000" anchor="ctr" anchorCtr="0">
            <a:noAutofit/>
          </a:bodyPr>
          <a:lstStyle>
            <a:lvl1pPr algn="ctr">
              <a:spcBef>
                <a:spcPts val="0"/>
              </a:spcBef>
              <a:defRPr sz="1400" b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</a:t>
            </a:r>
          </a:p>
        </p:txBody>
      </p:sp>
      <p:sp>
        <p:nvSpPr>
          <p:cNvPr id="16" name="Text Placeholder 1">
            <a:extLst>
              <a:ext uri="{FF2B5EF4-FFF2-40B4-BE49-F238E27FC236}">
                <a16:creationId xmlns:a16="http://schemas.microsoft.com/office/drawing/2014/main" id="{6F4CB88F-30B2-41CB-B850-85E297D4B07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96863" y="3646773"/>
            <a:ext cx="2293538" cy="2398427"/>
          </a:xfrm>
          <a:solidFill>
            <a:schemeClr val="accent1"/>
          </a:solidFill>
        </p:spPr>
        <p:txBody>
          <a:bodyPr wrap="square" lIns="216000" tIns="540000" rIns="216000" bIns="360000">
            <a:noAutofit/>
          </a:bodyPr>
          <a:lstStyle>
            <a:lvl1pPr algn="ctr">
              <a:spcBef>
                <a:spcPts val="0"/>
              </a:spcBef>
              <a:spcAft>
                <a:spcPts val="900"/>
              </a:spcAft>
              <a:defRPr sz="3600" spc="-100" baseline="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defRPr sz="1600">
                <a:solidFill>
                  <a:schemeClr val="bg1"/>
                </a:solidFill>
              </a:defRPr>
            </a:lvl2pPr>
            <a:lvl3pPr>
              <a:defRPr sz="20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8E01D7C5-420A-477D-A9B8-EFD12A2ECE6B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477575" y="3646773"/>
            <a:ext cx="2293538" cy="2398427"/>
          </a:xfrm>
          <a:solidFill>
            <a:schemeClr val="accent2"/>
          </a:solidFill>
        </p:spPr>
        <p:txBody>
          <a:bodyPr wrap="square" lIns="216000" tIns="540000" rIns="216000" bIns="360000">
            <a:noAutofit/>
          </a:bodyPr>
          <a:lstStyle>
            <a:lvl1pPr algn="ctr">
              <a:spcBef>
                <a:spcPts val="0"/>
              </a:spcBef>
              <a:spcAft>
                <a:spcPts val="900"/>
              </a:spcAft>
              <a:defRPr sz="3600" spc="-100" baseline="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defRPr sz="1600">
                <a:solidFill>
                  <a:schemeClr val="bg1"/>
                </a:solidFill>
              </a:defRPr>
            </a:lvl2pPr>
            <a:lvl3pPr>
              <a:defRPr sz="20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3618F5C1-6661-44AB-813F-9E14D7F3DAA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5958287" y="3646773"/>
            <a:ext cx="2293538" cy="2398427"/>
          </a:xfrm>
          <a:solidFill>
            <a:schemeClr val="accent3"/>
          </a:solidFill>
        </p:spPr>
        <p:txBody>
          <a:bodyPr wrap="square" lIns="216000" tIns="540000" rIns="216000" bIns="360000">
            <a:noAutofit/>
          </a:bodyPr>
          <a:lstStyle>
            <a:lvl1pPr algn="ctr">
              <a:spcBef>
                <a:spcPts val="0"/>
              </a:spcBef>
              <a:spcAft>
                <a:spcPts val="900"/>
              </a:spcAft>
              <a:defRPr sz="3600" spc="-100" baseline="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defRPr sz="1600">
                <a:solidFill>
                  <a:schemeClr val="bg1"/>
                </a:solidFill>
              </a:defRPr>
            </a:lvl2pPr>
            <a:lvl3pPr>
              <a:defRPr sz="20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object 3">
            <a:extLst>
              <a:ext uri="{FF2B5EF4-FFF2-40B4-BE49-F238E27FC236}">
                <a16:creationId xmlns:a16="http://schemas.microsoft.com/office/drawing/2014/main" id="{6AF96C06-F882-40AA-80B5-8CA84F0AF92E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08124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keypoints – Coloured boxes">
    <p:bg>
      <p:bgPr>
        <a:solidFill>
          <a:schemeClr val="bg2">
            <a:alpha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ray Rectangle">
            <a:extLst>
              <a:ext uri="{FF2B5EF4-FFF2-40B4-BE49-F238E27FC236}">
                <a16:creationId xmlns:a16="http://schemas.microsoft.com/office/drawing/2014/main" id="{33E93F7C-EB71-4525-B706-B14348BFA01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" y="0"/>
            <a:ext cx="12192000" cy="31850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icture Placeholder">
            <a:extLst>
              <a:ext uri="{FF2B5EF4-FFF2-40B4-BE49-F238E27FC236}">
                <a16:creationId xmlns:a16="http://schemas.microsoft.com/office/drawing/2014/main" id="{548BD682-9BEE-4E9B-858B-207C0FCA644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89751" y="0"/>
            <a:ext cx="5302250" cy="3185048"/>
          </a:xfrm>
          <a:custGeom>
            <a:avLst/>
            <a:gdLst>
              <a:gd name="connsiteX0" fmla="*/ 0 w 12192000"/>
              <a:gd name="connsiteY0" fmla="*/ 0 h 6042025"/>
              <a:gd name="connsiteX1" fmla="*/ 12192000 w 12192000"/>
              <a:gd name="connsiteY1" fmla="*/ 0 h 6042025"/>
              <a:gd name="connsiteX2" fmla="*/ 12192000 w 12192000"/>
              <a:gd name="connsiteY2" fmla="*/ 2719985 h 6042025"/>
              <a:gd name="connsiteX3" fmla="*/ 12192000 w 12192000"/>
              <a:gd name="connsiteY3" fmla="*/ 4097867 h 6042025"/>
              <a:gd name="connsiteX4" fmla="*/ 12192000 w 12192000"/>
              <a:gd name="connsiteY4" fmla="*/ 6042025 h 6042025"/>
              <a:gd name="connsiteX5" fmla="*/ 6096000 w 12192000"/>
              <a:gd name="connsiteY5" fmla="*/ 6042025 h 6042025"/>
              <a:gd name="connsiteX6" fmla="*/ 3677175 w 12192000"/>
              <a:gd name="connsiteY6" fmla="*/ 6042025 h 6042025"/>
              <a:gd name="connsiteX7" fmla="*/ 0 w 12192000"/>
              <a:gd name="connsiteY7" fmla="*/ 6042025 h 6042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042025">
                <a:moveTo>
                  <a:pt x="0" y="0"/>
                </a:moveTo>
                <a:lnTo>
                  <a:pt x="12192000" y="0"/>
                </a:lnTo>
                <a:lnTo>
                  <a:pt x="12192000" y="2719985"/>
                </a:lnTo>
                <a:lnTo>
                  <a:pt x="12192000" y="4097867"/>
                </a:lnTo>
                <a:lnTo>
                  <a:pt x="12192000" y="6042025"/>
                </a:lnTo>
                <a:lnTo>
                  <a:pt x="6096000" y="6042025"/>
                </a:lnTo>
                <a:lnTo>
                  <a:pt x="3677175" y="6042025"/>
                </a:lnTo>
                <a:lnTo>
                  <a:pt x="0" y="604202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1080000" anchor="ctr">
            <a:noAutofit/>
          </a:bodyPr>
          <a:lstStyle>
            <a:lvl1pPr algn="ctr">
              <a:defRPr sz="1600">
                <a:latin typeface="+mn-lt"/>
              </a:defRPr>
            </a:lvl1pPr>
          </a:lstStyle>
          <a:p>
            <a:pPr lvl="0">
              <a:spcBef>
                <a:spcPts val="0"/>
              </a:spcBef>
            </a:pPr>
            <a:r>
              <a:rPr lang="en-CA"/>
              <a:t>Click on the icon or drag image </a:t>
            </a:r>
            <a:br>
              <a:rPr lang="en-CA"/>
            </a:br>
            <a:r>
              <a:rPr lang="en-CA"/>
              <a:t>to insert an image 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77858F-BEE2-4253-AA3B-243147EF468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alpha val="65000"/>
                  </a:schemeClr>
                </a:solidFill>
              </a:defRPr>
            </a:lvl1pPr>
          </a:lstStyle>
          <a:p>
            <a:fld id="{7F8EB60C-7CC2-49F0-B2EE-C81F067DE04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86D72CE8-2096-401A-8F33-896196EDD9D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60000" y="1124467"/>
            <a:ext cx="5924913" cy="844810"/>
          </a:xfrm>
          <a:prstGeom prst="rect">
            <a:avLst/>
          </a:prstGeom>
        </p:spPr>
        <p:txBody>
          <a:bodyPr wrap="square" lIns="0" tIns="288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lang="en-US" sz="1800" kern="1200" dirty="0">
                <a:solidFill>
                  <a:schemeClr val="tx1"/>
                </a:solidFill>
                <a:latin typeface="Arial Nova Light" panose="020B03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18 pt, align box to the baseline of the titl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4A91DF20-8916-4706-B993-984BE2F1C5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8400" y="637200"/>
            <a:ext cx="5945692" cy="609398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Insert short headlin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469E896-18D5-4F0C-B489-63D7E5BBD87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333750" y="3620492"/>
            <a:ext cx="2664000" cy="2418763"/>
          </a:xfrm>
          <a:solidFill>
            <a:schemeClr val="accent1"/>
          </a:solidFill>
        </p:spPr>
        <p:txBody>
          <a:bodyPr lIns="288000" tIns="216000" rIns="216000" bIns="216000"/>
          <a:lstStyle>
            <a:lvl1pPr>
              <a:spcAft>
                <a:spcPts val="600"/>
              </a:spcAft>
              <a:defRPr sz="18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subhead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6F7F064C-B5F0-4964-BABE-C748F857184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39581" y="3620492"/>
            <a:ext cx="2664000" cy="2418763"/>
          </a:xfrm>
          <a:solidFill>
            <a:schemeClr val="accent2"/>
          </a:solidFill>
        </p:spPr>
        <p:txBody>
          <a:bodyPr lIns="288000" tIns="216000" rIns="216000" bIns="216000"/>
          <a:lstStyle>
            <a:lvl1pPr>
              <a:spcAft>
                <a:spcPts val="600"/>
              </a:spcAft>
              <a:defRPr sz="18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subhead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C9EAEEF7-EB01-4A93-BAB6-6384465915C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145413" y="3620492"/>
            <a:ext cx="2664000" cy="2418763"/>
          </a:xfrm>
          <a:solidFill>
            <a:schemeClr val="accent3"/>
          </a:solidFill>
        </p:spPr>
        <p:txBody>
          <a:bodyPr lIns="288000" tIns="216000" rIns="216000" bIns="216000"/>
          <a:lstStyle>
            <a:lvl1pPr>
              <a:spcAft>
                <a:spcPts val="600"/>
              </a:spcAft>
              <a:defRPr sz="18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subhead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E82AEA5E-BB6F-4953-AF10-776888ABE165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81000" y="3620492"/>
            <a:ext cx="2573338" cy="2419401"/>
          </a:xfrm>
        </p:spPr>
        <p:txBody>
          <a:bodyPr/>
          <a:lstStyle>
            <a:lvl1pPr>
              <a:spcAft>
                <a:spcPts val="0"/>
              </a:spcAft>
              <a:defRPr sz="180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Insert subheading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object 3">
            <a:extLst>
              <a:ext uri="{FF2B5EF4-FFF2-40B4-BE49-F238E27FC236}">
                <a16:creationId xmlns:a16="http://schemas.microsoft.com/office/drawing/2014/main" id="{88C74198-E9E2-4CA2-8349-2909E7B38FA9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9110759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Keypoints 3.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439A4C0-DCA9-4AA0-B014-2C1CF255E757}"/>
              </a:ext>
            </a:extLst>
          </p:cNvPr>
          <p:cNvSpPr>
            <a:spLocks noGrp="1"/>
          </p:cNvSpPr>
          <p:nvPr>
            <p:ph type="sldNum" sz="quarter" idx="43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Gray Rectangle">
            <a:extLst>
              <a:ext uri="{FF2B5EF4-FFF2-40B4-BE49-F238E27FC236}">
                <a16:creationId xmlns:a16="http://schemas.microsoft.com/office/drawing/2014/main" id="{088C38D8-C195-4F4A-9AD9-7825090A4D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5907088" cy="60451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FD92366-BFC6-42B1-96B2-942558B31A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4000" y="1242000"/>
            <a:ext cx="4348675" cy="1235723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Insert short heading</a:t>
            </a:r>
          </a:p>
        </p:txBody>
      </p:sp>
      <p:sp>
        <p:nvSpPr>
          <p:cNvPr id="42" name="Subtitle">
            <a:extLst>
              <a:ext uri="{FF2B5EF4-FFF2-40B4-BE49-F238E27FC236}">
                <a16:creationId xmlns:a16="http://schemas.microsoft.com/office/drawing/2014/main" id="{CF4107E0-F85D-4A92-990E-C9906D31DA8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67990" y="2326966"/>
            <a:ext cx="4318083" cy="772107"/>
          </a:xfrm>
          <a:prstGeom prst="rect">
            <a:avLst/>
          </a:prstGeom>
        </p:spPr>
        <p:txBody>
          <a:bodyPr wrap="square" lIns="0" tIns="216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lang="en-US" sz="1800" kern="1200" dirty="0">
                <a:solidFill>
                  <a:schemeClr val="tx1"/>
                </a:solidFill>
                <a:latin typeface="Arial Nova Light" panose="020B03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18 pt, align box to the baseline of the title</a:t>
            </a:r>
          </a:p>
        </p:txBody>
      </p:sp>
      <p:sp>
        <p:nvSpPr>
          <p:cNvPr id="40" name="Intro">
            <a:extLst>
              <a:ext uri="{FF2B5EF4-FFF2-40B4-BE49-F238E27FC236}">
                <a16:creationId xmlns:a16="http://schemas.microsoft.com/office/drawing/2014/main" id="{2E19E323-10AD-4643-A829-6B25A54B790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75600" y="3699840"/>
            <a:ext cx="4323475" cy="1710360"/>
          </a:xfrm>
        </p:spPr>
        <p:txBody>
          <a:bodyPr tIns="0"/>
          <a:lstStyle>
            <a:lvl1pPr>
              <a:defRPr sz="2000">
                <a:solidFill>
                  <a:schemeClr val="tx1"/>
                </a:solidFill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4" name="Text Placeholder 1">
            <a:extLst>
              <a:ext uri="{FF2B5EF4-FFF2-40B4-BE49-F238E27FC236}">
                <a16:creationId xmlns:a16="http://schemas.microsoft.com/office/drawing/2014/main" id="{F4F22FB1-4DF6-42D5-B610-FC9BBED623E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92216" y="561718"/>
            <a:ext cx="2188210" cy="1413386"/>
          </a:xfrm>
        </p:spPr>
        <p:txBody>
          <a:bodyPr/>
          <a:lstStyle>
            <a:lvl1pPr>
              <a:spcBef>
                <a:spcPts val="0"/>
              </a:spcBef>
              <a:defRPr sz="3600" spc="-100" baseline="0">
                <a:solidFill>
                  <a:schemeClr val="accent2"/>
                </a:solidFill>
              </a:defRPr>
            </a:lvl1pPr>
            <a:lvl2pPr>
              <a:spcBef>
                <a:spcPts val="300"/>
              </a:spcBef>
              <a:spcAft>
                <a:spcPts val="0"/>
              </a:spcAft>
              <a:defRPr sz="1800">
                <a:latin typeface="+mj-lt"/>
              </a:defRPr>
            </a:lvl2pPr>
            <a:lvl3pPr marL="0" indent="0">
              <a:spcBef>
                <a:spcPts val="600"/>
              </a:spcBef>
              <a:buNone/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60495C1B-A5D1-4405-8819-1AEC43EA715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292216" y="2508908"/>
            <a:ext cx="2188210" cy="1413386"/>
          </a:xfrm>
        </p:spPr>
        <p:txBody>
          <a:bodyPr/>
          <a:lstStyle>
            <a:lvl1pPr>
              <a:spcBef>
                <a:spcPts val="0"/>
              </a:spcBef>
              <a:defRPr sz="3600" spc="-100" baseline="0">
                <a:solidFill>
                  <a:schemeClr val="accent2"/>
                </a:solidFill>
              </a:defRPr>
            </a:lvl1pPr>
            <a:lvl2pPr>
              <a:spcBef>
                <a:spcPts val="300"/>
              </a:spcBef>
              <a:spcAft>
                <a:spcPts val="0"/>
              </a:spcAft>
              <a:defRPr sz="1800">
                <a:latin typeface="+mj-lt"/>
              </a:defRPr>
            </a:lvl2pPr>
            <a:lvl3pPr marL="0" indent="0">
              <a:spcBef>
                <a:spcPts val="600"/>
              </a:spcBef>
              <a:buNone/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6DAAD467-8106-45B7-AD91-0CB71ED57AC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292216" y="4456097"/>
            <a:ext cx="2188210" cy="1413386"/>
          </a:xfrm>
        </p:spPr>
        <p:txBody>
          <a:bodyPr/>
          <a:lstStyle>
            <a:lvl1pPr>
              <a:spcBef>
                <a:spcPts val="0"/>
              </a:spcBef>
              <a:defRPr sz="3600" spc="-100" baseline="0">
                <a:solidFill>
                  <a:schemeClr val="accent2"/>
                </a:solidFill>
              </a:defRPr>
            </a:lvl1pPr>
            <a:lvl2pPr>
              <a:spcBef>
                <a:spcPts val="300"/>
              </a:spcBef>
              <a:spcAft>
                <a:spcPts val="0"/>
              </a:spcAft>
              <a:defRPr sz="1800">
                <a:latin typeface="+mj-lt"/>
              </a:defRPr>
            </a:lvl2pPr>
            <a:lvl3pPr marL="0" indent="0">
              <a:spcBef>
                <a:spcPts val="600"/>
              </a:spcBef>
              <a:buNone/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8" name="Picture Placeholder 10">
            <a:extLst>
              <a:ext uri="{FF2B5EF4-FFF2-40B4-BE49-F238E27FC236}">
                <a16:creationId xmlns:a16="http://schemas.microsoft.com/office/drawing/2014/main" id="{8BCDEAEF-7DEA-4B4D-A726-99858982985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865554" y="-1"/>
            <a:ext cx="3326446" cy="6045199"/>
          </a:xfrm>
          <a:custGeom>
            <a:avLst/>
            <a:gdLst>
              <a:gd name="connsiteX0" fmla="*/ 0 w 5302251"/>
              <a:gd name="connsiteY0" fmla="*/ 0 h 6056313"/>
              <a:gd name="connsiteX1" fmla="*/ 5302251 w 5302251"/>
              <a:gd name="connsiteY1" fmla="*/ 0 h 6056313"/>
              <a:gd name="connsiteX2" fmla="*/ 5302251 w 5302251"/>
              <a:gd name="connsiteY2" fmla="*/ 6056313 h 6056313"/>
              <a:gd name="connsiteX3" fmla="*/ 932984 w 5302251"/>
              <a:gd name="connsiteY3" fmla="*/ 6056313 h 6056313"/>
              <a:gd name="connsiteX4" fmla="*/ 0 w 5302251"/>
              <a:gd name="connsiteY4" fmla="*/ 6056313 h 6056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02251" h="6056313">
                <a:moveTo>
                  <a:pt x="0" y="0"/>
                </a:moveTo>
                <a:lnTo>
                  <a:pt x="5302251" y="0"/>
                </a:lnTo>
                <a:lnTo>
                  <a:pt x="5302251" y="6056313"/>
                </a:lnTo>
                <a:lnTo>
                  <a:pt x="932984" y="6056313"/>
                </a:lnTo>
                <a:lnTo>
                  <a:pt x="0" y="60563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0" tIns="0" rIns="720000" bIns="900000" anchor="ctr" anchorCtr="0">
            <a:noAutofit/>
          </a:bodyPr>
          <a:lstStyle>
            <a:lvl1pPr algn="ctr">
              <a:spcBef>
                <a:spcPts val="0"/>
              </a:spcBef>
              <a:defRPr sz="1400" b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</a:t>
            </a:r>
          </a:p>
        </p:txBody>
      </p:sp>
      <p:sp>
        <p:nvSpPr>
          <p:cNvPr id="11" name="object 3">
            <a:extLst>
              <a:ext uri="{FF2B5EF4-FFF2-40B4-BE49-F238E27FC236}">
                <a16:creationId xmlns:a16="http://schemas.microsoft.com/office/drawing/2014/main" id="{E3961987-D0FC-4D0F-85C9-5B882347AEE7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111767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Keypoints 3.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7B5C97F-1306-485C-8D2D-2A62B2D6B9B5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C37E6E7-523E-4589-A290-0C5F085F6B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4000" y="1242000"/>
            <a:ext cx="4568390" cy="1235723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Insert short heading</a:t>
            </a:r>
          </a:p>
        </p:txBody>
      </p:sp>
      <p:sp>
        <p:nvSpPr>
          <p:cNvPr id="16" name="Subtitle">
            <a:extLst>
              <a:ext uri="{FF2B5EF4-FFF2-40B4-BE49-F238E27FC236}">
                <a16:creationId xmlns:a16="http://schemas.microsoft.com/office/drawing/2014/main" id="{CBF82C2E-0185-410D-86F4-33D03F05AA1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67990" y="2326966"/>
            <a:ext cx="4550800" cy="772107"/>
          </a:xfrm>
          <a:prstGeom prst="rect">
            <a:avLst/>
          </a:prstGeom>
        </p:spPr>
        <p:txBody>
          <a:bodyPr wrap="square" lIns="0" tIns="216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800">
                <a:solidFill>
                  <a:schemeClr val="tx1"/>
                </a:solidFill>
                <a:latin typeface="Arial Nova Light" panose="020B0304020202020204" pitchFamily="34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18 pt, align box to the baseline of the title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5BBAB69C-4B21-451E-A1B0-FD994C0FDBE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284912" y="0"/>
            <a:ext cx="5907087" cy="3993642"/>
          </a:xfrm>
          <a:custGeom>
            <a:avLst/>
            <a:gdLst>
              <a:gd name="connsiteX0" fmla="*/ 0 w 5302251"/>
              <a:gd name="connsiteY0" fmla="*/ 0 h 6056313"/>
              <a:gd name="connsiteX1" fmla="*/ 5302251 w 5302251"/>
              <a:gd name="connsiteY1" fmla="*/ 0 h 6056313"/>
              <a:gd name="connsiteX2" fmla="*/ 5302251 w 5302251"/>
              <a:gd name="connsiteY2" fmla="*/ 6056313 h 6056313"/>
              <a:gd name="connsiteX3" fmla="*/ 932984 w 5302251"/>
              <a:gd name="connsiteY3" fmla="*/ 6056313 h 6056313"/>
              <a:gd name="connsiteX4" fmla="*/ 0 w 5302251"/>
              <a:gd name="connsiteY4" fmla="*/ 6056313 h 6056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02251" h="6056313">
                <a:moveTo>
                  <a:pt x="0" y="0"/>
                </a:moveTo>
                <a:lnTo>
                  <a:pt x="5302251" y="0"/>
                </a:lnTo>
                <a:lnTo>
                  <a:pt x="5302251" y="6056313"/>
                </a:lnTo>
                <a:lnTo>
                  <a:pt x="932984" y="6056313"/>
                </a:lnTo>
                <a:lnTo>
                  <a:pt x="0" y="60563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0" tIns="0" rIns="720000" bIns="900000" anchor="ctr" anchorCtr="0">
            <a:noAutofit/>
          </a:bodyPr>
          <a:lstStyle>
            <a:lvl1pPr algn="ctr">
              <a:spcBef>
                <a:spcPts val="0"/>
              </a:spcBef>
              <a:defRPr sz="1400" b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</a:t>
            </a:r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67453239-6DE4-4D50-B746-516850BED98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76313" y="4487143"/>
            <a:ext cx="2963862" cy="1558058"/>
          </a:xfrm>
        </p:spPr>
        <p:txBody>
          <a:bodyPr/>
          <a:lstStyle>
            <a:lvl1pPr>
              <a:defRPr sz="2000">
                <a:solidFill>
                  <a:schemeClr val="accent1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Insert subhead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DE99EE0A-0457-4F59-BA0D-48B9EEDBAC50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419601" y="4487143"/>
            <a:ext cx="2963862" cy="1558058"/>
          </a:xfrm>
        </p:spPr>
        <p:txBody>
          <a:bodyPr/>
          <a:lstStyle>
            <a:lvl1pPr>
              <a:defRPr sz="2000">
                <a:solidFill>
                  <a:schemeClr val="accent1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Insert subhead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F4875639-9DEF-4F0D-B860-8406748A594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862888" y="4487143"/>
            <a:ext cx="2963862" cy="1558058"/>
          </a:xfrm>
        </p:spPr>
        <p:txBody>
          <a:bodyPr/>
          <a:lstStyle>
            <a:lvl1pPr>
              <a:defRPr sz="2000">
                <a:solidFill>
                  <a:schemeClr val="accent1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Insert subhead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object 3">
            <a:extLst>
              <a:ext uri="{FF2B5EF4-FFF2-40B4-BE49-F238E27FC236}">
                <a16:creationId xmlns:a16="http://schemas.microsoft.com/office/drawing/2014/main" id="{C49DB87C-4F7B-4A01-BB2E-8019E513707E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052407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Keypoints 3.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8829D4E-7EA7-49EA-BF1A-56919FD3563C}"/>
              </a:ext>
            </a:extLst>
          </p:cNvPr>
          <p:cNvSpPr>
            <a:spLocks noGrp="1"/>
          </p:cNvSpPr>
          <p:nvPr>
            <p:ph type="sldNum" sz="quarter" idx="45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F636F11D-E48D-49A6-BB73-FDEA9FDFC8BE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1"/>
            <a:ext cx="2679700" cy="6045200"/>
          </a:xfrm>
          <a:custGeom>
            <a:avLst/>
            <a:gdLst>
              <a:gd name="connsiteX0" fmla="*/ 0 w 5299075"/>
              <a:gd name="connsiteY0" fmla="*/ 0 h 6874525"/>
              <a:gd name="connsiteX1" fmla="*/ 5299075 w 5299075"/>
              <a:gd name="connsiteY1" fmla="*/ 0 h 6874525"/>
              <a:gd name="connsiteX2" fmla="*/ 5299075 w 5299075"/>
              <a:gd name="connsiteY2" fmla="*/ 462776 h 6874525"/>
              <a:gd name="connsiteX3" fmla="*/ 5299075 w 5299075"/>
              <a:gd name="connsiteY3" fmla="*/ 2606040 h 6874525"/>
              <a:gd name="connsiteX4" fmla="*/ 5299075 w 5299075"/>
              <a:gd name="connsiteY4" fmla="*/ 3526971 h 6874525"/>
              <a:gd name="connsiteX5" fmla="*/ 5299075 w 5299075"/>
              <a:gd name="connsiteY5" fmla="*/ 3530827 h 6874525"/>
              <a:gd name="connsiteX6" fmla="*/ 5299075 w 5299075"/>
              <a:gd name="connsiteY6" fmla="*/ 6058582 h 6874525"/>
              <a:gd name="connsiteX7" fmla="*/ 5299075 w 5299075"/>
              <a:gd name="connsiteY7" fmla="*/ 6311900 h 6874525"/>
              <a:gd name="connsiteX8" fmla="*/ 5299075 w 5299075"/>
              <a:gd name="connsiteY8" fmla="*/ 6395224 h 6874525"/>
              <a:gd name="connsiteX9" fmla="*/ 5299075 w 5299075"/>
              <a:gd name="connsiteY9" fmla="*/ 6874525 h 6874525"/>
              <a:gd name="connsiteX10" fmla="*/ 0 w 5299075"/>
              <a:gd name="connsiteY10" fmla="*/ 6874525 h 6874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299075" h="6874525">
                <a:moveTo>
                  <a:pt x="0" y="0"/>
                </a:moveTo>
                <a:lnTo>
                  <a:pt x="5299075" y="0"/>
                </a:lnTo>
                <a:lnTo>
                  <a:pt x="5299075" y="462776"/>
                </a:lnTo>
                <a:lnTo>
                  <a:pt x="5299075" y="2606040"/>
                </a:lnTo>
                <a:lnTo>
                  <a:pt x="5299075" y="3526971"/>
                </a:lnTo>
                <a:lnTo>
                  <a:pt x="5299075" y="3530827"/>
                </a:lnTo>
                <a:lnTo>
                  <a:pt x="5299075" y="6058582"/>
                </a:lnTo>
                <a:lnTo>
                  <a:pt x="5299075" y="6311900"/>
                </a:lnTo>
                <a:lnTo>
                  <a:pt x="5299075" y="6395224"/>
                </a:lnTo>
                <a:lnTo>
                  <a:pt x="5299075" y="6874525"/>
                </a:lnTo>
                <a:lnTo>
                  <a:pt x="0" y="687452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0" tIns="0" rIns="720000" bIns="900000" anchor="ctr" anchorCtr="0">
            <a:noAutofit/>
          </a:bodyPr>
          <a:lstStyle>
            <a:lvl1pPr algn="ctr">
              <a:spcBef>
                <a:spcPts val="0"/>
              </a:spcBef>
              <a:defRPr sz="1600" b="0" cap="none" baseline="0"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9F854F4-6B35-4AD5-9689-9E250518A1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01200" y="637200"/>
            <a:ext cx="8474066" cy="1218795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12" name="Subtitle">
            <a:extLst>
              <a:ext uri="{FF2B5EF4-FFF2-40B4-BE49-F238E27FC236}">
                <a16:creationId xmlns:a16="http://schemas.microsoft.com/office/drawing/2014/main" id="{BB74AEE9-AA21-448A-B0DE-BE562378E1BC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312080" y="1720800"/>
            <a:ext cx="8474066" cy="495108"/>
          </a:xfrm>
          <a:prstGeom prst="rect">
            <a:avLst/>
          </a:prstGeom>
        </p:spPr>
        <p:txBody>
          <a:bodyPr wrap="square" lIns="0" tIns="216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800">
                <a:solidFill>
                  <a:schemeClr val="tx1"/>
                </a:solidFill>
                <a:latin typeface="Arial Nova Light" panose="020B0304020202020204" pitchFamily="34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18 pt, align to the baseline of the title</a:t>
            </a:r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0EB93430-BE2C-484C-A61F-42B341860A3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319586" y="2938904"/>
            <a:ext cx="2566035" cy="1891714"/>
          </a:xfrm>
        </p:spPr>
        <p:txBody>
          <a:bodyPr/>
          <a:lstStyle>
            <a:lvl1pPr>
              <a:defRPr sz="180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1415CA21-78F8-4A21-A8C3-EFC62B6B6E3F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6303406" y="2938904"/>
            <a:ext cx="2566034" cy="1891714"/>
          </a:xfrm>
        </p:spPr>
        <p:txBody>
          <a:bodyPr/>
          <a:lstStyle>
            <a:lvl1pPr>
              <a:defRPr sz="180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2E8CAB09-976A-476A-A6AB-41E26C10C37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9236074" y="2938904"/>
            <a:ext cx="2566033" cy="1891714"/>
          </a:xfrm>
        </p:spPr>
        <p:txBody>
          <a:bodyPr/>
          <a:lstStyle>
            <a:lvl1pPr>
              <a:defRPr sz="180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8" name="Text Box Outline">
            <a:extLst>
              <a:ext uri="{FF2B5EF4-FFF2-40B4-BE49-F238E27FC236}">
                <a16:creationId xmlns:a16="http://schemas.microsoft.com/office/drawing/2014/main" id="{ACB3F843-DC36-4BE8-9CD0-75E23E161B03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339464" y="5217201"/>
            <a:ext cx="8469942" cy="828000"/>
          </a:xfrm>
          <a:ln>
            <a:solidFill>
              <a:schemeClr val="tx2">
                <a:lumMod val="60000"/>
                <a:lumOff val="40000"/>
              </a:schemeClr>
            </a:solidFill>
          </a:ln>
        </p:spPr>
        <p:txBody>
          <a:bodyPr lIns="216000" tIns="126000" rIns="216000" bIns="144000" anchor="ctr">
            <a:noAutofit/>
          </a:bodyPr>
          <a:lstStyle>
            <a:lvl1pPr algn="ctr"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object 3">
            <a:extLst>
              <a:ext uri="{FF2B5EF4-FFF2-40B4-BE49-F238E27FC236}">
                <a16:creationId xmlns:a16="http://schemas.microsoft.com/office/drawing/2014/main" id="{CC55D6F0-B0CF-4B68-9ACE-7995729FE219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33887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Keypoints 3.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7B991E-C5E1-443C-B89B-1AEAB49BCAC0}"/>
              </a:ext>
            </a:extLst>
          </p:cNvPr>
          <p:cNvSpPr>
            <a:spLocks noGrp="1"/>
          </p:cNvSpPr>
          <p:nvPr>
            <p:ph type="sldNum" sz="quarter" idx="46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F636F11D-E48D-49A6-BB73-FDEA9FDFC8BE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1"/>
            <a:ext cx="2687637" cy="6045200"/>
          </a:xfrm>
          <a:custGeom>
            <a:avLst/>
            <a:gdLst>
              <a:gd name="connsiteX0" fmla="*/ 0 w 5299075"/>
              <a:gd name="connsiteY0" fmla="*/ 0 h 6874525"/>
              <a:gd name="connsiteX1" fmla="*/ 5299075 w 5299075"/>
              <a:gd name="connsiteY1" fmla="*/ 0 h 6874525"/>
              <a:gd name="connsiteX2" fmla="*/ 5299075 w 5299075"/>
              <a:gd name="connsiteY2" fmla="*/ 462776 h 6874525"/>
              <a:gd name="connsiteX3" fmla="*/ 5299075 w 5299075"/>
              <a:gd name="connsiteY3" fmla="*/ 2606040 h 6874525"/>
              <a:gd name="connsiteX4" fmla="*/ 5299075 w 5299075"/>
              <a:gd name="connsiteY4" fmla="*/ 3526971 h 6874525"/>
              <a:gd name="connsiteX5" fmla="*/ 5299075 w 5299075"/>
              <a:gd name="connsiteY5" fmla="*/ 3530827 h 6874525"/>
              <a:gd name="connsiteX6" fmla="*/ 5299075 w 5299075"/>
              <a:gd name="connsiteY6" fmla="*/ 6058582 h 6874525"/>
              <a:gd name="connsiteX7" fmla="*/ 5299075 w 5299075"/>
              <a:gd name="connsiteY7" fmla="*/ 6311900 h 6874525"/>
              <a:gd name="connsiteX8" fmla="*/ 5299075 w 5299075"/>
              <a:gd name="connsiteY8" fmla="*/ 6395224 h 6874525"/>
              <a:gd name="connsiteX9" fmla="*/ 5299075 w 5299075"/>
              <a:gd name="connsiteY9" fmla="*/ 6874525 h 6874525"/>
              <a:gd name="connsiteX10" fmla="*/ 0 w 5299075"/>
              <a:gd name="connsiteY10" fmla="*/ 6874525 h 6874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299075" h="6874525">
                <a:moveTo>
                  <a:pt x="0" y="0"/>
                </a:moveTo>
                <a:lnTo>
                  <a:pt x="5299075" y="0"/>
                </a:lnTo>
                <a:lnTo>
                  <a:pt x="5299075" y="462776"/>
                </a:lnTo>
                <a:lnTo>
                  <a:pt x="5299075" y="2606040"/>
                </a:lnTo>
                <a:lnTo>
                  <a:pt x="5299075" y="3526971"/>
                </a:lnTo>
                <a:lnTo>
                  <a:pt x="5299075" y="3530827"/>
                </a:lnTo>
                <a:lnTo>
                  <a:pt x="5299075" y="6058582"/>
                </a:lnTo>
                <a:lnTo>
                  <a:pt x="5299075" y="6311900"/>
                </a:lnTo>
                <a:lnTo>
                  <a:pt x="5299075" y="6395224"/>
                </a:lnTo>
                <a:lnTo>
                  <a:pt x="5299075" y="6874525"/>
                </a:lnTo>
                <a:lnTo>
                  <a:pt x="0" y="687452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0" tIns="0" rIns="720000" bIns="900000" anchor="ctr" anchorCtr="0">
            <a:noAutofit/>
          </a:bodyPr>
          <a:lstStyle>
            <a:lvl1pPr algn="ctr">
              <a:spcBef>
                <a:spcPts val="0"/>
              </a:spcBef>
              <a:defRPr sz="1600" b="0" cap="none" baseline="0"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533B2E8-5A76-4339-85A0-5EE062C26D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01200" y="637200"/>
            <a:ext cx="8497413" cy="1218795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D0818C70-A8E1-4BE4-9EF2-0E79CEB29C4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312000" y="1720800"/>
            <a:ext cx="8474066" cy="495108"/>
          </a:xfrm>
          <a:prstGeom prst="rect">
            <a:avLst/>
          </a:prstGeom>
        </p:spPr>
        <p:txBody>
          <a:bodyPr wrap="square" lIns="0" tIns="216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800">
                <a:solidFill>
                  <a:schemeClr val="tx1"/>
                </a:solidFill>
                <a:latin typeface="Arial Nova Light" panose="020B0304020202020204" pitchFamily="34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18 pt, align to the baseline of the title</a:t>
            </a:r>
          </a:p>
        </p:txBody>
      </p:sp>
      <p:sp>
        <p:nvSpPr>
          <p:cNvPr id="18" name="Text Box Outline">
            <a:extLst>
              <a:ext uri="{FF2B5EF4-FFF2-40B4-BE49-F238E27FC236}">
                <a16:creationId xmlns:a16="http://schemas.microsoft.com/office/drawing/2014/main" id="{ACB3F843-DC36-4BE8-9CD0-75E23E161B03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333750" y="2938904"/>
            <a:ext cx="8475656" cy="531005"/>
          </a:xfr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txBody>
          <a:bodyPr lIns="216000" tIns="46800" rIns="216000" bIns="72000" anchor="ctr"/>
          <a:lstStyle>
            <a:lvl1pPr algn="ctr"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0EB93430-BE2C-484C-A61F-42B341860A3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320922" y="3765932"/>
            <a:ext cx="2573338" cy="2279268"/>
          </a:xfrm>
        </p:spPr>
        <p:txBody>
          <a:bodyPr/>
          <a:lstStyle>
            <a:lvl1pPr>
              <a:defRPr sz="180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1415CA21-78F8-4A21-A8C3-EFC62B6B6E3F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6288434" y="3765932"/>
            <a:ext cx="2573338" cy="2279268"/>
          </a:xfrm>
        </p:spPr>
        <p:txBody>
          <a:bodyPr/>
          <a:lstStyle>
            <a:lvl1pPr>
              <a:defRPr sz="180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4C5B3EEB-A720-46C4-B1C0-98B1CC7D390D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9236068" y="3765932"/>
            <a:ext cx="2573338" cy="2279268"/>
          </a:xfrm>
        </p:spPr>
        <p:txBody>
          <a:bodyPr/>
          <a:lstStyle>
            <a:lvl1pPr>
              <a:defRPr sz="180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0" name="object 3">
            <a:extLst>
              <a:ext uri="{FF2B5EF4-FFF2-40B4-BE49-F238E27FC236}">
                <a16:creationId xmlns:a16="http://schemas.microsoft.com/office/drawing/2014/main" id="{0AB7C6B4-5CD9-4E56-88A4-879E0A08382A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099536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Keypoints 3.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EC4A338-4FC6-4744-A010-C0489FB46027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E378713-D495-46EE-AB11-18653C864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4000" y="637200"/>
            <a:ext cx="10267472" cy="1218795"/>
          </a:xfrm>
        </p:spPr>
        <p:txBody>
          <a:bodyPr/>
          <a:lstStyle>
            <a:lvl1pPr>
              <a:defRPr sz="4400"/>
            </a:lvl1pPr>
          </a:lstStyle>
          <a:p>
            <a:r>
              <a:rPr lang="en-GB" noProof="0"/>
              <a:t>Click to edit </a:t>
            </a:r>
            <a:br>
              <a:rPr lang="en-GB" noProof="0"/>
            </a:br>
            <a:r>
              <a:rPr lang="en-GB" noProof="0"/>
              <a:t>Master title style</a:t>
            </a:r>
          </a:p>
        </p:txBody>
      </p:sp>
      <p:sp>
        <p:nvSpPr>
          <p:cNvPr id="22" name="Subtitle">
            <a:extLst>
              <a:ext uri="{FF2B5EF4-FFF2-40B4-BE49-F238E27FC236}">
                <a16:creationId xmlns:a16="http://schemas.microsoft.com/office/drawing/2014/main" id="{0D85BC76-D2C9-4CFF-A7FA-7DB0AFCF210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68400" y="1720800"/>
            <a:ext cx="10222926" cy="495108"/>
          </a:xfrm>
          <a:prstGeom prst="rect">
            <a:avLst/>
          </a:prstGeom>
        </p:spPr>
        <p:txBody>
          <a:bodyPr wrap="square" lIns="0" tIns="216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800">
                <a:solidFill>
                  <a:schemeClr val="tx1"/>
                </a:solidFill>
                <a:latin typeface="Arial Nova Light" panose="020B0304020202020204" pitchFamily="34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18 pt, align to the baseline of the title</a:t>
            </a:r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B7EE782C-8446-4AFD-B545-FCDF40B298B7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979034" y="3007329"/>
            <a:ext cx="3096000" cy="3037871"/>
          </a:xfrm>
        </p:spPr>
        <p:txBody>
          <a:bodyPr/>
          <a:lstStyle>
            <a:lvl1pPr>
              <a:defRPr sz="5400">
                <a:solidFill>
                  <a:schemeClr val="accent3"/>
                </a:solidFill>
              </a:defRPr>
            </a:lvl1pPr>
            <a:lvl2pPr>
              <a:spcBef>
                <a:spcPts val="600"/>
              </a:spcBef>
              <a:defRPr sz="1800">
                <a:latin typeface="+mj-lt"/>
              </a:defRPr>
            </a:lvl2pPr>
            <a:lvl3pPr marL="0" indent="0">
              <a:buNone/>
              <a:defRPr sz="1600"/>
            </a:lvl3pPr>
            <a:lvl4pPr marL="180000">
              <a:buFont typeface="Arial" panose="020B0604020202020204" pitchFamily="34" charset="0"/>
              <a:buChar char="•"/>
              <a:defRPr sz="1400"/>
            </a:lvl4pPr>
            <a:lvl5pPr marL="360000">
              <a:buFont typeface="Graphik" panose="020B0503030202060203" pitchFamily="34" charset="0"/>
              <a:buChar char="–"/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C23EA49-AEA1-4C32-96BA-752F8DD5BA6D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4540581" y="3007329"/>
            <a:ext cx="3096000" cy="3037871"/>
          </a:xfrm>
        </p:spPr>
        <p:txBody>
          <a:bodyPr/>
          <a:lstStyle>
            <a:lvl1pPr>
              <a:defRPr sz="5400">
                <a:solidFill>
                  <a:schemeClr val="accent3"/>
                </a:solidFill>
              </a:defRPr>
            </a:lvl1pPr>
            <a:lvl2pPr>
              <a:spcBef>
                <a:spcPts val="600"/>
              </a:spcBef>
              <a:defRPr sz="1800">
                <a:latin typeface="+mj-lt"/>
              </a:defRPr>
            </a:lvl2pPr>
            <a:lvl3pPr marL="0" indent="0">
              <a:buNone/>
              <a:defRPr sz="1600"/>
            </a:lvl3pPr>
            <a:lvl4pPr marL="180000">
              <a:buFont typeface="Arial" panose="020B0604020202020204" pitchFamily="34" charset="0"/>
              <a:buChar char="•"/>
              <a:defRPr sz="1400"/>
            </a:lvl4pPr>
            <a:lvl5pPr marL="360000">
              <a:buFont typeface="Graphik" panose="020B0503030202060203" pitchFamily="34" charset="0"/>
              <a:buChar char="–"/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7986D32E-7F95-46A6-A9CF-88828652E1F6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102129" y="3007329"/>
            <a:ext cx="3096000" cy="3037871"/>
          </a:xfrm>
        </p:spPr>
        <p:txBody>
          <a:bodyPr/>
          <a:lstStyle>
            <a:lvl1pPr>
              <a:defRPr sz="5400">
                <a:solidFill>
                  <a:schemeClr val="accent3"/>
                </a:solidFill>
              </a:defRPr>
            </a:lvl1pPr>
            <a:lvl2pPr>
              <a:spcBef>
                <a:spcPts val="600"/>
              </a:spcBef>
              <a:defRPr sz="1800">
                <a:latin typeface="+mj-lt"/>
              </a:defRPr>
            </a:lvl2pPr>
            <a:lvl3pPr marL="0" indent="0">
              <a:buNone/>
              <a:defRPr sz="1600"/>
            </a:lvl3pPr>
            <a:lvl4pPr marL="180000">
              <a:buFont typeface="Arial" panose="020B0604020202020204" pitchFamily="34" charset="0"/>
              <a:buChar char="•"/>
              <a:defRPr sz="1400"/>
            </a:lvl4pPr>
            <a:lvl5pPr marL="360000">
              <a:buFont typeface="Graphik" panose="020B0503030202060203" pitchFamily="34" charset="0"/>
              <a:buChar char="–"/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 </a:t>
            </a:r>
            <a:endParaRPr lang="en-CA"/>
          </a:p>
        </p:txBody>
      </p:sp>
      <p:sp>
        <p:nvSpPr>
          <p:cNvPr id="8" name="object 3">
            <a:extLst>
              <a:ext uri="{FF2B5EF4-FFF2-40B4-BE49-F238E27FC236}">
                <a16:creationId xmlns:a16="http://schemas.microsoft.com/office/drawing/2014/main" id="{7C8F63F1-D179-4AE1-B90E-F7B50F44F9C2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830991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Keypoints 3.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4D3FF4E-2EF4-47FB-8B71-C2754BB30B0E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A07D8F-267A-446B-81D1-9F0CDD44C7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4000" y="637200"/>
            <a:ext cx="5684283" cy="1173931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CA"/>
          </a:p>
        </p:txBody>
      </p:sp>
      <p:sp>
        <p:nvSpPr>
          <p:cNvPr id="9" name="Subhead 1">
            <a:extLst>
              <a:ext uri="{FF2B5EF4-FFF2-40B4-BE49-F238E27FC236}">
                <a16:creationId xmlns:a16="http://schemas.microsoft.com/office/drawing/2014/main" id="{288190E5-A9A0-4886-81ED-8EDB327973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76048" y="2488327"/>
            <a:ext cx="1978290" cy="567068"/>
          </a:xfrm>
        </p:spPr>
        <p:txBody>
          <a:bodyPr/>
          <a:lstStyle>
            <a:lvl1pPr>
              <a:defRPr sz="1800">
                <a:solidFill>
                  <a:schemeClr val="accent3"/>
                </a:solidFill>
                <a:latin typeface="+mj-lt"/>
              </a:defRPr>
            </a:lvl1pPr>
            <a:lvl2pPr marL="0" indent="0">
              <a:buNone/>
              <a:defRPr sz="16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1">
            <a:extLst>
              <a:ext uri="{FF2B5EF4-FFF2-40B4-BE49-F238E27FC236}">
                <a16:creationId xmlns:a16="http://schemas.microsoft.com/office/drawing/2014/main" id="{ADDC2BD0-72F3-4F13-BD42-91D7F47C67CB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333750" y="2488327"/>
            <a:ext cx="3292026" cy="738000"/>
          </a:xfrm>
        </p:spPr>
        <p:txBody>
          <a:bodyPr/>
          <a:lstStyle>
            <a:lvl1pPr>
              <a:defRPr sz="16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1600"/>
            </a:lvl2pPr>
            <a:lvl3pPr marL="18000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6" name="Subhead 2">
            <a:extLst>
              <a:ext uri="{FF2B5EF4-FFF2-40B4-BE49-F238E27FC236}">
                <a16:creationId xmlns:a16="http://schemas.microsoft.com/office/drawing/2014/main" id="{FE07F338-3FE3-47CA-86B4-2979E33318A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76048" y="3761447"/>
            <a:ext cx="1978290" cy="567068"/>
          </a:xfrm>
        </p:spPr>
        <p:txBody>
          <a:bodyPr/>
          <a:lstStyle>
            <a:lvl1pPr>
              <a:defRPr sz="1800">
                <a:solidFill>
                  <a:schemeClr val="accent3"/>
                </a:solidFill>
                <a:latin typeface="+mj-lt"/>
              </a:defRPr>
            </a:lvl1pPr>
            <a:lvl2pPr marL="0" indent="0">
              <a:buNone/>
              <a:defRPr sz="16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1C05BFC5-DF6F-4F48-BDCB-DD85F99785E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333750" y="3761447"/>
            <a:ext cx="3292026" cy="738000"/>
          </a:xfrm>
        </p:spPr>
        <p:txBody>
          <a:bodyPr/>
          <a:lstStyle>
            <a:lvl1pPr>
              <a:defRPr sz="16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1600"/>
            </a:lvl2pPr>
            <a:lvl3pPr marL="18000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8" name="Subhead 3">
            <a:extLst>
              <a:ext uri="{FF2B5EF4-FFF2-40B4-BE49-F238E27FC236}">
                <a16:creationId xmlns:a16="http://schemas.microsoft.com/office/drawing/2014/main" id="{2546D444-21B9-426C-9561-2DE1FA685CF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76048" y="5035132"/>
            <a:ext cx="1978290" cy="567068"/>
          </a:xfrm>
        </p:spPr>
        <p:txBody>
          <a:bodyPr/>
          <a:lstStyle>
            <a:lvl1pPr>
              <a:defRPr sz="1800">
                <a:solidFill>
                  <a:schemeClr val="accent3"/>
                </a:solidFill>
                <a:latin typeface="+mj-lt"/>
              </a:defRPr>
            </a:lvl1pPr>
            <a:lvl2pPr marL="0" indent="0">
              <a:buNone/>
              <a:defRPr sz="16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74A4B90C-0353-4459-AADD-3DFE57988F8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333750" y="5035132"/>
            <a:ext cx="3292026" cy="738000"/>
          </a:xfrm>
        </p:spPr>
        <p:txBody>
          <a:bodyPr/>
          <a:lstStyle>
            <a:lvl1pPr>
              <a:defRPr sz="16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1600"/>
            </a:lvl2pPr>
            <a:lvl3pPr marL="18000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06B18972-9F9D-423C-B01B-F02B13A8FCE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267576" y="381001"/>
            <a:ext cx="4924424" cy="5675312"/>
          </a:xfrm>
          <a:custGeom>
            <a:avLst/>
            <a:gdLst>
              <a:gd name="connsiteX0" fmla="*/ 0 w 3662594"/>
              <a:gd name="connsiteY0" fmla="*/ 0 h 5335588"/>
              <a:gd name="connsiteX1" fmla="*/ 3662594 w 3662594"/>
              <a:gd name="connsiteY1" fmla="*/ 0 h 5335588"/>
              <a:gd name="connsiteX2" fmla="*/ 3662594 w 3662594"/>
              <a:gd name="connsiteY2" fmla="*/ 5335588 h 5335588"/>
              <a:gd name="connsiteX3" fmla="*/ 0 w 3662594"/>
              <a:gd name="connsiteY3" fmla="*/ 5335588 h 5335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62594" h="5335588">
                <a:moveTo>
                  <a:pt x="0" y="0"/>
                </a:moveTo>
                <a:lnTo>
                  <a:pt x="3662594" y="0"/>
                </a:lnTo>
                <a:lnTo>
                  <a:pt x="3662594" y="5335588"/>
                </a:lnTo>
                <a:lnTo>
                  <a:pt x="0" y="533558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vert="horz" wrap="square" lIns="720000" tIns="0" rIns="720000" bIns="900000" rtlCol="0" anchor="ctr" anchorCtr="0">
            <a:noAutofit/>
          </a:bodyPr>
          <a:lstStyle>
            <a:lvl1pPr algn="ctr">
              <a:spcBef>
                <a:spcPts val="0"/>
              </a:spcBef>
              <a:defRPr lang="en-US" sz="1600" b="0" cap="none" baseline="0">
                <a:latin typeface="+mn-lt"/>
              </a:defRPr>
            </a:lvl1pPr>
          </a:lstStyle>
          <a:p>
            <a:pPr lvl="0" algn="ctr"/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</a:t>
            </a:r>
          </a:p>
        </p:txBody>
      </p:sp>
      <p:sp>
        <p:nvSpPr>
          <p:cNvPr id="11" name="object 3">
            <a:extLst>
              <a:ext uri="{FF2B5EF4-FFF2-40B4-BE49-F238E27FC236}">
                <a16:creationId xmlns:a16="http://schemas.microsoft.com/office/drawing/2014/main" id="{4A5B53F9-EA5F-445F-92D2-B24D989712AA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998208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Keypoints 3.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5A74DC1-E546-4B0E-A050-E70998A0DEE8}"/>
              </a:ext>
            </a:extLst>
          </p:cNvPr>
          <p:cNvSpPr>
            <a:spLocks noGrp="1"/>
          </p:cNvSpPr>
          <p:nvPr>
            <p:ph type="sldNum" sz="quarter" idx="53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89F76DE-6E26-47B4-8AA4-4A0DDB4C2F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4000" y="1242000"/>
            <a:ext cx="4348675" cy="1235723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Insert short heading</a:t>
            </a:r>
          </a:p>
        </p:txBody>
      </p:sp>
      <p:sp>
        <p:nvSpPr>
          <p:cNvPr id="30" name="Subtitle">
            <a:extLst>
              <a:ext uri="{FF2B5EF4-FFF2-40B4-BE49-F238E27FC236}">
                <a16:creationId xmlns:a16="http://schemas.microsoft.com/office/drawing/2014/main" id="{C6E9A4D5-22E1-4D71-99AB-16BFECBB0F24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68400" y="2326966"/>
            <a:ext cx="4318083" cy="772107"/>
          </a:xfrm>
          <a:prstGeom prst="rect">
            <a:avLst/>
          </a:prstGeom>
        </p:spPr>
        <p:txBody>
          <a:bodyPr wrap="square" lIns="0" tIns="216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800">
                <a:solidFill>
                  <a:schemeClr val="tx1"/>
                </a:solidFill>
                <a:latin typeface="Arial Nova Light" panose="020B0304020202020204" pitchFamily="34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18 pt, align box to the baseline of the title</a:t>
            </a:r>
          </a:p>
        </p:txBody>
      </p:sp>
      <p:sp>
        <p:nvSpPr>
          <p:cNvPr id="28" name="Intro">
            <a:extLst>
              <a:ext uri="{FF2B5EF4-FFF2-40B4-BE49-F238E27FC236}">
                <a16:creationId xmlns:a16="http://schemas.microsoft.com/office/drawing/2014/main" id="{DC9E15B9-6DB0-4FD5-ADA0-0247D37E488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75600" y="3699840"/>
            <a:ext cx="4323475" cy="1710360"/>
          </a:xfrm>
        </p:spPr>
        <p:txBody>
          <a:bodyPr tIns="0"/>
          <a:lstStyle>
            <a:lvl1pPr>
              <a:defRPr sz="2000">
                <a:solidFill>
                  <a:schemeClr val="tx1"/>
                </a:solidFill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Text Placeholder 1">
            <a:extLst>
              <a:ext uri="{FF2B5EF4-FFF2-40B4-BE49-F238E27FC236}">
                <a16:creationId xmlns:a16="http://schemas.microsoft.com/office/drawing/2014/main" id="{AAA8E35D-3807-4495-BC60-8CA44709194A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286501" y="1261481"/>
            <a:ext cx="5522912" cy="1404000"/>
          </a:xfrm>
        </p:spPr>
        <p:txBody>
          <a:bodyPr/>
          <a:lstStyle>
            <a:lvl1pPr>
              <a:defRPr sz="2000">
                <a:solidFill>
                  <a:schemeClr val="accent3"/>
                </a:solidFill>
                <a:latin typeface="+mj-lt"/>
              </a:defRPr>
            </a:lvl1pPr>
            <a:lvl2pPr marL="0" indent="0">
              <a:spcBef>
                <a:spcPts val="300"/>
              </a:spcBef>
              <a:buNone/>
              <a:defRPr sz="1800">
                <a:solidFill>
                  <a:schemeClr val="tx1"/>
                </a:solidFill>
                <a:latin typeface="+mj-lt"/>
              </a:defRPr>
            </a:lvl2pPr>
            <a:lvl3pPr marL="0" indent="0">
              <a:buNone/>
              <a:defRPr sz="1600">
                <a:solidFill>
                  <a:schemeClr val="tx1"/>
                </a:solidFill>
              </a:defRPr>
            </a:lvl3pPr>
            <a:lvl4pPr marL="179388" indent="-179388"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934DB32E-E037-46DB-9B62-BCD847D17F90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6286501" y="2951340"/>
            <a:ext cx="5522912" cy="1404000"/>
          </a:xfrm>
        </p:spPr>
        <p:txBody>
          <a:bodyPr/>
          <a:lstStyle>
            <a:lvl1pPr>
              <a:defRPr sz="2000">
                <a:solidFill>
                  <a:schemeClr val="accent3"/>
                </a:solidFill>
                <a:latin typeface="+mj-lt"/>
              </a:defRPr>
            </a:lvl1pPr>
            <a:lvl2pPr marL="0" indent="0">
              <a:spcBef>
                <a:spcPts val="300"/>
              </a:spcBef>
              <a:buNone/>
              <a:defRPr sz="1800">
                <a:solidFill>
                  <a:schemeClr val="tx1"/>
                </a:solidFill>
                <a:latin typeface="+mj-lt"/>
              </a:defRPr>
            </a:lvl2pPr>
            <a:lvl3pPr marL="0" indent="0">
              <a:buNone/>
              <a:defRPr sz="1600">
                <a:solidFill>
                  <a:schemeClr val="tx1"/>
                </a:solidFill>
              </a:defRPr>
            </a:lvl3pPr>
            <a:lvl4pPr marL="179388" indent="-179388"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82E448C1-11F9-47EB-9B40-067E33DB8663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286501" y="4641199"/>
            <a:ext cx="5522912" cy="1404000"/>
          </a:xfrm>
        </p:spPr>
        <p:txBody>
          <a:bodyPr/>
          <a:lstStyle>
            <a:lvl1pPr>
              <a:defRPr sz="2000">
                <a:solidFill>
                  <a:schemeClr val="accent3"/>
                </a:solidFill>
                <a:latin typeface="+mj-lt"/>
              </a:defRPr>
            </a:lvl1pPr>
            <a:lvl2pPr marL="0" indent="0">
              <a:spcBef>
                <a:spcPts val="300"/>
              </a:spcBef>
              <a:buNone/>
              <a:defRPr sz="1800">
                <a:solidFill>
                  <a:schemeClr val="tx1"/>
                </a:solidFill>
                <a:latin typeface="+mj-lt"/>
              </a:defRPr>
            </a:lvl2pPr>
            <a:lvl3pPr marL="0" indent="0">
              <a:buNone/>
              <a:defRPr sz="1600">
                <a:solidFill>
                  <a:schemeClr val="tx1"/>
                </a:solidFill>
              </a:defRPr>
            </a:lvl3pPr>
            <a:lvl4pPr marL="179388" indent="-179388"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object 3">
            <a:extLst>
              <a:ext uri="{FF2B5EF4-FFF2-40B4-BE49-F238E27FC236}">
                <a16:creationId xmlns:a16="http://schemas.microsoft.com/office/drawing/2014/main" id="{02615E2E-9D8E-4D6D-820B-53AA0E3368BB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1968250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Keypoints 3.12 – Gray BG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F07972F-2570-4F54-8917-F3D36BD05D1C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White Rectangle">
            <a:extLst>
              <a:ext uri="{FF2B5EF4-FFF2-40B4-BE49-F238E27FC236}">
                <a16:creationId xmlns:a16="http://schemas.microsoft.com/office/drawing/2014/main" id="{04C26DF2-351D-4910-9424-AF51F5555A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flipV="1">
            <a:off x="0" y="-1"/>
            <a:ext cx="12192000" cy="22328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E82B553-5E70-422E-A74D-C564BEC1CC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559" y="637200"/>
            <a:ext cx="8515692" cy="609398"/>
          </a:xfrm>
        </p:spPr>
        <p:txBody>
          <a:bodyPr wrap="square" anchor="t">
            <a:spAutoFit/>
          </a:bodyPr>
          <a:lstStyle>
            <a:lvl1pPr>
              <a:defRPr sz="44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D0818C70-A8E1-4BE4-9EF2-0E79CEB29C4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63600" y="1115682"/>
            <a:ext cx="8477250" cy="495108"/>
          </a:xfrm>
          <a:prstGeom prst="rect">
            <a:avLst/>
          </a:prstGeom>
        </p:spPr>
        <p:txBody>
          <a:bodyPr wrap="square" lIns="0" tIns="216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800">
                <a:solidFill>
                  <a:schemeClr val="tx1"/>
                </a:solidFill>
                <a:latin typeface="Arial Nova Light" panose="020B0304020202020204" pitchFamily="34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18 pt, align to the baseline of the title</a:t>
            </a:r>
          </a:p>
        </p:txBody>
      </p:sp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C2F83E09-434A-46ED-8062-10EA264DDE02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381000" y="2709575"/>
            <a:ext cx="2574000" cy="3335626"/>
          </a:xfrm>
        </p:spPr>
        <p:txBody>
          <a:bodyPr/>
          <a:lstStyle>
            <a:lvl1pPr>
              <a:defRPr sz="180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B9F41220-34A1-4C17-AFB5-81703BBC8CF9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3332163" y="2709575"/>
            <a:ext cx="2574000" cy="3335626"/>
          </a:xfrm>
        </p:spPr>
        <p:txBody>
          <a:bodyPr/>
          <a:lstStyle>
            <a:lvl1pPr>
              <a:defRPr sz="180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6DE66BBF-34DA-4C40-A906-1CEB3530D898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6283325" y="2709575"/>
            <a:ext cx="2574000" cy="3335626"/>
          </a:xfrm>
        </p:spPr>
        <p:txBody>
          <a:bodyPr/>
          <a:lstStyle>
            <a:lvl1pPr>
              <a:defRPr sz="180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3" name="Picture Placeholder 12">
            <a:extLst>
              <a:ext uri="{FF2B5EF4-FFF2-40B4-BE49-F238E27FC236}">
                <a16:creationId xmlns:a16="http://schemas.microsoft.com/office/drawing/2014/main" id="{0CB9A052-5BC2-4570-8E48-9E4E1E374B2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512300" y="1"/>
            <a:ext cx="2679700" cy="6045200"/>
          </a:xfrm>
          <a:custGeom>
            <a:avLst/>
            <a:gdLst>
              <a:gd name="connsiteX0" fmla="*/ 0 w 5299075"/>
              <a:gd name="connsiteY0" fmla="*/ 0 h 6874525"/>
              <a:gd name="connsiteX1" fmla="*/ 5299075 w 5299075"/>
              <a:gd name="connsiteY1" fmla="*/ 0 h 6874525"/>
              <a:gd name="connsiteX2" fmla="*/ 5299075 w 5299075"/>
              <a:gd name="connsiteY2" fmla="*/ 462776 h 6874525"/>
              <a:gd name="connsiteX3" fmla="*/ 5299075 w 5299075"/>
              <a:gd name="connsiteY3" fmla="*/ 2606040 h 6874525"/>
              <a:gd name="connsiteX4" fmla="*/ 5299075 w 5299075"/>
              <a:gd name="connsiteY4" fmla="*/ 3526971 h 6874525"/>
              <a:gd name="connsiteX5" fmla="*/ 5299075 w 5299075"/>
              <a:gd name="connsiteY5" fmla="*/ 3530827 h 6874525"/>
              <a:gd name="connsiteX6" fmla="*/ 5299075 w 5299075"/>
              <a:gd name="connsiteY6" fmla="*/ 6058582 h 6874525"/>
              <a:gd name="connsiteX7" fmla="*/ 5299075 w 5299075"/>
              <a:gd name="connsiteY7" fmla="*/ 6311900 h 6874525"/>
              <a:gd name="connsiteX8" fmla="*/ 5299075 w 5299075"/>
              <a:gd name="connsiteY8" fmla="*/ 6395224 h 6874525"/>
              <a:gd name="connsiteX9" fmla="*/ 5299075 w 5299075"/>
              <a:gd name="connsiteY9" fmla="*/ 6874525 h 6874525"/>
              <a:gd name="connsiteX10" fmla="*/ 0 w 5299075"/>
              <a:gd name="connsiteY10" fmla="*/ 6874525 h 6874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299075" h="6874525">
                <a:moveTo>
                  <a:pt x="0" y="0"/>
                </a:moveTo>
                <a:lnTo>
                  <a:pt x="5299075" y="0"/>
                </a:lnTo>
                <a:lnTo>
                  <a:pt x="5299075" y="462776"/>
                </a:lnTo>
                <a:lnTo>
                  <a:pt x="5299075" y="2606040"/>
                </a:lnTo>
                <a:lnTo>
                  <a:pt x="5299075" y="3526971"/>
                </a:lnTo>
                <a:lnTo>
                  <a:pt x="5299075" y="3530827"/>
                </a:lnTo>
                <a:lnTo>
                  <a:pt x="5299075" y="6058582"/>
                </a:lnTo>
                <a:lnTo>
                  <a:pt x="5299075" y="6311900"/>
                </a:lnTo>
                <a:lnTo>
                  <a:pt x="5299075" y="6395224"/>
                </a:lnTo>
                <a:lnTo>
                  <a:pt x="5299075" y="6874525"/>
                </a:lnTo>
                <a:lnTo>
                  <a:pt x="0" y="687452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0" tIns="0" rIns="720000" bIns="900000" anchor="ctr" anchorCtr="0">
            <a:noAutofit/>
          </a:bodyPr>
          <a:lstStyle>
            <a:lvl1pPr algn="ctr">
              <a:spcBef>
                <a:spcPts val="0"/>
              </a:spcBef>
              <a:defRPr sz="1600" b="0" cap="none" baseline="0"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</a:t>
            </a:r>
          </a:p>
        </p:txBody>
      </p:sp>
      <p:sp>
        <p:nvSpPr>
          <p:cNvPr id="10" name="object 3">
            <a:extLst>
              <a:ext uri="{FF2B5EF4-FFF2-40B4-BE49-F238E27FC236}">
                <a16:creationId xmlns:a16="http://schemas.microsoft.com/office/drawing/2014/main" id="{FDB79D15-7CDC-4CE3-96A9-D65C6A2A87E1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49511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- Numbered, Gradient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5C34049C-E1C0-4915-3980-7B2FE1D07753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50000">
                <a:schemeClr val="accent3"/>
              </a:gs>
              <a:gs pos="100000">
                <a:schemeClr val="accent4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BE7FE12-66A9-4032-BD2E-492340A6DF8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Big number">
            <a:extLst>
              <a:ext uri="{FF2B5EF4-FFF2-40B4-BE49-F238E27FC236}">
                <a16:creationId xmlns:a16="http://schemas.microsoft.com/office/drawing/2014/main" id="{63E56B88-63DE-42F5-AE08-5F9069ED6835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920999" y="835805"/>
            <a:ext cx="6346575" cy="2194487"/>
          </a:xfrm>
        </p:spPr>
        <p:txBody>
          <a:bodyPr anchor="ctr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None/>
              <a:defRPr lang="en-US" sz="16600" b="1" kern="1200" dirty="0">
                <a:ln w="38100">
                  <a:noFill/>
                </a:ln>
                <a:solidFill>
                  <a:schemeClr val="bg1">
                    <a:alpha val="40000"/>
                  </a:schemeClr>
                </a:solidFill>
                <a:latin typeface="Arial Nova" panose="020B0504020202020204" pitchFamily="34" charset="0"/>
                <a:ea typeface="+mj-ea"/>
                <a:cs typeface="+mj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#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394B85-B39D-4BE7-A334-787162CB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39600" y="3889829"/>
            <a:ext cx="6327975" cy="2155372"/>
          </a:xfrm>
        </p:spPr>
        <p:txBody>
          <a:bodyPr anchor="t">
            <a:noAutofit/>
          </a:bodyPr>
          <a:lstStyle>
            <a:lvl1pPr>
              <a:lnSpc>
                <a:spcPct val="80000"/>
              </a:lnSpc>
              <a:defRPr sz="5400" b="1">
                <a:solidFill>
                  <a:schemeClr val="tx1"/>
                </a:solidFill>
                <a:latin typeface="Arial Nova" panose="020B0504020202020204" pitchFamily="34" charset="0"/>
              </a:defRPr>
            </a:lvl1pPr>
          </a:lstStyle>
          <a:p>
            <a:r>
              <a:rPr lang="en-US"/>
              <a:t>Section title 54pt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0741A08E-B93F-E14E-AB8A-C62CD19AED6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74001" y="3889828"/>
            <a:ext cx="3328988" cy="2155373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2400">
                <a:latin typeface="Arial Nova Light" panose="020B0304020202020204" pitchFamily="34" charset="0"/>
              </a:defRPr>
            </a:lvl1pPr>
            <a:lvl2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2pPr>
            <a:lvl3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3pPr>
            <a:lvl4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4pPr>
            <a:lvl5pPr marL="0" indent="0">
              <a:spcAft>
                <a:spcPts val="600"/>
              </a:spcAft>
              <a:buNone/>
              <a:defRPr sz="2400">
                <a:latin typeface="GT Sectra Fine" pitchFamily="2" charset="77"/>
              </a:defRPr>
            </a:lvl5pPr>
          </a:lstStyle>
          <a:p>
            <a:pPr lvl="0"/>
            <a:r>
              <a:rPr lang="en-GB"/>
              <a:t>Place subtitle here in 24pt</a:t>
            </a:r>
            <a:endParaRPr lang="en-US"/>
          </a:p>
        </p:txBody>
      </p:sp>
      <p:sp>
        <p:nvSpPr>
          <p:cNvPr id="8" name="object 3">
            <a:extLst>
              <a:ext uri="{FF2B5EF4-FFF2-40B4-BE49-F238E27FC236}">
                <a16:creationId xmlns:a16="http://schemas.microsoft.com/office/drawing/2014/main" id="{E3107E48-AB75-497E-9B81-1B35B5A25467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93415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orient="horz" pos="2904">
          <p15:clr>
            <a:srgbClr val="5ACBF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Keypoints 3.13 – Image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6E3F74D-A8EB-4656-8DBD-3667F4334B7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Picture Placeholder">
            <a:extLst>
              <a:ext uri="{FF2B5EF4-FFF2-40B4-BE49-F238E27FC236}">
                <a16:creationId xmlns:a16="http://schemas.microsoft.com/office/drawing/2014/main" id="{FFF3DE60-5763-49F9-84D4-EFD70139DD3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12192001" cy="298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720000" tIns="0" rIns="720000" bIns="900000" anchor="ctr" anchorCtr="0"/>
          <a:lstStyle>
            <a:lvl1pPr algn="ctr">
              <a:spcBef>
                <a:spcPts val="0"/>
              </a:spcBef>
              <a:defRPr sz="1600" b="0" cap="none" baseline="0">
                <a:latin typeface="+mn-lt"/>
              </a:defRPr>
            </a:lvl1pPr>
          </a:lstStyle>
          <a:p>
            <a:r>
              <a:rPr lang="en-US"/>
              <a:t>Click on the icon to insert image in placeholder and </a:t>
            </a:r>
            <a:br>
              <a:rPr lang="en-US"/>
            </a:br>
            <a:r>
              <a:rPr lang="en-US"/>
              <a:t>use the crop tool to center the imag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CF31FD4-855B-4349-9E82-D5835AAED1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941" y="1241571"/>
            <a:ext cx="4950134" cy="1373216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19" name="Text Placeholder 1">
            <a:extLst>
              <a:ext uri="{FF2B5EF4-FFF2-40B4-BE49-F238E27FC236}">
                <a16:creationId xmlns:a16="http://schemas.microsoft.com/office/drawing/2014/main" id="{265EE99B-7D41-4CCA-91D9-6FD7ECA1D20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8000" y="3429000"/>
            <a:ext cx="3562175" cy="2616200"/>
          </a:xfrm>
          <a:prstGeom prst="rect">
            <a:avLst/>
          </a:prstGeom>
        </p:spPr>
        <p:txBody>
          <a:bodyPr/>
          <a:lstStyle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87258DFF-A625-4112-A1D7-CD60B75D460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11706" y="3429000"/>
            <a:ext cx="3562176" cy="2616200"/>
          </a:xfrm>
          <a:prstGeom prst="rect">
            <a:avLst/>
          </a:prstGeom>
        </p:spPr>
        <p:txBody>
          <a:bodyPr/>
          <a:lstStyle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9C73FB5C-1A7B-4515-A52C-BD3419BDAE4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45413" y="3429000"/>
            <a:ext cx="3564000" cy="2616200"/>
          </a:xfrm>
          <a:prstGeom prst="rect">
            <a:avLst/>
          </a:prstGeom>
        </p:spPr>
        <p:txBody>
          <a:bodyPr/>
          <a:lstStyle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8" name="object 3">
            <a:extLst>
              <a:ext uri="{FF2B5EF4-FFF2-40B4-BE49-F238E27FC236}">
                <a16:creationId xmlns:a16="http://schemas.microsoft.com/office/drawing/2014/main" id="{588F7726-B435-4256-B5E2-823E9662B85C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980140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Keypoints 3.14 – Highlighted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Gray">
            <a:extLst>
              <a:ext uri="{FF2B5EF4-FFF2-40B4-BE49-F238E27FC236}">
                <a16:creationId xmlns:a16="http://schemas.microsoft.com/office/drawing/2014/main" id="{ED921AE5-3D7C-414D-9EF4-689D194485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flipH="1">
            <a:off x="9086849" y="2074127"/>
            <a:ext cx="3105148" cy="3968286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8829D4E-7EA7-49EA-BF1A-56919FD3563C}"/>
              </a:ext>
            </a:extLst>
          </p:cNvPr>
          <p:cNvSpPr>
            <a:spLocks noGrp="1"/>
          </p:cNvSpPr>
          <p:nvPr>
            <p:ph type="sldNum" sz="quarter" idx="45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F636F11D-E48D-49A6-BB73-FDEA9FDFC8BE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1"/>
            <a:ext cx="2679700" cy="6045200"/>
          </a:xfrm>
          <a:custGeom>
            <a:avLst/>
            <a:gdLst>
              <a:gd name="connsiteX0" fmla="*/ 0 w 5299075"/>
              <a:gd name="connsiteY0" fmla="*/ 0 h 6874525"/>
              <a:gd name="connsiteX1" fmla="*/ 5299075 w 5299075"/>
              <a:gd name="connsiteY1" fmla="*/ 0 h 6874525"/>
              <a:gd name="connsiteX2" fmla="*/ 5299075 w 5299075"/>
              <a:gd name="connsiteY2" fmla="*/ 462776 h 6874525"/>
              <a:gd name="connsiteX3" fmla="*/ 5299075 w 5299075"/>
              <a:gd name="connsiteY3" fmla="*/ 2606040 h 6874525"/>
              <a:gd name="connsiteX4" fmla="*/ 5299075 w 5299075"/>
              <a:gd name="connsiteY4" fmla="*/ 3526971 h 6874525"/>
              <a:gd name="connsiteX5" fmla="*/ 5299075 w 5299075"/>
              <a:gd name="connsiteY5" fmla="*/ 3530827 h 6874525"/>
              <a:gd name="connsiteX6" fmla="*/ 5299075 w 5299075"/>
              <a:gd name="connsiteY6" fmla="*/ 6058582 h 6874525"/>
              <a:gd name="connsiteX7" fmla="*/ 5299075 w 5299075"/>
              <a:gd name="connsiteY7" fmla="*/ 6311900 h 6874525"/>
              <a:gd name="connsiteX8" fmla="*/ 5299075 w 5299075"/>
              <a:gd name="connsiteY8" fmla="*/ 6395224 h 6874525"/>
              <a:gd name="connsiteX9" fmla="*/ 5299075 w 5299075"/>
              <a:gd name="connsiteY9" fmla="*/ 6874525 h 6874525"/>
              <a:gd name="connsiteX10" fmla="*/ 0 w 5299075"/>
              <a:gd name="connsiteY10" fmla="*/ 6874525 h 6874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299075" h="6874525">
                <a:moveTo>
                  <a:pt x="0" y="0"/>
                </a:moveTo>
                <a:lnTo>
                  <a:pt x="5299075" y="0"/>
                </a:lnTo>
                <a:lnTo>
                  <a:pt x="5299075" y="462776"/>
                </a:lnTo>
                <a:lnTo>
                  <a:pt x="5299075" y="2606040"/>
                </a:lnTo>
                <a:lnTo>
                  <a:pt x="5299075" y="3526971"/>
                </a:lnTo>
                <a:lnTo>
                  <a:pt x="5299075" y="3530827"/>
                </a:lnTo>
                <a:lnTo>
                  <a:pt x="5299075" y="6058582"/>
                </a:lnTo>
                <a:lnTo>
                  <a:pt x="5299075" y="6311900"/>
                </a:lnTo>
                <a:lnTo>
                  <a:pt x="5299075" y="6395224"/>
                </a:lnTo>
                <a:lnTo>
                  <a:pt x="5299075" y="6874525"/>
                </a:lnTo>
                <a:lnTo>
                  <a:pt x="0" y="687452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0" tIns="0" rIns="720000" bIns="900000" anchor="ctr" anchorCtr="0">
            <a:noAutofit/>
          </a:bodyPr>
          <a:lstStyle>
            <a:lvl1pPr algn="ctr">
              <a:spcBef>
                <a:spcPts val="0"/>
              </a:spcBef>
              <a:defRPr sz="1600" b="0" cap="none" baseline="0"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9F854F4-6B35-4AD5-9689-9E250518A1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01200" y="637200"/>
            <a:ext cx="8474066" cy="1218795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0EB93430-BE2C-484C-A61F-42B341860A3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319586" y="2199600"/>
            <a:ext cx="2566035" cy="3842425"/>
          </a:xfrm>
        </p:spPr>
        <p:txBody>
          <a:bodyPr/>
          <a:lstStyle>
            <a:lvl1pPr>
              <a:defRPr sz="180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1415CA21-78F8-4A21-A8C3-EFC62B6B6E3F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6303406" y="2199600"/>
            <a:ext cx="2566034" cy="3842425"/>
          </a:xfrm>
        </p:spPr>
        <p:txBody>
          <a:bodyPr/>
          <a:lstStyle>
            <a:lvl1pPr>
              <a:defRPr sz="180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2E8CAB09-976A-476A-A6AB-41E26C10C37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9086850" y="2074127"/>
            <a:ext cx="3105150" cy="3968286"/>
          </a:xfrm>
        </p:spPr>
        <p:txBody>
          <a:bodyPr lIns="144000" tIns="144000" rIns="385200" bIns="180000"/>
          <a:lstStyle>
            <a:lvl1pPr>
              <a:defRPr sz="180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object 3">
            <a:extLst>
              <a:ext uri="{FF2B5EF4-FFF2-40B4-BE49-F238E27FC236}">
                <a16:creationId xmlns:a16="http://schemas.microsoft.com/office/drawing/2014/main" id="{A9F82AAF-AB60-4C07-ADFB-9AD6FD2AD823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0533879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Keypoints 4.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E3E40F-2BE1-4D5A-8763-3B5BB9DE964D}"/>
              </a:ext>
            </a:extLst>
          </p:cNvPr>
          <p:cNvSpPr>
            <a:spLocks noGrp="1"/>
          </p:cNvSpPr>
          <p:nvPr>
            <p:ph type="sldNum" sz="quarter" idx="62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Light Purple Rectangle">
            <a:extLst>
              <a:ext uri="{FF2B5EF4-FFF2-40B4-BE49-F238E27FC236}">
                <a16:creationId xmlns:a16="http://schemas.microsoft.com/office/drawing/2014/main" id="{96E14F27-AA10-4B32-BA5D-0F489A2974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flipV="1">
            <a:off x="0" y="0"/>
            <a:ext cx="12192000" cy="3831771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9" name="Picture Placeholder 10">
            <a:extLst>
              <a:ext uri="{FF2B5EF4-FFF2-40B4-BE49-F238E27FC236}">
                <a16:creationId xmlns:a16="http://schemas.microsoft.com/office/drawing/2014/main" id="{E25F343A-BD96-478B-9D27-9385E063222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96686" y="0"/>
            <a:ext cx="10797042" cy="4470399"/>
          </a:xfrm>
          <a:custGeom>
            <a:avLst/>
            <a:gdLst>
              <a:gd name="connsiteX0" fmla="*/ 0 w 5302251"/>
              <a:gd name="connsiteY0" fmla="*/ 0 h 6056313"/>
              <a:gd name="connsiteX1" fmla="*/ 5302251 w 5302251"/>
              <a:gd name="connsiteY1" fmla="*/ 0 h 6056313"/>
              <a:gd name="connsiteX2" fmla="*/ 5302251 w 5302251"/>
              <a:gd name="connsiteY2" fmla="*/ 6056313 h 6056313"/>
              <a:gd name="connsiteX3" fmla="*/ 932984 w 5302251"/>
              <a:gd name="connsiteY3" fmla="*/ 6056313 h 6056313"/>
              <a:gd name="connsiteX4" fmla="*/ 0 w 5302251"/>
              <a:gd name="connsiteY4" fmla="*/ 6056313 h 6056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02251" h="6056313">
                <a:moveTo>
                  <a:pt x="0" y="0"/>
                </a:moveTo>
                <a:lnTo>
                  <a:pt x="5302251" y="0"/>
                </a:lnTo>
                <a:lnTo>
                  <a:pt x="5302251" y="6056313"/>
                </a:lnTo>
                <a:lnTo>
                  <a:pt x="932984" y="6056313"/>
                </a:lnTo>
                <a:lnTo>
                  <a:pt x="0" y="6056313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</p:spPr>
        <p:txBody>
          <a:bodyPr wrap="square" lIns="720000" tIns="0" rIns="720000" bIns="900000" anchor="ctr" anchorCtr="0">
            <a:noAutofit/>
          </a:bodyPr>
          <a:lstStyle>
            <a:lvl1pPr algn="ctr">
              <a:spcBef>
                <a:spcPts val="0"/>
              </a:spcBef>
              <a:defRPr sz="1400" b="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FF613719-29A0-42FE-A53F-47079E5DB4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4610" y="2723205"/>
            <a:ext cx="5565140" cy="1218795"/>
          </a:xfrm>
        </p:spPr>
        <p:txBody>
          <a:bodyPr wrap="square" anchor="b">
            <a:sp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15" name="Data 1">
            <a:extLst>
              <a:ext uri="{FF2B5EF4-FFF2-40B4-BE49-F238E27FC236}">
                <a16:creationId xmlns:a16="http://schemas.microsoft.com/office/drawing/2014/main" id="{D5F7423A-C156-451D-9C9E-2EDC1F743600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1365250" y="4944617"/>
            <a:ext cx="2160001" cy="877163"/>
          </a:xfrm>
        </p:spPr>
        <p:txBody>
          <a:bodyPr wrap="square">
            <a:spAutoFit/>
          </a:bodyPr>
          <a:lstStyle>
            <a:lvl1pPr>
              <a:defRPr sz="3600" spc="-50" baseline="0">
                <a:solidFill>
                  <a:schemeClr val="accent3"/>
                </a:solidFill>
                <a:latin typeface="+mj-lt"/>
              </a:defRPr>
            </a:lvl1pPr>
            <a:lvl2pPr>
              <a:spcBef>
                <a:spcPts val="600"/>
              </a:spcBef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000</a:t>
            </a:r>
          </a:p>
          <a:p>
            <a:pPr lvl="1"/>
            <a:r>
              <a:rPr lang="en-US"/>
              <a:t>Insert body text</a:t>
            </a:r>
          </a:p>
        </p:txBody>
      </p:sp>
      <p:sp>
        <p:nvSpPr>
          <p:cNvPr id="16" name="Data 2">
            <a:extLst>
              <a:ext uri="{FF2B5EF4-FFF2-40B4-BE49-F238E27FC236}">
                <a16:creationId xmlns:a16="http://schemas.microsoft.com/office/drawing/2014/main" id="{26E48632-4F9B-47B7-B3CB-9A5200BC1071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3815287" y="4944617"/>
            <a:ext cx="2160001" cy="877163"/>
          </a:xfrm>
        </p:spPr>
        <p:txBody>
          <a:bodyPr wrap="square">
            <a:spAutoFit/>
          </a:bodyPr>
          <a:lstStyle>
            <a:lvl1pPr>
              <a:defRPr sz="3600" spc="-50" baseline="0">
                <a:solidFill>
                  <a:schemeClr val="accent3"/>
                </a:solidFill>
                <a:latin typeface="+mj-lt"/>
              </a:defRPr>
            </a:lvl1pPr>
            <a:lvl2pPr>
              <a:spcBef>
                <a:spcPts val="600"/>
              </a:spcBef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000</a:t>
            </a:r>
          </a:p>
          <a:p>
            <a:pPr lvl="1"/>
            <a:r>
              <a:rPr lang="en-US"/>
              <a:t>Insert body text</a:t>
            </a:r>
          </a:p>
        </p:txBody>
      </p:sp>
      <p:sp>
        <p:nvSpPr>
          <p:cNvPr id="17" name="Data 3">
            <a:extLst>
              <a:ext uri="{FF2B5EF4-FFF2-40B4-BE49-F238E27FC236}">
                <a16:creationId xmlns:a16="http://schemas.microsoft.com/office/drawing/2014/main" id="{DAB895C0-9FA9-4CA4-B7C7-F104A08D860C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265324" y="4944617"/>
            <a:ext cx="2160001" cy="877163"/>
          </a:xfrm>
        </p:spPr>
        <p:txBody>
          <a:bodyPr wrap="square">
            <a:spAutoFit/>
          </a:bodyPr>
          <a:lstStyle>
            <a:lvl1pPr>
              <a:defRPr sz="3600" spc="-50" baseline="0">
                <a:solidFill>
                  <a:schemeClr val="accent3"/>
                </a:solidFill>
                <a:latin typeface="+mj-lt"/>
              </a:defRPr>
            </a:lvl1pPr>
            <a:lvl2pPr>
              <a:spcBef>
                <a:spcPts val="600"/>
              </a:spcBef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000</a:t>
            </a:r>
          </a:p>
          <a:p>
            <a:pPr lvl="1"/>
            <a:r>
              <a:rPr lang="en-US"/>
              <a:t>Insert body text</a:t>
            </a:r>
          </a:p>
        </p:txBody>
      </p:sp>
      <p:sp>
        <p:nvSpPr>
          <p:cNvPr id="18" name="Data 4">
            <a:extLst>
              <a:ext uri="{FF2B5EF4-FFF2-40B4-BE49-F238E27FC236}">
                <a16:creationId xmlns:a16="http://schemas.microsoft.com/office/drawing/2014/main" id="{3208D640-E4FD-4EAB-B10B-A6E5EEDB2231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8715360" y="4944617"/>
            <a:ext cx="2160001" cy="877163"/>
          </a:xfrm>
        </p:spPr>
        <p:txBody>
          <a:bodyPr wrap="square">
            <a:spAutoFit/>
          </a:bodyPr>
          <a:lstStyle>
            <a:lvl1pPr>
              <a:defRPr sz="3600" spc="-50" baseline="0">
                <a:solidFill>
                  <a:schemeClr val="accent3"/>
                </a:solidFill>
                <a:latin typeface="+mj-lt"/>
              </a:defRPr>
            </a:lvl1pPr>
            <a:lvl2pPr>
              <a:spcBef>
                <a:spcPts val="600"/>
              </a:spcBef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000</a:t>
            </a:r>
          </a:p>
          <a:p>
            <a:pPr lvl="1"/>
            <a:r>
              <a:rPr lang="en-US"/>
              <a:t>Insert body text</a:t>
            </a:r>
          </a:p>
        </p:txBody>
      </p:sp>
      <p:sp>
        <p:nvSpPr>
          <p:cNvPr id="10" name="object 3">
            <a:extLst>
              <a:ext uri="{FF2B5EF4-FFF2-40B4-BE49-F238E27FC236}">
                <a16:creationId xmlns:a16="http://schemas.microsoft.com/office/drawing/2014/main" id="{8024BACC-656D-447A-AF0A-275FED3076E8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083582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Keypoints 4.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A10D3B2-01B4-44F2-877B-6B1EC8693D4C}"/>
              </a:ext>
            </a:extLst>
          </p:cNvPr>
          <p:cNvSpPr>
            <a:spLocks noGrp="1"/>
          </p:cNvSpPr>
          <p:nvPr>
            <p:ph type="sldNum" sz="quarter" idx="62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CF46535-8F00-4D94-AFB4-399EC6D561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4000" y="1242000"/>
            <a:ext cx="4348675" cy="1235723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Insert short heading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773AF740-11B6-44C7-A036-474FFE0164F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68400" y="2326966"/>
            <a:ext cx="4318083" cy="772107"/>
          </a:xfrm>
          <a:prstGeom prst="rect">
            <a:avLst/>
          </a:prstGeom>
        </p:spPr>
        <p:txBody>
          <a:bodyPr wrap="square" lIns="0" tIns="216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800">
                <a:solidFill>
                  <a:schemeClr val="tx1"/>
                </a:solidFill>
                <a:latin typeface="Arial Nova Light" panose="020B0304020202020204" pitchFamily="34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18 pt, align box to the baseline of the title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5BBAB69C-4B21-451E-A1B0-FD994C0FDBE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284912" y="0"/>
            <a:ext cx="5907087" cy="3993642"/>
          </a:xfrm>
          <a:custGeom>
            <a:avLst/>
            <a:gdLst>
              <a:gd name="connsiteX0" fmla="*/ 0 w 5302251"/>
              <a:gd name="connsiteY0" fmla="*/ 0 h 6056313"/>
              <a:gd name="connsiteX1" fmla="*/ 5302251 w 5302251"/>
              <a:gd name="connsiteY1" fmla="*/ 0 h 6056313"/>
              <a:gd name="connsiteX2" fmla="*/ 5302251 w 5302251"/>
              <a:gd name="connsiteY2" fmla="*/ 6056313 h 6056313"/>
              <a:gd name="connsiteX3" fmla="*/ 932984 w 5302251"/>
              <a:gd name="connsiteY3" fmla="*/ 6056313 h 6056313"/>
              <a:gd name="connsiteX4" fmla="*/ 0 w 5302251"/>
              <a:gd name="connsiteY4" fmla="*/ 6056313 h 6056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02251" h="6056313">
                <a:moveTo>
                  <a:pt x="0" y="0"/>
                </a:moveTo>
                <a:lnTo>
                  <a:pt x="5302251" y="0"/>
                </a:lnTo>
                <a:lnTo>
                  <a:pt x="5302251" y="6056313"/>
                </a:lnTo>
                <a:lnTo>
                  <a:pt x="932984" y="6056313"/>
                </a:lnTo>
                <a:lnTo>
                  <a:pt x="0" y="60563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0" tIns="0" rIns="720000" bIns="900000" anchor="ctr" anchorCtr="0">
            <a:noAutofit/>
          </a:bodyPr>
          <a:lstStyle>
            <a:lvl1pPr algn="ctr">
              <a:spcBef>
                <a:spcPts val="0"/>
              </a:spcBef>
              <a:defRPr sz="1400" b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</a:t>
            </a:r>
          </a:p>
        </p:txBody>
      </p:sp>
      <p:sp>
        <p:nvSpPr>
          <p:cNvPr id="13" name="Data 1">
            <a:extLst>
              <a:ext uri="{FF2B5EF4-FFF2-40B4-BE49-F238E27FC236}">
                <a16:creationId xmlns:a16="http://schemas.microsoft.com/office/drawing/2014/main" id="{A7B35483-9664-4971-B461-F3FA29B379D3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975599" y="4594225"/>
            <a:ext cx="2340000" cy="907941"/>
          </a:xfrm>
        </p:spPr>
        <p:txBody>
          <a:bodyPr wrap="square">
            <a:spAutoFit/>
          </a:bodyPr>
          <a:lstStyle>
            <a:lvl1pPr>
              <a:defRPr sz="3600" spc="-50" baseline="0">
                <a:solidFill>
                  <a:schemeClr val="accent3"/>
                </a:solidFill>
                <a:latin typeface="+mj-lt"/>
              </a:defRPr>
            </a:lvl1pPr>
            <a:lvl2pPr>
              <a:spcBef>
                <a:spcPts val="600"/>
              </a:spcBef>
              <a:defRPr sz="18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000</a:t>
            </a:r>
          </a:p>
          <a:p>
            <a:pPr lvl="1"/>
            <a:r>
              <a:rPr lang="en-US"/>
              <a:t>Insert body text</a:t>
            </a:r>
          </a:p>
        </p:txBody>
      </p:sp>
      <p:sp>
        <p:nvSpPr>
          <p:cNvPr id="16" name="Data 2">
            <a:extLst>
              <a:ext uri="{FF2B5EF4-FFF2-40B4-BE49-F238E27FC236}">
                <a16:creationId xmlns:a16="http://schemas.microsoft.com/office/drawing/2014/main" id="{AF437EFF-827A-4978-ADC3-29F74E3E56D7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3603150" y="4594225"/>
            <a:ext cx="2340000" cy="907941"/>
          </a:xfrm>
        </p:spPr>
        <p:txBody>
          <a:bodyPr wrap="square">
            <a:spAutoFit/>
          </a:bodyPr>
          <a:lstStyle>
            <a:lvl1pPr>
              <a:defRPr sz="3600" spc="-50" baseline="0">
                <a:solidFill>
                  <a:schemeClr val="accent3"/>
                </a:solidFill>
                <a:latin typeface="+mj-lt"/>
              </a:defRPr>
            </a:lvl1pPr>
            <a:lvl2pPr>
              <a:spcBef>
                <a:spcPts val="600"/>
              </a:spcBef>
              <a:defRPr sz="18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000</a:t>
            </a:r>
          </a:p>
          <a:p>
            <a:pPr lvl="1"/>
            <a:r>
              <a:rPr lang="en-US"/>
              <a:t>Insert body text</a:t>
            </a:r>
          </a:p>
        </p:txBody>
      </p:sp>
      <p:sp>
        <p:nvSpPr>
          <p:cNvPr id="17" name="Data 3">
            <a:extLst>
              <a:ext uri="{FF2B5EF4-FFF2-40B4-BE49-F238E27FC236}">
                <a16:creationId xmlns:a16="http://schemas.microsoft.com/office/drawing/2014/main" id="{EED434CE-5226-4D3C-B6E1-58B6CCB825E5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230701" y="4594225"/>
            <a:ext cx="2340000" cy="907941"/>
          </a:xfrm>
        </p:spPr>
        <p:txBody>
          <a:bodyPr wrap="square">
            <a:spAutoFit/>
          </a:bodyPr>
          <a:lstStyle>
            <a:lvl1pPr>
              <a:defRPr sz="3600" spc="-50" baseline="0">
                <a:solidFill>
                  <a:schemeClr val="accent3"/>
                </a:solidFill>
                <a:latin typeface="+mj-lt"/>
              </a:defRPr>
            </a:lvl1pPr>
            <a:lvl2pPr>
              <a:spcBef>
                <a:spcPts val="600"/>
              </a:spcBef>
              <a:defRPr sz="18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000</a:t>
            </a:r>
          </a:p>
          <a:p>
            <a:pPr lvl="1"/>
            <a:r>
              <a:rPr lang="en-US"/>
              <a:t>Insert body text</a:t>
            </a:r>
          </a:p>
        </p:txBody>
      </p:sp>
      <p:sp>
        <p:nvSpPr>
          <p:cNvPr id="18" name="Data 4">
            <a:extLst>
              <a:ext uri="{FF2B5EF4-FFF2-40B4-BE49-F238E27FC236}">
                <a16:creationId xmlns:a16="http://schemas.microsoft.com/office/drawing/2014/main" id="{B0382F0B-565B-460E-AF17-61421E74545E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8858251" y="4594225"/>
            <a:ext cx="2340000" cy="907941"/>
          </a:xfrm>
        </p:spPr>
        <p:txBody>
          <a:bodyPr wrap="square">
            <a:spAutoFit/>
          </a:bodyPr>
          <a:lstStyle>
            <a:lvl1pPr>
              <a:defRPr sz="3600" spc="-50" baseline="0">
                <a:solidFill>
                  <a:schemeClr val="accent3"/>
                </a:solidFill>
                <a:latin typeface="+mj-lt"/>
              </a:defRPr>
            </a:lvl1pPr>
            <a:lvl2pPr>
              <a:spcBef>
                <a:spcPts val="600"/>
              </a:spcBef>
              <a:defRPr sz="18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000</a:t>
            </a:r>
          </a:p>
          <a:p>
            <a:pPr lvl="1"/>
            <a:r>
              <a:rPr lang="en-US"/>
              <a:t>Insert body text</a:t>
            </a:r>
          </a:p>
        </p:txBody>
      </p:sp>
      <p:sp>
        <p:nvSpPr>
          <p:cNvPr id="10" name="object 3">
            <a:extLst>
              <a:ext uri="{FF2B5EF4-FFF2-40B4-BE49-F238E27FC236}">
                <a16:creationId xmlns:a16="http://schemas.microsoft.com/office/drawing/2014/main" id="{09C33CA0-72AC-46A5-AF6C-E4CFD0F0E10B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3610425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Keypoints 4.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7C060A4-1768-4940-A27E-11DB0E261D38}"/>
              </a:ext>
            </a:extLst>
          </p:cNvPr>
          <p:cNvSpPr>
            <a:spLocks noGrp="1"/>
          </p:cNvSpPr>
          <p:nvPr>
            <p:ph type="sldNum" sz="quarter" idx="46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7253276-BD3A-49C3-BC22-542602D3DA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4000" y="964800"/>
            <a:ext cx="4367691" cy="1235723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Insert short heading</a:t>
            </a:r>
          </a:p>
        </p:txBody>
      </p:sp>
      <p:sp>
        <p:nvSpPr>
          <p:cNvPr id="12" name="Subtitle">
            <a:extLst>
              <a:ext uri="{FF2B5EF4-FFF2-40B4-BE49-F238E27FC236}">
                <a16:creationId xmlns:a16="http://schemas.microsoft.com/office/drawing/2014/main" id="{29C47F81-C62F-4527-97FE-689546B1BC5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68400" y="2058572"/>
            <a:ext cx="4353291" cy="772107"/>
          </a:xfrm>
          <a:prstGeom prst="rect">
            <a:avLst/>
          </a:prstGeom>
        </p:spPr>
        <p:txBody>
          <a:bodyPr wrap="square" lIns="0" tIns="216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800">
                <a:solidFill>
                  <a:schemeClr val="tx1"/>
                </a:solidFill>
                <a:latin typeface="Arial Nova Light" panose="020B0304020202020204" pitchFamily="34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18 pt, align box to the baseline of the title</a:t>
            </a:r>
          </a:p>
        </p:txBody>
      </p:sp>
      <p:sp>
        <p:nvSpPr>
          <p:cNvPr id="28" name="Text Placeholder 1">
            <a:extLst>
              <a:ext uri="{FF2B5EF4-FFF2-40B4-BE49-F238E27FC236}">
                <a16:creationId xmlns:a16="http://schemas.microsoft.com/office/drawing/2014/main" id="{FEA7B89F-0365-49C3-BB30-028CD4CEA8E5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75601" y="3472488"/>
            <a:ext cx="1978738" cy="838691"/>
          </a:xfrm>
        </p:spPr>
        <p:txBody>
          <a:bodyPr wrap="square">
            <a:spAutoFit/>
          </a:bodyPr>
          <a:lstStyle>
            <a:lvl1pPr>
              <a:defRPr sz="3600" spc="-100" baseline="0">
                <a:solidFill>
                  <a:schemeClr val="tx1"/>
                </a:solidFill>
              </a:defRPr>
            </a:lvl1pPr>
            <a:lvl2pPr>
              <a:spcBef>
                <a:spcPts val="300"/>
              </a:spcBef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49F21BA8-DB4A-4DBF-818A-2CF22C8659E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333750" y="3472488"/>
            <a:ext cx="1978738" cy="838691"/>
          </a:xfrm>
        </p:spPr>
        <p:txBody>
          <a:bodyPr wrap="square">
            <a:spAutoFit/>
          </a:bodyPr>
          <a:lstStyle>
            <a:lvl1pPr>
              <a:defRPr sz="3600" spc="-100" baseline="0">
                <a:solidFill>
                  <a:schemeClr val="tx1"/>
                </a:solidFill>
              </a:defRPr>
            </a:lvl1pPr>
            <a:lvl2pPr>
              <a:spcBef>
                <a:spcPts val="300"/>
              </a:spcBef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9DD36713-7F2A-41C6-97CF-497DFA8D94B8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75601" y="4858228"/>
            <a:ext cx="1978738" cy="838691"/>
          </a:xfrm>
        </p:spPr>
        <p:txBody>
          <a:bodyPr wrap="square">
            <a:spAutoFit/>
          </a:bodyPr>
          <a:lstStyle>
            <a:lvl1pPr>
              <a:defRPr sz="3600" spc="-100" baseline="0">
                <a:solidFill>
                  <a:schemeClr val="tx1"/>
                </a:solidFill>
              </a:defRPr>
            </a:lvl1pPr>
            <a:lvl2pPr>
              <a:spcBef>
                <a:spcPts val="300"/>
              </a:spcBef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6EABF0EB-DCBD-4EED-AEDB-E0340346D46E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333750" y="4858228"/>
            <a:ext cx="1978738" cy="838691"/>
          </a:xfrm>
        </p:spPr>
        <p:txBody>
          <a:bodyPr wrap="square">
            <a:spAutoFit/>
          </a:bodyPr>
          <a:lstStyle>
            <a:lvl1pPr>
              <a:defRPr sz="3600" spc="-100" baseline="0">
                <a:solidFill>
                  <a:schemeClr val="tx1"/>
                </a:solidFill>
              </a:defRPr>
            </a:lvl1pPr>
            <a:lvl2pPr>
              <a:spcBef>
                <a:spcPts val="300"/>
              </a:spcBef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5BBAB69C-4B21-451E-A1B0-FD994C0FDBE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196270" y="380999"/>
            <a:ext cx="5006717" cy="5664199"/>
          </a:xfrm>
          <a:custGeom>
            <a:avLst/>
            <a:gdLst>
              <a:gd name="connsiteX0" fmla="*/ 0 w 5302251"/>
              <a:gd name="connsiteY0" fmla="*/ 0 h 6056313"/>
              <a:gd name="connsiteX1" fmla="*/ 5302251 w 5302251"/>
              <a:gd name="connsiteY1" fmla="*/ 0 h 6056313"/>
              <a:gd name="connsiteX2" fmla="*/ 5302251 w 5302251"/>
              <a:gd name="connsiteY2" fmla="*/ 6056313 h 6056313"/>
              <a:gd name="connsiteX3" fmla="*/ 932984 w 5302251"/>
              <a:gd name="connsiteY3" fmla="*/ 6056313 h 6056313"/>
              <a:gd name="connsiteX4" fmla="*/ 0 w 5302251"/>
              <a:gd name="connsiteY4" fmla="*/ 6056313 h 6056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02251" h="6056313">
                <a:moveTo>
                  <a:pt x="0" y="0"/>
                </a:moveTo>
                <a:lnTo>
                  <a:pt x="5302251" y="0"/>
                </a:lnTo>
                <a:lnTo>
                  <a:pt x="5302251" y="6056313"/>
                </a:lnTo>
                <a:lnTo>
                  <a:pt x="932984" y="6056313"/>
                </a:lnTo>
                <a:lnTo>
                  <a:pt x="0" y="60563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0" tIns="0" rIns="720000" bIns="900000" anchor="ctr" anchorCtr="0">
            <a:noAutofit/>
          </a:bodyPr>
          <a:lstStyle>
            <a:lvl1pPr algn="ctr">
              <a:spcBef>
                <a:spcPts val="0"/>
              </a:spcBef>
              <a:defRPr sz="1400" b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</a:t>
            </a:r>
          </a:p>
        </p:txBody>
      </p:sp>
      <p:sp>
        <p:nvSpPr>
          <p:cNvPr id="32" name="Short statement">
            <a:extLst>
              <a:ext uri="{FF2B5EF4-FFF2-40B4-BE49-F238E27FC236}">
                <a16:creationId xmlns:a16="http://schemas.microsoft.com/office/drawing/2014/main" id="{C67664D1-DE76-4555-82F8-60FE3C6ADF85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478838" y="4663827"/>
            <a:ext cx="3330575" cy="1381373"/>
          </a:xfrm>
          <a:solidFill>
            <a:schemeClr val="accent4"/>
          </a:solidFill>
        </p:spPr>
        <p:txBody>
          <a:bodyPr lIns="252000" tIns="252000" rIns="252000" bIns="252000" anchor="ctr"/>
          <a:lstStyle>
            <a:lvl1pPr algn="l">
              <a:defRPr sz="18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Insert short statement in Graphik Semibold maximum three lines</a:t>
            </a:r>
          </a:p>
        </p:txBody>
      </p:sp>
      <p:sp>
        <p:nvSpPr>
          <p:cNvPr id="13" name="object 3">
            <a:extLst>
              <a:ext uri="{FF2B5EF4-FFF2-40B4-BE49-F238E27FC236}">
                <a16:creationId xmlns:a16="http://schemas.microsoft.com/office/drawing/2014/main" id="{F79375F9-A044-41AE-B9D7-A5E7F953A0FA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5716224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Keypoints 4.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D960197-DD77-4806-A07B-92117D4E634C}"/>
              </a:ext>
            </a:extLst>
          </p:cNvPr>
          <p:cNvSpPr>
            <a:spLocks noGrp="1"/>
          </p:cNvSpPr>
          <p:nvPr>
            <p:ph type="sldNum" sz="quarter" idx="48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E82B553-5E70-422E-A74D-C564BEC1CC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2558" y="637200"/>
            <a:ext cx="10484191" cy="1218795"/>
          </a:xfrm>
        </p:spPr>
        <p:txBody>
          <a:bodyPr wrap="square" anchor="t">
            <a:spAutoFit/>
          </a:bodyPr>
          <a:lstStyle>
            <a:lvl1pPr>
              <a:defRPr sz="4400"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AU"/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D0818C70-A8E1-4BE4-9EF2-0E79CEB29C4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63599" y="1719628"/>
            <a:ext cx="10463149" cy="495108"/>
          </a:xfrm>
          <a:prstGeom prst="rect">
            <a:avLst/>
          </a:prstGeom>
        </p:spPr>
        <p:txBody>
          <a:bodyPr wrap="square" lIns="0" tIns="216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800">
                <a:solidFill>
                  <a:schemeClr val="tx1"/>
                </a:solidFill>
                <a:latin typeface="Arial Nova Light" panose="020B0304020202020204" pitchFamily="34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18 pt, align to the baseline of the title</a:t>
            </a:r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0EB93430-BE2C-484C-A61F-42B341860A3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74827" y="3007301"/>
            <a:ext cx="2579511" cy="1906846"/>
          </a:xfrm>
        </p:spPr>
        <p:txBody>
          <a:bodyPr/>
          <a:lstStyle>
            <a:lvl1pPr>
              <a:defRPr sz="5400">
                <a:solidFill>
                  <a:schemeClr val="accent3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A954320D-A1AC-4268-B869-1D9F66C66B64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322840" y="3007301"/>
            <a:ext cx="2581200" cy="1906846"/>
          </a:xfrm>
        </p:spPr>
        <p:txBody>
          <a:bodyPr/>
          <a:lstStyle>
            <a:lvl1pPr>
              <a:defRPr sz="5400">
                <a:solidFill>
                  <a:schemeClr val="accent3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46E7F0ED-00C8-45CF-8E49-AB38DE186404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6275590" y="3007301"/>
            <a:ext cx="2581200" cy="1906846"/>
          </a:xfrm>
        </p:spPr>
        <p:txBody>
          <a:bodyPr/>
          <a:lstStyle>
            <a:lvl1pPr>
              <a:defRPr sz="5400">
                <a:solidFill>
                  <a:schemeClr val="accent3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3DA6628F-4C88-47B4-9221-6B4155A57B82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228340" y="3007301"/>
            <a:ext cx="2581200" cy="1906846"/>
          </a:xfrm>
        </p:spPr>
        <p:txBody>
          <a:bodyPr/>
          <a:lstStyle>
            <a:lvl1pPr>
              <a:defRPr sz="5400">
                <a:solidFill>
                  <a:schemeClr val="accent3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Text Box Outline">
            <a:extLst>
              <a:ext uri="{FF2B5EF4-FFF2-40B4-BE49-F238E27FC236}">
                <a16:creationId xmlns:a16="http://schemas.microsoft.com/office/drawing/2014/main" id="{ACB3F843-DC36-4BE8-9CD0-75E23E161B03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5495564"/>
            <a:ext cx="11428406" cy="549636"/>
          </a:xfrm>
          <a:ln>
            <a:solidFill>
              <a:schemeClr val="tx2">
                <a:lumMod val="60000"/>
                <a:lumOff val="40000"/>
              </a:schemeClr>
            </a:solidFill>
          </a:ln>
        </p:spPr>
        <p:txBody>
          <a:bodyPr lIns="216000" tIns="126000" rIns="216000" bIns="144000" anchor="ctr">
            <a:spAutoFit/>
          </a:bodyPr>
          <a:lstStyle>
            <a:lvl1pPr algn="ctr"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object 3">
            <a:extLst>
              <a:ext uri="{FF2B5EF4-FFF2-40B4-BE49-F238E27FC236}">
                <a16:creationId xmlns:a16="http://schemas.microsoft.com/office/drawing/2014/main" id="{2DA552CF-4587-4E1D-9964-50F14E3689D2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675872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Keypoints 4.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1E72000-54E2-4676-917B-741ECA627B87}"/>
              </a:ext>
            </a:extLst>
          </p:cNvPr>
          <p:cNvSpPr>
            <a:spLocks noGrp="1"/>
          </p:cNvSpPr>
          <p:nvPr>
            <p:ph type="sldNum" sz="quarter" idx="46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E82B553-5E70-422E-A74D-C564BEC1CC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3396" y="637200"/>
            <a:ext cx="10483353" cy="1218795"/>
          </a:xfrm>
        </p:spPr>
        <p:txBody>
          <a:bodyPr wrap="square" anchor="t">
            <a:spAutoFit/>
          </a:bodyPr>
          <a:lstStyle>
            <a:lvl1pPr>
              <a:defRPr sz="4400"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AU"/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D0818C70-A8E1-4BE4-9EF2-0E79CEB29C4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63599" y="1719629"/>
            <a:ext cx="10463149" cy="495108"/>
          </a:xfrm>
          <a:prstGeom prst="rect">
            <a:avLst/>
          </a:prstGeom>
        </p:spPr>
        <p:txBody>
          <a:bodyPr wrap="square" lIns="0" tIns="216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800">
                <a:solidFill>
                  <a:schemeClr val="tx1"/>
                </a:solidFill>
                <a:latin typeface="Arial Nova Light" panose="020B0304020202020204" pitchFamily="34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18 pt, align to the baseline of the title</a:t>
            </a:r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0EB93430-BE2C-484C-A61F-42B341860A3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70755" y="3047493"/>
            <a:ext cx="2581200" cy="1906846"/>
          </a:xfrm>
        </p:spPr>
        <p:txBody>
          <a:bodyPr/>
          <a:lstStyle>
            <a:lvl1pPr>
              <a:defRPr sz="180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1415CA21-78F8-4A21-A8C3-EFC62B6B6E3F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3323487" y="3047493"/>
            <a:ext cx="2581200" cy="1906846"/>
          </a:xfrm>
        </p:spPr>
        <p:txBody>
          <a:bodyPr/>
          <a:lstStyle>
            <a:lvl1pPr>
              <a:defRPr sz="180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2E8CAB09-976A-476A-A6AB-41E26C10C37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6276033" y="3047493"/>
            <a:ext cx="2581200" cy="1906846"/>
          </a:xfrm>
        </p:spPr>
        <p:txBody>
          <a:bodyPr/>
          <a:lstStyle>
            <a:lvl1pPr>
              <a:defRPr sz="180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6E625A0A-996E-459E-B204-F1FF451D43B4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9227196" y="3047493"/>
            <a:ext cx="2581200" cy="1906846"/>
          </a:xfrm>
        </p:spPr>
        <p:txBody>
          <a:bodyPr/>
          <a:lstStyle>
            <a:lvl1pPr>
              <a:defRPr sz="180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6" name="Text Box Outline">
            <a:extLst>
              <a:ext uri="{FF2B5EF4-FFF2-40B4-BE49-F238E27FC236}">
                <a16:creationId xmlns:a16="http://schemas.microsoft.com/office/drawing/2014/main" id="{2702ADDD-4A95-4935-834E-F7E3B64DB297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5495564"/>
            <a:ext cx="11428406" cy="549636"/>
          </a:xfrm>
          <a:ln>
            <a:solidFill>
              <a:schemeClr val="tx2">
                <a:lumMod val="60000"/>
                <a:lumOff val="40000"/>
              </a:schemeClr>
            </a:solidFill>
          </a:ln>
        </p:spPr>
        <p:txBody>
          <a:bodyPr lIns="216000" tIns="126000" rIns="216000" bIns="144000" anchor="ctr">
            <a:spAutoFit/>
          </a:bodyPr>
          <a:lstStyle>
            <a:lvl1pPr algn="ctr"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object 3">
            <a:extLst>
              <a:ext uri="{FF2B5EF4-FFF2-40B4-BE49-F238E27FC236}">
                <a16:creationId xmlns:a16="http://schemas.microsoft.com/office/drawing/2014/main" id="{2E208F53-997D-4B09-946A-9FB2B31D5AF6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300710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Keypoints 4.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ray BG">
            <a:extLst>
              <a:ext uri="{FF2B5EF4-FFF2-40B4-BE49-F238E27FC236}">
                <a16:creationId xmlns:a16="http://schemas.microsoft.com/office/drawing/2014/main" id="{088C38D8-C195-4F4A-9AD9-7825090A4D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flipH="1">
            <a:off x="609600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1207F4E-3BCB-4B39-8E85-60A649E5104F}"/>
              </a:ext>
            </a:extLst>
          </p:cNvPr>
          <p:cNvSpPr>
            <a:spLocks noGrp="1"/>
          </p:cNvSpPr>
          <p:nvPr>
            <p:ph type="sldNum" sz="quarter" idx="48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C087033-57CB-4BDF-8EC2-D0B88355B8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4000" y="1242000"/>
            <a:ext cx="4348675" cy="1235723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Insert short heading</a:t>
            </a:r>
          </a:p>
        </p:txBody>
      </p:sp>
      <p:sp>
        <p:nvSpPr>
          <p:cNvPr id="29" name="Subtitle">
            <a:extLst>
              <a:ext uri="{FF2B5EF4-FFF2-40B4-BE49-F238E27FC236}">
                <a16:creationId xmlns:a16="http://schemas.microsoft.com/office/drawing/2014/main" id="{C022FAAB-7C8D-4B15-94F8-4607E2839D6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68400" y="2331300"/>
            <a:ext cx="4318083" cy="772107"/>
          </a:xfrm>
          <a:prstGeom prst="rect">
            <a:avLst/>
          </a:prstGeom>
        </p:spPr>
        <p:txBody>
          <a:bodyPr wrap="square" lIns="0" tIns="216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800">
                <a:solidFill>
                  <a:schemeClr val="tx1"/>
                </a:solidFill>
                <a:latin typeface="Arial Nova Light" panose="020B0304020202020204" pitchFamily="34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18 pt, align box to the baseline of the title</a:t>
            </a:r>
          </a:p>
        </p:txBody>
      </p:sp>
      <p:sp>
        <p:nvSpPr>
          <p:cNvPr id="27" name="Intro">
            <a:extLst>
              <a:ext uri="{FF2B5EF4-FFF2-40B4-BE49-F238E27FC236}">
                <a16:creationId xmlns:a16="http://schemas.microsoft.com/office/drawing/2014/main" id="{8C78743F-8F68-4E91-B8C9-DFBA0B31F2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75600" y="3699840"/>
            <a:ext cx="4323475" cy="1710360"/>
          </a:xfrm>
        </p:spPr>
        <p:txBody>
          <a:bodyPr tIns="0"/>
          <a:lstStyle>
            <a:lvl1pPr>
              <a:defRPr sz="2000">
                <a:solidFill>
                  <a:schemeClr val="tx1"/>
                </a:solidFill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">
            <a:extLst>
              <a:ext uri="{FF2B5EF4-FFF2-40B4-BE49-F238E27FC236}">
                <a16:creationId xmlns:a16="http://schemas.microsoft.com/office/drawing/2014/main" id="{4206FD20-71FF-49A6-89F0-4A56FAEACE9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669575" y="1127322"/>
            <a:ext cx="2188676" cy="1906846"/>
          </a:xfrm>
        </p:spPr>
        <p:txBody>
          <a:bodyPr/>
          <a:lstStyle>
            <a:lvl1pPr>
              <a:defRPr sz="5400">
                <a:solidFill>
                  <a:schemeClr val="accent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04AE50B-705B-4022-9315-51B68F117CE3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430787" y="1127322"/>
            <a:ext cx="2188676" cy="1906846"/>
          </a:xfrm>
        </p:spPr>
        <p:txBody>
          <a:bodyPr/>
          <a:lstStyle>
            <a:lvl1pPr>
              <a:defRPr sz="5400">
                <a:solidFill>
                  <a:schemeClr val="accent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2BA98F49-E609-4758-9336-AFE59BE884D8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6669575" y="3639357"/>
            <a:ext cx="2188676" cy="1906846"/>
          </a:xfrm>
        </p:spPr>
        <p:txBody>
          <a:bodyPr/>
          <a:lstStyle>
            <a:lvl1pPr>
              <a:defRPr sz="5400">
                <a:solidFill>
                  <a:schemeClr val="accent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CC51C1C2-2BF2-4F56-8C05-29B600FD8688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430787" y="3639357"/>
            <a:ext cx="2188676" cy="1906846"/>
          </a:xfrm>
        </p:spPr>
        <p:txBody>
          <a:bodyPr/>
          <a:lstStyle>
            <a:lvl1pPr>
              <a:defRPr sz="5400">
                <a:solidFill>
                  <a:schemeClr val="accent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object 3">
            <a:extLst>
              <a:ext uri="{FF2B5EF4-FFF2-40B4-BE49-F238E27FC236}">
                <a16:creationId xmlns:a16="http://schemas.microsoft.com/office/drawing/2014/main" id="{882A1A3D-1483-4B16-8A0C-483CBA6D0EC6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0B51DA5E-0622-402A-8AD3-DE44F81EF7E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39084" y="6432376"/>
            <a:ext cx="1311547" cy="228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8160156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Keypoints 4.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1504987-9D5D-47C0-8FC5-5D900E849C58}"/>
              </a:ext>
            </a:extLst>
          </p:cNvPr>
          <p:cNvSpPr>
            <a:spLocks noGrp="1"/>
          </p:cNvSpPr>
          <p:nvPr>
            <p:ph type="sldNum" sz="quarter" idx="54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5A66E28-1ADB-4AA5-8159-B5B227967D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4000" y="1242000"/>
            <a:ext cx="4348675" cy="1235723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Insert short heading</a:t>
            </a:r>
          </a:p>
        </p:txBody>
      </p:sp>
      <p:sp>
        <p:nvSpPr>
          <p:cNvPr id="31" name="Subtitle">
            <a:extLst>
              <a:ext uri="{FF2B5EF4-FFF2-40B4-BE49-F238E27FC236}">
                <a16:creationId xmlns:a16="http://schemas.microsoft.com/office/drawing/2014/main" id="{7AAAF536-B1CB-4611-97AE-6979EAF0921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68400" y="2331300"/>
            <a:ext cx="4318083" cy="772107"/>
          </a:xfrm>
          <a:prstGeom prst="rect">
            <a:avLst/>
          </a:prstGeom>
        </p:spPr>
        <p:txBody>
          <a:bodyPr wrap="square" lIns="0" tIns="216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800">
                <a:solidFill>
                  <a:schemeClr val="tx1"/>
                </a:solidFill>
                <a:latin typeface="Arial Nova Light" panose="020B0304020202020204" pitchFamily="34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18 pt, align box to the baseline of the title</a:t>
            </a:r>
          </a:p>
        </p:txBody>
      </p:sp>
      <p:sp>
        <p:nvSpPr>
          <p:cNvPr id="29" name="Intro">
            <a:extLst>
              <a:ext uri="{FF2B5EF4-FFF2-40B4-BE49-F238E27FC236}">
                <a16:creationId xmlns:a16="http://schemas.microsoft.com/office/drawing/2014/main" id="{AD13162D-D51A-4A4B-A4B0-2F329718473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75600" y="3699840"/>
            <a:ext cx="4323475" cy="1710360"/>
          </a:xfrm>
        </p:spPr>
        <p:txBody>
          <a:bodyPr tIns="0"/>
          <a:lstStyle>
            <a:lvl1pPr>
              <a:defRPr sz="2000">
                <a:solidFill>
                  <a:schemeClr val="tx1"/>
                </a:solidFill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62B544E1-F6E5-492F-8ABF-32BDE50981EA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>
          <a:xfrm>
            <a:off x="6286500" y="1246732"/>
            <a:ext cx="2555875" cy="2182268"/>
          </a:xfrm>
        </p:spPr>
        <p:txBody>
          <a:bodyPr/>
          <a:lstStyle>
            <a:lvl1pPr>
              <a:defRPr sz="180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9BC2C64-D418-45DD-ADC0-312F5EC3D299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6286500" y="3862076"/>
            <a:ext cx="2555875" cy="2182268"/>
          </a:xfrm>
        </p:spPr>
        <p:txBody>
          <a:bodyPr/>
          <a:lstStyle>
            <a:lvl1pPr>
              <a:defRPr sz="180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7CDE60AE-410D-4C08-9511-7FA99F06BB23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9237662" y="1246732"/>
            <a:ext cx="2555875" cy="2182268"/>
          </a:xfrm>
        </p:spPr>
        <p:txBody>
          <a:bodyPr/>
          <a:lstStyle>
            <a:lvl1pPr>
              <a:defRPr sz="180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6DECF142-EC2E-429C-8CF8-E709B5AA1052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9237662" y="3862076"/>
            <a:ext cx="2555875" cy="2182268"/>
          </a:xfrm>
        </p:spPr>
        <p:txBody>
          <a:bodyPr/>
          <a:lstStyle>
            <a:lvl1pPr>
              <a:defRPr sz="180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object 3">
            <a:extLst>
              <a:ext uri="{FF2B5EF4-FFF2-40B4-BE49-F238E27FC236}">
                <a16:creationId xmlns:a16="http://schemas.microsoft.com/office/drawing/2014/main" id="{211C0EF2-89EC-46B7-B0B5-4A7342AD9EFD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7642200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Keypoints 4.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4584623-BDD1-425A-B4EC-C9752E0AAA23}"/>
              </a:ext>
            </a:extLst>
          </p:cNvPr>
          <p:cNvSpPr>
            <a:spLocks noGrp="1"/>
          </p:cNvSpPr>
          <p:nvPr>
            <p:ph type="sldNum" sz="quarter" idx="46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2707D39A-7BC0-4578-8E28-8F9273306AF4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77998" y="381599"/>
            <a:ext cx="4921077" cy="5663601"/>
          </a:xfrm>
          <a:custGeom>
            <a:avLst/>
            <a:gdLst>
              <a:gd name="connsiteX0" fmla="*/ 0 w 5299075"/>
              <a:gd name="connsiteY0" fmla="*/ 0 h 6874525"/>
              <a:gd name="connsiteX1" fmla="*/ 5299075 w 5299075"/>
              <a:gd name="connsiteY1" fmla="*/ 0 h 6874525"/>
              <a:gd name="connsiteX2" fmla="*/ 5299075 w 5299075"/>
              <a:gd name="connsiteY2" fmla="*/ 462776 h 6874525"/>
              <a:gd name="connsiteX3" fmla="*/ 5299075 w 5299075"/>
              <a:gd name="connsiteY3" fmla="*/ 2606040 h 6874525"/>
              <a:gd name="connsiteX4" fmla="*/ 5299075 w 5299075"/>
              <a:gd name="connsiteY4" fmla="*/ 3526971 h 6874525"/>
              <a:gd name="connsiteX5" fmla="*/ 5299075 w 5299075"/>
              <a:gd name="connsiteY5" fmla="*/ 3530827 h 6874525"/>
              <a:gd name="connsiteX6" fmla="*/ 5299075 w 5299075"/>
              <a:gd name="connsiteY6" fmla="*/ 6058582 h 6874525"/>
              <a:gd name="connsiteX7" fmla="*/ 5299075 w 5299075"/>
              <a:gd name="connsiteY7" fmla="*/ 6311900 h 6874525"/>
              <a:gd name="connsiteX8" fmla="*/ 5299075 w 5299075"/>
              <a:gd name="connsiteY8" fmla="*/ 6395224 h 6874525"/>
              <a:gd name="connsiteX9" fmla="*/ 5299075 w 5299075"/>
              <a:gd name="connsiteY9" fmla="*/ 6874525 h 6874525"/>
              <a:gd name="connsiteX10" fmla="*/ 0 w 5299075"/>
              <a:gd name="connsiteY10" fmla="*/ 6874525 h 6874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299075" h="6874525">
                <a:moveTo>
                  <a:pt x="0" y="0"/>
                </a:moveTo>
                <a:lnTo>
                  <a:pt x="5299075" y="0"/>
                </a:lnTo>
                <a:lnTo>
                  <a:pt x="5299075" y="462776"/>
                </a:lnTo>
                <a:lnTo>
                  <a:pt x="5299075" y="2606040"/>
                </a:lnTo>
                <a:lnTo>
                  <a:pt x="5299075" y="3526971"/>
                </a:lnTo>
                <a:lnTo>
                  <a:pt x="5299075" y="3530827"/>
                </a:lnTo>
                <a:lnTo>
                  <a:pt x="5299075" y="6058582"/>
                </a:lnTo>
                <a:lnTo>
                  <a:pt x="5299075" y="6311900"/>
                </a:lnTo>
                <a:lnTo>
                  <a:pt x="5299075" y="6395224"/>
                </a:lnTo>
                <a:lnTo>
                  <a:pt x="5299075" y="6874525"/>
                </a:lnTo>
                <a:lnTo>
                  <a:pt x="0" y="687452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0" tIns="0" rIns="720000" bIns="900000" anchor="ctr" anchorCtr="0">
            <a:noAutofit/>
          </a:bodyPr>
          <a:lstStyle>
            <a:lvl1pPr algn="ctr">
              <a:spcBef>
                <a:spcPts val="0"/>
              </a:spcBef>
              <a:defRPr sz="1600" b="0" cap="none" baseline="0"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5569AB5-623D-481D-9063-98ADEE99F1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05499" y="637200"/>
            <a:ext cx="5903913" cy="1218795"/>
          </a:xfrm>
        </p:spPr>
        <p:txBody>
          <a:bodyPr>
            <a:spAutoFit/>
          </a:bodyPr>
          <a:lstStyle>
            <a:lvl1pPr>
              <a:defRPr sz="4400"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CA"/>
          </a:p>
        </p:txBody>
      </p:sp>
      <p:sp>
        <p:nvSpPr>
          <p:cNvPr id="18" name="Subhead 1">
            <a:extLst>
              <a:ext uri="{FF2B5EF4-FFF2-40B4-BE49-F238E27FC236}">
                <a16:creationId xmlns:a16="http://schemas.microsoft.com/office/drawing/2014/main" id="{54BFE6EE-1365-4361-90A6-8B1824D238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05499" y="2407358"/>
            <a:ext cx="1968501" cy="567068"/>
          </a:xfrm>
        </p:spPr>
        <p:txBody>
          <a:bodyPr/>
          <a:lstStyle>
            <a:lvl1pPr>
              <a:defRPr sz="1800">
                <a:solidFill>
                  <a:schemeClr val="accent3"/>
                </a:solidFill>
                <a:latin typeface="+mj-lt"/>
              </a:defRPr>
            </a:lvl1pPr>
            <a:lvl2pPr marL="0" indent="0">
              <a:buNone/>
              <a:defRPr sz="16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19" name="Text Placeholder 1">
            <a:extLst>
              <a:ext uri="{FF2B5EF4-FFF2-40B4-BE49-F238E27FC236}">
                <a16:creationId xmlns:a16="http://schemas.microsoft.com/office/drawing/2014/main" id="{CA3F452B-5233-4410-B1D5-66733E1BA77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51825" y="2407358"/>
            <a:ext cx="3557588" cy="763200"/>
          </a:xfrm>
        </p:spPr>
        <p:txBody>
          <a:bodyPr/>
          <a:lstStyle>
            <a:lvl1pPr>
              <a:defRPr sz="16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1600"/>
            </a:lvl2pPr>
            <a:lvl3pPr marL="18000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4" name="Subhead 2">
            <a:extLst>
              <a:ext uri="{FF2B5EF4-FFF2-40B4-BE49-F238E27FC236}">
                <a16:creationId xmlns:a16="http://schemas.microsoft.com/office/drawing/2014/main" id="{EE3E60DC-2FA3-45BF-A036-826B994FF058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905499" y="3370880"/>
            <a:ext cx="1968501" cy="567068"/>
          </a:xfrm>
        </p:spPr>
        <p:txBody>
          <a:bodyPr/>
          <a:lstStyle>
            <a:lvl1pPr>
              <a:defRPr sz="1800">
                <a:solidFill>
                  <a:schemeClr val="accent3"/>
                </a:solidFill>
                <a:latin typeface="+mj-lt"/>
              </a:defRPr>
            </a:lvl1pPr>
            <a:lvl2pPr marL="0" indent="0">
              <a:buNone/>
              <a:defRPr sz="16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87315CF5-7805-443E-A3BF-9D7AB244C1FB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8251825" y="3370880"/>
            <a:ext cx="3557588" cy="763200"/>
          </a:xfrm>
        </p:spPr>
        <p:txBody>
          <a:bodyPr/>
          <a:lstStyle>
            <a:lvl1pPr>
              <a:defRPr sz="16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1600"/>
            </a:lvl2pPr>
            <a:lvl3pPr marL="18000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6" name="Subhead 3">
            <a:extLst>
              <a:ext uri="{FF2B5EF4-FFF2-40B4-BE49-F238E27FC236}">
                <a16:creationId xmlns:a16="http://schemas.microsoft.com/office/drawing/2014/main" id="{95DBB09C-8653-406F-8624-E102C2B49EC9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5905499" y="4334402"/>
            <a:ext cx="1968501" cy="567068"/>
          </a:xfrm>
        </p:spPr>
        <p:txBody>
          <a:bodyPr/>
          <a:lstStyle>
            <a:lvl1pPr>
              <a:defRPr sz="1800">
                <a:solidFill>
                  <a:schemeClr val="accent3"/>
                </a:solidFill>
                <a:latin typeface="+mj-lt"/>
              </a:defRPr>
            </a:lvl1pPr>
            <a:lvl2pPr marL="0" indent="0">
              <a:buNone/>
              <a:defRPr sz="16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880A5700-1B10-4241-B81C-7BC912E28C54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8251825" y="4334402"/>
            <a:ext cx="3557588" cy="763200"/>
          </a:xfrm>
        </p:spPr>
        <p:txBody>
          <a:bodyPr/>
          <a:lstStyle>
            <a:lvl1pPr>
              <a:defRPr sz="16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1600"/>
            </a:lvl2pPr>
            <a:lvl3pPr marL="18000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8" name="Subhead 4">
            <a:extLst>
              <a:ext uri="{FF2B5EF4-FFF2-40B4-BE49-F238E27FC236}">
                <a16:creationId xmlns:a16="http://schemas.microsoft.com/office/drawing/2014/main" id="{0752C426-53BE-4221-80BF-7A146E6012F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5905499" y="5297925"/>
            <a:ext cx="1968501" cy="567068"/>
          </a:xfrm>
        </p:spPr>
        <p:txBody>
          <a:bodyPr/>
          <a:lstStyle>
            <a:lvl1pPr>
              <a:defRPr sz="1800">
                <a:solidFill>
                  <a:schemeClr val="accent3"/>
                </a:solidFill>
                <a:latin typeface="+mj-lt"/>
              </a:defRPr>
            </a:lvl1pPr>
            <a:lvl2pPr marL="0" indent="0">
              <a:buNone/>
              <a:defRPr sz="16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/>
              <a:t>Insert subhead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B517634B-4371-468C-A678-2F3C25A5287B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8251825" y="5297925"/>
            <a:ext cx="3557588" cy="763200"/>
          </a:xfrm>
        </p:spPr>
        <p:txBody>
          <a:bodyPr/>
          <a:lstStyle>
            <a:lvl1pPr>
              <a:defRPr sz="16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1600"/>
            </a:lvl2pPr>
            <a:lvl3pPr marL="18000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object 3">
            <a:extLst>
              <a:ext uri="{FF2B5EF4-FFF2-40B4-BE49-F238E27FC236}">
                <a16:creationId xmlns:a16="http://schemas.microsoft.com/office/drawing/2014/main" id="{3968631A-8702-49A1-8AA5-BFB48154E17E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16161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– Full image (Numbered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7CC84FE-E740-4079-9D7C-90E53E09087A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0" y="0"/>
            <a:ext cx="12192000" cy="6042025"/>
          </a:xfrm>
          <a:solidFill>
            <a:schemeClr val="tx1">
              <a:lumMod val="50000"/>
              <a:lumOff val="50000"/>
            </a:schemeClr>
          </a:solidFill>
        </p:spPr>
        <p:txBody>
          <a:bodyPr bIns="1080000" anchor="ctr"/>
          <a:lstStyle>
            <a:lvl1pPr algn="ctr">
              <a:defRPr sz="1600">
                <a:solidFill>
                  <a:schemeClr val="bg2">
                    <a:lumMod val="75000"/>
                  </a:schemeClr>
                </a:solidFill>
                <a:latin typeface="+mn-lt"/>
              </a:defRPr>
            </a:lvl1pPr>
          </a:lstStyle>
          <a:p>
            <a:pPr lvl="0">
              <a:spcBef>
                <a:spcPts val="0"/>
              </a:spcBef>
            </a:pPr>
            <a:r>
              <a:rPr lang="en-CA"/>
              <a:t>Click on the icon or drag image </a:t>
            </a:r>
            <a:br>
              <a:rPr lang="en-CA"/>
            </a:br>
            <a:r>
              <a:rPr lang="en-CA"/>
              <a:t>to insert an image 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D8AA843-FBF8-4922-B012-C49A899D80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F8EB60C-7CC2-49F0-B2EE-C81F067DE041}" type="slidenum">
              <a:rPr lang="en-AU" noProof="0" smtClean="0"/>
              <a:pPr/>
              <a:t>‹#›</a:t>
            </a:fld>
            <a:endParaRPr lang="en-AU" sz="900" noProof="0"/>
          </a:p>
        </p:txBody>
      </p:sp>
      <p:sp>
        <p:nvSpPr>
          <p:cNvPr id="9" name="Number">
            <a:extLst>
              <a:ext uri="{FF2B5EF4-FFF2-40B4-BE49-F238E27FC236}">
                <a16:creationId xmlns:a16="http://schemas.microsoft.com/office/drawing/2014/main" id="{3FC8CE63-80DF-4042-A7A7-B4EE016D067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76657" y="1393557"/>
            <a:ext cx="1184620" cy="2554545"/>
          </a:xfrm>
        </p:spPr>
        <p:txBody>
          <a:bodyPr wrap="none" rIns="0" anchor="b">
            <a:spAutoFit/>
          </a:bodyPr>
          <a:lstStyle>
            <a:lvl1pPr algn="l">
              <a:defRPr sz="16600" b="1">
                <a:ln w="38100">
                  <a:noFill/>
                </a:ln>
                <a:solidFill>
                  <a:schemeClr val="bg1">
                    <a:alpha val="50000"/>
                  </a:schemeClr>
                </a:solidFill>
                <a:latin typeface="Arial Nova" panose="020B0504020202020204" pitchFamily="34" charset="0"/>
              </a:defRPr>
            </a:lvl1pPr>
          </a:lstStyle>
          <a:p>
            <a:pPr lvl="0"/>
            <a:r>
              <a:rPr lang="en-AU" noProof="0"/>
              <a:t>#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044012F-63BC-4A89-837F-D5729D92CD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3359" y="3891600"/>
            <a:ext cx="6930641" cy="929655"/>
          </a:xfrm>
        </p:spPr>
        <p:txBody>
          <a:bodyPr bIns="180000"/>
          <a:lstStyle>
            <a:lvl1pPr>
              <a:defRPr sz="5400" b="1">
                <a:solidFill>
                  <a:schemeClr val="bg1"/>
                </a:solidFill>
                <a:latin typeface="Arial Nova" panose="020B0504020202020204" pitchFamily="34" charset="0"/>
              </a:defRPr>
            </a:lvl1pPr>
          </a:lstStyle>
          <a:p>
            <a:r>
              <a:rPr lang="en-US"/>
              <a:t>Section title 54 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object 3">
            <a:extLst>
              <a:ext uri="{FF2B5EF4-FFF2-40B4-BE49-F238E27FC236}">
                <a16:creationId xmlns:a16="http://schemas.microsoft.com/office/drawing/2014/main" id="{BC755416-B364-42E5-A37A-540800194CA5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D487CAD8-E56C-4CC3-B2DD-A41D1842146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39084" y="6432376"/>
            <a:ext cx="1311547" cy="228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81258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ur Keypoints 4.9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3565F90-8CB7-458A-8CE6-32671DD95D79}"/>
              </a:ext>
            </a:extLst>
          </p:cNvPr>
          <p:cNvSpPr>
            <a:spLocks noGrp="1"/>
          </p:cNvSpPr>
          <p:nvPr>
            <p:ph type="sldNum" sz="quarter" idx="43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itle 2">
            <a:extLst>
              <a:ext uri="{FF2B5EF4-FFF2-40B4-BE49-F238E27FC236}">
                <a16:creationId xmlns:a16="http://schemas.microsoft.com/office/drawing/2014/main" id="{DB8EA5E2-F665-4C63-B414-F59D255B78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4000" y="980884"/>
            <a:ext cx="10256403" cy="609398"/>
          </a:xfrm>
        </p:spPr>
        <p:txBody>
          <a:bodyPr wrap="square">
            <a:spAutoFit/>
          </a:bodyPr>
          <a:lstStyle>
            <a:lvl1pPr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14" name="Intro">
            <a:extLst>
              <a:ext uri="{FF2B5EF4-FFF2-40B4-BE49-F238E27FC236}">
                <a16:creationId xmlns:a16="http://schemas.microsoft.com/office/drawing/2014/main" id="{55A39688-09C1-4B4F-B015-9F5B1E7B863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68400" y="1443038"/>
            <a:ext cx="10226950" cy="2095092"/>
          </a:xfrm>
        </p:spPr>
        <p:txBody>
          <a:bodyPr tIns="396000"/>
          <a:lstStyle>
            <a:lvl1pPr>
              <a:defRPr sz="2800">
                <a:solidFill>
                  <a:schemeClr val="tx1"/>
                </a:solidFill>
                <a:latin typeface="GT Sectra Fine Rg" panose="00000500000000000000" pitchFamily="50" charset="0"/>
              </a:defRPr>
            </a:lvl1pPr>
            <a:lvl2pPr marL="0" indent="0">
              <a:spcBef>
                <a:spcPts val="1800"/>
              </a:spcBef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Subhead">
            <a:extLst>
              <a:ext uri="{FF2B5EF4-FFF2-40B4-BE49-F238E27FC236}">
                <a16:creationId xmlns:a16="http://schemas.microsoft.com/office/drawing/2014/main" id="{58EB9B8D-1FD1-4787-BF26-304A469310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76048" y="3951876"/>
            <a:ext cx="10226940" cy="276999"/>
          </a:xfrm>
        </p:spPr>
        <p:txBody>
          <a:bodyPr wrap="square" anchor="b">
            <a:spAutoFit/>
          </a:bodyPr>
          <a:lstStyle>
            <a:lvl1pPr>
              <a:defRPr sz="1800">
                <a:solidFill>
                  <a:schemeClr val="accent4">
                    <a:lumMod val="20000"/>
                    <a:lumOff val="80000"/>
                  </a:schemeClr>
                </a:solidFill>
                <a:latin typeface="+mj-lt"/>
              </a:defRPr>
            </a:lvl1pPr>
            <a:lvl2pPr marL="0" indent="0">
              <a:buNone/>
              <a:defRPr sz="16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1">
            <a:extLst>
              <a:ext uri="{FF2B5EF4-FFF2-40B4-BE49-F238E27FC236}">
                <a16:creationId xmlns:a16="http://schemas.microsoft.com/office/drawing/2014/main" id="{E77D1A00-91CA-4945-9F2D-AED7937695F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76048" y="4543786"/>
            <a:ext cx="2268000" cy="1501413"/>
          </a:xfrm>
        </p:spPr>
        <p:txBody>
          <a:bodyPr/>
          <a:lstStyle>
            <a:lvl1pPr>
              <a:defRPr sz="16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1600"/>
            </a:lvl2pPr>
            <a:lvl3pPr marL="18000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9E778E-482C-4379-A248-D9D70097CF33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629028" y="4543786"/>
            <a:ext cx="2268000" cy="1501413"/>
          </a:xfrm>
        </p:spPr>
        <p:txBody>
          <a:bodyPr/>
          <a:lstStyle>
            <a:lvl1pPr>
              <a:defRPr sz="16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1600"/>
            </a:lvl2pPr>
            <a:lvl3pPr marL="18000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C688AA0-BA2E-4492-A759-6E59CDEE4FA1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6282008" y="4543786"/>
            <a:ext cx="2268000" cy="1501413"/>
          </a:xfrm>
        </p:spPr>
        <p:txBody>
          <a:bodyPr/>
          <a:lstStyle>
            <a:lvl1pPr>
              <a:defRPr sz="16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1600"/>
            </a:lvl2pPr>
            <a:lvl3pPr marL="18000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F18D8972-DDB3-4797-AD40-FD7C87EC77B4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8934988" y="4543786"/>
            <a:ext cx="2268000" cy="1501413"/>
          </a:xfrm>
        </p:spPr>
        <p:txBody>
          <a:bodyPr/>
          <a:lstStyle>
            <a:lvl1pPr>
              <a:defRPr sz="1600">
                <a:latin typeface="+mn-lt"/>
              </a:defRPr>
            </a:lvl1pPr>
            <a:lvl2pPr marL="180000" indent="-180000">
              <a:buFont typeface="Arial" panose="020B0604020202020204" pitchFamily="34" charset="0"/>
              <a:buChar char="•"/>
              <a:defRPr sz="1600"/>
            </a:lvl2pPr>
            <a:lvl3pPr marL="18000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object 3">
            <a:extLst>
              <a:ext uri="{FF2B5EF4-FFF2-40B4-BE49-F238E27FC236}">
                <a16:creationId xmlns:a16="http://schemas.microsoft.com/office/drawing/2014/main" id="{B27C7FEB-D1C2-4B8F-A3F9-0A86BF5D1537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1AD9279D-E219-47B2-B70E-54458DD8484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39084" y="6432376"/>
            <a:ext cx="1311547" cy="228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15215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Keypoints 4.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C67FDE-9CD2-43F1-8832-9B3025300C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F2F7A32-C1EA-4F7E-B0A2-7FCB5BFE90DE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273F0F2-6C5D-4416-BDD2-8002554C06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2625" y="637200"/>
            <a:ext cx="7296660" cy="1286506"/>
          </a:xfrm>
          <a:noFill/>
        </p:spPr>
        <p:txBody>
          <a:bodyPr wrap="square" lIns="0" tIns="0" rIns="0" bIns="0" rtlCol="0">
            <a:spAutoFit/>
          </a:bodyPr>
          <a:lstStyle>
            <a:lvl1pPr>
              <a:lnSpc>
                <a:spcPct val="95000"/>
              </a:lnSpc>
              <a:defRPr lang="en-AU" sz="4400" dirty="0">
                <a:solidFill>
                  <a:schemeClr val="tx1"/>
                </a:solidFill>
                <a:ea typeface="+mn-ea"/>
                <a:cs typeface="+mn-cs"/>
              </a:defRPr>
            </a:lvl1pPr>
          </a:lstStyle>
          <a:p>
            <a:pPr marL="0" lvl="0"/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AU"/>
          </a:p>
        </p:txBody>
      </p:sp>
      <p:sp>
        <p:nvSpPr>
          <p:cNvPr id="22" name="Text Placeholder 1">
            <a:extLst>
              <a:ext uri="{FF2B5EF4-FFF2-40B4-BE49-F238E27FC236}">
                <a16:creationId xmlns:a16="http://schemas.microsoft.com/office/drawing/2014/main" id="{F8F82CDB-5CCA-4B0D-805E-163CF3061F3F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987426" y="2544188"/>
            <a:ext cx="3328988" cy="1372719"/>
          </a:xfrm>
        </p:spPr>
        <p:txBody>
          <a:bodyPr/>
          <a:lstStyle>
            <a:lvl1pPr>
              <a:defRPr sz="1800">
                <a:latin typeface="+mj-lt"/>
              </a:defRPr>
            </a:lvl1pPr>
            <a:lvl2pPr marL="0" indent="0">
              <a:buNone/>
              <a:defRPr sz="16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81B4CEB4-85F4-4F90-AB84-FC94B9FD2DC8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987426" y="4434228"/>
            <a:ext cx="3328988" cy="1372719"/>
          </a:xfrm>
        </p:spPr>
        <p:txBody>
          <a:bodyPr/>
          <a:lstStyle>
            <a:lvl1pPr>
              <a:defRPr sz="1800">
                <a:latin typeface="+mj-lt"/>
              </a:defRPr>
            </a:lvl1pPr>
            <a:lvl2pPr marL="0" indent="0">
              <a:buNone/>
              <a:defRPr sz="16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51FBFD50-A769-45CF-B012-F890866F61F2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4922839" y="2544188"/>
            <a:ext cx="3326446" cy="1372719"/>
          </a:xfrm>
        </p:spPr>
        <p:txBody>
          <a:bodyPr/>
          <a:lstStyle>
            <a:lvl1pPr>
              <a:defRPr sz="1800">
                <a:latin typeface="+mj-lt"/>
              </a:defRPr>
            </a:lvl1pPr>
            <a:lvl2pPr marL="0" indent="0">
              <a:buNone/>
              <a:defRPr sz="16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9F425FD3-9D84-4C9E-8C98-D75AE272EEEC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4922839" y="4434228"/>
            <a:ext cx="3326446" cy="1372719"/>
          </a:xfrm>
        </p:spPr>
        <p:txBody>
          <a:bodyPr/>
          <a:lstStyle>
            <a:lvl1pPr>
              <a:defRPr sz="1800">
                <a:latin typeface="+mj-lt"/>
              </a:defRPr>
            </a:lvl1pPr>
            <a:lvl2pPr marL="0" indent="0">
              <a:buNone/>
              <a:defRPr sz="16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6CF835E0-149F-4B89-B44F-09588C16424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865554" y="-1"/>
            <a:ext cx="3326446" cy="6045199"/>
          </a:xfrm>
          <a:custGeom>
            <a:avLst/>
            <a:gdLst>
              <a:gd name="connsiteX0" fmla="*/ 0 w 5302251"/>
              <a:gd name="connsiteY0" fmla="*/ 0 h 6056313"/>
              <a:gd name="connsiteX1" fmla="*/ 5302251 w 5302251"/>
              <a:gd name="connsiteY1" fmla="*/ 0 h 6056313"/>
              <a:gd name="connsiteX2" fmla="*/ 5302251 w 5302251"/>
              <a:gd name="connsiteY2" fmla="*/ 6056313 h 6056313"/>
              <a:gd name="connsiteX3" fmla="*/ 932984 w 5302251"/>
              <a:gd name="connsiteY3" fmla="*/ 6056313 h 6056313"/>
              <a:gd name="connsiteX4" fmla="*/ 0 w 5302251"/>
              <a:gd name="connsiteY4" fmla="*/ 6056313 h 6056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02251" h="6056313">
                <a:moveTo>
                  <a:pt x="0" y="0"/>
                </a:moveTo>
                <a:lnTo>
                  <a:pt x="5302251" y="0"/>
                </a:lnTo>
                <a:lnTo>
                  <a:pt x="5302251" y="6056313"/>
                </a:lnTo>
                <a:lnTo>
                  <a:pt x="932984" y="6056313"/>
                </a:lnTo>
                <a:lnTo>
                  <a:pt x="0" y="60563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0" tIns="0" rIns="720000" bIns="900000" anchor="ctr" anchorCtr="0">
            <a:noAutofit/>
          </a:bodyPr>
          <a:lstStyle>
            <a:lvl1pPr algn="ctr">
              <a:spcBef>
                <a:spcPts val="0"/>
              </a:spcBef>
              <a:defRPr sz="1400" b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</a:t>
            </a:r>
          </a:p>
        </p:txBody>
      </p:sp>
      <p:sp>
        <p:nvSpPr>
          <p:cNvPr id="9" name="object 3">
            <a:extLst>
              <a:ext uri="{FF2B5EF4-FFF2-40B4-BE49-F238E27FC236}">
                <a16:creationId xmlns:a16="http://schemas.microsoft.com/office/drawing/2014/main" id="{B043DD30-6AB1-4305-ACD9-A45AA313ECD3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1210748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Keypoints 4.10 –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93B08FD-3A2E-415F-89C0-74804D3FE651}"/>
              </a:ext>
            </a:extLst>
          </p:cNvPr>
          <p:cNvSpPr>
            <a:spLocks noGrp="1"/>
          </p:cNvSpPr>
          <p:nvPr>
            <p:ph type="sldNum" sz="quarter" idx="56"/>
          </p:nvPr>
        </p:nvSpPr>
        <p:spPr/>
        <p:txBody>
          <a:bodyPr/>
          <a:lstStyle/>
          <a:p>
            <a:fld id="{876872E1-3CB8-45EA-A826-1429BD5BE353}" type="slidenum">
              <a:rPr lang="en-CA" smtClean="0"/>
              <a:pPr/>
              <a:t>‹#›</a:t>
            </a:fld>
            <a:endParaRPr lang="en-CA"/>
          </a:p>
        </p:txBody>
      </p:sp>
      <p:sp>
        <p:nvSpPr>
          <p:cNvPr id="10" name="Picture Placeholder 13">
            <a:extLst>
              <a:ext uri="{FF2B5EF4-FFF2-40B4-BE49-F238E27FC236}">
                <a16:creationId xmlns:a16="http://schemas.microsoft.com/office/drawing/2014/main" id="{AAA8BDDE-6F91-4C15-8A57-71AFAFC1135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8647113" cy="60452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720000" tIns="0" rIns="720000" bIns="900000" anchor="ctr" anchorCtr="0"/>
          <a:lstStyle>
            <a:lvl1pPr algn="l">
              <a:spcBef>
                <a:spcPts val="0"/>
              </a:spcBef>
              <a:defRPr sz="1600" b="0" cap="none" baseline="0"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 and use the crop tool </a:t>
            </a:r>
            <a:br>
              <a:rPr lang="en-US"/>
            </a:br>
            <a:r>
              <a:rPr lang="en-US"/>
              <a:t>to adjust the image cropping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D526E002-E12C-4B7D-A5DB-397B3DED9F75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293041" y="1717676"/>
            <a:ext cx="5907087" cy="4327525"/>
          </a:xfrm>
          <a:solidFill>
            <a:schemeClr val="accent3"/>
          </a:solidFill>
        </p:spPr>
        <p:txBody>
          <a:bodyPr lIns="540000" tIns="503999" rIns="684000" bIns="360000" anchor="t" anchorCtr="0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1400"/>
              </a:spcAft>
              <a:defRPr sz="4400">
                <a:solidFill>
                  <a:schemeClr val="accent4">
                    <a:lumMod val="20000"/>
                    <a:lumOff val="80000"/>
                  </a:schemeClr>
                </a:solidFill>
                <a:latin typeface="+mj-lt"/>
              </a:defRPr>
            </a:lvl1pPr>
            <a:lvl2pPr>
              <a:lnSpc>
                <a:spcPct val="105000"/>
              </a:lnSpc>
              <a:spcBef>
                <a:spcPts val="900"/>
              </a:spcBef>
              <a:defRPr sz="2000">
                <a:solidFill>
                  <a:schemeClr val="bg1"/>
                </a:solidFill>
              </a:defRPr>
            </a:lvl2pPr>
            <a:lvl3pPr>
              <a:lnSpc>
                <a:spcPct val="105000"/>
              </a:lnSpc>
              <a:spcBef>
                <a:spcPts val="900"/>
              </a:spcBef>
              <a:defRPr sz="2000">
                <a:solidFill>
                  <a:schemeClr val="bg1"/>
                </a:solidFill>
              </a:defRPr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Insert heading</a:t>
            </a: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022D8E8F-1608-C845-BB89-393FD181AAB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859437" y="3241435"/>
            <a:ext cx="2188676" cy="1077592"/>
          </a:xfrm>
        </p:spPr>
        <p:txBody>
          <a:bodyPr/>
          <a:lstStyle>
            <a:lvl1pPr>
              <a:spcBef>
                <a:spcPts val="600"/>
              </a:spcBef>
              <a:defRPr sz="3600">
                <a:solidFill>
                  <a:schemeClr val="bg1"/>
                </a:solidFill>
              </a:defRPr>
            </a:lvl1pPr>
            <a:lvl2pPr>
              <a:spcBef>
                <a:spcPts val="600"/>
              </a:spcBef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8AD74DF-DB89-BD42-9E5E-AB1F303A215F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9235084" y="3241435"/>
            <a:ext cx="2188676" cy="1077592"/>
          </a:xfrm>
        </p:spPr>
        <p:txBody>
          <a:bodyPr/>
          <a:lstStyle>
            <a:lvl1pPr>
              <a:spcBef>
                <a:spcPts val="600"/>
              </a:spcBef>
              <a:defRPr sz="3600">
                <a:solidFill>
                  <a:schemeClr val="bg1"/>
                </a:solidFill>
              </a:defRPr>
            </a:lvl1pPr>
            <a:lvl2pPr>
              <a:spcBef>
                <a:spcPts val="600"/>
              </a:spcBef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E0D5E02F-B34E-1347-93D2-96431B4A3055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859437" y="4551136"/>
            <a:ext cx="2188676" cy="1077592"/>
          </a:xfrm>
        </p:spPr>
        <p:txBody>
          <a:bodyPr/>
          <a:lstStyle>
            <a:lvl1pPr>
              <a:spcBef>
                <a:spcPts val="600"/>
              </a:spcBef>
              <a:defRPr sz="3600">
                <a:solidFill>
                  <a:schemeClr val="bg1"/>
                </a:solidFill>
              </a:defRPr>
            </a:lvl1pPr>
            <a:lvl2pPr>
              <a:spcBef>
                <a:spcPts val="600"/>
              </a:spcBef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A0380018-D906-034F-9F75-475A5A1B329D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9235084" y="4551136"/>
            <a:ext cx="2188676" cy="1077592"/>
          </a:xfrm>
        </p:spPr>
        <p:txBody>
          <a:bodyPr/>
          <a:lstStyle>
            <a:lvl1pPr>
              <a:spcBef>
                <a:spcPts val="600"/>
              </a:spcBef>
              <a:defRPr sz="3600">
                <a:solidFill>
                  <a:schemeClr val="bg1"/>
                </a:solidFill>
              </a:defRPr>
            </a:lvl1pPr>
            <a:lvl2pPr>
              <a:spcBef>
                <a:spcPts val="600"/>
              </a:spcBef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object 3">
            <a:extLst>
              <a:ext uri="{FF2B5EF4-FFF2-40B4-BE49-F238E27FC236}">
                <a16:creationId xmlns:a16="http://schemas.microsoft.com/office/drawing/2014/main" id="{B8FEE508-601E-40C4-AAF6-8E42F0E46FAA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2616418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Keypoints 4.11 – Image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6E3F74D-A8EB-4656-8DBD-3667F4334B7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Picture Placeholder">
            <a:extLst>
              <a:ext uri="{FF2B5EF4-FFF2-40B4-BE49-F238E27FC236}">
                <a16:creationId xmlns:a16="http://schemas.microsoft.com/office/drawing/2014/main" id="{FFF3DE60-5763-49F9-84D4-EFD70139DD3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12192001" cy="298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720000" tIns="0" rIns="720000" bIns="900000" anchor="ctr" anchorCtr="0"/>
          <a:lstStyle>
            <a:lvl1pPr algn="ctr">
              <a:spcBef>
                <a:spcPts val="0"/>
              </a:spcBef>
              <a:defRPr sz="1600" b="0" cap="none" baseline="0">
                <a:latin typeface="+mn-lt"/>
              </a:defRPr>
            </a:lvl1pPr>
          </a:lstStyle>
          <a:p>
            <a:r>
              <a:rPr lang="en-US"/>
              <a:t>Click on the icon to insert image in placeholder and </a:t>
            </a:r>
            <a:br>
              <a:rPr lang="en-US"/>
            </a:br>
            <a:r>
              <a:rPr lang="en-US"/>
              <a:t>use the crop tool to center the imag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CF31FD4-855B-4349-9E82-D5835AAED1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941" y="1241571"/>
            <a:ext cx="4950134" cy="1373216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19" name="Text Placeholder 1">
            <a:extLst>
              <a:ext uri="{FF2B5EF4-FFF2-40B4-BE49-F238E27FC236}">
                <a16:creationId xmlns:a16="http://schemas.microsoft.com/office/drawing/2014/main" id="{265EE99B-7D41-4CCA-91D9-6FD7ECA1D20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8001" y="3429000"/>
            <a:ext cx="2576338" cy="2616200"/>
          </a:xfrm>
          <a:prstGeom prst="rect">
            <a:avLst/>
          </a:prstGeom>
        </p:spPr>
        <p:txBody>
          <a:bodyPr/>
          <a:lstStyle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87258DFF-A625-4112-A1D7-CD60B75D460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29851" y="3429000"/>
            <a:ext cx="2577600" cy="2616200"/>
          </a:xfrm>
          <a:prstGeom prst="rect">
            <a:avLst/>
          </a:prstGeom>
        </p:spPr>
        <p:txBody>
          <a:bodyPr/>
          <a:lstStyle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9C73FB5C-1A7B-4515-A52C-BD3419BDAE4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82963" y="3429000"/>
            <a:ext cx="2577600" cy="2616200"/>
          </a:xfrm>
          <a:prstGeom prst="rect">
            <a:avLst/>
          </a:prstGeom>
        </p:spPr>
        <p:txBody>
          <a:bodyPr/>
          <a:lstStyle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AC55067A-6F86-4AFB-8A51-8CF95FDF02B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36075" y="3429000"/>
            <a:ext cx="2577600" cy="2616200"/>
          </a:xfrm>
          <a:prstGeom prst="rect">
            <a:avLst/>
          </a:prstGeom>
        </p:spPr>
        <p:txBody>
          <a:bodyPr/>
          <a:lstStyle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1" name="object 3">
            <a:extLst>
              <a:ext uri="{FF2B5EF4-FFF2-40B4-BE49-F238E27FC236}">
                <a16:creationId xmlns:a16="http://schemas.microsoft.com/office/drawing/2014/main" id="{D05FB42B-912D-4F4E-B9AC-3380959848E1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4981588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Keypoints 5.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3036C38-3272-4AD5-AFF4-47797BC69E5D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FD68DD-23BA-47D6-BF81-9AD00B1DE3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4000" y="1242000"/>
            <a:ext cx="4348675" cy="1235723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Insert short heading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773AF740-11B6-44C7-A036-474FFE0164F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68400" y="2331300"/>
            <a:ext cx="4318083" cy="772107"/>
          </a:xfrm>
          <a:prstGeom prst="rect">
            <a:avLst/>
          </a:prstGeom>
        </p:spPr>
        <p:txBody>
          <a:bodyPr wrap="square" lIns="0" tIns="216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800">
                <a:solidFill>
                  <a:schemeClr val="tx1"/>
                </a:solidFill>
                <a:latin typeface="Arial Nova Light" panose="020B0304020202020204" pitchFamily="34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18 pt, align box to the baseline of the title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5BBAB69C-4B21-451E-A1B0-FD994C0FDBE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284912" y="0"/>
            <a:ext cx="5907087" cy="3993642"/>
          </a:xfrm>
          <a:custGeom>
            <a:avLst/>
            <a:gdLst>
              <a:gd name="connsiteX0" fmla="*/ 0 w 5302251"/>
              <a:gd name="connsiteY0" fmla="*/ 0 h 6056313"/>
              <a:gd name="connsiteX1" fmla="*/ 5302251 w 5302251"/>
              <a:gd name="connsiteY1" fmla="*/ 0 h 6056313"/>
              <a:gd name="connsiteX2" fmla="*/ 5302251 w 5302251"/>
              <a:gd name="connsiteY2" fmla="*/ 6056313 h 6056313"/>
              <a:gd name="connsiteX3" fmla="*/ 932984 w 5302251"/>
              <a:gd name="connsiteY3" fmla="*/ 6056313 h 6056313"/>
              <a:gd name="connsiteX4" fmla="*/ 0 w 5302251"/>
              <a:gd name="connsiteY4" fmla="*/ 6056313 h 6056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02251" h="6056313">
                <a:moveTo>
                  <a:pt x="0" y="0"/>
                </a:moveTo>
                <a:lnTo>
                  <a:pt x="5302251" y="0"/>
                </a:lnTo>
                <a:lnTo>
                  <a:pt x="5302251" y="6056313"/>
                </a:lnTo>
                <a:lnTo>
                  <a:pt x="932984" y="6056313"/>
                </a:lnTo>
                <a:lnTo>
                  <a:pt x="0" y="60563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0" tIns="0" rIns="720000" bIns="900000" anchor="ctr" anchorCtr="0">
            <a:noAutofit/>
          </a:bodyPr>
          <a:lstStyle>
            <a:lvl1pPr algn="ctr">
              <a:spcBef>
                <a:spcPts val="0"/>
              </a:spcBef>
              <a:defRPr sz="1400" b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</a:t>
            </a:r>
          </a:p>
        </p:txBody>
      </p:sp>
      <p:sp>
        <p:nvSpPr>
          <p:cNvPr id="13" name="Data 1">
            <a:extLst>
              <a:ext uri="{FF2B5EF4-FFF2-40B4-BE49-F238E27FC236}">
                <a16:creationId xmlns:a16="http://schemas.microsoft.com/office/drawing/2014/main" id="{A7B35483-9664-4971-B461-F3FA29B379D3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975599" y="4594225"/>
            <a:ext cx="1872000" cy="907941"/>
          </a:xfrm>
        </p:spPr>
        <p:txBody>
          <a:bodyPr wrap="square">
            <a:spAutoFit/>
          </a:bodyPr>
          <a:lstStyle>
            <a:lvl1pPr>
              <a:defRPr sz="3600" spc="-50" baseline="0">
                <a:solidFill>
                  <a:schemeClr val="accent3"/>
                </a:solidFill>
                <a:latin typeface="+mj-lt"/>
              </a:defRPr>
            </a:lvl1pPr>
            <a:lvl2pPr>
              <a:spcBef>
                <a:spcPts val="600"/>
              </a:spcBef>
              <a:defRPr sz="18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000</a:t>
            </a:r>
          </a:p>
          <a:p>
            <a:pPr lvl="1"/>
            <a:r>
              <a:rPr lang="en-US"/>
              <a:t>Insert body text</a:t>
            </a:r>
          </a:p>
        </p:txBody>
      </p:sp>
      <p:sp>
        <p:nvSpPr>
          <p:cNvPr id="16" name="Data 2">
            <a:extLst>
              <a:ext uri="{FF2B5EF4-FFF2-40B4-BE49-F238E27FC236}">
                <a16:creationId xmlns:a16="http://schemas.microsoft.com/office/drawing/2014/main" id="{AF437EFF-827A-4978-ADC3-29F74E3E56D7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3204387" y="4594225"/>
            <a:ext cx="1872000" cy="907941"/>
          </a:xfrm>
        </p:spPr>
        <p:txBody>
          <a:bodyPr wrap="square">
            <a:spAutoFit/>
          </a:bodyPr>
          <a:lstStyle>
            <a:lvl1pPr>
              <a:defRPr sz="3600" spc="-50" baseline="0">
                <a:solidFill>
                  <a:schemeClr val="accent3"/>
                </a:solidFill>
                <a:latin typeface="+mj-lt"/>
              </a:defRPr>
            </a:lvl1pPr>
            <a:lvl2pPr>
              <a:spcBef>
                <a:spcPts val="600"/>
              </a:spcBef>
              <a:defRPr sz="18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000</a:t>
            </a:r>
          </a:p>
          <a:p>
            <a:pPr lvl="1"/>
            <a:r>
              <a:rPr lang="en-US"/>
              <a:t>Insert body text</a:t>
            </a:r>
          </a:p>
        </p:txBody>
      </p:sp>
      <p:sp>
        <p:nvSpPr>
          <p:cNvPr id="17" name="Data 3">
            <a:extLst>
              <a:ext uri="{FF2B5EF4-FFF2-40B4-BE49-F238E27FC236}">
                <a16:creationId xmlns:a16="http://schemas.microsoft.com/office/drawing/2014/main" id="{EED434CE-5226-4D3C-B6E1-58B6CCB825E5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5433175" y="4594225"/>
            <a:ext cx="1872000" cy="907941"/>
          </a:xfrm>
        </p:spPr>
        <p:txBody>
          <a:bodyPr wrap="square">
            <a:spAutoFit/>
          </a:bodyPr>
          <a:lstStyle>
            <a:lvl1pPr>
              <a:defRPr sz="3600" spc="-50" baseline="0">
                <a:solidFill>
                  <a:schemeClr val="accent3"/>
                </a:solidFill>
                <a:latin typeface="+mj-lt"/>
              </a:defRPr>
            </a:lvl1pPr>
            <a:lvl2pPr>
              <a:spcBef>
                <a:spcPts val="600"/>
              </a:spcBef>
              <a:defRPr sz="18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000</a:t>
            </a:r>
          </a:p>
          <a:p>
            <a:pPr lvl="1"/>
            <a:r>
              <a:rPr lang="en-US"/>
              <a:t>Insert body text</a:t>
            </a:r>
          </a:p>
        </p:txBody>
      </p:sp>
      <p:sp>
        <p:nvSpPr>
          <p:cNvPr id="18" name="Data 4">
            <a:extLst>
              <a:ext uri="{FF2B5EF4-FFF2-40B4-BE49-F238E27FC236}">
                <a16:creationId xmlns:a16="http://schemas.microsoft.com/office/drawing/2014/main" id="{B0382F0B-565B-460E-AF17-61421E74545E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7661963" y="4594225"/>
            <a:ext cx="1872000" cy="907941"/>
          </a:xfrm>
        </p:spPr>
        <p:txBody>
          <a:bodyPr wrap="square">
            <a:spAutoFit/>
          </a:bodyPr>
          <a:lstStyle>
            <a:lvl1pPr>
              <a:defRPr sz="3600" spc="-50" baseline="0">
                <a:solidFill>
                  <a:schemeClr val="accent3"/>
                </a:solidFill>
                <a:latin typeface="+mj-lt"/>
              </a:defRPr>
            </a:lvl1pPr>
            <a:lvl2pPr>
              <a:spcBef>
                <a:spcPts val="600"/>
              </a:spcBef>
              <a:defRPr sz="18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000</a:t>
            </a:r>
          </a:p>
          <a:p>
            <a:pPr lvl="1"/>
            <a:r>
              <a:rPr lang="en-US"/>
              <a:t>Insert body text</a:t>
            </a:r>
          </a:p>
        </p:txBody>
      </p:sp>
      <p:sp>
        <p:nvSpPr>
          <p:cNvPr id="12" name="Data 5">
            <a:extLst>
              <a:ext uri="{FF2B5EF4-FFF2-40B4-BE49-F238E27FC236}">
                <a16:creationId xmlns:a16="http://schemas.microsoft.com/office/drawing/2014/main" id="{F1F04D33-B440-43AA-B7CD-B6B2F050B294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9890750" y="4594225"/>
            <a:ext cx="1872000" cy="907941"/>
          </a:xfrm>
        </p:spPr>
        <p:txBody>
          <a:bodyPr wrap="square">
            <a:spAutoFit/>
          </a:bodyPr>
          <a:lstStyle>
            <a:lvl1pPr>
              <a:defRPr sz="3600" spc="-50" baseline="0">
                <a:solidFill>
                  <a:schemeClr val="accent3"/>
                </a:solidFill>
                <a:latin typeface="+mj-lt"/>
              </a:defRPr>
            </a:lvl1pPr>
            <a:lvl2pPr>
              <a:spcBef>
                <a:spcPts val="600"/>
              </a:spcBef>
              <a:defRPr sz="18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000</a:t>
            </a:r>
          </a:p>
          <a:p>
            <a:pPr lvl="1"/>
            <a:r>
              <a:rPr lang="en-US"/>
              <a:t>Insert body text</a:t>
            </a:r>
          </a:p>
        </p:txBody>
      </p:sp>
      <p:sp>
        <p:nvSpPr>
          <p:cNvPr id="14" name="object 3">
            <a:extLst>
              <a:ext uri="{FF2B5EF4-FFF2-40B4-BE49-F238E27FC236}">
                <a16:creationId xmlns:a16="http://schemas.microsoft.com/office/drawing/2014/main" id="{8E56625A-B0E0-4F15-93A5-2CCADA499A87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6770865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Keypoints 5.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8D8F868-1528-4B53-837C-488AC81417B1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E82B553-5E70-422E-A74D-C564BEC1CC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2558" y="637200"/>
            <a:ext cx="10484191" cy="1218795"/>
          </a:xfrm>
        </p:spPr>
        <p:txBody>
          <a:bodyPr wrap="square" anchor="t">
            <a:spAutoFit/>
          </a:bodyPr>
          <a:lstStyle>
            <a:lvl1pPr>
              <a:defRPr sz="4400"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AU"/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D0818C70-A8E1-4BE4-9EF2-0E79CEB29C4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63599" y="1719628"/>
            <a:ext cx="10463150" cy="495108"/>
          </a:xfrm>
          <a:prstGeom prst="rect">
            <a:avLst/>
          </a:prstGeom>
        </p:spPr>
        <p:txBody>
          <a:bodyPr wrap="square" lIns="0" tIns="216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800">
                <a:solidFill>
                  <a:schemeClr val="tx1"/>
                </a:solidFill>
                <a:latin typeface="Arial Nova Light" panose="020B0304020202020204" pitchFamily="34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18 pt, align to the baseline of the title</a:t>
            </a:r>
          </a:p>
        </p:txBody>
      </p:sp>
      <p:sp>
        <p:nvSpPr>
          <p:cNvPr id="4" name="Number 1">
            <a:extLst>
              <a:ext uri="{FF2B5EF4-FFF2-40B4-BE49-F238E27FC236}">
                <a16:creationId xmlns:a16="http://schemas.microsoft.com/office/drawing/2014/main" id="{0EB93430-BE2C-484C-A61F-42B341860A3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71331" y="3007301"/>
            <a:ext cx="1980000" cy="1906846"/>
          </a:xfrm>
        </p:spPr>
        <p:txBody>
          <a:bodyPr/>
          <a:lstStyle>
            <a:lvl1pPr>
              <a:defRPr sz="5400">
                <a:solidFill>
                  <a:schemeClr val="accent1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Number 2">
            <a:extLst>
              <a:ext uri="{FF2B5EF4-FFF2-40B4-BE49-F238E27FC236}">
                <a16:creationId xmlns:a16="http://schemas.microsoft.com/office/drawing/2014/main" id="{A954320D-A1AC-4268-B869-1D9F66C66B64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2735850" y="3007301"/>
            <a:ext cx="1980000" cy="1906846"/>
          </a:xfrm>
        </p:spPr>
        <p:txBody>
          <a:bodyPr/>
          <a:lstStyle>
            <a:lvl1pPr>
              <a:defRPr sz="5400">
                <a:solidFill>
                  <a:schemeClr val="accent1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Number 3">
            <a:extLst>
              <a:ext uri="{FF2B5EF4-FFF2-40B4-BE49-F238E27FC236}">
                <a16:creationId xmlns:a16="http://schemas.microsoft.com/office/drawing/2014/main" id="{46E7F0ED-00C8-45CF-8E49-AB38DE186404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5100369" y="3007301"/>
            <a:ext cx="1980000" cy="1906846"/>
          </a:xfrm>
        </p:spPr>
        <p:txBody>
          <a:bodyPr/>
          <a:lstStyle>
            <a:lvl1pPr>
              <a:defRPr sz="5400">
                <a:solidFill>
                  <a:schemeClr val="accent1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Number 4">
            <a:extLst>
              <a:ext uri="{FF2B5EF4-FFF2-40B4-BE49-F238E27FC236}">
                <a16:creationId xmlns:a16="http://schemas.microsoft.com/office/drawing/2014/main" id="{3DA6628F-4C88-47B4-9221-6B4155A57B82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7464888" y="3007301"/>
            <a:ext cx="1980000" cy="1906846"/>
          </a:xfrm>
        </p:spPr>
        <p:txBody>
          <a:bodyPr/>
          <a:lstStyle>
            <a:lvl1pPr>
              <a:defRPr sz="5400">
                <a:solidFill>
                  <a:schemeClr val="accent1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Number 5">
            <a:extLst>
              <a:ext uri="{FF2B5EF4-FFF2-40B4-BE49-F238E27FC236}">
                <a16:creationId xmlns:a16="http://schemas.microsoft.com/office/drawing/2014/main" id="{091A6C23-007D-4FE0-B8A8-6FD520EC8E98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9829406" y="3007301"/>
            <a:ext cx="1980000" cy="1906846"/>
          </a:xfrm>
        </p:spPr>
        <p:txBody>
          <a:bodyPr/>
          <a:lstStyle>
            <a:lvl1pPr>
              <a:defRPr sz="5400">
                <a:solidFill>
                  <a:schemeClr val="accent1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Text Box Outline">
            <a:extLst>
              <a:ext uri="{FF2B5EF4-FFF2-40B4-BE49-F238E27FC236}">
                <a16:creationId xmlns:a16="http://schemas.microsoft.com/office/drawing/2014/main" id="{ACB3F843-DC36-4BE8-9CD0-75E23E161B03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5495564"/>
            <a:ext cx="11428406" cy="549636"/>
          </a:xfrm>
          <a:ln>
            <a:solidFill>
              <a:schemeClr val="tx2">
                <a:lumMod val="60000"/>
                <a:lumOff val="40000"/>
              </a:schemeClr>
            </a:solidFill>
          </a:ln>
        </p:spPr>
        <p:txBody>
          <a:bodyPr lIns="216000" tIns="126000" rIns="216000" bIns="144000" anchor="ctr">
            <a:spAutoFit/>
          </a:bodyPr>
          <a:lstStyle>
            <a:lvl1pPr algn="ctr"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object 3">
            <a:extLst>
              <a:ext uri="{FF2B5EF4-FFF2-40B4-BE49-F238E27FC236}">
                <a16:creationId xmlns:a16="http://schemas.microsoft.com/office/drawing/2014/main" id="{2426BCAC-2E43-4FB6-8C40-DB3126470DE0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5150805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Keypoints 5.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56AAA5-7DB6-47B5-A0AD-1CE7A527B2F0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E82B553-5E70-422E-A74D-C564BEC1CC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3396" y="637200"/>
            <a:ext cx="10483353" cy="1218795"/>
          </a:xfrm>
        </p:spPr>
        <p:txBody>
          <a:bodyPr wrap="square" anchor="t">
            <a:spAutoFit/>
          </a:bodyPr>
          <a:lstStyle>
            <a:lvl1pPr>
              <a:defRPr sz="4400"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AU"/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D0818C70-A8E1-4BE4-9EF2-0E79CEB29C4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63599" y="1719629"/>
            <a:ext cx="10463149" cy="495108"/>
          </a:xfrm>
          <a:prstGeom prst="rect">
            <a:avLst/>
          </a:prstGeom>
        </p:spPr>
        <p:txBody>
          <a:bodyPr wrap="square" lIns="0" tIns="216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800">
                <a:solidFill>
                  <a:schemeClr val="tx1"/>
                </a:solidFill>
                <a:latin typeface="Arial Nova Light" panose="020B0304020202020204" pitchFamily="34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18 pt, align to the baseline of the title</a:t>
            </a:r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0EB93430-BE2C-484C-A61F-42B341860A3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68981" y="3047493"/>
            <a:ext cx="1980000" cy="1906846"/>
          </a:xfrm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1415CA21-78F8-4A21-A8C3-EFC62B6B6E3F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2730834" y="3047493"/>
            <a:ext cx="1980000" cy="1906846"/>
          </a:xfrm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2E8CAB09-976A-476A-A6AB-41E26C10C37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092687" y="3047493"/>
            <a:ext cx="1980000" cy="1906846"/>
          </a:xfrm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6E625A0A-996E-459E-B204-F1FF451D43B4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7454540" y="3047493"/>
            <a:ext cx="1980000" cy="1906846"/>
          </a:xfrm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86E777B3-723D-4903-B34C-017ACFCAC2EA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9816393" y="3047493"/>
            <a:ext cx="1980000" cy="1906846"/>
          </a:xfrm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6" name="Text Box Outline">
            <a:extLst>
              <a:ext uri="{FF2B5EF4-FFF2-40B4-BE49-F238E27FC236}">
                <a16:creationId xmlns:a16="http://schemas.microsoft.com/office/drawing/2014/main" id="{2702ADDD-4A95-4935-834E-F7E3B64DB297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5495564"/>
            <a:ext cx="11428406" cy="549636"/>
          </a:xfrm>
          <a:ln>
            <a:solidFill>
              <a:schemeClr val="tx2">
                <a:lumMod val="60000"/>
                <a:lumOff val="40000"/>
              </a:schemeClr>
            </a:solidFill>
          </a:ln>
        </p:spPr>
        <p:txBody>
          <a:bodyPr lIns="216000" tIns="126000" rIns="216000" bIns="144000" anchor="ctr">
            <a:spAutoFit/>
          </a:bodyPr>
          <a:lstStyle>
            <a:lvl1pPr algn="ctr"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object 3">
            <a:extLst>
              <a:ext uri="{FF2B5EF4-FFF2-40B4-BE49-F238E27FC236}">
                <a16:creationId xmlns:a16="http://schemas.microsoft.com/office/drawing/2014/main" id="{FA7E529A-7A7B-49D7-8C0D-38339B6A9A39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7507348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Keypoints 6.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2F2E3EB-E48B-4DE2-8387-B0684DA03F52}"/>
              </a:ext>
            </a:extLst>
          </p:cNvPr>
          <p:cNvSpPr>
            <a:spLocks noGrp="1"/>
          </p:cNvSpPr>
          <p:nvPr>
            <p:ph type="sldNum" sz="quarter" idx="64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3" name="Picture Placeholder 12">
            <a:extLst>
              <a:ext uri="{FF2B5EF4-FFF2-40B4-BE49-F238E27FC236}">
                <a16:creationId xmlns:a16="http://schemas.microsoft.com/office/drawing/2014/main" id="{0CB9A052-5BC2-4570-8E48-9E4E1E374B2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380999"/>
            <a:ext cx="4316412" cy="5664201"/>
          </a:xfrm>
          <a:custGeom>
            <a:avLst/>
            <a:gdLst>
              <a:gd name="connsiteX0" fmla="*/ 0 w 5299075"/>
              <a:gd name="connsiteY0" fmla="*/ 0 h 6874525"/>
              <a:gd name="connsiteX1" fmla="*/ 5299075 w 5299075"/>
              <a:gd name="connsiteY1" fmla="*/ 0 h 6874525"/>
              <a:gd name="connsiteX2" fmla="*/ 5299075 w 5299075"/>
              <a:gd name="connsiteY2" fmla="*/ 462776 h 6874525"/>
              <a:gd name="connsiteX3" fmla="*/ 5299075 w 5299075"/>
              <a:gd name="connsiteY3" fmla="*/ 2606040 h 6874525"/>
              <a:gd name="connsiteX4" fmla="*/ 5299075 w 5299075"/>
              <a:gd name="connsiteY4" fmla="*/ 3526971 h 6874525"/>
              <a:gd name="connsiteX5" fmla="*/ 5299075 w 5299075"/>
              <a:gd name="connsiteY5" fmla="*/ 3530827 h 6874525"/>
              <a:gd name="connsiteX6" fmla="*/ 5299075 w 5299075"/>
              <a:gd name="connsiteY6" fmla="*/ 6058582 h 6874525"/>
              <a:gd name="connsiteX7" fmla="*/ 5299075 w 5299075"/>
              <a:gd name="connsiteY7" fmla="*/ 6311900 h 6874525"/>
              <a:gd name="connsiteX8" fmla="*/ 5299075 w 5299075"/>
              <a:gd name="connsiteY8" fmla="*/ 6395224 h 6874525"/>
              <a:gd name="connsiteX9" fmla="*/ 5299075 w 5299075"/>
              <a:gd name="connsiteY9" fmla="*/ 6874525 h 6874525"/>
              <a:gd name="connsiteX10" fmla="*/ 0 w 5299075"/>
              <a:gd name="connsiteY10" fmla="*/ 6874525 h 6874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299075" h="6874525">
                <a:moveTo>
                  <a:pt x="0" y="0"/>
                </a:moveTo>
                <a:lnTo>
                  <a:pt x="5299075" y="0"/>
                </a:lnTo>
                <a:lnTo>
                  <a:pt x="5299075" y="462776"/>
                </a:lnTo>
                <a:lnTo>
                  <a:pt x="5299075" y="2606040"/>
                </a:lnTo>
                <a:lnTo>
                  <a:pt x="5299075" y="3526971"/>
                </a:lnTo>
                <a:lnTo>
                  <a:pt x="5299075" y="3530827"/>
                </a:lnTo>
                <a:lnTo>
                  <a:pt x="5299075" y="6058582"/>
                </a:lnTo>
                <a:lnTo>
                  <a:pt x="5299075" y="6311900"/>
                </a:lnTo>
                <a:lnTo>
                  <a:pt x="5299075" y="6395224"/>
                </a:lnTo>
                <a:lnTo>
                  <a:pt x="5299075" y="6874525"/>
                </a:lnTo>
                <a:lnTo>
                  <a:pt x="0" y="687452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0" tIns="0" rIns="720000" bIns="900000" anchor="ctr" anchorCtr="0">
            <a:noAutofit/>
          </a:bodyPr>
          <a:lstStyle>
            <a:lvl1pPr algn="ctr">
              <a:spcBef>
                <a:spcPts val="0"/>
              </a:spcBef>
              <a:defRPr sz="1600" b="0" cap="none" baseline="0"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E82B553-5E70-422E-A74D-C564BEC1CC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4397" y="968400"/>
            <a:ext cx="6734215" cy="1218795"/>
          </a:xfrm>
        </p:spPr>
        <p:txBody>
          <a:bodyPr wrap="square" anchor="t">
            <a:spAutoFit/>
          </a:bodyPr>
          <a:lstStyle>
            <a:lvl1pPr>
              <a:defRPr sz="4400"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AU"/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D0818C70-A8E1-4BE4-9EF2-0E79CEB29C4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903104" y="2048050"/>
            <a:ext cx="6703815" cy="772107"/>
          </a:xfrm>
          <a:prstGeom prst="rect">
            <a:avLst/>
          </a:prstGeom>
        </p:spPr>
        <p:txBody>
          <a:bodyPr wrap="square" lIns="0" tIns="216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800">
                <a:solidFill>
                  <a:schemeClr val="tx1"/>
                </a:solidFill>
                <a:latin typeface="Arial Nova Light" panose="020B0304020202020204" pitchFamily="34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18 pt, align to the </a:t>
            </a:r>
            <a:br>
              <a:rPr lang="en-US"/>
            </a:br>
            <a:r>
              <a:rPr lang="en-US"/>
              <a:t>baseline of the title</a:t>
            </a:r>
          </a:p>
        </p:txBody>
      </p:sp>
      <p:sp>
        <p:nvSpPr>
          <p:cNvPr id="11" name="Data 1">
            <a:extLst>
              <a:ext uri="{FF2B5EF4-FFF2-40B4-BE49-F238E27FC236}">
                <a16:creationId xmlns:a16="http://schemas.microsoft.com/office/drawing/2014/main" id="{965F3AB8-2F88-4B01-A22D-AAACCF0E4CD5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4922839" y="3508939"/>
            <a:ext cx="1966912" cy="1008000"/>
          </a:xfrm>
        </p:spPr>
        <p:txBody>
          <a:bodyPr wrap="square">
            <a:noAutofit/>
          </a:bodyPr>
          <a:lstStyle>
            <a:lvl1pPr>
              <a:lnSpc>
                <a:spcPct val="90000"/>
              </a:lnSpc>
              <a:defRPr sz="3600" spc="-50" baseline="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300"/>
              </a:spcBef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000</a:t>
            </a:r>
          </a:p>
          <a:p>
            <a:pPr lvl="1"/>
            <a:r>
              <a:rPr lang="en-US"/>
              <a:t>Insert body text</a:t>
            </a:r>
          </a:p>
        </p:txBody>
      </p:sp>
      <p:sp>
        <p:nvSpPr>
          <p:cNvPr id="34" name="Data 2">
            <a:extLst>
              <a:ext uri="{FF2B5EF4-FFF2-40B4-BE49-F238E27FC236}">
                <a16:creationId xmlns:a16="http://schemas.microsoft.com/office/drawing/2014/main" id="{C28AEEAD-EE16-45BD-9E84-22767C19CCD8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7287269" y="3508939"/>
            <a:ext cx="1966912" cy="1008000"/>
          </a:xfrm>
        </p:spPr>
        <p:txBody>
          <a:bodyPr wrap="square">
            <a:noAutofit/>
          </a:bodyPr>
          <a:lstStyle>
            <a:lvl1pPr>
              <a:lnSpc>
                <a:spcPct val="90000"/>
              </a:lnSpc>
              <a:defRPr sz="3600" spc="-50" baseline="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300"/>
              </a:spcBef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000</a:t>
            </a:r>
          </a:p>
          <a:p>
            <a:pPr lvl="1"/>
            <a:r>
              <a:rPr lang="en-US"/>
              <a:t>Insert body text</a:t>
            </a:r>
          </a:p>
        </p:txBody>
      </p:sp>
      <p:sp>
        <p:nvSpPr>
          <p:cNvPr id="35" name="Data 3">
            <a:extLst>
              <a:ext uri="{FF2B5EF4-FFF2-40B4-BE49-F238E27FC236}">
                <a16:creationId xmlns:a16="http://schemas.microsoft.com/office/drawing/2014/main" id="{73B791E0-2B56-4470-A78B-13FD908E0178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9651700" y="3508939"/>
            <a:ext cx="1966912" cy="1008000"/>
          </a:xfrm>
        </p:spPr>
        <p:txBody>
          <a:bodyPr wrap="square">
            <a:noAutofit/>
          </a:bodyPr>
          <a:lstStyle>
            <a:lvl1pPr>
              <a:lnSpc>
                <a:spcPct val="90000"/>
              </a:lnSpc>
              <a:defRPr sz="3600" spc="-50" baseline="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300"/>
              </a:spcBef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000</a:t>
            </a:r>
          </a:p>
          <a:p>
            <a:pPr lvl="1"/>
            <a:r>
              <a:rPr lang="en-US"/>
              <a:t>Insert body text</a:t>
            </a:r>
          </a:p>
        </p:txBody>
      </p:sp>
      <p:sp>
        <p:nvSpPr>
          <p:cNvPr id="36" name="Data 4">
            <a:extLst>
              <a:ext uri="{FF2B5EF4-FFF2-40B4-BE49-F238E27FC236}">
                <a16:creationId xmlns:a16="http://schemas.microsoft.com/office/drawing/2014/main" id="{437005CD-90AA-49FA-9BC7-A905822358DE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4922839" y="4917128"/>
            <a:ext cx="1966912" cy="1008000"/>
          </a:xfrm>
        </p:spPr>
        <p:txBody>
          <a:bodyPr wrap="square">
            <a:noAutofit/>
          </a:bodyPr>
          <a:lstStyle>
            <a:lvl1pPr>
              <a:lnSpc>
                <a:spcPct val="90000"/>
              </a:lnSpc>
              <a:defRPr sz="3600" spc="-50" baseline="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300"/>
              </a:spcBef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000</a:t>
            </a:r>
          </a:p>
          <a:p>
            <a:pPr lvl="1"/>
            <a:r>
              <a:rPr lang="en-US"/>
              <a:t>Insert body text</a:t>
            </a:r>
          </a:p>
        </p:txBody>
      </p:sp>
      <p:sp>
        <p:nvSpPr>
          <p:cNvPr id="37" name="Data 5">
            <a:extLst>
              <a:ext uri="{FF2B5EF4-FFF2-40B4-BE49-F238E27FC236}">
                <a16:creationId xmlns:a16="http://schemas.microsoft.com/office/drawing/2014/main" id="{56101BEE-90E7-4FDC-BA64-627EE07C6B3F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7287269" y="4917128"/>
            <a:ext cx="1966912" cy="1008000"/>
          </a:xfrm>
        </p:spPr>
        <p:txBody>
          <a:bodyPr wrap="square">
            <a:noAutofit/>
          </a:bodyPr>
          <a:lstStyle>
            <a:lvl1pPr>
              <a:lnSpc>
                <a:spcPct val="90000"/>
              </a:lnSpc>
              <a:defRPr sz="3600" spc="-50" baseline="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300"/>
              </a:spcBef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000</a:t>
            </a:r>
          </a:p>
          <a:p>
            <a:pPr lvl="1"/>
            <a:r>
              <a:rPr lang="en-US"/>
              <a:t>Insert body text</a:t>
            </a:r>
          </a:p>
        </p:txBody>
      </p:sp>
      <p:sp>
        <p:nvSpPr>
          <p:cNvPr id="38" name="Data 6">
            <a:extLst>
              <a:ext uri="{FF2B5EF4-FFF2-40B4-BE49-F238E27FC236}">
                <a16:creationId xmlns:a16="http://schemas.microsoft.com/office/drawing/2014/main" id="{1C4BE8CD-033F-4CF9-90DF-9F1BD506456B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9651700" y="4917128"/>
            <a:ext cx="1966912" cy="1008000"/>
          </a:xfrm>
        </p:spPr>
        <p:txBody>
          <a:bodyPr wrap="square">
            <a:noAutofit/>
          </a:bodyPr>
          <a:lstStyle>
            <a:lvl1pPr>
              <a:lnSpc>
                <a:spcPct val="90000"/>
              </a:lnSpc>
              <a:defRPr sz="3600" spc="-50" baseline="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300"/>
              </a:spcBef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000</a:t>
            </a:r>
          </a:p>
          <a:p>
            <a:pPr lvl="1"/>
            <a:r>
              <a:rPr lang="en-US"/>
              <a:t>Insert body text</a:t>
            </a:r>
          </a:p>
        </p:txBody>
      </p:sp>
      <p:sp>
        <p:nvSpPr>
          <p:cNvPr id="12" name="object 3">
            <a:extLst>
              <a:ext uri="{FF2B5EF4-FFF2-40B4-BE49-F238E27FC236}">
                <a16:creationId xmlns:a16="http://schemas.microsoft.com/office/drawing/2014/main" id="{82803432-86D1-46BF-91AA-EB4B8F45BDA2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5269079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Keypoints 6.2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64D4969-23EE-4C46-94E6-0FD6938FEDD9}"/>
              </a:ext>
            </a:extLst>
          </p:cNvPr>
          <p:cNvSpPr>
            <a:spLocks noGrp="1"/>
          </p:cNvSpPr>
          <p:nvPr>
            <p:ph type="sldNum" sz="quarter" idx="64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White Rectangle">
            <a:extLst>
              <a:ext uri="{FF2B5EF4-FFF2-40B4-BE49-F238E27FC236}">
                <a16:creationId xmlns:a16="http://schemas.microsoft.com/office/drawing/2014/main" id="{04C26DF2-351D-4910-9424-AF51F5555A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flipV="1">
            <a:off x="0" y="-1"/>
            <a:ext cx="12192000" cy="28289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E82B553-5E70-422E-A74D-C564BEC1CC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2559" y="637200"/>
            <a:ext cx="8515692" cy="1218795"/>
          </a:xfrm>
        </p:spPr>
        <p:txBody>
          <a:bodyPr wrap="square" anchor="t">
            <a:spAutoFit/>
          </a:bodyPr>
          <a:lstStyle>
            <a:lvl1pPr>
              <a:defRPr sz="4400"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AU"/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D0818C70-A8E1-4BE4-9EF2-0E79CEB29C4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63600" y="1719628"/>
            <a:ext cx="8477250" cy="495108"/>
          </a:xfrm>
          <a:prstGeom prst="rect">
            <a:avLst/>
          </a:prstGeom>
        </p:spPr>
        <p:txBody>
          <a:bodyPr wrap="square" lIns="0" tIns="216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800">
                <a:solidFill>
                  <a:schemeClr val="tx1"/>
                </a:solidFill>
                <a:latin typeface="Arial Nova Light" panose="020B0304020202020204" pitchFamily="34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18 pt, align to the baseline of the title</a:t>
            </a:r>
          </a:p>
        </p:txBody>
      </p:sp>
      <p:sp>
        <p:nvSpPr>
          <p:cNvPr id="11" name="Data 1">
            <a:extLst>
              <a:ext uri="{FF2B5EF4-FFF2-40B4-BE49-F238E27FC236}">
                <a16:creationId xmlns:a16="http://schemas.microsoft.com/office/drawing/2014/main" id="{965F3AB8-2F88-4B01-A22D-AAACCF0E4CD5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360375" y="3127944"/>
            <a:ext cx="2588400" cy="924869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4400" spc="-50" baseline="0">
                <a:solidFill>
                  <a:schemeClr val="accent2"/>
                </a:solidFill>
                <a:latin typeface="+mj-lt"/>
              </a:defRPr>
            </a:lvl1pPr>
            <a:lvl2pPr>
              <a:spcBef>
                <a:spcPts val="300"/>
              </a:spcBef>
              <a:defRPr sz="18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000</a:t>
            </a:r>
          </a:p>
          <a:p>
            <a:pPr lvl="1"/>
            <a:r>
              <a:rPr lang="en-US"/>
              <a:t>Insert body text</a:t>
            </a:r>
          </a:p>
        </p:txBody>
      </p:sp>
      <p:sp>
        <p:nvSpPr>
          <p:cNvPr id="13" name="Data 2">
            <a:extLst>
              <a:ext uri="{FF2B5EF4-FFF2-40B4-BE49-F238E27FC236}">
                <a16:creationId xmlns:a16="http://schemas.microsoft.com/office/drawing/2014/main" id="{8863829D-7A9B-42F2-86CD-40EA751B823B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3314703" y="3127944"/>
            <a:ext cx="2588400" cy="924869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4400" spc="-50" baseline="0">
                <a:solidFill>
                  <a:schemeClr val="accent2"/>
                </a:solidFill>
                <a:latin typeface="+mj-lt"/>
              </a:defRPr>
            </a:lvl1pPr>
            <a:lvl2pPr>
              <a:spcBef>
                <a:spcPts val="300"/>
              </a:spcBef>
              <a:defRPr sz="18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000</a:t>
            </a:r>
          </a:p>
          <a:p>
            <a:pPr lvl="1"/>
            <a:r>
              <a:rPr lang="en-US"/>
              <a:t>Insert body text</a:t>
            </a:r>
          </a:p>
        </p:txBody>
      </p:sp>
      <p:sp>
        <p:nvSpPr>
          <p:cNvPr id="16" name="Data 3">
            <a:extLst>
              <a:ext uri="{FF2B5EF4-FFF2-40B4-BE49-F238E27FC236}">
                <a16:creationId xmlns:a16="http://schemas.microsoft.com/office/drawing/2014/main" id="{B11A1989-8584-4DEC-B6D3-BF7D044C8EBC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265865" y="3127944"/>
            <a:ext cx="2588400" cy="924869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4400" spc="-50" baseline="0">
                <a:solidFill>
                  <a:schemeClr val="accent2"/>
                </a:solidFill>
                <a:latin typeface="+mj-lt"/>
              </a:defRPr>
            </a:lvl1pPr>
            <a:lvl2pPr>
              <a:spcBef>
                <a:spcPts val="300"/>
              </a:spcBef>
              <a:defRPr sz="18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000</a:t>
            </a:r>
          </a:p>
          <a:p>
            <a:pPr lvl="1"/>
            <a:r>
              <a:rPr lang="en-US"/>
              <a:t>Insert body text</a:t>
            </a:r>
          </a:p>
        </p:txBody>
      </p:sp>
      <p:sp>
        <p:nvSpPr>
          <p:cNvPr id="17" name="Data 4">
            <a:extLst>
              <a:ext uri="{FF2B5EF4-FFF2-40B4-BE49-F238E27FC236}">
                <a16:creationId xmlns:a16="http://schemas.microsoft.com/office/drawing/2014/main" id="{11DF9E38-CB6C-45C2-87B9-117D908F5D0A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360375" y="4736891"/>
            <a:ext cx="2588400" cy="924869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4400" spc="-50" baseline="0">
                <a:solidFill>
                  <a:schemeClr val="accent2"/>
                </a:solidFill>
                <a:latin typeface="+mj-lt"/>
              </a:defRPr>
            </a:lvl1pPr>
            <a:lvl2pPr>
              <a:spcBef>
                <a:spcPts val="300"/>
              </a:spcBef>
              <a:defRPr sz="18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000</a:t>
            </a:r>
          </a:p>
          <a:p>
            <a:pPr lvl="1"/>
            <a:r>
              <a:rPr lang="en-US"/>
              <a:t>Insert body text</a:t>
            </a:r>
          </a:p>
        </p:txBody>
      </p:sp>
      <p:sp>
        <p:nvSpPr>
          <p:cNvPr id="19" name="Data 5">
            <a:extLst>
              <a:ext uri="{FF2B5EF4-FFF2-40B4-BE49-F238E27FC236}">
                <a16:creationId xmlns:a16="http://schemas.microsoft.com/office/drawing/2014/main" id="{8316287A-C210-4BCC-B46B-4CFB70B279E2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3314703" y="4736891"/>
            <a:ext cx="2588400" cy="924869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4400" spc="-50" baseline="0">
                <a:solidFill>
                  <a:schemeClr val="accent2"/>
                </a:solidFill>
                <a:latin typeface="+mj-lt"/>
              </a:defRPr>
            </a:lvl1pPr>
            <a:lvl2pPr>
              <a:spcBef>
                <a:spcPts val="300"/>
              </a:spcBef>
              <a:defRPr sz="18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000</a:t>
            </a:r>
          </a:p>
          <a:p>
            <a:pPr lvl="1"/>
            <a:r>
              <a:rPr lang="en-US"/>
              <a:t>Insert body text</a:t>
            </a:r>
          </a:p>
        </p:txBody>
      </p:sp>
      <p:sp>
        <p:nvSpPr>
          <p:cNvPr id="20" name="Data 6">
            <a:extLst>
              <a:ext uri="{FF2B5EF4-FFF2-40B4-BE49-F238E27FC236}">
                <a16:creationId xmlns:a16="http://schemas.microsoft.com/office/drawing/2014/main" id="{3144B2F2-75AA-40E7-B25B-38FF70851A65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6265865" y="4736891"/>
            <a:ext cx="2588400" cy="924869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4400" spc="-50" baseline="0">
                <a:solidFill>
                  <a:schemeClr val="accent2"/>
                </a:solidFill>
                <a:latin typeface="+mj-lt"/>
              </a:defRPr>
            </a:lvl1pPr>
            <a:lvl2pPr>
              <a:spcBef>
                <a:spcPts val="300"/>
              </a:spcBef>
              <a:defRPr sz="18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000</a:t>
            </a:r>
          </a:p>
          <a:p>
            <a:pPr lvl="1"/>
            <a:r>
              <a:rPr lang="en-US"/>
              <a:t>Insert body text</a:t>
            </a:r>
          </a:p>
        </p:txBody>
      </p:sp>
      <p:sp>
        <p:nvSpPr>
          <p:cNvPr id="23" name="Picture Placeholder 12">
            <a:extLst>
              <a:ext uri="{FF2B5EF4-FFF2-40B4-BE49-F238E27FC236}">
                <a16:creationId xmlns:a16="http://schemas.microsoft.com/office/drawing/2014/main" id="{0CB9A052-5BC2-4570-8E48-9E4E1E374B2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512300" y="1"/>
            <a:ext cx="2679700" cy="6045200"/>
          </a:xfrm>
          <a:custGeom>
            <a:avLst/>
            <a:gdLst>
              <a:gd name="connsiteX0" fmla="*/ 0 w 5299075"/>
              <a:gd name="connsiteY0" fmla="*/ 0 h 6874525"/>
              <a:gd name="connsiteX1" fmla="*/ 5299075 w 5299075"/>
              <a:gd name="connsiteY1" fmla="*/ 0 h 6874525"/>
              <a:gd name="connsiteX2" fmla="*/ 5299075 w 5299075"/>
              <a:gd name="connsiteY2" fmla="*/ 462776 h 6874525"/>
              <a:gd name="connsiteX3" fmla="*/ 5299075 w 5299075"/>
              <a:gd name="connsiteY3" fmla="*/ 2606040 h 6874525"/>
              <a:gd name="connsiteX4" fmla="*/ 5299075 w 5299075"/>
              <a:gd name="connsiteY4" fmla="*/ 3526971 h 6874525"/>
              <a:gd name="connsiteX5" fmla="*/ 5299075 w 5299075"/>
              <a:gd name="connsiteY5" fmla="*/ 3530827 h 6874525"/>
              <a:gd name="connsiteX6" fmla="*/ 5299075 w 5299075"/>
              <a:gd name="connsiteY6" fmla="*/ 6058582 h 6874525"/>
              <a:gd name="connsiteX7" fmla="*/ 5299075 w 5299075"/>
              <a:gd name="connsiteY7" fmla="*/ 6311900 h 6874525"/>
              <a:gd name="connsiteX8" fmla="*/ 5299075 w 5299075"/>
              <a:gd name="connsiteY8" fmla="*/ 6395224 h 6874525"/>
              <a:gd name="connsiteX9" fmla="*/ 5299075 w 5299075"/>
              <a:gd name="connsiteY9" fmla="*/ 6874525 h 6874525"/>
              <a:gd name="connsiteX10" fmla="*/ 0 w 5299075"/>
              <a:gd name="connsiteY10" fmla="*/ 6874525 h 6874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299075" h="6874525">
                <a:moveTo>
                  <a:pt x="0" y="0"/>
                </a:moveTo>
                <a:lnTo>
                  <a:pt x="5299075" y="0"/>
                </a:lnTo>
                <a:lnTo>
                  <a:pt x="5299075" y="462776"/>
                </a:lnTo>
                <a:lnTo>
                  <a:pt x="5299075" y="2606040"/>
                </a:lnTo>
                <a:lnTo>
                  <a:pt x="5299075" y="3526971"/>
                </a:lnTo>
                <a:lnTo>
                  <a:pt x="5299075" y="3530827"/>
                </a:lnTo>
                <a:lnTo>
                  <a:pt x="5299075" y="6058582"/>
                </a:lnTo>
                <a:lnTo>
                  <a:pt x="5299075" y="6311900"/>
                </a:lnTo>
                <a:lnTo>
                  <a:pt x="5299075" y="6395224"/>
                </a:lnTo>
                <a:lnTo>
                  <a:pt x="5299075" y="6874525"/>
                </a:lnTo>
                <a:lnTo>
                  <a:pt x="0" y="687452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0" tIns="0" rIns="720000" bIns="900000" anchor="ctr" anchorCtr="0">
            <a:noAutofit/>
          </a:bodyPr>
          <a:lstStyle>
            <a:lvl1pPr algn="ctr">
              <a:spcBef>
                <a:spcPts val="0"/>
              </a:spcBef>
              <a:defRPr sz="1600" b="0" cap="none" baseline="0"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</a:t>
            </a:r>
          </a:p>
        </p:txBody>
      </p:sp>
      <p:sp>
        <p:nvSpPr>
          <p:cNvPr id="14" name="object 3">
            <a:extLst>
              <a:ext uri="{FF2B5EF4-FFF2-40B4-BE49-F238E27FC236}">
                <a16:creationId xmlns:a16="http://schemas.microsoft.com/office/drawing/2014/main" id="{E709C3A4-7444-4DE1-9858-29B005E5AC49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9673106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Keypoints 6.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02BA9E-ECD5-478C-9E74-96B4BDE117ED}"/>
              </a:ext>
            </a:extLst>
          </p:cNvPr>
          <p:cNvSpPr>
            <a:spLocks noGrp="1"/>
          </p:cNvSpPr>
          <p:nvPr>
            <p:ph type="sldNum" sz="quarter" idx="56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Picture Placeholder 12">
            <a:extLst>
              <a:ext uri="{FF2B5EF4-FFF2-40B4-BE49-F238E27FC236}">
                <a16:creationId xmlns:a16="http://schemas.microsoft.com/office/drawing/2014/main" id="{DC599917-36B7-48FC-8FDC-F2D5128ED47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1"/>
            <a:ext cx="2687637" cy="6045200"/>
          </a:xfrm>
          <a:custGeom>
            <a:avLst/>
            <a:gdLst>
              <a:gd name="connsiteX0" fmla="*/ 0 w 5299075"/>
              <a:gd name="connsiteY0" fmla="*/ 0 h 6874525"/>
              <a:gd name="connsiteX1" fmla="*/ 5299075 w 5299075"/>
              <a:gd name="connsiteY1" fmla="*/ 0 h 6874525"/>
              <a:gd name="connsiteX2" fmla="*/ 5299075 w 5299075"/>
              <a:gd name="connsiteY2" fmla="*/ 462776 h 6874525"/>
              <a:gd name="connsiteX3" fmla="*/ 5299075 w 5299075"/>
              <a:gd name="connsiteY3" fmla="*/ 2606040 h 6874525"/>
              <a:gd name="connsiteX4" fmla="*/ 5299075 w 5299075"/>
              <a:gd name="connsiteY4" fmla="*/ 3526971 h 6874525"/>
              <a:gd name="connsiteX5" fmla="*/ 5299075 w 5299075"/>
              <a:gd name="connsiteY5" fmla="*/ 3530827 h 6874525"/>
              <a:gd name="connsiteX6" fmla="*/ 5299075 w 5299075"/>
              <a:gd name="connsiteY6" fmla="*/ 6058582 h 6874525"/>
              <a:gd name="connsiteX7" fmla="*/ 5299075 w 5299075"/>
              <a:gd name="connsiteY7" fmla="*/ 6311900 h 6874525"/>
              <a:gd name="connsiteX8" fmla="*/ 5299075 w 5299075"/>
              <a:gd name="connsiteY8" fmla="*/ 6395224 h 6874525"/>
              <a:gd name="connsiteX9" fmla="*/ 5299075 w 5299075"/>
              <a:gd name="connsiteY9" fmla="*/ 6874525 h 6874525"/>
              <a:gd name="connsiteX10" fmla="*/ 0 w 5299075"/>
              <a:gd name="connsiteY10" fmla="*/ 6874525 h 6874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299075" h="6874525">
                <a:moveTo>
                  <a:pt x="0" y="0"/>
                </a:moveTo>
                <a:lnTo>
                  <a:pt x="5299075" y="0"/>
                </a:lnTo>
                <a:lnTo>
                  <a:pt x="5299075" y="462776"/>
                </a:lnTo>
                <a:lnTo>
                  <a:pt x="5299075" y="2606040"/>
                </a:lnTo>
                <a:lnTo>
                  <a:pt x="5299075" y="3526971"/>
                </a:lnTo>
                <a:lnTo>
                  <a:pt x="5299075" y="3530827"/>
                </a:lnTo>
                <a:lnTo>
                  <a:pt x="5299075" y="6058582"/>
                </a:lnTo>
                <a:lnTo>
                  <a:pt x="5299075" y="6311900"/>
                </a:lnTo>
                <a:lnTo>
                  <a:pt x="5299075" y="6395224"/>
                </a:lnTo>
                <a:lnTo>
                  <a:pt x="5299075" y="6874525"/>
                </a:lnTo>
                <a:lnTo>
                  <a:pt x="0" y="687452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720000" tIns="0" rIns="720000" bIns="900000" anchor="ctr" anchorCtr="0">
            <a:noAutofit/>
          </a:bodyPr>
          <a:lstStyle>
            <a:lvl1pPr algn="ctr">
              <a:spcBef>
                <a:spcPts val="0"/>
              </a:spcBef>
              <a:defRPr sz="1600" b="0" cap="none" baseline="0">
                <a:latin typeface="+mn-lt"/>
              </a:defRPr>
            </a:lvl1pPr>
          </a:lstStyle>
          <a:p>
            <a:r>
              <a:rPr lang="en-US"/>
              <a:t>Click on the icon to insert image </a:t>
            </a:r>
            <a:br>
              <a:rPr lang="en-US"/>
            </a:br>
            <a:r>
              <a:rPr lang="en-US"/>
              <a:t>in placeholder</a:t>
            </a:r>
          </a:p>
        </p:txBody>
      </p:sp>
      <p:sp>
        <p:nvSpPr>
          <p:cNvPr id="17" name="Title 4">
            <a:extLst>
              <a:ext uri="{FF2B5EF4-FFF2-40B4-BE49-F238E27FC236}">
                <a16:creationId xmlns:a16="http://schemas.microsoft.com/office/drawing/2014/main" id="{70BFC44F-BE87-49D9-9B10-60585586ED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01641" y="637200"/>
            <a:ext cx="8517008" cy="1218795"/>
          </a:xfrm>
        </p:spPr>
        <p:txBody>
          <a:bodyPr wrap="square" anchor="t">
            <a:spAutoFit/>
          </a:bodyPr>
          <a:lstStyle>
            <a:lvl1pPr>
              <a:defRPr sz="4400"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AU"/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22B06414-5407-49AF-9BA2-8F54AF10025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314016" y="1720800"/>
            <a:ext cx="8474066" cy="495108"/>
          </a:xfrm>
          <a:prstGeom prst="rect">
            <a:avLst/>
          </a:prstGeom>
        </p:spPr>
        <p:txBody>
          <a:bodyPr wrap="square" lIns="0" tIns="216000" rIns="0" bIns="0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800">
                <a:solidFill>
                  <a:schemeClr val="tx1"/>
                </a:solidFill>
                <a:latin typeface="Arial Nova Light" panose="020B0304020202020204" pitchFamily="34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18 pt, align to the baseline of the title</a:t>
            </a:r>
          </a:p>
        </p:txBody>
      </p:sp>
      <p:sp>
        <p:nvSpPr>
          <p:cNvPr id="23" name="Text Box Outline">
            <a:extLst>
              <a:ext uri="{FF2B5EF4-FFF2-40B4-BE49-F238E27FC236}">
                <a16:creationId xmlns:a16="http://schemas.microsoft.com/office/drawing/2014/main" id="{85FC6972-980C-4768-AB5A-265BD2A160A1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333750" y="2938904"/>
            <a:ext cx="8475656" cy="531005"/>
          </a:xfrm>
          <a:noFill/>
          <a:ln>
            <a:solidFill>
              <a:schemeClr val="tx2">
                <a:lumMod val="60000"/>
                <a:lumOff val="40000"/>
              </a:schemeClr>
            </a:solidFill>
          </a:ln>
        </p:spPr>
        <p:txBody>
          <a:bodyPr lIns="216000" tIns="46800" rIns="216000" bIns="72000" anchor="ctr"/>
          <a:lstStyle>
            <a:lvl1pPr algn="ctr"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">
            <a:extLst>
              <a:ext uri="{FF2B5EF4-FFF2-40B4-BE49-F238E27FC236}">
                <a16:creationId xmlns:a16="http://schemas.microsoft.com/office/drawing/2014/main" id="{FCD02036-9F29-447A-BCD3-73916E63B0C6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3333750" y="3765600"/>
            <a:ext cx="2574000" cy="1044000"/>
          </a:xfr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j-lt"/>
              </a:defRPr>
            </a:lvl1pPr>
            <a:lvl2pPr marL="0" indent="0">
              <a:buNone/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88B84A8E-97BA-4208-90F0-6CF944E4365B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284913" y="3765600"/>
            <a:ext cx="2574000" cy="1044000"/>
          </a:xfr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j-lt"/>
              </a:defRPr>
            </a:lvl1pPr>
            <a:lvl2pPr marL="0" indent="0">
              <a:buNone/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E4476FC5-2EC5-47E0-9B0B-9231094913B1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9236075" y="3765600"/>
            <a:ext cx="2574000" cy="1044000"/>
          </a:xfr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j-lt"/>
              </a:defRPr>
            </a:lvl1pPr>
            <a:lvl2pPr marL="0" indent="0">
              <a:buNone/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4BE05BC-C5BD-4A37-871C-D0C8A2A1C9DE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3333750" y="5001201"/>
            <a:ext cx="2574000" cy="1044000"/>
          </a:xfr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j-lt"/>
              </a:defRPr>
            </a:lvl1pPr>
            <a:lvl2pPr marL="0" indent="0">
              <a:buNone/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5746B40E-6A3A-4989-A449-881D5F1F00EC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284913" y="5001201"/>
            <a:ext cx="2574000" cy="1044000"/>
          </a:xfr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j-lt"/>
              </a:defRPr>
            </a:lvl1pPr>
            <a:lvl2pPr marL="0" indent="0">
              <a:buNone/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9230E1B5-9DF7-4A53-B6E8-C8718D417054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9236075" y="5001201"/>
            <a:ext cx="2574000" cy="1044000"/>
          </a:xfrm>
        </p:spPr>
        <p:txBody>
          <a:bodyPr/>
          <a:lstStyle>
            <a:lvl1pPr>
              <a:defRPr sz="1800">
                <a:solidFill>
                  <a:schemeClr val="accent2"/>
                </a:solidFill>
                <a:latin typeface="+mj-lt"/>
              </a:defRPr>
            </a:lvl1pPr>
            <a:lvl2pPr marL="0" indent="0">
              <a:buNone/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object 3">
            <a:extLst>
              <a:ext uri="{FF2B5EF4-FFF2-40B4-BE49-F238E27FC236}">
                <a16:creationId xmlns:a16="http://schemas.microsoft.com/office/drawing/2014/main" id="{770E35A5-189B-4D16-8356-C1F76AF84FB0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93950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117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63" Type="http://schemas.openxmlformats.org/officeDocument/2006/relationships/slideLayout" Target="../slideLayouts/slideLayout63.xml"/><Relationship Id="rId84" Type="http://schemas.openxmlformats.org/officeDocument/2006/relationships/slideLayout" Target="../slideLayouts/slideLayout84.xml"/><Relationship Id="rId138" Type="http://schemas.openxmlformats.org/officeDocument/2006/relationships/slideLayout" Target="../slideLayouts/slideLayout138.xml"/><Relationship Id="rId159" Type="http://schemas.openxmlformats.org/officeDocument/2006/relationships/slideLayout" Target="../slideLayouts/slideLayout159.xml"/><Relationship Id="rId107" Type="http://schemas.openxmlformats.org/officeDocument/2006/relationships/slideLayout" Target="../slideLayouts/slideLayout107.xml"/><Relationship Id="rId11" Type="http://schemas.openxmlformats.org/officeDocument/2006/relationships/slideLayout" Target="../slideLayouts/slideLayout11.xml"/><Relationship Id="rId32" Type="http://schemas.openxmlformats.org/officeDocument/2006/relationships/slideLayout" Target="../slideLayouts/slideLayout32.xml"/><Relationship Id="rId53" Type="http://schemas.openxmlformats.org/officeDocument/2006/relationships/slideLayout" Target="../slideLayouts/slideLayout53.xml"/><Relationship Id="rId74" Type="http://schemas.openxmlformats.org/officeDocument/2006/relationships/slideLayout" Target="../slideLayouts/slideLayout74.xml"/><Relationship Id="rId128" Type="http://schemas.openxmlformats.org/officeDocument/2006/relationships/slideLayout" Target="../slideLayouts/slideLayout128.xml"/><Relationship Id="rId149" Type="http://schemas.openxmlformats.org/officeDocument/2006/relationships/slideLayout" Target="../slideLayouts/slideLayout149.xml"/><Relationship Id="rId5" Type="http://schemas.openxmlformats.org/officeDocument/2006/relationships/slideLayout" Target="../slideLayouts/slideLayout5.xml"/><Relationship Id="rId95" Type="http://schemas.openxmlformats.org/officeDocument/2006/relationships/slideLayout" Target="../slideLayouts/slideLayout95.xml"/><Relationship Id="rId160" Type="http://schemas.openxmlformats.org/officeDocument/2006/relationships/slideLayout" Target="../slideLayouts/slideLayout160.xml"/><Relationship Id="rId22" Type="http://schemas.openxmlformats.org/officeDocument/2006/relationships/slideLayout" Target="../slideLayouts/slideLayout22.xml"/><Relationship Id="rId43" Type="http://schemas.openxmlformats.org/officeDocument/2006/relationships/slideLayout" Target="../slideLayouts/slideLayout43.xml"/><Relationship Id="rId64" Type="http://schemas.openxmlformats.org/officeDocument/2006/relationships/slideLayout" Target="../slideLayouts/slideLayout64.xml"/><Relationship Id="rId118" Type="http://schemas.openxmlformats.org/officeDocument/2006/relationships/slideLayout" Target="../slideLayouts/slideLayout118.xml"/><Relationship Id="rId139" Type="http://schemas.openxmlformats.org/officeDocument/2006/relationships/slideLayout" Target="../slideLayouts/slideLayout139.xml"/><Relationship Id="rId85" Type="http://schemas.openxmlformats.org/officeDocument/2006/relationships/slideLayout" Target="../slideLayouts/slideLayout85.xml"/><Relationship Id="rId150" Type="http://schemas.openxmlformats.org/officeDocument/2006/relationships/slideLayout" Target="../slideLayouts/slideLayout150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59" Type="http://schemas.openxmlformats.org/officeDocument/2006/relationships/slideLayout" Target="../slideLayouts/slideLayout59.xml"/><Relationship Id="rId103" Type="http://schemas.openxmlformats.org/officeDocument/2006/relationships/slideLayout" Target="../slideLayouts/slideLayout103.xml"/><Relationship Id="rId108" Type="http://schemas.openxmlformats.org/officeDocument/2006/relationships/slideLayout" Target="../slideLayouts/slideLayout108.xml"/><Relationship Id="rId124" Type="http://schemas.openxmlformats.org/officeDocument/2006/relationships/slideLayout" Target="../slideLayouts/slideLayout124.xml"/><Relationship Id="rId129" Type="http://schemas.openxmlformats.org/officeDocument/2006/relationships/slideLayout" Target="../slideLayouts/slideLayout129.xml"/><Relationship Id="rId54" Type="http://schemas.openxmlformats.org/officeDocument/2006/relationships/slideLayout" Target="../slideLayouts/slideLayout54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91" Type="http://schemas.openxmlformats.org/officeDocument/2006/relationships/slideLayout" Target="../slideLayouts/slideLayout91.xml"/><Relationship Id="rId96" Type="http://schemas.openxmlformats.org/officeDocument/2006/relationships/slideLayout" Target="../slideLayouts/slideLayout96.xml"/><Relationship Id="rId140" Type="http://schemas.openxmlformats.org/officeDocument/2006/relationships/slideLayout" Target="../slideLayouts/slideLayout140.xml"/><Relationship Id="rId145" Type="http://schemas.openxmlformats.org/officeDocument/2006/relationships/slideLayout" Target="../slideLayouts/slideLayout145.xml"/><Relationship Id="rId161" Type="http://schemas.openxmlformats.org/officeDocument/2006/relationships/slideLayout" Target="../slideLayouts/slideLayout16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49" Type="http://schemas.openxmlformats.org/officeDocument/2006/relationships/slideLayout" Target="../slideLayouts/slideLayout49.xml"/><Relationship Id="rId114" Type="http://schemas.openxmlformats.org/officeDocument/2006/relationships/slideLayout" Target="../slideLayouts/slideLayout114.xml"/><Relationship Id="rId119" Type="http://schemas.openxmlformats.org/officeDocument/2006/relationships/slideLayout" Target="../slideLayouts/slideLayout119.xml"/><Relationship Id="rId44" Type="http://schemas.openxmlformats.org/officeDocument/2006/relationships/slideLayout" Target="../slideLayouts/slideLayout44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81" Type="http://schemas.openxmlformats.org/officeDocument/2006/relationships/slideLayout" Target="../slideLayouts/slideLayout81.xml"/><Relationship Id="rId86" Type="http://schemas.openxmlformats.org/officeDocument/2006/relationships/slideLayout" Target="../slideLayouts/slideLayout86.xml"/><Relationship Id="rId130" Type="http://schemas.openxmlformats.org/officeDocument/2006/relationships/slideLayout" Target="../slideLayouts/slideLayout130.xml"/><Relationship Id="rId135" Type="http://schemas.openxmlformats.org/officeDocument/2006/relationships/slideLayout" Target="../slideLayouts/slideLayout135.xml"/><Relationship Id="rId151" Type="http://schemas.openxmlformats.org/officeDocument/2006/relationships/slideLayout" Target="../slideLayouts/slideLayout151.xml"/><Relationship Id="rId156" Type="http://schemas.openxmlformats.org/officeDocument/2006/relationships/slideLayout" Target="../slideLayouts/slideLayout156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109" Type="http://schemas.openxmlformats.org/officeDocument/2006/relationships/slideLayout" Target="../slideLayouts/slideLayout10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slideLayout" Target="../slideLayouts/slideLayout76.xml"/><Relationship Id="rId97" Type="http://schemas.openxmlformats.org/officeDocument/2006/relationships/slideLayout" Target="../slideLayouts/slideLayout97.xml"/><Relationship Id="rId104" Type="http://schemas.openxmlformats.org/officeDocument/2006/relationships/slideLayout" Target="../slideLayouts/slideLayout104.xml"/><Relationship Id="rId120" Type="http://schemas.openxmlformats.org/officeDocument/2006/relationships/slideLayout" Target="../slideLayouts/slideLayout120.xml"/><Relationship Id="rId125" Type="http://schemas.openxmlformats.org/officeDocument/2006/relationships/slideLayout" Target="../slideLayouts/slideLayout125.xml"/><Relationship Id="rId141" Type="http://schemas.openxmlformats.org/officeDocument/2006/relationships/slideLayout" Target="../slideLayouts/slideLayout141.xml"/><Relationship Id="rId146" Type="http://schemas.openxmlformats.org/officeDocument/2006/relationships/slideLayout" Target="../slideLayouts/slideLayout146.x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92" Type="http://schemas.openxmlformats.org/officeDocument/2006/relationships/slideLayout" Target="../slideLayouts/slideLayout92.xml"/><Relationship Id="rId162" Type="http://schemas.openxmlformats.org/officeDocument/2006/relationships/slideLayout" Target="../slideLayouts/slideLayout162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24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66" Type="http://schemas.openxmlformats.org/officeDocument/2006/relationships/slideLayout" Target="../slideLayouts/slideLayout66.xml"/><Relationship Id="rId87" Type="http://schemas.openxmlformats.org/officeDocument/2006/relationships/slideLayout" Target="../slideLayouts/slideLayout87.xml"/><Relationship Id="rId110" Type="http://schemas.openxmlformats.org/officeDocument/2006/relationships/slideLayout" Target="../slideLayouts/slideLayout110.xml"/><Relationship Id="rId115" Type="http://schemas.openxmlformats.org/officeDocument/2006/relationships/slideLayout" Target="../slideLayouts/slideLayout115.xml"/><Relationship Id="rId131" Type="http://schemas.openxmlformats.org/officeDocument/2006/relationships/slideLayout" Target="../slideLayouts/slideLayout131.xml"/><Relationship Id="rId136" Type="http://schemas.openxmlformats.org/officeDocument/2006/relationships/slideLayout" Target="../slideLayouts/slideLayout136.xml"/><Relationship Id="rId157" Type="http://schemas.openxmlformats.org/officeDocument/2006/relationships/slideLayout" Target="../slideLayouts/slideLayout157.xml"/><Relationship Id="rId61" Type="http://schemas.openxmlformats.org/officeDocument/2006/relationships/slideLayout" Target="../slideLayouts/slideLayout61.xml"/><Relationship Id="rId82" Type="http://schemas.openxmlformats.org/officeDocument/2006/relationships/slideLayout" Target="../slideLayouts/slideLayout82.xml"/><Relationship Id="rId152" Type="http://schemas.openxmlformats.org/officeDocument/2006/relationships/slideLayout" Target="../slideLayouts/slideLayout152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56" Type="http://schemas.openxmlformats.org/officeDocument/2006/relationships/slideLayout" Target="../slideLayouts/slideLayout56.xml"/><Relationship Id="rId77" Type="http://schemas.openxmlformats.org/officeDocument/2006/relationships/slideLayout" Target="../slideLayouts/slideLayout77.xml"/><Relationship Id="rId100" Type="http://schemas.openxmlformats.org/officeDocument/2006/relationships/slideLayout" Target="../slideLayouts/slideLayout100.xml"/><Relationship Id="rId105" Type="http://schemas.openxmlformats.org/officeDocument/2006/relationships/slideLayout" Target="../slideLayouts/slideLayout105.xml"/><Relationship Id="rId126" Type="http://schemas.openxmlformats.org/officeDocument/2006/relationships/slideLayout" Target="../slideLayouts/slideLayout126.xml"/><Relationship Id="rId147" Type="http://schemas.openxmlformats.org/officeDocument/2006/relationships/slideLayout" Target="../slideLayouts/slideLayout147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93" Type="http://schemas.openxmlformats.org/officeDocument/2006/relationships/slideLayout" Target="../slideLayouts/slideLayout93.xml"/><Relationship Id="rId98" Type="http://schemas.openxmlformats.org/officeDocument/2006/relationships/slideLayout" Target="../slideLayouts/slideLayout98.xml"/><Relationship Id="rId121" Type="http://schemas.openxmlformats.org/officeDocument/2006/relationships/slideLayout" Target="../slideLayouts/slideLayout121.xml"/><Relationship Id="rId142" Type="http://schemas.openxmlformats.org/officeDocument/2006/relationships/slideLayout" Target="../slideLayouts/slideLayout142.xml"/><Relationship Id="rId16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5" Type="http://schemas.openxmlformats.org/officeDocument/2006/relationships/slideLayout" Target="../slideLayouts/slideLayout25.xml"/><Relationship Id="rId46" Type="http://schemas.openxmlformats.org/officeDocument/2006/relationships/slideLayout" Target="../slideLayouts/slideLayout46.xml"/><Relationship Id="rId67" Type="http://schemas.openxmlformats.org/officeDocument/2006/relationships/slideLayout" Target="../slideLayouts/slideLayout67.xml"/><Relationship Id="rId116" Type="http://schemas.openxmlformats.org/officeDocument/2006/relationships/slideLayout" Target="../slideLayouts/slideLayout116.xml"/><Relationship Id="rId137" Type="http://schemas.openxmlformats.org/officeDocument/2006/relationships/slideLayout" Target="../slideLayouts/slideLayout137.xml"/><Relationship Id="rId158" Type="http://schemas.openxmlformats.org/officeDocument/2006/relationships/slideLayout" Target="../slideLayouts/slideLayout158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62" Type="http://schemas.openxmlformats.org/officeDocument/2006/relationships/slideLayout" Target="../slideLayouts/slideLayout62.xml"/><Relationship Id="rId83" Type="http://schemas.openxmlformats.org/officeDocument/2006/relationships/slideLayout" Target="../slideLayouts/slideLayout83.xml"/><Relationship Id="rId88" Type="http://schemas.openxmlformats.org/officeDocument/2006/relationships/slideLayout" Target="../slideLayouts/slideLayout88.xml"/><Relationship Id="rId111" Type="http://schemas.openxmlformats.org/officeDocument/2006/relationships/slideLayout" Target="../slideLayouts/slideLayout111.xml"/><Relationship Id="rId132" Type="http://schemas.openxmlformats.org/officeDocument/2006/relationships/slideLayout" Target="../slideLayouts/slideLayout132.xml"/><Relationship Id="rId153" Type="http://schemas.openxmlformats.org/officeDocument/2006/relationships/slideLayout" Target="../slideLayouts/slideLayout153.xml"/><Relationship Id="rId15" Type="http://schemas.openxmlformats.org/officeDocument/2006/relationships/slideLayout" Target="../slideLayouts/slideLayout15.xml"/><Relationship Id="rId36" Type="http://schemas.openxmlformats.org/officeDocument/2006/relationships/slideLayout" Target="../slideLayouts/slideLayout36.xml"/><Relationship Id="rId57" Type="http://schemas.openxmlformats.org/officeDocument/2006/relationships/slideLayout" Target="../slideLayouts/slideLayout57.xml"/><Relationship Id="rId106" Type="http://schemas.openxmlformats.org/officeDocument/2006/relationships/slideLayout" Target="../slideLayouts/slideLayout106.xml"/><Relationship Id="rId127" Type="http://schemas.openxmlformats.org/officeDocument/2006/relationships/slideLayout" Target="../slideLayouts/slideLayout12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52" Type="http://schemas.openxmlformats.org/officeDocument/2006/relationships/slideLayout" Target="../slideLayouts/slideLayout52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94" Type="http://schemas.openxmlformats.org/officeDocument/2006/relationships/slideLayout" Target="../slideLayouts/slideLayout94.xml"/><Relationship Id="rId99" Type="http://schemas.openxmlformats.org/officeDocument/2006/relationships/slideLayout" Target="../slideLayouts/slideLayout99.xml"/><Relationship Id="rId101" Type="http://schemas.openxmlformats.org/officeDocument/2006/relationships/slideLayout" Target="../slideLayouts/slideLayout101.xml"/><Relationship Id="rId122" Type="http://schemas.openxmlformats.org/officeDocument/2006/relationships/slideLayout" Target="../slideLayouts/slideLayout122.xml"/><Relationship Id="rId143" Type="http://schemas.openxmlformats.org/officeDocument/2006/relationships/slideLayout" Target="../slideLayouts/slideLayout143.xml"/><Relationship Id="rId148" Type="http://schemas.openxmlformats.org/officeDocument/2006/relationships/slideLayout" Target="../slideLayouts/slideLayout148.xml"/><Relationship Id="rId164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26" Type="http://schemas.openxmlformats.org/officeDocument/2006/relationships/slideLayout" Target="../slideLayouts/slideLayout26.xml"/><Relationship Id="rId47" Type="http://schemas.openxmlformats.org/officeDocument/2006/relationships/slideLayout" Target="../slideLayouts/slideLayout47.xml"/><Relationship Id="rId68" Type="http://schemas.openxmlformats.org/officeDocument/2006/relationships/slideLayout" Target="../slideLayouts/slideLayout68.xml"/><Relationship Id="rId89" Type="http://schemas.openxmlformats.org/officeDocument/2006/relationships/slideLayout" Target="../slideLayouts/slideLayout89.xml"/><Relationship Id="rId112" Type="http://schemas.openxmlformats.org/officeDocument/2006/relationships/slideLayout" Target="../slideLayouts/slideLayout112.xml"/><Relationship Id="rId133" Type="http://schemas.openxmlformats.org/officeDocument/2006/relationships/slideLayout" Target="../slideLayouts/slideLayout133.xml"/><Relationship Id="rId154" Type="http://schemas.openxmlformats.org/officeDocument/2006/relationships/slideLayout" Target="../slideLayouts/slideLayout154.xml"/><Relationship Id="rId16" Type="http://schemas.openxmlformats.org/officeDocument/2006/relationships/slideLayout" Target="../slideLayouts/slideLayout16.xml"/><Relationship Id="rId37" Type="http://schemas.openxmlformats.org/officeDocument/2006/relationships/slideLayout" Target="../slideLayouts/slideLayout37.xml"/><Relationship Id="rId58" Type="http://schemas.openxmlformats.org/officeDocument/2006/relationships/slideLayout" Target="../slideLayouts/slideLayout58.xml"/><Relationship Id="rId79" Type="http://schemas.openxmlformats.org/officeDocument/2006/relationships/slideLayout" Target="../slideLayouts/slideLayout79.xml"/><Relationship Id="rId102" Type="http://schemas.openxmlformats.org/officeDocument/2006/relationships/slideLayout" Target="../slideLayouts/slideLayout102.xml"/><Relationship Id="rId123" Type="http://schemas.openxmlformats.org/officeDocument/2006/relationships/slideLayout" Target="../slideLayouts/slideLayout123.xml"/><Relationship Id="rId144" Type="http://schemas.openxmlformats.org/officeDocument/2006/relationships/slideLayout" Target="../slideLayouts/slideLayout144.xml"/><Relationship Id="rId90" Type="http://schemas.openxmlformats.org/officeDocument/2006/relationships/slideLayout" Target="../slideLayouts/slideLayout90.xml"/><Relationship Id="rId165" Type="http://schemas.openxmlformats.org/officeDocument/2006/relationships/image" Target="../media/image2.svg"/><Relationship Id="rId27" Type="http://schemas.openxmlformats.org/officeDocument/2006/relationships/slideLayout" Target="../slideLayouts/slideLayout27.xml"/><Relationship Id="rId48" Type="http://schemas.openxmlformats.org/officeDocument/2006/relationships/slideLayout" Target="../slideLayouts/slideLayout48.xml"/><Relationship Id="rId69" Type="http://schemas.openxmlformats.org/officeDocument/2006/relationships/slideLayout" Target="../slideLayouts/slideLayout69.xml"/><Relationship Id="rId113" Type="http://schemas.openxmlformats.org/officeDocument/2006/relationships/slideLayout" Target="../slideLayouts/slideLayout113.xml"/><Relationship Id="rId134" Type="http://schemas.openxmlformats.org/officeDocument/2006/relationships/slideLayout" Target="../slideLayouts/slideLayout134.xml"/><Relationship Id="rId80" Type="http://schemas.openxmlformats.org/officeDocument/2006/relationships/slideLayout" Target="../slideLayouts/slideLayout80.xml"/><Relationship Id="rId155" Type="http://schemas.openxmlformats.org/officeDocument/2006/relationships/slideLayout" Target="../slideLayouts/slideLayout155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75.xml"/><Relationship Id="rId18" Type="http://schemas.openxmlformats.org/officeDocument/2006/relationships/slideLayout" Target="../slideLayouts/slideLayout180.xml"/><Relationship Id="rId26" Type="http://schemas.openxmlformats.org/officeDocument/2006/relationships/tags" Target="../tags/tag6.xml"/><Relationship Id="rId39" Type="http://schemas.openxmlformats.org/officeDocument/2006/relationships/tags" Target="../tags/tag19.xml"/><Relationship Id="rId21" Type="http://schemas.openxmlformats.org/officeDocument/2006/relationships/theme" Target="../theme/theme2.xml"/><Relationship Id="rId34" Type="http://schemas.openxmlformats.org/officeDocument/2006/relationships/tags" Target="../tags/tag14.xml"/><Relationship Id="rId42" Type="http://schemas.openxmlformats.org/officeDocument/2006/relationships/tags" Target="../tags/tag22.xml"/><Relationship Id="rId7" Type="http://schemas.openxmlformats.org/officeDocument/2006/relationships/slideLayout" Target="../slideLayouts/slideLayout169.xml"/><Relationship Id="rId2" Type="http://schemas.openxmlformats.org/officeDocument/2006/relationships/slideLayout" Target="../slideLayouts/slideLayout164.xml"/><Relationship Id="rId16" Type="http://schemas.openxmlformats.org/officeDocument/2006/relationships/slideLayout" Target="../slideLayouts/slideLayout178.xml"/><Relationship Id="rId29" Type="http://schemas.openxmlformats.org/officeDocument/2006/relationships/tags" Target="../tags/tag9.xml"/><Relationship Id="rId1" Type="http://schemas.openxmlformats.org/officeDocument/2006/relationships/slideLayout" Target="../slideLayouts/slideLayout163.xml"/><Relationship Id="rId6" Type="http://schemas.openxmlformats.org/officeDocument/2006/relationships/slideLayout" Target="../slideLayouts/slideLayout168.xml"/><Relationship Id="rId11" Type="http://schemas.openxmlformats.org/officeDocument/2006/relationships/slideLayout" Target="../slideLayouts/slideLayout173.xml"/><Relationship Id="rId24" Type="http://schemas.openxmlformats.org/officeDocument/2006/relationships/tags" Target="../tags/tag4.xml"/><Relationship Id="rId32" Type="http://schemas.openxmlformats.org/officeDocument/2006/relationships/tags" Target="../tags/tag12.xml"/><Relationship Id="rId37" Type="http://schemas.openxmlformats.org/officeDocument/2006/relationships/tags" Target="../tags/tag17.xml"/><Relationship Id="rId40" Type="http://schemas.openxmlformats.org/officeDocument/2006/relationships/tags" Target="../tags/tag20.xml"/><Relationship Id="rId45" Type="http://schemas.openxmlformats.org/officeDocument/2006/relationships/oleObject" Target="../embeddings/oleObject1.bin"/><Relationship Id="rId5" Type="http://schemas.openxmlformats.org/officeDocument/2006/relationships/slideLayout" Target="../slideLayouts/slideLayout167.xml"/><Relationship Id="rId15" Type="http://schemas.openxmlformats.org/officeDocument/2006/relationships/slideLayout" Target="../slideLayouts/slideLayout177.xml"/><Relationship Id="rId23" Type="http://schemas.openxmlformats.org/officeDocument/2006/relationships/tags" Target="../tags/tag3.xml"/><Relationship Id="rId28" Type="http://schemas.openxmlformats.org/officeDocument/2006/relationships/tags" Target="../tags/tag8.xml"/><Relationship Id="rId36" Type="http://schemas.openxmlformats.org/officeDocument/2006/relationships/tags" Target="../tags/tag16.xml"/><Relationship Id="rId10" Type="http://schemas.openxmlformats.org/officeDocument/2006/relationships/slideLayout" Target="../slideLayouts/slideLayout172.xml"/><Relationship Id="rId19" Type="http://schemas.openxmlformats.org/officeDocument/2006/relationships/slideLayout" Target="../slideLayouts/slideLayout181.xml"/><Relationship Id="rId31" Type="http://schemas.openxmlformats.org/officeDocument/2006/relationships/tags" Target="../tags/tag11.xml"/><Relationship Id="rId44" Type="http://schemas.openxmlformats.org/officeDocument/2006/relationships/tags" Target="../tags/tag24.xml"/><Relationship Id="rId4" Type="http://schemas.openxmlformats.org/officeDocument/2006/relationships/slideLayout" Target="../slideLayouts/slideLayout166.xml"/><Relationship Id="rId9" Type="http://schemas.openxmlformats.org/officeDocument/2006/relationships/slideLayout" Target="../slideLayouts/slideLayout171.xml"/><Relationship Id="rId14" Type="http://schemas.openxmlformats.org/officeDocument/2006/relationships/slideLayout" Target="../slideLayouts/slideLayout176.xml"/><Relationship Id="rId22" Type="http://schemas.openxmlformats.org/officeDocument/2006/relationships/tags" Target="../tags/tag2.xml"/><Relationship Id="rId27" Type="http://schemas.openxmlformats.org/officeDocument/2006/relationships/tags" Target="../tags/tag7.xml"/><Relationship Id="rId30" Type="http://schemas.openxmlformats.org/officeDocument/2006/relationships/tags" Target="../tags/tag10.xml"/><Relationship Id="rId35" Type="http://schemas.openxmlformats.org/officeDocument/2006/relationships/tags" Target="../tags/tag15.xml"/><Relationship Id="rId43" Type="http://schemas.openxmlformats.org/officeDocument/2006/relationships/tags" Target="../tags/tag23.xml"/><Relationship Id="rId8" Type="http://schemas.openxmlformats.org/officeDocument/2006/relationships/slideLayout" Target="../slideLayouts/slideLayout170.xml"/><Relationship Id="rId3" Type="http://schemas.openxmlformats.org/officeDocument/2006/relationships/slideLayout" Target="../slideLayouts/slideLayout165.xml"/><Relationship Id="rId12" Type="http://schemas.openxmlformats.org/officeDocument/2006/relationships/slideLayout" Target="../slideLayouts/slideLayout174.xml"/><Relationship Id="rId17" Type="http://schemas.openxmlformats.org/officeDocument/2006/relationships/slideLayout" Target="../slideLayouts/slideLayout179.xml"/><Relationship Id="rId25" Type="http://schemas.openxmlformats.org/officeDocument/2006/relationships/tags" Target="../tags/tag5.xml"/><Relationship Id="rId33" Type="http://schemas.openxmlformats.org/officeDocument/2006/relationships/tags" Target="../tags/tag13.xml"/><Relationship Id="rId38" Type="http://schemas.openxmlformats.org/officeDocument/2006/relationships/tags" Target="../tags/tag18.xml"/><Relationship Id="rId46" Type="http://schemas.openxmlformats.org/officeDocument/2006/relationships/image" Target="../media/image10.emf"/><Relationship Id="rId20" Type="http://schemas.openxmlformats.org/officeDocument/2006/relationships/slideLayout" Target="../slideLayouts/slideLayout182.xml"/><Relationship Id="rId41" Type="http://schemas.openxmlformats.org/officeDocument/2006/relationships/tags" Target="../tags/tag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516AA6-7BAE-48E9-A6DB-33C7D7A17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7813" y="6480578"/>
            <a:ext cx="381600" cy="132523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800">
                <a:solidFill>
                  <a:schemeClr val="tx1">
                    <a:alpha val="65000"/>
                  </a:schemeClr>
                </a:solidFill>
              </a:defRPr>
            </a:lvl1pPr>
          </a:lstStyle>
          <a:p>
            <a:fld id="{7F8EB60C-7CC2-49F0-B2EE-C81F067DE04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A2D51E3-A1D7-490E-A8E4-BCE05E45A9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200" y="346108"/>
            <a:ext cx="11460213" cy="3877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430ECA2-8DCA-43AA-8405-1F532ACC0FD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1000" y="1717675"/>
            <a:ext cx="11428412" cy="43243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object 3">
            <a:extLst>
              <a:ext uri="{FF2B5EF4-FFF2-40B4-BE49-F238E27FC236}">
                <a16:creationId xmlns:a16="http://schemas.microsoft.com/office/drawing/2014/main" id="{D390E747-6407-4A66-8AFF-3CB7AABEFD07}"/>
              </a:ext>
            </a:extLst>
          </p:cNvPr>
          <p:cNvSpPr/>
          <p:nvPr userDrawn="1"/>
        </p:nvSpPr>
        <p:spPr>
          <a:xfrm>
            <a:off x="11425170" y="6508739"/>
            <a:ext cx="0" cy="76200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6350">
            <a:solidFill>
              <a:srgbClr val="4E8AB4"/>
            </a:solidFill>
          </a:ln>
        </p:spPr>
        <p:txBody>
          <a:bodyPr wrap="square" lIns="0" tIns="0" rIns="0" bIns="0" rtlCol="0"/>
          <a:lstStyle/>
          <a:p>
            <a:pPr defTabSz="609630"/>
            <a:endParaRPr sz="1200" kern="0">
              <a:solidFill>
                <a:sysClr val="windowText" lastClr="000000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6F3C8D93-7F28-4B9B-B0B0-07410BC7228A}"/>
              </a:ext>
            </a:extLst>
          </p:cNvPr>
          <p:cNvPicPr>
            <a:picLocks noChangeAspect="1"/>
          </p:cNvPicPr>
          <p:nvPr userDrawn="1"/>
        </p:nvPicPr>
        <p:blipFill>
          <a:blip r:embed="rId164">
            <a:extLst>
              <a:ext uri="{96DAC541-7B7A-43D3-8B79-37D633B846F1}">
                <asvg:svgBlip xmlns:asvg="http://schemas.microsoft.com/office/drawing/2016/SVG/main" r:embed="rId165"/>
              </a:ext>
            </a:extLst>
          </a:blip>
          <a:stretch>
            <a:fillRect/>
          </a:stretch>
        </p:blipFill>
        <p:spPr>
          <a:xfrm>
            <a:off x="9939084" y="6432376"/>
            <a:ext cx="1311547" cy="228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47350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6" r:id="rId1"/>
    <p:sldLayoutId id="2147484067" r:id="rId2"/>
    <p:sldLayoutId id="2147484131" r:id="rId3"/>
    <p:sldLayoutId id="2147484086" r:id="rId4"/>
    <p:sldLayoutId id="2147484087" r:id="rId5"/>
    <p:sldLayoutId id="2147484088" r:id="rId6"/>
    <p:sldLayoutId id="2147484089" r:id="rId7"/>
    <p:sldLayoutId id="2147484091" r:id="rId8"/>
    <p:sldLayoutId id="2147484124" r:id="rId9"/>
    <p:sldLayoutId id="2147484125" r:id="rId10"/>
    <p:sldLayoutId id="2147484123" r:id="rId11"/>
    <p:sldLayoutId id="2147484129" r:id="rId12"/>
    <p:sldLayoutId id="2147483682" r:id="rId13"/>
    <p:sldLayoutId id="2147483683" r:id="rId14"/>
    <p:sldLayoutId id="2147483685" r:id="rId15"/>
    <p:sldLayoutId id="2147483686" r:id="rId16"/>
    <p:sldLayoutId id="2147483687" r:id="rId17"/>
    <p:sldLayoutId id="2147483688" r:id="rId18"/>
    <p:sldLayoutId id="2147483689" r:id="rId19"/>
    <p:sldLayoutId id="2147483690" r:id="rId20"/>
    <p:sldLayoutId id="2147483691" r:id="rId21"/>
    <p:sldLayoutId id="2147483692" r:id="rId22"/>
    <p:sldLayoutId id="2147483693" r:id="rId23"/>
    <p:sldLayoutId id="2147483694" r:id="rId24"/>
    <p:sldLayoutId id="2147483695" r:id="rId25"/>
    <p:sldLayoutId id="2147483696" r:id="rId26"/>
    <p:sldLayoutId id="2147483697" r:id="rId27"/>
    <p:sldLayoutId id="2147483698" r:id="rId28"/>
    <p:sldLayoutId id="2147483700" r:id="rId29"/>
    <p:sldLayoutId id="2147483701" r:id="rId30"/>
    <p:sldLayoutId id="2147483702" r:id="rId31"/>
    <p:sldLayoutId id="2147483703" r:id="rId32"/>
    <p:sldLayoutId id="2147483704" r:id="rId33"/>
    <p:sldLayoutId id="2147483705" r:id="rId34"/>
    <p:sldLayoutId id="2147483706" r:id="rId35"/>
    <p:sldLayoutId id="2147483870" r:id="rId36"/>
    <p:sldLayoutId id="2147483707" r:id="rId37"/>
    <p:sldLayoutId id="2147484064" r:id="rId38"/>
    <p:sldLayoutId id="2147484065" r:id="rId39"/>
    <p:sldLayoutId id="2147483710" r:id="rId40"/>
    <p:sldLayoutId id="2147483872" r:id="rId41"/>
    <p:sldLayoutId id="2147483873" r:id="rId42"/>
    <p:sldLayoutId id="2147483974" r:id="rId43"/>
    <p:sldLayoutId id="2147483975" r:id="rId44"/>
    <p:sldLayoutId id="2147483874" r:id="rId45"/>
    <p:sldLayoutId id="2147483875" r:id="rId46"/>
    <p:sldLayoutId id="2147483876" r:id="rId47"/>
    <p:sldLayoutId id="2147484093" r:id="rId48"/>
    <p:sldLayoutId id="2147484094" r:id="rId49"/>
    <p:sldLayoutId id="2147484095" r:id="rId50"/>
    <p:sldLayoutId id="2147484096" r:id="rId51"/>
    <p:sldLayoutId id="2147483882" r:id="rId52"/>
    <p:sldLayoutId id="2147484052" r:id="rId53"/>
    <p:sldLayoutId id="2147484053" r:id="rId54"/>
    <p:sldLayoutId id="2147484097" r:id="rId55"/>
    <p:sldLayoutId id="2147484098" r:id="rId56"/>
    <p:sldLayoutId id="2147484099" r:id="rId57"/>
    <p:sldLayoutId id="2147483888" r:id="rId58"/>
    <p:sldLayoutId id="2147484100" r:id="rId59"/>
    <p:sldLayoutId id="2147484101" r:id="rId60"/>
    <p:sldLayoutId id="2147484102" r:id="rId61"/>
    <p:sldLayoutId id="2147484103" r:id="rId62"/>
    <p:sldLayoutId id="2147484104" r:id="rId63"/>
    <p:sldLayoutId id="2147484105" r:id="rId64"/>
    <p:sldLayoutId id="2147484126" r:id="rId65"/>
    <p:sldLayoutId id="2147484106" r:id="rId66"/>
    <p:sldLayoutId id="2147483896" r:id="rId67"/>
    <p:sldLayoutId id="2147484107" r:id="rId68"/>
    <p:sldLayoutId id="2147483898" r:id="rId69"/>
    <p:sldLayoutId id="2147484108" r:id="rId70"/>
    <p:sldLayoutId id="2147484127" r:id="rId71"/>
    <p:sldLayoutId id="2147483900" r:id="rId72"/>
    <p:sldLayoutId id="2147483901" r:id="rId73"/>
    <p:sldLayoutId id="2147483902" r:id="rId74"/>
    <p:sldLayoutId id="2147483903" r:id="rId75"/>
    <p:sldLayoutId id="2147483904" r:id="rId76"/>
    <p:sldLayoutId id="2147483905" r:id="rId77"/>
    <p:sldLayoutId id="2147483906" r:id="rId78"/>
    <p:sldLayoutId id="2147483907" r:id="rId79"/>
    <p:sldLayoutId id="2147483908" r:id="rId80"/>
    <p:sldLayoutId id="2147484012" r:id="rId81"/>
    <p:sldLayoutId id="2147483909" r:id="rId82"/>
    <p:sldLayoutId id="2147483910" r:id="rId83"/>
    <p:sldLayoutId id="2147483911" r:id="rId84"/>
    <p:sldLayoutId id="2147484109" r:id="rId85"/>
    <p:sldLayoutId id="2147483913" r:id="rId86"/>
    <p:sldLayoutId id="2147483914" r:id="rId87"/>
    <p:sldLayoutId id="2147483915" r:id="rId88"/>
    <p:sldLayoutId id="2147483916" r:id="rId89"/>
    <p:sldLayoutId id="2147483917" r:id="rId90"/>
    <p:sldLayoutId id="2147484041" r:id="rId91"/>
    <p:sldLayoutId id="2147483918" r:id="rId92"/>
    <p:sldLayoutId id="2147483919" r:id="rId93"/>
    <p:sldLayoutId id="2147483920" r:id="rId94"/>
    <p:sldLayoutId id="2147483921" r:id="rId95"/>
    <p:sldLayoutId id="2147483922" r:id="rId96"/>
    <p:sldLayoutId id="2147483923" r:id="rId97"/>
    <p:sldLayoutId id="2147483924" r:id="rId98"/>
    <p:sldLayoutId id="2147483925" r:id="rId99"/>
    <p:sldLayoutId id="2147483926" r:id="rId100"/>
    <p:sldLayoutId id="2147483927" r:id="rId101"/>
    <p:sldLayoutId id="2147483928" r:id="rId102"/>
    <p:sldLayoutId id="2147483929" r:id="rId103"/>
    <p:sldLayoutId id="2147484039" r:id="rId104"/>
    <p:sldLayoutId id="2147483931" r:id="rId105"/>
    <p:sldLayoutId id="2147483932" r:id="rId106"/>
    <p:sldLayoutId id="2147483934" r:id="rId107"/>
    <p:sldLayoutId id="2147484110" r:id="rId108"/>
    <p:sldLayoutId id="2147483963" r:id="rId109"/>
    <p:sldLayoutId id="2147483964" r:id="rId110"/>
    <p:sldLayoutId id="2147483938" r:id="rId111"/>
    <p:sldLayoutId id="2147483939" r:id="rId112"/>
    <p:sldLayoutId id="2147483940" r:id="rId113"/>
    <p:sldLayoutId id="2147483941" r:id="rId114"/>
    <p:sldLayoutId id="2147483942" r:id="rId115"/>
    <p:sldLayoutId id="2147483943" r:id="rId116"/>
    <p:sldLayoutId id="2147483944" r:id="rId117"/>
    <p:sldLayoutId id="2147483945" r:id="rId118"/>
    <p:sldLayoutId id="2147483965" r:id="rId119"/>
    <p:sldLayoutId id="2147483947" r:id="rId120"/>
    <p:sldLayoutId id="2147483948" r:id="rId121"/>
    <p:sldLayoutId id="2147483949" r:id="rId122"/>
    <p:sldLayoutId id="2147483950" r:id="rId123"/>
    <p:sldLayoutId id="2147483970" r:id="rId124"/>
    <p:sldLayoutId id="2147483971" r:id="rId125"/>
    <p:sldLayoutId id="2147483962" r:id="rId126"/>
    <p:sldLayoutId id="2147483952" r:id="rId127"/>
    <p:sldLayoutId id="2147483969" r:id="rId128"/>
    <p:sldLayoutId id="2147483972" r:id="rId129"/>
    <p:sldLayoutId id="2147483953" r:id="rId130"/>
    <p:sldLayoutId id="2147483954" r:id="rId131"/>
    <p:sldLayoutId id="2147483955" r:id="rId132"/>
    <p:sldLayoutId id="2147484111" r:id="rId133"/>
    <p:sldLayoutId id="2147484112" r:id="rId134"/>
    <p:sldLayoutId id="2147484113" r:id="rId135"/>
    <p:sldLayoutId id="2147484114" r:id="rId136"/>
    <p:sldLayoutId id="2147484115" r:id="rId137"/>
    <p:sldLayoutId id="2147484116" r:id="rId138"/>
    <p:sldLayoutId id="2147484117" r:id="rId139"/>
    <p:sldLayoutId id="2147484118" r:id="rId140"/>
    <p:sldLayoutId id="2147484119" r:id="rId141"/>
    <p:sldLayoutId id="2147484120" r:id="rId142"/>
    <p:sldLayoutId id="2147484121" r:id="rId143"/>
    <p:sldLayoutId id="2147483810" r:id="rId144"/>
    <p:sldLayoutId id="2147483811" r:id="rId145"/>
    <p:sldLayoutId id="2147483812" r:id="rId146"/>
    <p:sldLayoutId id="2147483813" r:id="rId147"/>
    <p:sldLayoutId id="2147483814" r:id="rId148"/>
    <p:sldLayoutId id="2147483815" r:id="rId149"/>
    <p:sldLayoutId id="2147483816" r:id="rId150"/>
    <p:sldLayoutId id="2147483817" r:id="rId151"/>
    <p:sldLayoutId id="2147483818" r:id="rId152"/>
    <p:sldLayoutId id="2147483821" r:id="rId153"/>
    <p:sldLayoutId id="2147483822" r:id="rId154"/>
    <p:sldLayoutId id="2147483823" r:id="rId155"/>
    <p:sldLayoutId id="2147483824" r:id="rId156"/>
    <p:sldLayoutId id="2147483825" r:id="rId157"/>
    <p:sldLayoutId id="2147483826" r:id="rId158"/>
    <p:sldLayoutId id="2147483827" r:id="rId159"/>
    <p:sldLayoutId id="2147484092" r:id="rId160"/>
    <p:sldLayoutId id="2147484128" r:id="rId161"/>
    <p:sldLayoutId id="2147483973" r:id="rId16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Arial Nova" panose="020B05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8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Arial Nova" panose="020B0504020202020204" pitchFamily="34" charset="0"/>
          <a:ea typeface="+mn-ea"/>
          <a:cs typeface="Arial" panose="020B0604020202020204" pitchFamily="34" charset="0"/>
        </a:defRPr>
      </a:lvl1pPr>
      <a:lvl2pPr marL="0" indent="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Arial Nova" panose="020B0504020202020204" pitchFamily="34" charset="0"/>
          <a:ea typeface="+mn-ea"/>
          <a:cs typeface="Arial" panose="020B0604020202020204" pitchFamily="34" charset="0"/>
        </a:defRPr>
      </a:lvl2pPr>
      <a:lvl3pPr marL="180000" indent="-18000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 Nova" panose="020B0504020202020204" pitchFamily="34" charset="0"/>
          <a:ea typeface="+mn-ea"/>
          <a:cs typeface="Arial" panose="020B0604020202020204" pitchFamily="34" charset="0"/>
        </a:defRPr>
      </a:lvl3pPr>
      <a:lvl4pPr marL="360000" indent="-180000" algn="l" defTabSz="914400" rtl="0" eaLnBrk="1" latinLnBrk="0" hangingPunct="1">
        <a:lnSpc>
          <a:spcPct val="100000"/>
        </a:lnSpc>
        <a:spcBef>
          <a:spcPts val="800"/>
        </a:spcBef>
        <a:buFont typeface="Graphik" panose="020B0503030202060203" pitchFamily="34" charset="0"/>
        <a:buChar char="–"/>
        <a:defRPr sz="1600" kern="1200">
          <a:solidFill>
            <a:schemeClr val="tx1"/>
          </a:solidFill>
          <a:latin typeface="Arial Nova" panose="020B0504020202020204" pitchFamily="34" charset="0"/>
          <a:ea typeface="+mn-ea"/>
          <a:cs typeface="Arial" panose="020B0604020202020204" pitchFamily="34" charset="0"/>
        </a:defRPr>
      </a:lvl4pPr>
      <a:lvl5pPr marL="540000" indent="-18000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 Nova" panose="020B05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40" userDrawn="1">
          <p15:clr>
            <a:srgbClr val="5ACBF0"/>
          </p15:clr>
        </p15:guide>
        <p15:guide id="2" pos="622" userDrawn="1">
          <p15:clr>
            <a:srgbClr val="C35EA4"/>
          </p15:clr>
        </p15:guide>
        <p15:guide id="3" pos="860" userDrawn="1">
          <p15:clr>
            <a:srgbClr val="A4A3A4"/>
          </p15:clr>
        </p15:guide>
        <p15:guide id="4" pos="1241" userDrawn="1">
          <p15:clr>
            <a:srgbClr val="A4A3A4"/>
          </p15:clr>
        </p15:guide>
        <p15:guide id="5" pos="1480" userDrawn="1">
          <p15:clr>
            <a:srgbClr val="A4A3A4"/>
          </p15:clr>
        </p15:guide>
        <p15:guide id="6" pos="1861" userDrawn="1">
          <p15:clr>
            <a:srgbClr val="A4A3A4"/>
          </p15:clr>
        </p15:guide>
        <p15:guide id="7" pos="2100" userDrawn="1">
          <p15:clr>
            <a:srgbClr val="A4A3A4"/>
          </p15:clr>
        </p15:guide>
        <p15:guide id="8" pos="2482" userDrawn="1">
          <p15:clr>
            <a:srgbClr val="A4A3A4"/>
          </p15:clr>
        </p15:guide>
        <p15:guide id="9" pos="2719" userDrawn="1">
          <p15:clr>
            <a:srgbClr val="A4A3A4"/>
          </p15:clr>
        </p15:guide>
        <p15:guide id="10" pos="3101" userDrawn="1">
          <p15:clr>
            <a:srgbClr val="A4A3A4"/>
          </p15:clr>
        </p15:guide>
        <p15:guide id="11" pos="3338" userDrawn="1">
          <p15:clr>
            <a:srgbClr val="A4A3A4"/>
          </p15:clr>
        </p15:guide>
        <p15:guide id="12" pos="3720" userDrawn="1">
          <p15:clr>
            <a:srgbClr val="A4A3A4"/>
          </p15:clr>
        </p15:guide>
        <p15:guide id="13" pos="3959" userDrawn="1">
          <p15:clr>
            <a:srgbClr val="A4A3A4"/>
          </p15:clr>
        </p15:guide>
        <p15:guide id="14" pos="4340" userDrawn="1">
          <p15:clr>
            <a:srgbClr val="A4A3A4"/>
          </p15:clr>
        </p15:guide>
        <p15:guide id="15" pos="4578" userDrawn="1">
          <p15:clr>
            <a:srgbClr val="A4A3A4"/>
          </p15:clr>
        </p15:guide>
        <p15:guide id="16" pos="4960" userDrawn="1">
          <p15:clr>
            <a:srgbClr val="A4A3A4"/>
          </p15:clr>
        </p15:guide>
        <p15:guide id="17" pos="5198" userDrawn="1">
          <p15:clr>
            <a:srgbClr val="A4A3A4"/>
          </p15:clr>
        </p15:guide>
        <p15:guide id="18" pos="5580" userDrawn="1">
          <p15:clr>
            <a:srgbClr val="A4A3A4"/>
          </p15:clr>
        </p15:guide>
        <p15:guide id="19" pos="5818" userDrawn="1">
          <p15:clr>
            <a:srgbClr val="A4A3A4"/>
          </p15:clr>
        </p15:guide>
        <p15:guide id="20" pos="6199" userDrawn="1">
          <p15:clr>
            <a:srgbClr val="A4A3A4"/>
          </p15:clr>
        </p15:guide>
        <p15:guide id="21" pos="6438" userDrawn="1">
          <p15:clr>
            <a:srgbClr val="A4A3A4"/>
          </p15:clr>
        </p15:guide>
        <p15:guide id="22" pos="6820" userDrawn="1">
          <p15:clr>
            <a:srgbClr val="A4A3A4"/>
          </p15:clr>
        </p15:guide>
        <p15:guide id="23" pos="7057" userDrawn="1">
          <p15:clr>
            <a:srgbClr val="C35EA4"/>
          </p15:clr>
        </p15:guide>
        <p15:guide id="24" pos="7439" userDrawn="1">
          <p15:clr>
            <a:srgbClr val="5ACBF0"/>
          </p15:clr>
        </p15:guide>
        <p15:guide id="25" orient="horz" pos="240" userDrawn="1">
          <p15:clr>
            <a:srgbClr val="5ACBF0"/>
          </p15:clr>
        </p15:guide>
        <p15:guide id="26" orient="horz" pos="4148" userDrawn="1">
          <p15:clr>
            <a:srgbClr val="5ACBF0"/>
          </p15:clr>
        </p15:guide>
        <p15:guide id="27" orient="horz" pos="4084" userDrawn="1">
          <p15:clr>
            <a:srgbClr val="5ACBF0"/>
          </p15:clr>
        </p15:guide>
        <p15:guide id="28" orient="horz" pos="3976" userDrawn="1">
          <p15:clr>
            <a:srgbClr val="9FCC3B"/>
          </p15:clr>
        </p15:guide>
        <p15:guide id="29" orient="horz" pos="3806" userDrawn="1">
          <p15:clr>
            <a:srgbClr val="C35EA4"/>
          </p15:clr>
        </p15:guide>
        <p15:guide id="30" orient="horz" pos="911" userDrawn="1">
          <p15:clr>
            <a:srgbClr val="9FCC3B"/>
          </p15:clr>
        </p15:guide>
        <p15:guide id="31" orient="horz" pos="1082" userDrawn="1">
          <p15:clr>
            <a:srgbClr val="9FCC3B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231278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5" imgW="413" imgH="416" progId="TCLayout.ActiveDocument.1">
                  <p:embed/>
                </p:oleObj>
              </mc:Choice>
              <mc:Fallback>
                <p:oleObj name="think-cell Slide" r:id="rId4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 userDrawn="1">
            <p:custDataLst>
              <p:tags r:id="rId2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10443870" y="6499381"/>
            <a:ext cx="833562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Company Name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5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6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7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554736" y="35509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9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554770" y="4322824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4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34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id="{2FA9271D-5EE0-4D66-9FDF-E4D1535949E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8192" y="1289273"/>
            <a:ext cx="429605" cy="156997"/>
            <a:chOff x="8456447" y="272180"/>
            <a:chExt cx="322188" cy="156966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id="{27342EFB-A6AF-4379-A9C9-4F8DD97D160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id="{BA3F11B7-574B-46B5-AA05-051B7C0195CA}"/>
              </a:ext>
            </a:extLst>
          </p:cNvPr>
          <p:cNvGrpSpPr/>
          <p:nvPr userDrawn="1"/>
        </p:nvGrpSpPr>
        <p:grpSpPr>
          <a:xfrm>
            <a:off x="10367929" y="3301675"/>
            <a:ext cx="1269335" cy="958286"/>
            <a:chOff x="4372690" y="3739101"/>
            <a:chExt cx="1269335" cy="958286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id="{A89F3277-B9B0-4605-94B5-1A0F3CF3FD94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id="{728FD0F6-6F17-4DBC-A433-275600325C11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id="{824D0AAE-0E8B-4539-A5E0-724A7C2C5FB7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>
                <a:latin typeface="+mn-lt"/>
                <a:ea typeface="+mn-ea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>
                <a:latin typeface="+mn-lt"/>
                <a:ea typeface="+mn-ea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14809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3" r:id="rId1"/>
    <p:sldLayoutId id="2147484134" r:id="rId2"/>
    <p:sldLayoutId id="2147484135" r:id="rId3"/>
    <p:sldLayoutId id="2147484136" r:id="rId4"/>
    <p:sldLayoutId id="2147484137" r:id="rId5"/>
    <p:sldLayoutId id="2147484138" r:id="rId6"/>
    <p:sldLayoutId id="2147484139" r:id="rId7"/>
    <p:sldLayoutId id="2147484140" r:id="rId8"/>
    <p:sldLayoutId id="2147484141" r:id="rId9"/>
    <p:sldLayoutId id="2147484142" r:id="rId10"/>
    <p:sldLayoutId id="2147484143" r:id="rId11"/>
    <p:sldLayoutId id="2147484144" r:id="rId12"/>
    <p:sldLayoutId id="2147484145" r:id="rId13"/>
    <p:sldLayoutId id="2147484146" r:id="rId14"/>
    <p:sldLayoutId id="2147484147" r:id="rId15"/>
    <p:sldLayoutId id="2147484148" r:id="rId16"/>
    <p:sldLayoutId id="2147484149" r:id="rId17"/>
    <p:sldLayoutId id="2147484150" r:id="rId18"/>
    <p:sldLayoutId id="2147484151" r:id="rId19"/>
    <p:sldLayoutId id="2147484152" r:id="rId20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bg2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bg2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bg2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bg2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bg2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44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oleObject" Target="../embeddings/oleObject14.bin"/><Relationship Id="rId7" Type="http://schemas.microsoft.com/office/2007/relationships/hdphoto" Target="../media/hdphoto1.wdp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155.xml"/><Relationship Id="rId6" Type="http://schemas.openxmlformats.org/officeDocument/2006/relationships/image" Target="../media/image32.png"/><Relationship Id="rId5" Type="http://schemas.openxmlformats.org/officeDocument/2006/relationships/image" Target="../media/image31.jpeg"/><Relationship Id="rId4" Type="http://schemas.openxmlformats.org/officeDocument/2006/relationships/image" Target="../media/image30.emf"/><Relationship Id="rId9" Type="http://schemas.microsoft.com/office/2007/relationships/hdphoto" Target="../media/hdphoto2.wdp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14/relationships/chartEx" Target="../charts/chartEx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1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2" Type="http://schemas.openxmlformats.org/officeDocument/2006/relationships/tags" Target="../tags/tag154.xml"/><Relationship Id="rId1" Type="http://schemas.openxmlformats.org/officeDocument/2006/relationships/tags" Target="../tags/tag153.xml"/><Relationship Id="rId5" Type="http://schemas.openxmlformats.org/officeDocument/2006/relationships/chart" Target="../charts/chart1.xml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18.sv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13" Type="http://schemas.openxmlformats.org/officeDocument/2006/relationships/image" Target="../media/image29.png"/><Relationship Id="rId3" Type="http://schemas.openxmlformats.org/officeDocument/2006/relationships/image" Target="../media/image19.png"/><Relationship Id="rId7" Type="http://schemas.openxmlformats.org/officeDocument/2006/relationships/image" Target="../media/image23.jpeg"/><Relationship Id="rId12" Type="http://schemas.openxmlformats.org/officeDocument/2006/relationships/image" Target="../media/image28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22.png"/><Relationship Id="rId11" Type="http://schemas.openxmlformats.org/officeDocument/2006/relationships/image" Target="../media/image27.jpeg"/><Relationship Id="rId5" Type="http://schemas.openxmlformats.org/officeDocument/2006/relationships/image" Target="../media/image21.png"/><Relationship Id="rId10" Type="http://schemas.openxmlformats.org/officeDocument/2006/relationships/image" Target="../media/image26.jpeg"/><Relationship Id="rId4" Type="http://schemas.openxmlformats.org/officeDocument/2006/relationships/image" Target="../media/image20.png"/><Relationship Id="rId9" Type="http://schemas.openxmlformats.org/officeDocument/2006/relationships/image" Target="../media/image25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E5CD468E-EB66-46C8-B48F-BA54422285DA}"/>
              </a:ext>
            </a:extLst>
          </p:cNvPr>
          <p:cNvSpPr/>
          <p:nvPr/>
        </p:nvSpPr>
        <p:spPr>
          <a:xfrm>
            <a:off x="380996" y="381000"/>
            <a:ext cx="11428415" cy="6092828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>
                  <a:alpha val="7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D4E58C79-A991-4DCB-9235-2401230B92F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80480" y="1745192"/>
            <a:ext cx="4823105" cy="2078069"/>
          </a:xfrm>
        </p:spPr>
        <p:txBody>
          <a:bodyPr/>
          <a:lstStyle/>
          <a:p>
            <a:r>
              <a:rPr lang="en-US" sz="6000" spc="-20" dirty="0"/>
              <a:t>Medtech CDMOs in 2025</a:t>
            </a:r>
            <a:endParaRPr lang="en-CA" sz="6000" spc="-20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81EBFCB-1590-4B72-8006-07616331646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80480" y="4037035"/>
            <a:ext cx="4823105" cy="738187"/>
          </a:xfrm>
        </p:spPr>
        <p:txBody>
          <a:bodyPr/>
          <a:lstStyle/>
          <a:p>
            <a:pPr lvl="0"/>
            <a:r>
              <a:rPr lang="en-US"/>
              <a:t>Perspectives on activity in the Medtech CDMO market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19A8C27-941D-404A-AC4D-841C1DC712F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80479" y="4988997"/>
            <a:ext cx="4823105" cy="530687"/>
          </a:xfrm>
        </p:spPr>
        <p:txBody>
          <a:bodyPr/>
          <a:lstStyle/>
          <a:p>
            <a:r>
              <a:rPr lang="en-US" dirty="0"/>
              <a:t>May 2025</a:t>
            </a:r>
          </a:p>
        </p:txBody>
      </p:sp>
    </p:spTree>
    <p:extLst>
      <p:ext uri="{BB962C8B-B14F-4D97-AF65-F5344CB8AC3E}">
        <p14:creationId xmlns:p14="http://schemas.microsoft.com/office/powerpoint/2010/main" val="355731822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061A5D63-C970-3F25-5C6D-006F658A5A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6" imgH="346" progId="TCLayout.ActiveDocument.1">
                  <p:embed/>
                </p:oleObj>
              </mc:Choice>
              <mc:Fallback>
                <p:oleObj name="think-cell Slide" r:id="rId3" imgW="346" imgH="346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61A5D63-C970-3F25-5C6D-006F658A5A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D6FCDC5-2922-06C4-77ED-B4461432A6A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F8EB60C-7CC2-49F0-B2EE-C81F067DE041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5835473-A319-2578-FA9C-694A4A7349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200" y="346108"/>
            <a:ext cx="11460213" cy="387798"/>
          </a:xfrm>
        </p:spPr>
        <p:txBody>
          <a:bodyPr vert="horz"/>
          <a:lstStyle/>
          <a:p>
            <a:r>
              <a:rPr lang="en-US"/>
              <a:t>Authors</a:t>
            </a:r>
          </a:p>
        </p:txBody>
      </p:sp>
      <p:sp>
        <p:nvSpPr>
          <p:cNvPr id="5" name="object 2">
            <a:extLst>
              <a:ext uri="{FF2B5EF4-FFF2-40B4-BE49-F238E27FC236}">
                <a16:creationId xmlns:a16="http://schemas.microsoft.com/office/drawing/2014/main" id="{D8D2D337-2DBB-E269-2C3A-0C2AD9B043F2}"/>
              </a:ext>
            </a:extLst>
          </p:cNvPr>
          <p:cNvSpPr txBox="1"/>
          <p:nvPr/>
        </p:nvSpPr>
        <p:spPr>
          <a:xfrm>
            <a:off x="9151620" y="1181100"/>
            <a:ext cx="3040380" cy="44958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0" tIns="1905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15"/>
              </a:spcBef>
            </a:pPr>
            <a:endParaRPr sz="1550" dirty="0">
              <a:latin typeface="Times New Roman"/>
              <a:cs typeface="Times New Roman"/>
            </a:endParaRPr>
          </a:p>
          <a:p>
            <a:pPr marL="367665">
              <a:lnSpc>
                <a:spcPct val="100000"/>
              </a:lnSpc>
            </a:pPr>
            <a:r>
              <a:rPr lang="en-US" sz="1600" b="1" spc="-10" dirty="0">
                <a:solidFill>
                  <a:schemeClr val="accent3"/>
                </a:solidFill>
                <a:latin typeface="+mj-lt"/>
                <a:cs typeface="Book Antiqua"/>
              </a:rPr>
              <a:t>Acknowledgments</a:t>
            </a:r>
            <a:endParaRPr lang="en-US" sz="1600" dirty="0">
              <a:solidFill>
                <a:schemeClr val="accent3"/>
              </a:solidFill>
              <a:latin typeface="+mj-lt"/>
              <a:cs typeface="Book Antiqua"/>
            </a:endParaRPr>
          </a:p>
          <a:p>
            <a:pPr marL="367665">
              <a:lnSpc>
                <a:spcPct val="100000"/>
              </a:lnSpc>
              <a:spcBef>
                <a:spcPts val="1500"/>
              </a:spcBef>
            </a:pPr>
            <a:r>
              <a:rPr lang="en-US" sz="1200" dirty="0">
                <a:latin typeface="Arial Nova" panose="020B0504020202020204" pitchFamily="34" charset="0"/>
                <a:cs typeface="Arial"/>
              </a:rPr>
              <a:t>The authors</a:t>
            </a:r>
            <a:r>
              <a:rPr lang="en-US" sz="1200" spc="5" dirty="0">
                <a:latin typeface="Arial Nova" panose="020B0504020202020204" pitchFamily="34" charset="0"/>
                <a:cs typeface="Arial"/>
              </a:rPr>
              <a:t> </a:t>
            </a:r>
            <a:r>
              <a:rPr lang="en-US" sz="1200" dirty="0">
                <a:latin typeface="Arial Nova" panose="020B0504020202020204" pitchFamily="34" charset="0"/>
                <a:cs typeface="Arial"/>
              </a:rPr>
              <a:t>would</a:t>
            </a:r>
            <a:r>
              <a:rPr lang="en-US" sz="1200" spc="5" dirty="0">
                <a:latin typeface="Arial Nova" panose="020B0504020202020204" pitchFamily="34" charset="0"/>
                <a:cs typeface="Arial"/>
              </a:rPr>
              <a:t> </a:t>
            </a:r>
            <a:r>
              <a:rPr lang="en-US" sz="1200" spc="-20" dirty="0">
                <a:latin typeface="Arial Nova" panose="020B0504020202020204" pitchFamily="34" charset="0"/>
                <a:cs typeface="Arial"/>
              </a:rPr>
              <a:t>like</a:t>
            </a:r>
            <a:r>
              <a:rPr lang="en-US" sz="1200" spc="5" dirty="0">
                <a:latin typeface="Arial Nova" panose="020B0504020202020204" pitchFamily="34" charset="0"/>
                <a:cs typeface="Arial"/>
              </a:rPr>
              <a:t> </a:t>
            </a:r>
            <a:r>
              <a:rPr lang="en-US" sz="1200" dirty="0">
                <a:latin typeface="Arial Nova" panose="020B0504020202020204" pitchFamily="34" charset="0"/>
                <a:cs typeface="Arial"/>
              </a:rPr>
              <a:t>to</a:t>
            </a:r>
            <a:r>
              <a:rPr lang="en-US" sz="1200" spc="5" dirty="0">
                <a:latin typeface="Arial Nova" panose="020B0504020202020204" pitchFamily="34" charset="0"/>
                <a:cs typeface="Arial"/>
              </a:rPr>
              <a:t> </a:t>
            </a:r>
            <a:r>
              <a:rPr lang="en-US" sz="1200" spc="-20" dirty="0">
                <a:latin typeface="Arial Nova" panose="020B0504020202020204" pitchFamily="34" charset="0"/>
                <a:cs typeface="Arial"/>
              </a:rPr>
              <a:t>thank</a:t>
            </a:r>
            <a:endParaRPr lang="en-US" sz="1200" dirty="0">
              <a:latin typeface="Arial Nova" panose="020B0504020202020204" pitchFamily="34" charset="0"/>
              <a:cs typeface="Arial"/>
            </a:endParaRPr>
          </a:p>
          <a:p>
            <a:pPr marL="367665" marR="772160">
              <a:lnSpc>
                <a:spcPct val="111100"/>
              </a:lnSpc>
            </a:pPr>
            <a:r>
              <a:rPr lang="en-US" sz="1200" dirty="0">
                <a:latin typeface="Arial Nova" panose="020B0504020202020204" pitchFamily="34" charset="0"/>
                <a:cs typeface="Arial"/>
              </a:rPr>
              <a:t>the</a:t>
            </a:r>
            <a:r>
              <a:rPr lang="en-US" sz="1200" spc="70" dirty="0">
                <a:latin typeface="Arial Nova" panose="020B0504020202020204" pitchFamily="34" charset="0"/>
                <a:cs typeface="Arial"/>
              </a:rPr>
              <a:t> </a:t>
            </a:r>
            <a:r>
              <a:rPr lang="en-US" sz="1200" dirty="0">
                <a:latin typeface="Arial Nova" panose="020B0504020202020204" pitchFamily="34" charset="0"/>
                <a:cs typeface="Arial"/>
              </a:rPr>
              <a:t>following</a:t>
            </a:r>
            <a:r>
              <a:rPr lang="en-US" sz="1200" spc="75" dirty="0">
                <a:latin typeface="Arial Nova" panose="020B0504020202020204" pitchFamily="34" charset="0"/>
                <a:cs typeface="Arial"/>
              </a:rPr>
              <a:t> </a:t>
            </a:r>
            <a:r>
              <a:rPr lang="en-US" sz="1200" dirty="0">
                <a:latin typeface="Arial Nova" panose="020B0504020202020204" pitchFamily="34" charset="0"/>
                <a:cs typeface="Arial"/>
              </a:rPr>
              <a:t>for</a:t>
            </a:r>
            <a:r>
              <a:rPr lang="en-US" sz="1200" spc="70" dirty="0">
                <a:latin typeface="Arial Nova" panose="020B0504020202020204" pitchFamily="34" charset="0"/>
                <a:cs typeface="Arial"/>
              </a:rPr>
              <a:t> </a:t>
            </a:r>
            <a:r>
              <a:rPr lang="en-US" sz="1200" dirty="0">
                <a:latin typeface="Arial Nova" panose="020B0504020202020204" pitchFamily="34" charset="0"/>
                <a:cs typeface="Arial"/>
              </a:rPr>
              <a:t>their</a:t>
            </a:r>
            <a:r>
              <a:rPr lang="en-US" sz="1200" spc="75" dirty="0">
                <a:latin typeface="Arial Nova" panose="020B0504020202020204" pitchFamily="34" charset="0"/>
                <a:cs typeface="Arial"/>
              </a:rPr>
              <a:t> </a:t>
            </a:r>
            <a:r>
              <a:rPr lang="en-US" sz="1200" spc="-10" dirty="0">
                <a:latin typeface="Arial Nova" panose="020B0504020202020204" pitchFamily="34" charset="0"/>
                <a:cs typeface="Arial"/>
              </a:rPr>
              <a:t>contributions </a:t>
            </a:r>
            <a:r>
              <a:rPr lang="en-US" sz="1200" dirty="0">
                <a:latin typeface="Arial Nova" panose="020B0504020202020204" pitchFamily="34" charset="0"/>
                <a:cs typeface="Arial"/>
              </a:rPr>
              <a:t>to</a:t>
            </a:r>
            <a:r>
              <a:rPr lang="en-US" sz="1200" spc="10" dirty="0">
                <a:latin typeface="Arial Nova" panose="020B0504020202020204" pitchFamily="34" charset="0"/>
                <a:cs typeface="Arial"/>
              </a:rPr>
              <a:t> </a:t>
            </a:r>
            <a:r>
              <a:rPr lang="en-US" sz="1200" dirty="0">
                <a:latin typeface="Arial Nova" panose="020B0504020202020204" pitchFamily="34" charset="0"/>
                <a:cs typeface="Arial"/>
              </a:rPr>
              <a:t>this</a:t>
            </a:r>
            <a:r>
              <a:rPr lang="en-US" sz="1200" spc="15" dirty="0">
                <a:latin typeface="Arial Nova" panose="020B0504020202020204" pitchFamily="34" charset="0"/>
                <a:cs typeface="Arial"/>
              </a:rPr>
              <a:t> </a:t>
            </a:r>
            <a:r>
              <a:rPr lang="en-US" sz="1200" spc="-10" dirty="0">
                <a:latin typeface="Arial Nova" panose="020B0504020202020204" pitchFamily="34" charset="0"/>
                <a:cs typeface="Arial"/>
              </a:rPr>
              <a:t>report:</a:t>
            </a:r>
            <a:endParaRPr lang="en-US" sz="1200" dirty="0">
              <a:latin typeface="Arial Nova" panose="020B0504020202020204" pitchFamily="34" charset="0"/>
              <a:cs typeface="Arial"/>
            </a:endParaRPr>
          </a:p>
          <a:p>
            <a:pPr marL="367665">
              <a:lnSpc>
                <a:spcPct val="100000"/>
              </a:lnSpc>
            </a:pPr>
            <a:endParaRPr lang="en-US" sz="1200" dirty="0">
              <a:latin typeface="Arial Nova" panose="020B0504020202020204" pitchFamily="34" charset="0"/>
              <a:cs typeface="Arial"/>
            </a:endParaRPr>
          </a:p>
          <a:p>
            <a:pPr marL="367665">
              <a:lnSpc>
                <a:spcPct val="100000"/>
              </a:lnSpc>
              <a:spcBef>
                <a:spcPts val="160"/>
              </a:spcBef>
            </a:pPr>
            <a:r>
              <a:rPr lang="en-US" sz="1200" dirty="0">
                <a:latin typeface="Arial Nova" panose="020B0504020202020204" pitchFamily="34" charset="0"/>
                <a:cs typeface="Arial"/>
              </a:rPr>
              <a:t>Private Equity Practice</a:t>
            </a:r>
          </a:p>
          <a:p>
            <a:pPr marL="367665">
              <a:lnSpc>
                <a:spcPct val="100000"/>
              </a:lnSpc>
              <a:spcBef>
                <a:spcPts val="160"/>
              </a:spcBef>
            </a:pPr>
            <a:r>
              <a:rPr lang="en-US" sz="1200" b="1" dirty="0">
                <a:latin typeface="Arial Nova" panose="020B0504020202020204" pitchFamily="34" charset="0"/>
                <a:cs typeface="Arial"/>
              </a:rPr>
              <a:t>Mark Schmidt</a:t>
            </a:r>
          </a:p>
          <a:p>
            <a:pPr marL="367665">
              <a:lnSpc>
                <a:spcPct val="100000"/>
              </a:lnSpc>
              <a:spcBef>
                <a:spcPts val="160"/>
              </a:spcBef>
            </a:pPr>
            <a:endParaRPr lang="en-US" sz="1200" dirty="0">
              <a:latin typeface="Arial Nova" panose="020B0504020202020204" pitchFamily="34" charset="0"/>
              <a:cs typeface="Arial"/>
            </a:endParaRPr>
          </a:p>
          <a:p>
            <a:pPr marL="367665" marR="1216660">
              <a:lnSpc>
                <a:spcPct val="111100"/>
              </a:lnSpc>
            </a:pPr>
            <a:r>
              <a:rPr lang="en-US" sz="1200" dirty="0">
                <a:latin typeface="Arial Nova" panose="020B0504020202020204" pitchFamily="34" charset="0"/>
                <a:cs typeface="Arial"/>
              </a:rPr>
              <a:t>Corporate Transactions Group</a:t>
            </a:r>
          </a:p>
          <a:p>
            <a:pPr marL="367665" marR="1216660">
              <a:lnSpc>
                <a:spcPct val="111100"/>
              </a:lnSpc>
            </a:pPr>
            <a:r>
              <a:rPr lang="en-US" sz="1200" b="1" dirty="0">
                <a:latin typeface="Arial Nova" panose="020B0504020202020204" pitchFamily="34" charset="0"/>
                <a:cs typeface="Arial"/>
              </a:rPr>
              <a:t>Marcos Cortes </a:t>
            </a:r>
          </a:p>
          <a:p>
            <a:pPr marL="367665" marR="1216660">
              <a:lnSpc>
                <a:spcPct val="111100"/>
              </a:lnSpc>
            </a:pPr>
            <a:endParaRPr lang="en-US" sz="1200" b="1" dirty="0">
              <a:latin typeface="Arial Nova" panose="020B0504020202020204" pitchFamily="34" charset="0"/>
              <a:cs typeface="Arial"/>
            </a:endParaRPr>
          </a:p>
          <a:p>
            <a:pPr marL="367665" marR="1216660">
              <a:lnSpc>
                <a:spcPct val="111100"/>
              </a:lnSpc>
            </a:pPr>
            <a:r>
              <a:rPr lang="en-US" sz="1200" dirty="0">
                <a:latin typeface="Arial Nova" panose="020B0504020202020204" pitchFamily="34" charset="0"/>
                <a:cs typeface="Arial"/>
              </a:rPr>
              <a:t>Transactions Advisory Group</a:t>
            </a:r>
          </a:p>
          <a:p>
            <a:pPr marL="367665" marR="1216660">
              <a:lnSpc>
                <a:spcPct val="111100"/>
              </a:lnSpc>
            </a:pPr>
            <a:r>
              <a:rPr lang="en-US" sz="1200" b="1" dirty="0">
                <a:latin typeface="Arial Nova" panose="020B0504020202020204" pitchFamily="34" charset="0"/>
                <a:cs typeface="Arial"/>
              </a:rPr>
              <a:t>Simon Joyeux</a:t>
            </a:r>
            <a:endParaRPr lang="en-US" sz="1200" dirty="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25"/>
              </a:spcBef>
            </a:pPr>
            <a:endParaRPr sz="1350" dirty="0">
              <a:latin typeface="Arial"/>
              <a:cs typeface="Arial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5783DB9-55D3-965C-E66E-C06A7E9B05A9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84" t="-17" r="6586" b="17"/>
          <a:stretch/>
        </p:blipFill>
        <p:spPr>
          <a:xfrm>
            <a:off x="688054" y="1385520"/>
            <a:ext cx="1602573" cy="18288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E63264E4-2B99-ECB1-77DE-C067EF508CC6}"/>
              </a:ext>
            </a:extLst>
          </p:cNvPr>
          <p:cNvSpPr/>
          <p:nvPr/>
        </p:nvSpPr>
        <p:spPr>
          <a:xfrm>
            <a:off x="688054" y="3368976"/>
            <a:ext cx="1556836" cy="892552"/>
          </a:xfrm>
          <a:prstGeom prst="rect">
            <a:avLst/>
          </a:prstGeom>
        </p:spPr>
        <p:txBody>
          <a:bodyPr wrap="none" lIns="0">
            <a:spAutoFit/>
          </a:bodyPr>
          <a:lstStyle/>
          <a:p>
            <a:pPr>
              <a:defRPr/>
            </a:pPr>
            <a:r>
              <a:rPr lang="en-US" sz="1400" b="1" kern="0" spc="110">
                <a:solidFill>
                  <a:schemeClr val="accent3"/>
                </a:solidFill>
                <a:latin typeface="+mj-lt"/>
                <a:cs typeface="Poppins SemiBold" pitchFamily="2" charset="77"/>
              </a:rPr>
              <a:t>Mark Freitas</a:t>
            </a:r>
          </a:p>
          <a:p>
            <a:pPr>
              <a:defRPr/>
            </a:pPr>
            <a:endParaRPr kumimoji="0" lang="en-US" sz="1400" b="0" i="0" u="none" strike="noStrike" kern="0" cap="none" spc="11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Poppins SemiBold" pitchFamily="2" charset="77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1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 Light" panose="020B0304020202020204" pitchFamily="34" charset="0"/>
                <a:cs typeface="Poppins SemiBold" pitchFamily="2" charset="77"/>
              </a:rPr>
              <a:t>Managing Directo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0" spc="110">
                <a:solidFill>
                  <a:srgbClr val="000000"/>
                </a:solidFill>
                <a:latin typeface="Arial Nova Light" panose="020B0304020202020204" pitchFamily="34" charset="0"/>
                <a:cs typeface="Poppins SemiBold" pitchFamily="2" charset="77"/>
              </a:rPr>
              <a:t>Boston </a:t>
            </a:r>
            <a:endParaRPr kumimoji="0" lang="en-US" sz="1200" b="0" i="0" u="none" strike="noStrike" kern="1200" cap="none" spc="11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ova Light" panose="020B0304020202020204" pitchFamily="34" charset="0"/>
              <a:cs typeface="Poppins SemiBold" pitchFamily="2" charset="77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AE9568C-502E-0205-D977-0F07FF948AAC}"/>
              </a:ext>
            </a:extLst>
          </p:cNvPr>
          <p:cNvSpPr/>
          <p:nvPr/>
        </p:nvSpPr>
        <p:spPr>
          <a:xfrm>
            <a:off x="2744677" y="3368976"/>
            <a:ext cx="1143583" cy="892552"/>
          </a:xfrm>
          <a:prstGeom prst="rect">
            <a:avLst/>
          </a:prstGeom>
        </p:spPr>
        <p:txBody>
          <a:bodyPr wrap="none" l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kern="0" spc="110" dirty="0">
                <a:solidFill>
                  <a:schemeClr val="accent3"/>
                </a:solidFill>
                <a:latin typeface="+mj-lt"/>
                <a:cs typeface="Poppins SemiBold" pitchFamily="2" charset="77"/>
              </a:rPr>
              <a:t>Nile Harris</a:t>
            </a:r>
            <a:endParaRPr kumimoji="0" lang="en-US" sz="1400" b="1" i="0" u="none" strike="noStrike" kern="0" cap="none" spc="110" normalizeH="0" baseline="0" noProof="0" dirty="0">
              <a:ln>
                <a:noFill/>
              </a:ln>
              <a:solidFill>
                <a:schemeClr val="accent3"/>
              </a:solidFill>
              <a:effectLst/>
              <a:uLnTx/>
              <a:uFillTx/>
              <a:latin typeface="+mj-lt"/>
              <a:cs typeface="Poppins SemiBold" pitchFamily="2" charset="77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1400" b="0" i="0" u="none" strike="noStrike" kern="0" cap="none" spc="11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cs typeface="Poppins SemiBold" pitchFamily="2" charset="77"/>
              </a:rPr>
            </a:br>
            <a:r>
              <a:rPr kumimoji="0" lang="en-US" sz="1200" b="0" i="0" u="none" strike="noStrike" kern="1200" cap="none" spc="11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 Light" panose="020B0304020202020204" pitchFamily="34" charset="0"/>
                <a:cs typeface="Poppins SemiBold" pitchFamily="2" charset="77"/>
              </a:rPr>
              <a:t>Directo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spc="110" dirty="0">
                <a:solidFill>
                  <a:srgbClr val="000000"/>
                </a:solidFill>
                <a:latin typeface="Arial Nova Light" panose="020B0304020202020204" pitchFamily="34" charset="0"/>
                <a:cs typeface="Poppins SemiBold" pitchFamily="2" charset="77"/>
              </a:rPr>
              <a:t>Nashville</a:t>
            </a:r>
            <a:endParaRPr kumimoji="0" lang="en-US" sz="1200" b="0" i="0" u="none" strike="noStrike" kern="1200" cap="none" spc="11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ova Light" panose="020B0304020202020204" pitchFamily="34" charset="0"/>
              <a:cs typeface="Poppins SemiBold" pitchFamily="2" charset="77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03DDCA6-C739-E874-A626-8259A1CFE115}"/>
              </a:ext>
            </a:extLst>
          </p:cNvPr>
          <p:cNvSpPr/>
          <p:nvPr/>
        </p:nvSpPr>
        <p:spPr>
          <a:xfrm>
            <a:off x="4801164" y="3368976"/>
            <a:ext cx="1585049" cy="892552"/>
          </a:xfrm>
          <a:prstGeom prst="rect">
            <a:avLst/>
          </a:prstGeom>
        </p:spPr>
        <p:txBody>
          <a:bodyPr wrap="none" l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11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+mj-lt"/>
                <a:cs typeface="Poppins SemiBold" pitchFamily="2" charset="77"/>
              </a:rPr>
              <a:t>Mahak Kanjoli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1400" b="0" i="0" u="none" strike="noStrike" kern="0" cap="none" spc="11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cs typeface="Poppins SemiBold" pitchFamily="2" charset="77"/>
              </a:rPr>
            </a:br>
            <a:r>
              <a:rPr lang="en-US" sz="1200" spc="110" dirty="0">
                <a:solidFill>
                  <a:srgbClr val="000000"/>
                </a:solidFill>
                <a:latin typeface="Arial Nova Light" panose="020B0304020202020204" pitchFamily="34" charset="0"/>
                <a:cs typeface="Poppins SemiBold" pitchFamily="2" charset="77"/>
              </a:rPr>
              <a:t>Consultan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11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 Light" panose="020B0304020202020204" pitchFamily="34" charset="0"/>
                <a:cs typeface="Poppins SemiBold" pitchFamily="2" charset="77"/>
              </a:rPr>
              <a:t>New York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5D0F05E-1516-C47A-D628-6A0DEF1EEBA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7788" r="20087" b="28996"/>
          <a:stretch/>
        </p:blipFill>
        <p:spPr>
          <a:xfrm>
            <a:off x="4801164" y="1385519"/>
            <a:ext cx="1602573" cy="1831591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4D7FE2AA-CDD3-0C2D-D041-DA223F1620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6185" r="6185"/>
          <a:stretch/>
        </p:blipFill>
        <p:spPr bwMode="auto">
          <a:xfrm>
            <a:off x="2744677" y="1385519"/>
            <a:ext cx="1602573" cy="1828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882552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98B245D-0B9D-69D6-F314-CC3F801C10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673D66A-CD1A-6144-B125-B8694A5CF7F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F8EB60C-7CC2-49F0-B2EE-C81F067DE041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E990728-4D21-CE4F-EBBB-A39248C153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8049" y="379758"/>
            <a:ext cx="11704131" cy="443198"/>
          </a:xfrm>
        </p:spPr>
        <p:txBody>
          <a:bodyPr/>
          <a:lstStyle/>
          <a:p>
            <a:r>
              <a:rPr lang="en-US" sz="3200" dirty="0"/>
              <a:t>Global MedTech growth is projected at 4.6% for 2025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9824613-04F8-5D13-5037-5F70957646E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81537" y="6423660"/>
            <a:ext cx="6287026" cy="138499"/>
          </a:xfrm>
        </p:spPr>
        <p:txBody>
          <a:bodyPr/>
          <a:lstStyle/>
          <a:p>
            <a:r>
              <a:rPr lang="en-US" b="1" i="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Source: </a:t>
            </a:r>
            <a:r>
              <a:rPr lang="en-US" i="0" dirty="0">
                <a:solidFill>
                  <a:schemeClr val="bg1">
                    <a:lumMod val="50000"/>
                  </a:schemeClr>
                </a:solidFill>
              </a:rPr>
              <a:t>GlobaData; A&amp;M estimate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BD59F78-8AD3-E258-1204-AA2510408CB5}"/>
              </a:ext>
            </a:extLst>
          </p:cNvPr>
          <p:cNvSpPr txBox="1"/>
          <p:nvPr/>
        </p:nvSpPr>
        <p:spPr>
          <a:xfrm>
            <a:off x="378049" y="1337107"/>
            <a:ext cx="7296092" cy="427657"/>
          </a:xfrm>
          <a:prstGeom prst="rect">
            <a:avLst/>
          </a:prstGeom>
          <a:noFill/>
        </p:spPr>
        <p:txBody>
          <a:bodyPr wrap="square" lIns="0" rtlCol="0" anchor="b">
            <a:noAutofit/>
          </a:bodyPr>
          <a:lstStyle/>
          <a:p>
            <a:pPr marR="0" indent="0" fontAlgn="auto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500">
                <a:solidFill>
                  <a:schemeClr val="accent1"/>
                </a:solidFill>
                <a:latin typeface="+mj-lt"/>
              </a:rPr>
              <a:t>Global Medtech Revenue by Segment </a:t>
            </a:r>
            <a:r>
              <a:rPr lang="en-GB" sz="1500">
                <a:solidFill>
                  <a:schemeClr val="bg2">
                    <a:lumMod val="50000"/>
                  </a:schemeClr>
                </a:solidFill>
                <a:latin typeface="+mj-lt"/>
              </a:rPr>
              <a:t>(USD$B and YoY%)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8568E80-7AE3-A90F-81A9-792B7A45FD9C}"/>
              </a:ext>
            </a:extLst>
          </p:cNvPr>
          <p:cNvSpPr txBox="1"/>
          <p:nvPr/>
        </p:nvSpPr>
        <p:spPr>
          <a:xfrm>
            <a:off x="8367286" y="1337107"/>
            <a:ext cx="3535105" cy="427657"/>
          </a:xfrm>
          <a:prstGeom prst="rect">
            <a:avLst/>
          </a:prstGeom>
          <a:noFill/>
        </p:spPr>
        <p:txBody>
          <a:bodyPr wrap="square" lIns="0" rtlCol="0" anchor="b">
            <a:noAutofit/>
          </a:bodyPr>
          <a:lstStyle/>
          <a:p>
            <a:pPr lvl="0">
              <a:spcBef>
                <a:spcPts val="1800"/>
              </a:spcBef>
              <a:defRPr/>
            </a:pPr>
            <a:r>
              <a:rPr lang="en-GB" sz="1500">
                <a:solidFill>
                  <a:schemeClr val="accent1"/>
                </a:solidFill>
                <a:latin typeface="+mj-lt"/>
              </a:rPr>
              <a:t>Comment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435DD90-D52D-DCCE-376F-10C2ECE8D8A6}"/>
              </a:ext>
            </a:extLst>
          </p:cNvPr>
          <p:cNvSpPr txBox="1"/>
          <p:nvPr/>
        </p:nvSpPr>
        <p:spPr>
          <a:xfrm>
            <a:off x="8362300" y="2038209"/>
            <a:ext cx="3540092" cy="29392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342900" indent="-228600">
              <a:spcAft>
                <a:spcPts val="1400"/>
              </a:spcAft>
              <a:buClr>
                <a:schemeClr val="accent1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lang="en-US" sz="1300">
                <a:solidFill>
                  <a:schemeClr val="tx1">
                    <a:lumMod val="85000"/>
                    <a:lumOff val="15000"/>
                  </a:schemeClr>
                </a:solidFill>
                <a:latin typeface="Arial Nova Light" panose="020B0304020202020204" pitchFamily="34" charset="0"/>
              </a:rPr>
              <a:t>Ortho growth showed increasing interest in innovative implants and materials (e.g., collagen, 3D printing)</a:t>
            </a:r>
          </a:p>
          <a:p>
            <a:pPr marL="342900" indent="-228600">
              <a:spcAft>
                <a:spcPts val="1400"/>
              </a:spcAft>
              <a:buClr>
                <a:schemeClr val="accent1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lang="en-US" sz="1300">
                <a:solidFill>
                  <a:schemeClr val="tx1">
                    <a:lumMod val="85000"/>
                    <a:lumOff val="15000"/>
                  </a:schemeClr>
                </a:solidFill>
                <a:latin typeface="Arial Nova Light" panose="020B0304020202020204" pitchFamily="34" charset="0"/>
              </a:rPr>
              <a:t>Cardiovascular growth is driven by an increased prevalence and awareness of heart disease</a:t>
            </a:r>
          </a:p>
          <a:p>
            <a:pPr marL="342900" indent="-228600">
              <a:spcAft>
                <a:spcPts val="1400"/>
              </a:spcAft>
              <a:buClr>
                <a:schemeClr val="accent1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lang="en-US" sz="1300">
                <a:solidFill>
                  <a:schemeClr val="tx1">
                    <a:lumMod val="85000"/>
                    <a:lumOff val="15000"/>
                  </a:schemeClr>
                </a:solidFill>
                <a:latin typeface="Arial Nova Light" panose="020B0304020202020204" pitchFamily="34" charset="0"/>
              </a:rPr>
              <a:t>Surgery grew from a strong focus on MIS, as well as single-kitting to increase efficiency for surgeons and cut sterilization time</a:t>
            </a:r>
          </a:p>
          <a:p>
            <a:pPr marL="342900" indent="-228600">
              <a:spcAft>
                <a:spcPts val="1400"/>
              </a:spcAft>
              <a:buClr>
                <a:schemeClr val="accent1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lang="en-US" sz="1300">
                <a:solidFill>
                  <a:schemeClr val="tx1">
                    <a:lumMod val="85000"/>
                    <a:lumOff val="15000"/>
                  </a:schemeClr>
                </a:solidFill>
                <a:latin typeface="Arial Nova Light" panose="020B0304020202020204" pitchFamily="34" charset="0"/>
              </a:rPr>
              <a:t>IVD was the main detractor, experiencing a sharp decline likely attributable to the decline in COVID-19 testing</a:t>
            </a: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C4300866-F7F7-AF3E-10F4-04F296363723}"/>
              </a:ext>
            </a:extLst>
          </p:cNvPr>
          <p:cNvCxnSpPr>
            <a:cxnSpLocks/>
          </p:cNvCxnSpPr>
          <p:nvPr/>
        </p:nvCxnSpPr>
        <p:spPr>
          <a:xfrm>
            <a:off x="8171693" y="1519500"/>
            <a:ext cx="0" cy="4566060"/>
          </a:xfrm>
          <a:prstGeom prst="line">
            <a:avLst/>
          </a:prstGeom>
          <a:ln w="15875" cap="rnd">
            <a:solidFill>
              <a:schemeClr val="bg1">
                <a:lumMod val="65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0BC6333A-D5DA-5814-2C8E-497DD7D7EAE7}"/>
              </a:ext>
            </a:extLst>
          </p:cNvPr>
          <p:cNvCxnSpPr>
            <a:cxnSpLocks/>
          </p:cNvCxnSpPr>
          <p:nvPr/>
        </p:nvCxnSpPr>
        <p:spPr>
          <a:xfrm>
            <a:off x="378049" y="1836011"/>
            <a:ext cx="7569023" cy="0"/>
          </a:xfrm>
          <a:prstGeom prst="line">
            <a:avLst/>
          </a:prstGeom>
          <a:noFill/>
          <a:ln w="34925" cap="flat" cmpd="sng" algn="ctr">
            <a:solidFill>
              <a:schemeClr val="accent1"/>
            </a:solidFill>
            <a:prstDash val="solid"/>
          </a:ln>
          <a:effectLst/>
        </p:spPr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1B761BCB-7869-F809-9BEC-894F273B8046}"/>
              </a:ext>
            </a:extLst>
          </p:cNvPr>
          <p:cNvCxnSpPr>
            <a:cxnSpLocks/>
          </p:cNvCxnSpPr>
          <p:nvPr/>
        </p:nvCxnSpPr>
        <p:spPr>
          <a:xfrm>
            <a:off x="8367286" y="1836011"/>
            <a:ext cx="3535105" cy="0"/>
          </a:xfrm>
          <a:prstGeom prst="line">
            <a:avLst/>
          </a:prstGeom>
          <a:noFill/>
          <a:ln w="34925" cap="flat" cmpd="sng" algn="ctr">
            <a:solidFill>
              <a:schemeClr val="accent1"/>
            </a:solidFill>
            <a:prstDash val="solid"/>
          </a:ln>
          <a:effectLst/>
        </p:spPr>
      </p:cxnSp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15" name="Chart 14">
                <a:extLst>
                  <a:ext uri="{FF2B5EF4-FFF2-40B4-BE49-F238E27FC236}">
                    <a16:creationId xmlns:a16="http://schemas.microsoft.com/office/drawing/2014/main" id="{E85CD8F1-11F0-0A7C-0230-82ED84095038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1906602718"/>
                  </p:ext>
                </p:extLst>
              </p:nvPr>
            </p:nvGraphicFramePr>
            <p:xfrm>
              <a:off x="289609" y="1763423"/>
              <a:ext cx="7686484" cy="4051750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3"/>
              </a:graphicData>
            </a:graphic>
          </p:graphicFrame>
        </mc:Choice>
        <mc:Fallback xmlns="">
          <p:pic>
            <p:nvPicPr>
              <p:cNvPr id="15" name="Chart 14">
                <a:extLst>
                  <a:ext uri="{FF2B5EF4-FFF2-40B4-BE49-F238E27FC236}">
                    <a16:creationId xmlns:a16="http://schemas.microsoft.com/office/drawing/2014/main" id="{E85CD8F1-11F0-0A7C-0230-82ED84095038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89609" y="1763423"/>
                <a:ext cx="7686484" cy="4051750"/>
              </a:xfrm>
              <a:prstGeom prst="rect">
                <a:avLst/>
              </a:prstGeom>
            </p:spPr>
          </p:pic>
        </mc:Fallback>
      </mc:AlternateContent>
      <p:sp>
        <p:nvSpPr>
          <p:cNvPr id="16" name="TextBox 15">
            <a:extLst>
              <a:ext uri="{FF2B5EF4-FFF2-40B4-BE49-F238E27FC236}">
                <a16:creationId xmlns:a16="http://schemas.microsoft.com/office/drawing/2014/main" id="{C37B1F42-720C-AD09-C3AF-F4787A670CCB}"/>
              </a:ext>
            </a:extLst>
          </p:cNvPr>
          <p:cNvSpPr txBox="1"/>
          <p:nvPr/>
        </p:nvSpPr>
        <p:spPr>
          <a:xfrm>
            <a:off x="429419" y="4130576"/>
            <a:ext cx="51299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algn="ctr"/>
            <a:r>
              <a:rPr lang="en-US" sz="1200" b="1" dirty="0">
                <a:solidFill>
                  <a:schemeClr val="bg1"/>
                </a:solidFill>
                <a:latin typeface="+mj-lt"/>
              </a:rPr>
              <a:t>$557.8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C6C8ED0B-5A17-230E-6280-221DF4C40757}"/>
              </a:ext>
            </a:extLst>
          </p:cNvPr>
          <p:cNvSpPr txBox="1"/>
          <p:nvPr/>
        </p:nvSpPr>
        <p:spPr>
          <a:xfrm>
            <a:off x="7301910" y="4130576"/>
            <a:ext cx="51299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algn="ctr"/>
            <a:r>
              <a:rPr lang="en-US" sz="1200" b="1" dirty="0">
                <a:solidFill>
                  <a:schemeClr val="bg1"/>
                </a:solidFill>
                <a:latin typeface="+mj-lt"/>
              </a:rPr>
              <a:t>$583.2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DCA8257F-0662-1762-2A5F-2D4FC14D25C4}"/>
              </a:ext>
            </a:extLst>
          </p:cNvPr>
          <p:cNvSpPr txBox="1"/>
          <p:nvPr/>
        </p:nvSpPr>
        <p:spPr>
          <a:xfrm>
            <a:off x="429418" y="5757354"/>
            <a:ext cx="51299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ctr"/>
            <a:r>
              <a:rPr lang="en-US" sz="1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2024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99BC8A08-1C68-C947-401D-95E3ECBEDE9B}"/>
              </a:ext>
            </a:extLst>
          </p:cNvPr>
          <p:cNvSpPr txBox="1"/>
          <p:nvPr/>
        </p:nvSpPr>
        <p:spPr>
          <a:xfrm>
            <a:off x="1055712" y="5903464"/>
            <a:ext cx="512991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ctr"/>
            <a:r>
              <a:rPr lang="en-US" sz="9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IVD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41FD9855-EF7E-81DF-8AE0-75C7356FAEF6}"/>
              </a:ext>
            </a:extLst>
          </p:cNvPr>
          <p:cNvSpPr txBox="1"/>
          <p:nvPr/>
        </p:nvSpPr>
        <p:spPr>
          <a:xfrm>
            <a:off x="1686098" y="5903464"/>
            <a:ext cx="512991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ctr"/>
            <a:r>
              <a:rPr lang="en-US" sz="9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Ortho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2EA9DBEF-B8ED-F531-8CC5-C6FD0F929189}"/>
              </a:ext>
            </a:extLst>
          </p:cNvPr>
          <p:cNvSpPr txBox="1"/>
          <p:nvPr/>
        </p:nvSpPr>
        <p:spPr>
          <a:xfrm>
            <a:off x="2400242" y="5903464"/>
            <a:ext cx="512991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ctr"/>
            <a:r>
              <a:rPr lang="en-US" sz="9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Cardio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BAE9D44E-2E82-A45F-EEE2-20B99487D845}"/>
              </a:ext>
            </a:extLst>
          </p:cNvPr>
          <p:cNvSpPr txBox="1"/>
          <p:nvPr/>
        </p:nvSpPr>
        <p:spPr>
          <a:xfrm>
            <a:off x="3293917" y="5873267"/>
            <a:ext cx="512991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ctr"/>
            <a:r>
              <a:rPr lang="en-US" sz="9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Surgery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68AF4B95-BAC3-4091-6FBF-9EBBA47A5855}"/>
              </a:ext>
            </a:extLst>
          </p:cNvPr>
          <p:cNvSpPr txBox="1"/>
          <p:nvPr/>
        </p:nvSpPr>
        <p:spPr>
          <a:xfrm>
            <a:off x="3963134" y="5903464"/>
            <a:ext cx="512991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ctr"/>
            <a:r>
              <a:rPr lang="en-US" sz="9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Imaging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73E965EF-BC46-ABAE-654A-E80CA7108F6B}"/>
              </a:ext>
            </a:extLst>
          </p:cNvPr>
          <p:cNvSpPr txBox="1"/>
          <p:nvPr/>
        </p:nvSpPr>
        <p:spPr>
          <a:xfrm>
            <a:off x="4557177" y="5857678"/>
            <a:ext cx="512991" cy="2769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ctr"/>
            <a:r>
              <a:rPr lang="en-US" sz="9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Diabetes Care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260EC7D8-30D7-777D-817F-D0DDC82F6C37}"/>
              </a:ext>
            </a:extLst>
          </p:cNvPr>
          <p:cNvSpPr txBox="1"/>
          <p:nvPr/>
        </p:nvSpPr>
        <p:spPr>
          <a:xfrm>
            <a:off x="5222720" y="5764964"/>
            <a:ext cx="675113" cy="41549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ctr"/>
            <a:r>
              <a:rPr lang="en-US" sz="9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Digital Health &amp; Patient Monitoring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FDBB39E4-1E46-0D52-C653-9FF5FEAA7F4F}"/>
              </a:ext>
            </a:extLst>
          </p:cNvPr>
          <p:cNvSpPr txBox="1"/>
          <p:nvPr/>
        </p:nvSpPr>
        <p:spPr>
          <a:xfrm>
            <a:off x="5867954" y="5903464"/>
            <a:ext cx="849558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ctr"/>
            <a:r>
              <a:rPr lang="en-US" sz="9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Wound Care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3FEF9282-9347-B381-925E-6E6B2160B247}"/>
              </a:ext>
            </a:extLst>
          </p:cNvPr>
          <p:cNvSpPr txBox="1"/>
          <p:nvPr/>
        </p:nvSpPr>
        <p:spPr>
          <a:xfrm>
            <a:off x="6695619" y="5834214"/>
            <a:ext cx="587477" cy="2769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ctr"/>
            <a:r>
              <a:rPr lang="en-US" sz="9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Other Devices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8D0CB39A-3494-5D73-3296-7A3868C34E38}"/>
              </a:ext>
            </a:extLst>
          </p:cNvPr>
          <p:cNvSpPr txBox="1"/>
          <p:nvPr/>
        </p:nvSpPr>
        <p:spPr>
          <a:xfrm>
            <a:off x="7278795" y="5752979"/>
            <a:ext cx="51299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ctr"/>
            <a:r>
              <a:rPr lang="en-US" sz="1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2025</a:t>
            </a:r>
          </a:p>
        </p:txBody>
      </p: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AFF98EA6-C0F1-63C8-F257-32DB81C29009}"/>
              </a:ext>
            </a:extLst>
          </p:cNvPr>
          <p:cNvCxnSpPr>
            <a:cxnSpLocks/>
          </p:cNvCxnSpPr>
          <p:nvPr/>
        </p:nvCxnSpPr>
        <p:spPr>
          <a:xfrm>
            <a:off x="388680" y="5752979"/>
            <a:ext cx="7468780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TextBox 75">
            <a:extLst>
              <a:ext uri="{FF2B5EF4-FFF2-40B4-BE49-F238E27FC236}">
                <a16:creationId xmlns:a16="http://schemas.microsoft.com/office/drawing/2014/main" id="{621715B1-52FD-1D02-6D47-65E931364A44}"/>
              </a:ext>
            </a:extLst>
          </p:cNvPr>
          <p:cNvSpPr txBox="1"/>
          <p:nvPr/>
        </p:nvSpPr>
        <p:spPr>
          <a:xfrm>
            <a:off x="1173107" y="3202501"/>
            <a:ext cx="512991" cy="18466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ctr"/>
            <a:r>
              <a:rPr lang="en-US" sz="1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-5.3%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D3B4A8EB-2946-FE47-54A3-F2FC55159F53}"/>
              </a:ext>
            </a:extLst>
          </p:cNvPr>
          <p:cNvSpPr txBox="1"/>
          <p:nvPr/>
        </p:nvSpPr>
        <p:spPr>
          <a:xfrm>
            <a:off x="1826469" y="3188768"/>
            <a:ext cx="512991" cy="18466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ctr"/>
            <a:r>
              <a:rPr lang="en-US" sz="1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2.8%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B2A60B32-0E15-5A70-413A-696F053AAEA2}"/>
              </a:ext>
            </a:extLst>
          </p:cNvPr>
          <p:cNvSpPr txBox="1"/>
          <p:nvPr/>
        </p:nvSpPr>
        <p:spPr>
          <a:xfrm>
            <a:off x="2556274" y="3110168"/>
            <a:ext cx="512991" cy="18466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ctr"/>
            <a:r>
              <a:rPr lang="en-US" sz="1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5.2%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C109E8BC-CE67-59D6-1DA9-28E13C20CA8E}"/>
              </a:ext>
            </a:extLst>
          </p:cNvPr>
          <p:cNvSpPr txBox="1"/>
          <p:nvPr/>
        </p:nvSpPr>
        <p:spPr>
          <a:xfrm>
            <a:off x="3239838" y="3017835"/>
            <a:ext cx="512991" cy="18466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ctr"/>
            <a:r>
              <a:rPr lang="en-US" sz="1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6.0%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FEAA7E02-A53A-EEC5-CD94-4022DAFEE021}"/>
              </a:ext>
            </a:extLst>
          </p:cNvPr>
          <p:cNvSpPr txBox="1"/>
          <p:nvPr/>
        </p:nvSpPr>
        <p:spPr>
          <a:xfrm>
            <a:off x="3902338" y="2925502"/>
            <a:ext cx="512991" cy="18466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ctr"/>
            <a:r>
              <a:rPr lang="en-US" sz="1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5.4%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5FA77427-1C7D-6B46-2F05-BFBEF4936A63}"/>
              </a:ext>
            </a:extLst>
          </p:cNvPr>
          <p:cNvSpPr txBox="1"/>
          <p:nvPr/>
        </p:nvSpPr>
        <p:spPr>
          <a:xfrm>
            <a:off x="4605935" y="2833169"/>
            <a:ext cx="512991" cy="18466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ctr"/>
            <a:r>
              <a:rPr lang="en-US" sz="1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5.8%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9CFF3F5D-251A-914E-EA62-3722B89338F9}"/>
              </a:ext>
            </a:extLst>
          </p:cNvPr>
          <p:cNvSpPr txBox="1"/>
          <p:nvPr/>
        </p:nvSpPr>
        <p:spPr>
          <a:xfrm>
            <a:off x="5268837" y="2819713"/>
            <a:ext cx="512991" cy="18466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ctr"/>
            <a:r>
              <a:rPr lang="en-US" sz="1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4.4%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60EDD833-DAE4-3750-30FC-C74E76D4242C}"/>
              </a:ext>
            </a:extLst>
          </p:cNvPr>
          <p:cNvSpPr txBox="1"/>
          <p:nvPr/>
        </p:nvSpPr>
        <p:spPr>
          <a:xfrm>
            <a:off x="5959563" y="2727380"/>
            <a:ext cx="512991" cy="18466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ctr"/>
            <a:r>
              <a:rPr lang="en-US" sz="1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4.0%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9B7155CB-20CE-5CF0-2613-9BC56E6AB846}"/>
              </a:ext>
            </a:extLst>
          </p:cNvPr>
          <p:cNvSpPr txBox="1"/>
          <p:nvPr/>
        </p:nvSpPr>
        <p:spPr>
          <a:xfrm>
            <a:off x="6668563" y="2289381"/>
            <a:ext cx="512991" cy="18466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ctr"/>
            <a:r>
              <a:rPr lang="en-US" sz="1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5.9%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5E96CA3B-C302-35D5-739A-D62E500E54CA}"/>
              </a:ext>
            </a:extLst>
          </p:cNvPr>
          <p:cNvSpPr txBox="1"/>
          <p:nvPr/>
        </p:nvSpPr>
        <p:spPr>
          <a:xfrm>
            <a:off x="7301910" y="2277881"/>
            <a:ext cx="512991" cy="18466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ctr"/>
            <a:r>
              <a:rPr lang="en-US" sz="1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4.6%</a:t>
            </a:r>
          </a:p>
        </p:txBody>
      </p:sp>
    </p:spTree>
    <p:extLst>
      <p:ext uri="{BB962C8B-B14F-4D97-AF65-F5344CB8AC3E}">
        <p14:creationId xmlns:p14="http://schemas.microsoft.com/office/powerpoint/2010/main" val="327743305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8F2026F-0C88-3078-8413-45BF1F8C353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F8EB60C-7CC2-49F0-B2EE-C81F067DE041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C9FABEF-E970-FAA7-9069-76BF4A9BB2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8049" y="393733"/>
            <a:ext cx="11431364" cy="886397"/>
          </a:xfrm>
        </p:spPr>
        <p:txBody>
          <a:bodyPr/>
          <a:lstStyle/>
          <a:p>
            <a:r>
              <a:rPr lang="en-US" sz="3200" dirty="0"/>
              <a:t>By extension, the Medtech CDMO industry is also growing, with the US showing the most growth in 2023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5E90A0-566D-0DC5-D4D6-FED5FDB5920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81537" y="6285160"/>
            <a:ext cx="6287026" cy="276999"/>
          </a:xfrm>
        </p:spPr>
        <p:txBody>
          <a:bodyPr/>
          <a:lstStyle/>
          <a:p>
            <a:r>
              <a:rPr lang="en-US" i="0">
                <a:solidFill>
                  <a:schemeClr val="bg1">
                    <a:lumMod val="50000"/>
                  </a:schemeClr>
                </a:solidFill>
                <a:latin typeface="+mj-lt"/>
              </a:rPr>
              <a:t>*2024 values forecasted based on previous year-over-year growth</a:t>
            </a:r>
          </a:p>
          <a:p>
            <a:r>
              <a:rPr lang="en-US" b="1" i="0">
                <a:solidFill>
                  <a:schemeClr val="bg1">
                    <a:lumMod val="50000"/>
                  </a:schemeClr>
                </a:solidFill>
                <a:latin typeface="+mj-lt"/>
              </a:rPr>
              <a:t>Source</a:t>
            </a:r>
            <a:r>
              <a:rPr lang="en-US" i="0">
                <a:solidFill>
                  <a:schemeClr val="bg1">
                    <a:lumMod val="50000"/>
                  </a:schemeClr>
                </a:solidFill>
                <a:latin typeface="+mj-lt"/>
              </a:rPr>
              <a:t>: </a:t>
            </a:r>
            <a:r>
              <a:rPr lang="en-US" i="0">
                <a:solidFill>
                  <a:schemeClr val="bg1">
                    <a:lumMod val="50000"/>
                  </a:schemeClr>
                </a:solidFill>
              </a:rPr>
              <a:t>Massachusetts Medical Device Industry Council. The 2024 Global Medtech Contract Manufacturing Report</a:t>
            </a:r>
          </a:p>
        </p:txBody>
      </p:sp>
      <p:graphicFrame>
        <p:nvGraphicFramePr>
          <p:cNvPr id="85" name="Chart 1">
            <a:extLst>
              <a:ext uri="{FF2B5EF4-FFF2-40B4-BE49-F238E27FC236}">
                <a16:creationId xmlns:a16="http://schemas.microsoft.com/office/drawing/2014/main" id="{78159C3E-F435-9718-239D-1699562190A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04308305"/>
              </p:ext>
            </p:extLst>
          </p:nvPr>
        </p:nvGraphicFramePr>
        <p:xfrm>
          <a:off x="482092" y="2201551"/>
          <a:ext cx="7088008" cy="36960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92" name="Line 30">
            <a:extLst>
              <a:ext uri="{FF2B5EF4-FFF2-40B4-BE49-F238E27FC236}">
                <a16:creationId xmlns:a16="http://schemas.microsoft.com/office/drawing/2014/main" id="{1C44BDD2-99A7-A8C1-26FB-D46D465846CD}"/>
              </a:ext>
            </a:extLst>
          </p:cNvPr>
          <p:cNvSpPr>
            <a:spLocks noChangeShapeType="1"/>
          </p:cNvSpPr>
          <p:nvPr>
            <p:custDataLst>
              <p:tags r:id="rId1"/>
            </p:custDataLst>
          </p:nvPr>
        </p:nvSpPr>
        <p:spPr bwMode="gray">
          <a:xfrm flipV="1">
            <a:off x="1078651" y="2071264"/>
            <a:ext cx="6005515" cy="661493"/>
          </a:xfrm>
          <a:prstGeom prst="line">
            <a:avLst/>
          </a:prstGeom>
          <a:noFill/>
          <a:ln w="15875">
            <a:solidFill>
              <a:schemeClr val="bg1">
                <a:lumMod val="65000"/>
              </a:schemeClr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defTabSz="93296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868B3102-41D8-1FB8-7D38-C69774137A4D}"/>
              </a:ext>
            </a:extLst>
          </p:cNvPr>
          <p:cNvSpPr txBox="1"/>
          <p:nvPr/>
        </p:nvSpPr>
        <p:spPr>
          <a:xfrm>
            <a:off x="1128915" y="3034966"/>
            <a:ext cx="471638" cy="283448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defRPr/>
            </a:pPr>
            <a:r>
              <a:rPr lang="en-US" sz="1400" b="1" kern="0">
                <a:solidFill>
                  <a:srgbClr val="061F32"/>
                </a:solidFill>
                <a:latin typeface="+mj-lt"/>
              </a:rPr>
              <a:t>65.7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F4B489EF-A884-4D91-6E99-8FB065052313}"/>
              </a:ext>
            </a:extLst>
          </p:cNvPr>
          <p:cNvSpPr txBox="1"/>
          <p:nvPr/>
        </p:nvSpPr>
        <p:spPr>
          <a:xfrm>
            <a:off x="2898236" y="2786873"/>
            <a:ext cx="471638" cy="283448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defRPr/>
            </a:pPr>
            <a:r>
              <a:rPr lang="en-US" sz="1400" b="1" kern="0">
                <a:solidFill>
                  <a:srgbClr val="061F32"/>
                </a:solidFill>
                <a:latin typeface="+mj-lt"/>
              </a:rPr>
              <a:t>73.2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1AF6B9B0-6163-E926-5984-96B52CECAF42}"/>
              </a:ext>
            </a:extLst>
          </p:cNvPr>
          <p:cNvSpPr txBox="1"/>
          <p:nvPr/>
        </p:nvSpPr>
        <p:spPr>
          <a:xfrm>
            <a:off x="4667557" y="2542221"/>
            <a:ext cx="471638" cy="283448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61F32"/>
                </a:solidFill>
                <a:effectLst/>
                <a:uLnTx/>
                <a:uFillTx/>
                <a:latin typeface="+mj-lt"/>
              </a:rPr>
              <a:t>81.5</a:t>
            </a:r>
          </a:p>
        </p:txBody>
      </p:sp>
      <p:sp>
        <p:nvSpPr>
          <p:cNvPr id="99" name="Oval 98">
            <a:extLst>
              <a:ext uri="{FF2B5EF4-FFF2-40B4-BE49-F238E27FC236}">
                <a16:creationId xmlns:a16="http://schemas.microsoft.com/office/drawing/2014/main" id="{67220EF0-1915-483C-A58C-DED2E40C5714}"/>
              </a:ext>
            </a:extLst>
          </p:cNvPr>
          <p:cNvSpPr/>
          <p:nvPr/>
        </p:nvSpPr>
        <p:spPr>
          <a:xfrm>
            <a:off x="1874348" y="3439117"/>
            <a:ext cx="717972" cy="328598"/>
          </a:xfrm>
          <a:prstGeom prst="ellipse">
            <a:avLst/>
          </a:prstGeom>
          <a:solidFill>
            <a:schemeClr val="bg1"/>
          </a:solidFill>
          <a:ln w="19050" cap="sq" cmpd="sng" algn="ctr">
            <a:solidFill>
              <a:schemeClr val="accent3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100" kern="0">
                <a:solidFill>
                  <a:schemeClr val="tx1">
                    <a:lumMod val="85000"/>
                    <a:lumOff val="15000"/>
                  </a:schemeClr>
                </a:solidFill>
                <a:latin typeface="Arial Nova" panose="020B0504020202020204" pitchFamily="34" charset="0"/>
              </a:rPr>
              <a:t>12.3%</a:t>
            </a:r>
          </a:p>
        </p:txBody>
      </p:sp>
      <p:sp>
        <p:nvSpPr>
          <p:cNvPr id="100" name="Oval 99">
            <a:extLst>
              <a:ext uri="{FF2B5EF4-FFF2-40B4-BE49-F238E27FC236}">
                <a16:creationId xmlns:a16="http://schemas.microsoft.com/office/drawing/2014/main" id="{12A1BCC2-F775-46DC-47B9-07948217AB13}"/>
              </a:ext>
            </a:extLst>
          </p:cNvPr>
          <p:cNvSpPr/>
          <p:nvPr/>
        </p:nvSpPr>
        <p:spPr>
          <a:xfrm>
            <a:off x="1887653" y="4216547"/>
            <a:ext cx="717972" cy="328598"/>
          </a:xfrm>
          <a:prstGeom prst="ellipse">
            <a:avLst/>
          </a:prstGeom>
          <a:solidFill>
            <a:schemeClr val="bg1"/>
          </a:solidFill>
          <a:ln w="19050" cap="sq" cmpd="sng" algn="ctr">
            <a:solidFill>
              <a:schemeClr val="accent2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100" kern="0">
                <a:solidFill>
                  <a:schemeClr val="tx1">
                    <a:lumMod val="85000"/>
                    <a:lumOff val="15000"/>
                  </a:schemeClr>
                </a:solidFill>
                <a:latin typeface="Arial Nova" panose="020B0504020202020204" pitchFamily="34" charset="0"/>
              </a:rPr>
              <a:t>12.4%</a:t>
            </a:r>
          </a:p>
        </p:txBody>
      </p:sp>
      <p:sp>
        <p:nvSpPr>
          <p:cNvPr id="101" name="Oval 100">
            <a:extLst>
              <a:ext uri="{FF2B5EF4-FFF2-40B4-BE49-F238E27FC236}">
                <a16:creationId xmlns:a16="http://schemas.microsoft.com/office/drawing/2014/main" id="{FA85C36B-B51E-423C-2E6B-1DF1947FF113}"/>
              </a:ext>
            </a:extLst>
          </p:cNvPr>
          <p:cNvSpPr/>
          <p:nvPr/>
        </p:nvSpPr>
        <p:spPr>
          <a:xfrm>
            <a:off x="1881258" y="4890454"/>
            <a:ext cx="717972" cy="328598"/>
          </a:xfrm>
          <a:prstGeom prst="ellipse">
            <a:avLst/>
          </a:prstGeom>
          <a:solidFill>
            <a:schemeClr val="bg1"/>
          </a:solidFill>
          <a:ln w="19050" cap="sq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100" kern="0">
                <a:solidFill>
                  <a:schemeClr val="tx1">
                    <a:lumMod val="85000"/>
                    <a:lumOff val="15000"/>
                  </a:schemeClr>
                </a:solidFill>
                <a:latin typeface="Arial Nova" panose="020B0504020202020204" pitchFamily="34" charset="0"/>
              </a:rPr>
              <a:t>9.4%</a:t>
            </a:r>
          </a:p>
        </p:txBody>
      </p:sp>
      <p:sp>
        <p:nvSpPr>
          <p:cNvPr id="102" name="Oval 101">
            <a:extLst>
              <a:ext uri="{FF2B5EF4-FFF2-40B4-BE49-F238E27FC236}">
                <a16:creationId xmlns:a16="http://schemas.microsoft.com/office/drawing/2014/main" id="{ACBAD54B-EC71-F049-C3C4-42551BF3A475}"/>
              </a:ext>
            </a:extLst>
          </p:cNvPr>
          <p:cNvSpPr/>
          <p:nvPr/>
        </p:nvSpPr>
        <p:spPr>
          <a:xfrm>
            <a:off x="3665047" y="3223192"/>
            <a:ext cx="724882" cy="328598"/>
          </a:xfrm>
          <a:prstGeom prst="ellipse">
            <a:avLst/>
          </a:prstGeom>
          <a:solidFill>
            <a:schemeClr val="bg1"/>
          </a:solidFill>
          <a:ln w="19050" cap="sq" cmpd="sng" algn="ctr">
            <a:solidFill>
              <a:schemeClr val="accent3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Arial Nova" panose="020B0504020202020204" pitchFamily="34" charset="0"/>
              </a:rPr>
              <a:t>11.6%</a:t>
            </a:r>
          </a:p>
        </p:txBody>
      </p:sp>
      <p:sp>
        <p:nvSpPr>
          <p:cNvPr id="103" name="Oval 102">
            <a:extLst>
              <a:ext uri="{FF2B5EF4-FFF2-40B4-BE49-F238E27FC236}">
                <a16:creationId xmlns:a16="http://schemas.microsoft.com/office/drawing/2014/main" id="{528ECAE7-1F12-1D25-E711-200AF6F1B1D9}"/>
              </a:ext>
            </a:extLst>
          </p:cNvPr>
          <p:cNvSpPr/>
          <p:nvPr/>
        </p:nvSpPr>
        <p:spPr>
          <a:xfrm>
            <a:off x="3665047" y="4110703"/>
            <a:ext cx="724882" cy="328598"/>
          </a:xfrm>
          <a:prstGeom prst="ellipse">
            <a:avLst/>
          </a:prstGeom>
          <a:solidFill>
            <a:schemeClr val="bg1"/>
          </a:solidFill>
          <a:ln w="19050" cap="sq" cmpd="sng" algn="ctr">
            <a:solidFill>
              <a:schemeClr val="accent2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100" kern="0">
                <a:solidFill>
                  <a:schemeClr val="tx1">
                    <a:lumMod val="85000"/>
                    <a:lumOff val="15000"/>
                  </a:schemeClr>
                </a:solidFill>
                <a:latin typeface="Arial Nova" panose="020B0504020202020204" pitchFamily="34" charset="0"/>
              </a:rPr>
              <a:t>8.9%</a:t>
            </a:r>
          </a:p>
        </p:txBody>
      </p:sp>
      <p:sp>
        <p:nvSpPr>
          <p:cNvPr id="104" name="Oval 103">
            <a:extLst>
              <a:ext uri="{FF2B5EF4-FFF2-40B4-BE49-F238E27FC236}">
                <a16:creationId xmlns:a16="http://schemas.microsoft.com/office/drawing/2014/main" id="{0225DEF4-ABE9-C444-9032-F27554C9A8FA}"/>
              </a:ext>
            </a:extLst>
          </p:cNvPr>
          <p:cNvSpPr/>
          <p:nvPr/>
        </p:nvSpPr>
        <p:spPr>
          <a:xfrm>
            <a:off x="3665047" y="4891064"/>
            <a:ext cx="724882" cy="328598"/>
          </a:xfrm>
          <a:prstGeom prst="ellipse">
            <a:avLst/>
          </a:prstGeom>
          <a:solidFill>
            <a:schemeClr val="bg1"/>
          </a:solidFill>
          <a:ln w="19050" cap="sq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100" kern="0">
                <a:solidFill>
                  <a:schemeClr val="tx1">
                    <a:lumMod val="85000"/>
                    <a:lumOff val="15000"/>
                  </a:schemeClr>
                </a:solidFill>
                <a:latin typeface="Arial Nova" panose="020B0504020202020204" pitchFamily="34" charset="0"/>
              </a:rPr>
              <a:t>12.9%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4FEB8B6F-721B-41C3-BECA-E29D3FE3C61A}"/>
              </a:ext>
            </a:extLst>
          </p:cNvPr>
          <p:cNvGrpSpPr/>
          <p:nvPr/>
        </p:nvGrpSpPr>
        <p:grpSpPr>
          <a:xfrm>
            <a:off x="3024975" y="5891163"/>
            <a:ext cx="2030831" cy="153888"/>
            <a:chOff x="3130107" y="5891163"/>
            <a:chExt cx="2030831" cy="153888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0E3352B4-0171-438C-9473-17F9F550E5C4}"/>
                </a:ext>
              </a:extLst>
            </p:cNvPr>
            <p:cNvGrpSpPr/>
            <p:nvPr/>
          </p:nvGrpSpPr>
          <p:grpSpPr>
            <a:xfrm>
              <a:off x="3130107" y="5891163"/>
              <a:ext cx="392989" cy="153888"/>
              <a:chOff x="569036" y="2651224"/>
              <a:chExt cx="392989" cy="153888"/>
            </a:xfrm>
          </p:grpSpPr>
          <p:sp>
            <p:nvSpPr>
              <p:cNvPr id="105" name="TextBox 104">
                <a:extLst>
                  <a:ext uri="{FF2B5EF4-FFF2-40B4-BE49-F238E27FC236}">
                    <a16:creationId xmlns:a16="http://schemas.microsoft.com/office/drawing/2014/main" id="{7A300FF6-930C-F11B-165C-EF1EF4F17711}"/>
                  </a:ext>
                </a:extLst>
              </p:cNvPr>
              <p:cNvSpPr txBox="1"/>
              <p:nvPr/>
            </p:nvSpPr>
            <p:spPr>
              <a:xfrm>
                <a:off x="773998" y="2651224"/>
                <a:ext cx="188027" cy="15388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algn="l"/>
                <a:r>
                  <a:rPr lang="en-US" sz="100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Arial Nova" panose="020B0504020202020204" pitchFamily="34" charset="0"/>
                  </a:rPr>
                  <a:t>US</a:t>
                </a:r>
              </a:p>
            </p:txBody>
          </p:sp>
          <p:sp>
            <p:nvSpPr>
              <p:cNvPr id="108" name="Rectangle 107">
                <a:extLst>
                  <a:ext uri="{FF2B5EF4-FFF2-40B4-BE49-F238E27FC236}">
                    <a16:creationId xmlns:a16="http://schemas.microsoft.com/office/drawing/2014/main" id="{2B18B3C2-18DA-2BB0-A70C-FC6B3507D155}"/>
                  </a:ext>
                </a:extLst>
              </p:cNvPr>
              <p:cNvSpPr/>
              <p:nvPr/>
            </p:nvSpPr>
            <p:spPr>
              <a:xfrm>
                <a:off x="569036" y="2659588"/>
                <a:ext cx="148514" cy="13716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6E05AB94-4E92-4483-8408-136364D86B6B}"/>
                </a:ext>
              </a:extLst>
            </p:cNvPr>
            <p:cNvGrpSpPr/>
            <p:nvPr/>
          </p:nvGrpSpPr>
          <p:grpSpPr>
            <a:xfrm>
              <a:off x="3765671" y="5891163"/>
              <a:ext cx="627939" cy="153888"/>
              <a:chOff x="569036" y="2402504"/>
              <a:chExt cx="627939" cy="153888"/>
            </a:xfrm>
          </p:grpSpPr>
          <p:sp>
            <p:nvSpPr>
              <p:cNvPr id="106" name="TextBox 105">
                <a:extLst>
                  <a:ext uri="{FF2B5EF4-FFF2-40B4-BE49-F238E27FC236}">
                    <a16:creationId xmlns:a16="http://schemas.microsoft.com/office/drawing/2014/main" id="{7006D2D9-D5BA-4756-95BE-F072761AE1B5}"/>
                  </a:ext>
                </a:extLst>
              </p:cNvPr>
              <p:cNvSpPr txBox="1"/>
              <p:nvPr/>
            </p:nvSpPr>
            <p:spPr>
              <a:xfrm>
                <a:off x="773998" y="2402504"/>
                <a:ext cx="422977" cy="15388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algn="l"/>
                <a:r>
                  <a:rPr lang="en-US" sz="10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Arial Nova" panose="020B0504020202020204" pitchFamily="34" charset="0"/>
                  </a:rPr>
                  <a:t>Europe</a:t>
                </a:r>
              </a:p>
            </p:txBody>
          </p:sp>
          <p:sp>
            <p:nvSpPr>
              <p:cNvPr id="109" name="Rectangle 108">
                <a:extLst>
                  <a:ext uri="{FF2B5EF4-FFF2-40B4-BE49-F238E27FC236}">
                    <a16:creationId xmlns:a16="http://schemas.microsoft.com/office/drawing/2014/main" id="{F66B457A-91B0-19AA-1692-B6BBAEC5A7AB}"/>
                  </a:ext>
                </a:extLst>
              </p:cNvPr>
              <p:cNvSpPr/>
              <p:nvPr/>
            </p:nvSpPr>
            <p:spPr>
              <a:xfrm>
                <a:off x="569036" y="2410868"/>
                <a:ext cx="148514" cy="137160"/>
              </a:xfrm>
              <a:prstGeom prst="rect">
                <a:avLst/>
              </a:prstGeom>
              <a:solidFill>
                <a:schemeClr val="accent2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0A659F33-295F-4424-9871-C2AF47A23A64}"/>
                </a:ext>
              </a:extLst>
            </p:cNvPr>
            <p:cNvGrpSpPr/>
            <p:nvPr/>
          </p:nvGrpSpPr>
          <p:grpSpPr>
            <a:xfrm>
              <a:off x="4636186" y="5891163"/>
              <a:ext cx="524752" cy="153888"/>
              <a:chOff x="569036" y="2159432"/>
              <a:chExt cx="524752" cy="153888"/>
            </a:xfrm>
          </p:grpSpPr>
          <p:sp>
            <p:nvSpPr>
              <p:cNvPr id="107" name="TextBox 106">
                <a:extLst>
                  <a:ext uri="{FF2B5EF4-FFF2-40B4-BE49-F238E27FC236}">
                    <a16:creationId xmlns:a16="http://schemas.microsoft.com/office/drawing/2014/main" id="{18FB151C-87FB-E64F-D4D5-4D31DC7AF88D}"/>
                  </a:ext>
                </a:extLst>
              </p:cNvPr>
              <p:cNvSpPr txBox="1"/>
              <p:nvPr/>
            </p:nvSpPr>
            <p:spPr>
              <a:xfrm>
                <a:off x="773998" y="2159432"/>
                <a:ext cx="319790" cy="15388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algn="l"/>
                <a:r>
                  <a:rPr lang="en-US" sz="100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Arial Nova" panose="020B0504020202020204" pitchFamily="34" charset="0"/>
                  </a:rPr>
                  <a:t>ROW</a:t>
                </a:r>
              </a:p>
            </p:txBody>
          </p:sp>
          <p:sp>
            <p:nvSpPr>
              <p:cNvPr id="110" name="Rectangle 109">
                <a:extLst>
                  <a:ext uri="{FF2B5EF4-FFF2-40B4-BE49-F238E27FC236}">
                    <a16:creationId xmlns:a16="http://schemas.microsoft.com/office/drawing/2014/main" id="{78BA7F19-D0DE-8C7A-7BF7-D82104AD6B6E}"/>
                  </a:ext>
                </a:extLst>
              </p:cNvPr>
              <p:cNvSpPr/>
              <p:nvPr/>
            </p:nvSpPr>
            <p:spPr>
              <a:xfrm>
                <a:off x="569036" y="2167796"/>
                <a:ext cx="148514" cy="137160"/>
              </a:xfrm>
              <a:prstGeom prst="rect">
                <a:avLst/>
              </a:prstGeom>
              <a:solidFill>
                <a:srgbClr val="00A7F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111" name="TextBox 110">
            <a:extLst>
              <a:ext uri="{FF2B5EF4-FFF2-40B4-BE49-F238E27FC236}">
                <a16:creationId xmlns:a16="http://schemas.microsoft.com/office/drawing/2014/main" id="{DF3FE3F8-E752-5313-8957-1489559ED917}"/>
              </a:ext>
            </a:extLst>
          </p:cNvPr>
          <p:cNvSpPr txBox="1"/>
          <p:nvPr/>
        </p:nvSpPr>
        <p:spPr>
          <a:xfrm>
            <a:off x="953254" y="5491718"/>
            <a:ext cx="82296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algn="ctr"/>
            <a:r>
              <a:rPr lang="en-US" sz="1200">
                <a:solidFill>
                  <a:schemeClr val="tx1">
                    <a:lumMod val="85000"/>
                    <a:lumOff val="15000"/>
                  </a:schemeClr>
                </a:solidFill>
              </a:rPr>
              <a:t>2021</a:t>
            </a: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68AF2E60-E37B-2708-4978-597490409792}"/>
              </a:ext>
            </a:extLst>
          </p:cNvPr>
          <p:cNvSpPr txBox="1"/>
          <p:nvPr/>
        </p:nvSpPr>
        <p:spPr>
          <a:xfrm>
            <a:off x="2722575" y="5471245"/>
            <a:ext cx="82296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algn="ctr"/>
            <a:r>
              <a:rPr lang="en-US" sz="1200">
                <a:solidFill>
                  <a:schemeClr val="tx1">
                    <a:lumMod val="85000"/>
                    <a:lumOff val="15000"/>
                  </a:schemeClr>
                </a:solidFill>
              </a:rPr>
              <a:t>2022</a:t>
            </a: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B8DAFEDA-332C-8773-96D7-8519BD023CDB}"/>
              </a:ext>
            </a:extLst>
          </p:cNvPr>
          <p:cNvSpPr txBox="1"/>
          <p:nvPr/>
        </p:nvSpPr>
        <p:spPr>
          <a:xfrm>
            <a:off x="4491896" y="5484824"/>
            <a:ext cx="82296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algn="ctr"/>
            <a:r>
              <a:rPr lang="en-US" sz="1200">
                <a:solidFill>
                  <a:schemeClr val="tx1">
                    <a:lumMod val="85000"/>
                    <a:lumOff val="15000"/>
                  </a:schemeClr>
                </a:solidFill>
              </a:rPr>
              <a:t>2023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EC5A141A-F01A-45D6-A5D9-535F660B2F42}"/>
              </a:ext>
            </a:extLst>
          </p:cNvPr>
          <p:cNvCxnSpPr>
            <a:cxnSpLocks/>
          </p:cNvCxnSpPr>
          <p:nvPr/>
        </p:nvCxnSpPr>
        <p:spPr>
          <a:xfrm>
            <a:off x="7904381" y="1519500"/>
            <a:ext cx="0" cy="4566060"/>
          </a:xfrm>
          <a:prstGeom prst="line">
            <a:avLst/>
          </a:prstGeom>
          <a:ln w="15875" cap="rnd">
            <a:solidFill>
              <a:schemeClr val="bg1">
                <a:lumMod val="65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D7E0EA64-B510-4C9C-BE57-F67931755499}"/>
              </a:ext>
            </a:extLst>
          </p:cNvPr>
          <p:cNvCxnSpPr>
            <a:cxnSpLocks/>
          </p:cNvCxnSpPr>
          <p:nvPr/>
        </p:nvCxnSpPr>
        <p:spPr>
          <a:xfrm>
            <a:off x="378049" y="1836011"/>
            <a:ext cx="7324682" cy="0"/>
          </a:xfrm>
          <a:prstGeom prst="line">
            <a:avLst/>
          </a:prstGeom>
          <a:noFill/>
          <a:ln w="34925" cap="flat" cmpd="sng" algn="ctr">
            <a:solidFill>
              <a:schemeClr val="accent1"/>
            </a:solidFill>
            <a:prstDash val="solid"/>
          </a:ln>
          <a:effectLst/>
        </p:spPr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CE392FCC-2C5C-49AA-BA2D-41FADAFA4200}"/>
              </a:ext>
            </a:extLst>
          </p:cNvPr>
          <p:cNvCxnSpPr>
            <a:cxnSpLocks/>
          </p:cNvCxnSpPr>
          <p:nvPr/>
        </p:nvCxnSpPr>
        <p:spPr>
          <a:xfrm>
            <a:off x="8106032" y="1836011"/>
            <a:ext cx="3535105" cy="0"/>
          </a:xfrm>
          <a:prstGeom prst="line">
            <a:avLst/>
          </a:prstGeom>
          <a:noFill/>
          <a:ln w="34925" cap="flat" cmpd="sng" algn="ctr">
            <a:solidFill>
              <a:schemeClr val="accent1"/>
            </a:solidFill>
            <a:prstDash val="solid"/>
          </a:ln>
          <a:effectLst/>
        </p:spPr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2BEF4068-7E0A-47E8-BA07-7116EA8B92BC}"/>
              </a:ext>
            </a:extLst>
          </p:cNvPr>
          <p:cNvSpPr txBox="1"/>
          <p:nvPr/>
        </p:nvSpPr>
        <p:spPr>
          <a:xfrm>
            <a:off x="378049" y="1337107"/>
            <a:ext cx="7296092" cy="427657"/>
          </a:xfrm>
          <a:prstGeom prst="rect">
            <a:avLst/>
          </a:prstGeom>
          <a:noFill/>
        </p:spPr>
        <p:txBody>
          <a:bodyPr wrap="square" lIns="0" rtlCol="0" anchor="b">
            <a:noAutofit/>
          </a:bodyPr>
          <a:lstStyle/>
          <a:p>
            <a:pPr>
              <a:spcBef>
                <a:spcPts val="1800"/>
              </a:spcBef>
              <a:defRPr/>
            </a:pPr>
            <a:r>
              <a:rPr lang="en-GB" sz="1500">
                <a:solidFill>
                  <a:schemeClr val="accent1"/>
                </a:solidFill>
                <a:latin typeface="+mj-lt"/>
              </a:rPr>
              <a:t>Global Medtech CDMO Market 2021-2023 </a:t>
            </a:r>
            <a:r>
              <a:rPr lang="en-GB" sz="1500">
                <a:solidFill>
                  <a:schemeClr val="bg2">
                    <a:lumMod val="50000"/>
                  </a:schemeClr>
                </a:solidFill>
                <a:latin typeface="+mj-lt"/>
              </a:rPr>
              <a:t>(USD$B)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1865E1C4-01C9-41BA-AEA4-F0305C113925}"/>
              </a:ext>
            </a:extLst>
          </p:cNvPr>
          <p:cNvSpPr txBox="1"/>
          <p:nvPr/>
        </p:nvSpPr>
        <p:spPr>
          <a:xfrm>
            <a:off x="8106032" y="1337107"/>
            <a:ext cx="3535105" cy="427657"/>
          </a:xfrm>
          <a:prstGeom prst="rect">
            <a:avLst/>
          </a:prstGeom>
          <a:noFill/>
        </p:spPr>
        <p:txBody>
          <a:bodyPr wrap="square" lIns="0" rtlCol="0" anchor="b">
            <a:noAutofit/>
          </a:bodyPr>
          <a:lstStyle/>
          <a:p>
            <a:pPr lvl="0">
              <a:spcBef>
                <a:spcPts val="1800"/>
              </a:spcBef>
              <a:defRPr/>
            </a:pPr>
            <a:r>
              <a:rPr lang="en-GB" sz="1500">
                <a:solidFill>
                  <a:schemeClr val="accent1"/>
                </a:solidFill>
                <a:latin typeface="+mj-lt"/>
              </a:rPr>
              <a:t>Comments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CFEC672F-B033-49A9-9681-8E1E10A1CBBC}"/>
              </a:ext>
            </a:extLst>
          </p:cNvPr>
          <p:cNvSpPr txBox="1"/>
          <p:nvPr/>
        </p:nvSpPr>
        <p:spPr>
          <a:xfrm>
            <a:off x="8101046" y="2038209"/>
            <a:ext cx="3540092" cy="374461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342900" indent="-228600">
              <a:spcAft>
                <a:spcPts val="1400"/>
              </a:spcAft>
              <a:buClr>
                <a:schemeClr val="accent1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lang="en-US" sz="1300" dirty="0">
                <a:solidFill>
                  <a:schemeClr val="tx1">
                    <a:lumMod val="85000"/>
                    <a:lumOff val="15000"/>
                  </a:schemeClr>
                </a:solidFill>
                <a:latin typeface="Arial Nova Light" panose="020B0304020202020204" pitchFamily="34" charset="0"/>
              </a:rPr>
              <a:t>Strong growth, led by the US market</a:t>
            </a:r>
          </a:p>
          <a:p>
            <a:pPr marL="342900" indent="-228600">
              <a:spcAft>
                <a:spcPts val="600"/>
              </a:spcAft>
              <a:buClr>
                <a:schemeClr val="accent1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lang="en-US" sz="1300" dirty="0">
                <a:solidFill>
                  <a:schemeClr val="tx1">
                    <a:lumMod val="85000"/>
                    <a:lumOff val="15000"/>
                  </a:schemeClr>
                </a:solidFill>
                <a:latin typeface="Arial Nova Light" panose="020B0304020202020204" pitchFamily="34" charset="0"/>
              </a:rPr>
              <a:t>US and Europe share similarities</a:t>
            </a:r>
          </a:p>
          <a:p>
            <a:pPr marL="741363" indent="-285750">
              <a:spcAft>
                <a:spcPts val="600"/>
              </a:spcAft>
              <a:buClr>
                <a:schemeClr val="accent1">
                  <a:lumMod val="90000"/>
                  <a:lumOff val="10000"/>
                </a:schemeClr>
              </a:buClr>
              <a:buFont typeface="Arial Nova Light" panose="020B0304020202020204" pitchFamily="34" charset="0"/>
              <a:buChar char="–"/>
              <a:defRPr/>
            </a:pPr>
            <a:r>
              <a:rPr lang="en-US" sz="1300" dirty="0">
                <a:solidFill>
                  <a:schemeClr val="tx1">
                    <a:lumMod val="85000"/>
                    <a:lumOff val="15000"/>
                  </a:schemeClr>
                </a:solidFill>
                <a:latin typeface="Arial Nova Light" panose="020B0304020202020204" pitchFamily="34" charset="0"/>
              </a:rPr>
              <a:t>Focus on high-value services and precision manufacturing</a:t>
            </a:r>
          </a:p>
          <a:p>
            <a:pPr marL="741363" indent="-285750">
              <a:spcAft>
                <a:spcPts val="1400"/>
              </a:spcAft>
              <a:buClr>
                <a:schemeClr val="accent1">
                  <a:lumMod val="90000"/>
                  <a:lumOff val="10000"/>
                </a:schemeClr>
              </a:buClr>
              <a:buFont typeface="Arial Nova Light" panose="020B0304020202020204" pitchFamily="34" charset="0"/>
              <a:buChar char="–"/>
              <a:defRPr/>
            </a:pPr>
            <a:r>
              <a:rPr lang="en-US" sz="1300" dirty="0">
                <a:solidFill>
                  <a:schemeClr val="tx1">
                    <a:lumMod val="85000"/>
                    <a:lumOff val="15000"/>
                  </a:schemeClr>
                </a:solidFill>
                <a:latin typeface="Arial Nova Light" panose="020B0304020202020204" pitchFamily="34" charset="0"/>
              </a:rPr>
              <a:t>Play a critical role for Medtech OEMs (quality, speed, innovation)</a:t>
            </a:r>
          </a:p>
          <a:p>
            <a:pPr marL="342900" indent="-228600">
              <a:spcAft>
                <a:spcPts val="600"/>
              </a:spcAft>
              <a:buClr>
                <a:schemeClr val="accent1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lang="en-US" sz="1300" dirty="0">
                <a:solidFill>
                  <a:schemeClr val="tx1">
                    <a:lumMod val="85000"/>
                    <a:lumOff val="15000"/>
                  </a:schemeClr>
                </a:solidFill>
                <a:latin typeface="Arial Nova Light" panose="020B0304020202020204" pitchFamily="34" charset="0"/>
              </a:rPr>
              <a:t>European CDMO market faces structural challenges compared to the US</a:t>
            </a:r>
          </a:p>
          <a:p>
            <a:pPr marL="741363" indent="-285750">
              <a:spcAft>
                <a:spcPts val="600"/>
              </a:spcAft>
              <a:buClr>
                <a:schemeClr val="accent1">
                  <a:lumMod val="90000"/>
                  <a:lumOff val="10000"/>
                </a:schemeClr>
              </a:buClr>
              <a:buFont typeface="Arial Nova Light" panose="020B0304020202020204" pitchFamily="34" charset="0"/>
              <a:buChar char="–"/>
              <a:defRPr/>
            </a:pPr>
            <a:r>
              <a:rPr lang="en-US" sz="1300" dirty="0">
                <a:solidFill>
                  <a:schemeClr val="tx1">
                    <a:lumMod val="85000"/>
                    <a:lumOff val="15000"/>
                  </a:schemeClr>
                </a:solidFill>
                <a:latin typeface="Arial Nova Light" panose="020B0304020202020204" pitchFamily="34" charset="0"/>
              </a:rPr>
              <a:t>Fragmented market with numerous countries and varying regulations, but offers significant consolidation opportunities</a:t>
            </a:r>
          </a:p>
          <a:p>
            <a:pPr marL="741363" indent="-285750">
              <a:spcAft>
                <a:spcPts val="600"/>
              </a:spcAft>
              <a:buClr>
                <a:schemeClr val="accent1">
                  <a:lumMod val="90000"/>
                  <a:lumOff val="10000"/>
                </a:schemeClr>
              </a:buClr>
              <a:buFont typeface="Arial Nova Light" panose="020B0304020202020204" pitchFamily="34" charset="0"/>
              <a:buChar char="–"/>
              <a:defRPr/>
            </a:pPr>
            <a:r>
              <a:rPr lang="en-US" sz="1300" dirty="0">
                <a:solidFill>
                  <a:schemeClr val="tx1">
                    <a:lumMod val="85000"/>
                    <a:lumOff val="15000"/>
                  </a:schemeClr>
                </a:solidFill>
                <a:latin typeface="Arial Nova Light" panose="020B0304020202020204" pitchFamily="34" charset="0"/>
              </a:rPr>
              <a:t>Less tech-driven ecosystem to the US</a:t>
            </a:r>
          </a:p>
          <a:p>
            <a:pPr marL="741363" indent="-285750">
              <a:spcAft>
                <a:spcPts val="1400"/>
              </a:spcAft>
              <a:buClr>
                <a:schemeClr val="accent1">
                  <a:lumMod val="90000"/>
                  <a:lumOff val="10000"/>
                </a:schemeClr>
              </a:buClr>
              <a:buFont typeface="Arial Nova Light" panose="020B0304020202020204" pitchFamily="34" charset="0"/>
              <a:buChar char="–"/>
              <a:defRPr/>
            </a:pPr>
            <a:r>
              <a:rPr lang="en-US" sz="1300" dirty="0">
                <a:solidFill>
                  <a:schemeClr val="tx1">
                    <a:lumMod val="85000"/>
                    <a:lumOff val="15000"/>
                  </a:schemeClr>
                </a:solidFill>
                <a:latin typeface="Arial Nova Light" panose="020B0304020202020204" pitchFamily="34" charset="0"/>
              </a:rPr>
              <a:t>Labor market and cost of goods variations create complexities</a:t>
            </a:r>
          </a:p>
        </p:txBody>
      </p:sp>
      <p:sp>
        <p:nvSpPr>
          <p:cNvPr id="93" name="Oval 18">
            <a:extLst>
              <a:ext uri="{FF2B5EF4-FFF2-40B4-BE49-F238E27FC236}">
                <a16:creationId xmlns:a16="http://schemas.microsoft.com/office/drawing/2014/main" id="{AE235A1B-6257-AA7B-9537-99A05099DB25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731869" y="2262712"/>
            <a:ext cx="699078" cy="278596"/>
          </a:xfrm>
          <a:prstGeom prst="ellipse">
            <a:avLst/>
          </a:prstGeom>
          <a:solidFill>
            <a:srgbClr val="FFFFFF"/>
          </a:solidFill>
          <a:ln w="15875">
            <a:solidFill>
              <a:schemeClr val="bg1">
                <a:lumMod val="65000"/>
              </a:scheme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3526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Tx/>
              <a:buNone/>
              <a:tabLst/>
              <a:defRPr/>
            </a:pPr>
            <a:r>
              <a:rPr lang="en-US" altLang="en-US" sz="1200" kern="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11.5</a:t>
            </a:r>
            <a:r>
              <a:rPr kumimoji="0" lang="en-US" altLang="en-US" sz="120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cs typeface="Arial" panose="020B0604020202020204" pitchFamily="34" charset="0"/>
              </a:rPr>
              <a:t>%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3F721E7-20BE-31B5-3FB1-44E1D7309857}"/>
              </a:ext>
            </a:extLst>
          </p:cNvPr>
          <p:cNvSpPr txBox="1"/>
          <p:nvPr/>
        </p:nvSpPr>
        <p:spPr>
          <a:xfrm>
            <a:off x="6261216" y="5491718"/>
            <a:ext cx="82296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algn="ctr"/>
            <a:r>
              <a:rPr lang="en-US" sz="1200">
                <a:solidFill>
                  <a:schemeClr val="tx1">
                    <a:lumMod val="85000"/>
                    <a:lumOff val="15000"/>
                  </a:schemeClr>
                </a:solidFill>
              </a:rPr>
              <a:t>2024*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B7D7157-E1DB-43A0-AB28-317908AB6C42}"/>
              </a:ext>
            </a:extLst>
          </p:cNvPr>
          <p:cNvSpPr txBox="1"/>
          <p:nvPr/>
        </p:nvSpPr>
        <p:spPr>
          <a:xfrm>
            <a:off x="6436877" y="2257860"/>
            <a:ext cx="471638" cy="283448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defRPr/>
            </a:pPr>
            <a:r>
              <a:rPr lang="en-US" sz="1400" b="1" kern="0">
                <a:solidFill>
                  <a:srgbClr val="061F32"/>
                </a:solidFill>
                <a:latin typeface="+mj-lt"/>
              </a:rPr>
              <a:t>91.0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21A472D1-DA70-306C-72E4-62E3570DBD2C}"/>
              </a:ext>
            </a:extLst>
          </p:cNvPr>
          <p:cNvSpPr/>
          <p:nvPr/>
        </p:nvSpPr>
        <p:spPr>
          <a:xfrm>
            <a:off x="5475441" y="3136106"/>
            <a:ext cx="724882" cy="328598"/>
          </a:xfrm>
          <a:prstGeom prst="ellipse">
            <a:avLst/>
          </a:prstGeom>
          <a:solidFill>
            <a:schemeClr val="bg1"/>
          </a:solidFill>
          <a:ln w="19050" cap="sq" cmpd="sng" algn="ctr">
            <a:solidFill>
              <a:schemeClr val="accent3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Arial Nova" panose="020B0504020202020204" pitchFamily="34" charset="0"/>
              </a:rPr>
              <a:t>11.6%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D4A9B3CB-4692-E380-CB1A-065E239EBDB5}"/>
              </a:ext>
            </a:extLst>
          </p:cNvPr>
          <p:cNvSpPr/>
          <p:nvPr/>
        </p:nvSpPr>
        <p:spPr>
          <a:xfrm>
            <a:off x="5475441" y="4023617"/>
            <a:ext cx="724882" cy="328598"/>
          </a:xfrm>
          <a:prstGeom prst="ellipse">
            <a:avLst/>
          </a:prstGeom>
          <a:solidFill>
            <a:schemeClr val="bg1"/>
          </a:solidFill>
          <a:ln w="19050" cap="sq" cmpd="sng" algn="ctr">
            <a:solidFill>
              <a:schemeClr val="accent2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100" kern="0">
                <a:solidFill>
                  <a:schemeClr val="tx1">
                    <a:lumMod val="85000"/>
                    <a:lumOff val="15000"/>
                  </a:schemeClr>
                </a:solidFill>
                <a:latin typeface="Arial Nova" panose="020B0504020202020204" pitchFamily="34" charset="0"/>
              </a:rPr>
              <a:t>13.1%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A11B9656-D15C-98C2-C865-6F58408D9336}"/>
              </a:ext>
            </a:extLst>
          </p:cNvPr>
          <p:cNvSpPr/>
          <p:nvPr/>
        </p:nvSpPr>
        <p:spPr>
          <a:xfrm>
            <a:off x="5475441" y="4803978"/>
            <a:ext cx="724882" cy="328598"/>
          </a:xfrm>
          <a:prstGeom prst="ellipse">
            <a:avLst/>
          </a:prstGeom>
          <a:solidFill>
            <a:schemeClr val="bg1"/>
          </a:solidFill>
          <a:ln w="19050" cap="sq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100" kern="0">
                <a:solidFill>
                  <a:schemeClr val="tx1">
                    <a:lumMod val="85000"/>
                    <a:lumOff val="15000"/>
                  </a:schemeClr>
                </a:solidFill>
                <a:latin typeface="Arial Nova" panose="020B0504020202020204" pitchFamily="34" charset="0"/>
              </a:rPr>
              <a:t>10.7%</a:t>
            </a:r>
          </a:p>
        </p:txBody>
      </p:sp>
    </p:spTree>
    <p:extLst>
      <p:ext uri="{BB962C8B-B14F-4D97-AF65-F5344CB8AC3E}">
        <p14:creationId xmlns:p14="http://schemas.microsoft.com/office/powerpoint/2010/main" val="84924748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2B32412-88D7-5388-3543-0F81EDAD25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F8EB60C-7CC2-49F0-B2EE-C81F067DE041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FB81D3A-A452-A2C1-348B-B229ADC906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200" y="346108"/>
            <a:ext cx="11460213" cy="886397"/>
          </a:xfrm>
        </p:spPr>
        <p:txBody>
          <a:bodyPr/>
          <a:lstStyle/>
          <a:p>
            <a:r>
              <a:rPr lang="en-US" sz="3200"/>
              <a:t>MedTech first-time solo launches, bypassing licensing and M&amp;A, also fueled the reliance on CDMO as a GTM strateg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83C14E4-657C-BB9F-70DA-01AFD94728B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b="1" i="0">
                <a:solidFill>
                  <a:schemeClr val="bg1">
                    <a:lumMod val="50000"/>
                  </a:schemeClr>
                </a:solidFill>
                <a:latin typeface="+mj-lt"/>
              </a:rPr>
              <a:t>Sources: </a:t>
            </a:r>
            <a:r>
              <a:rPr lang="en-US" i="0">
                <a:solidFill>
                  <a:schemeClr val="bg1">
                    <a:lumMod val="50000"/>
                  </a:schemeClr>
                </a:solidFill>
                <a:latin typeface="+mj-lt"/>
              </a:rPr>
              <a:t>RSM Medtech outlook: Successful solo launches require CDMO support and mor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2006CCB-2BAC-5325-52E0-719908B2F70E}"/>
              </a:ext>
            </a:extLst>
          </p:cNvPr>
          <p:cNvSpPr txBox="1"/>
          <p:nvPr/>
        </p:nvSpPr>
        <p:spPr>
          <a:xfrm>
            <a:off x="284003" y="1626213"/>
            <a:ext cx="11058592" cy="39087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l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US" sz="1600" b="1" i="0" dirty="0">
                <a:effectLst/>
                <a:latin typeface="Arial Nova Light" panose="020B0304020202020204" pitchFamily="34" charset="0"/>
              </a:rPr>
              <a:t>Regulatory approval poses greater challenges for first-time applicants</a:t>
            </a:r>
            <a:endParaRPr lang="en-US" sz="1600" b="0" i="0" dirty="0">
              <a:effectLst/>
              <a:latin typeface="Arial Nova Light" panose="020B0304020202020204" pitchFamily="34" charset="0"/>
            </a:endParaRPr>
          </a:p>
          <a:p>
            <a:pPr marL="742950" lvl="1" indent="-285750" algn="l">
              <a:spcBef>
                <a:spcPts val="900"/>
              </a:spcBef>
              <a:buFont typeface="Wingdings" panose="05000000000000000000" pitchFamily="2" charset="2"/>
              <a:buChar char="§"/>
            </a:pPr>
            <a:r>
              <a:rPr lang="en-US" sz="1600" b="0" i="0" dirty="0">
                <a:effectLst/>
                <a:latin typeface="Arial Nova Light" panose="020B0304020202020204" pitchFamily="34" charset="0"/>
              </a:rPr>
              <a:t>Navigating complex regulatory pathways like PMA and 510(k) can be difficult, especially for first-time MedTech companies</a:t>
            </a:r>
          </a:p>
          <a:p>
            <a:pPr marL="742950" lvl="1" indent="-285750" algn="l">
              <a:spcBef>
                <a:spcPts val="900"/>
              </a:spcBef>
              <a:buFont typeface="Wingdings" panose="05000000000000000000" pitchFamily="2" charset="2"/>
              <a:buChar char="§"/>
            </a:pPr>
            <a:r>
              <a:rPr lang="en-US" sz="1600" b="0" i="0" dirty="0">
                <a:effectLst/>
                <a:latin typeface="Arial Nova Light" panose="020B0304020202020204" pitchFamily="34" charset="0"/>
              </a:rPr>
              <a:t>On average, the 510(k) regulatory pathway takes 50% longer for a company with a first device than for companies with an already approved device</a:t>
            </a:r>
          </a:p>
          <a:p>
            <a:pPr marL="285750" indent="-285750">
              <a:spcBef>
                <a:spcPts val="900"/>
              </a:spcBef>
              <a:buFont typeface="Wingdings" panose="05000000000000000000" pitchFamily="2" charset="2"/>
              <a:buChar char="§"/>
            </a:pPr>
            <a:r>
              <a:rPr lang="en-US" sz="1600" b="1" i="0" dirty="0">
                <a:effectLst/>
                <a:latin typeface="Arial Nova Light" panose="020B0304020202020204" pitchFamily="34" charset="0"/>
              </a:rPr>
              <a:t>CDMOs provide additional support for solo launcher</a:t>
            </a:r>
          </a:p>
          <a:p>
            <a:pPr marL="742950" lvl="1" indent="-285750" algn="l">
              <a:spcBef>
                <a:spcPts val="900"/>
              </a:spcBef>
              <a:buFont typeface="Wingdings" panose="05000000000000000000" pitchFamily="2" charset="2"/>
              <a:buChar char="§"/>
            </a:pPr>
            <a:r>
              <a:rPr lang="en-US" sz="1600" b="1" i="0" dirty="0">
                <a:effectLst/>
                <a:latin typeface="Arial Nova Light" panose="020B0304020202020204" pitchFamily="34" charset="0"/>
              </a:rPr>
              <a:t>Pricing and reimbursement: </a:t>
            </a:r>
            <a:r>
              <a:rPr lang="en-US" sz="1600" b="0" i="0" dirty="0">
                <a:effectLst/>
                <a:latin typeface="Arial Nova Light" panose="020B0304020202020204" pitchFamily="34" charset="0"/>
              </a:rPr>
              <a:t>developing a robust pricing and reimbursement strategy is crucial for successful product adoption and appropriate reimbursement is essential for financial viability.</a:t>
            </a:r>
          </a:p>
          <a:p>
            <a:pPr marL="742950" lvl="1" indent="-2857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US" sz="1600" b="1" i="0" dirty="0">
                <a:effectLst/>
                <a:latin typeface="Arial Nova Light" panose="020B0304020202020204" pitchFamily="34" charset="0"/>
              </a:rPr>
              <a:t>Outsourcing Support</a:t>
            </a:r>
            <a:r>
              <a:rPr lang="en-US" sz="1600" b="0" i="0" dirty="0">
                <a:effectLst/>
                <a:latin typeface="Arial Nova Light" panose="020B0304020202020204" pitchFamily="34" charset="0"/>
              </a:rPr>
              <a:t>: offering specialized knowledge and resources and companies must invest in robust audit processes and supplier qualification programs to ensure product quality and safety.</a:t>
            </a:r>
          </a:p>
          <a:p>
            <a:pPr marL="285750" indent="-285750" algn="l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US" sz="1600" b="1" i="0" dirty="0">
                <a:effectLst/>
                <a:latin typeface="Arial Nova Light" panose="020B0304020202020204" pitchFamily="34" charset="0"/>
              </a:rPr>
              <a:t>Strategic Partnerships</a:t>
            </a:r>
            <a:r>
              <a:rPr lang="en-US" sz="1600" b="0" i="0" dirty="0">
                <a:effectLst/>
                <a:latin typeface="Arial Nova Light" panose="020B0304020202020204" pitchFamily="34" charset="0"/>
              </a:rPr>
              <a:t>: </a:t>
            </a:r>
            <a:r>
              <a:rPr lang="en-US" sz="1600" dirty="0">
                <a:latin typeface="Arial Nova Light" panose="020B0304020202020204" pitchFamily="34" charset="0"/>
              </a:rPr>
              <a:t>engaging</a:t>
            </a:r>
            <a:r>
              <a:rPr lang="en-US" sz="1600" b="0" i="0" dirty="0">
                <a:effectLst/>
                <a:latin typeface="Arial Nova Light" panose="020B0304020202020204" pitchFamily="34" charset="0"/>
              </a:rPr>
              <a:t> specialists for comprehensive launch planning can streamline processes and reduce time to market by assisting in creating a roadmap for commercialization, addressing administrative, regulatory, and financial goals.</a:t>
            </a:r>
          </a:p>
        </p:txBody>
      </p:sp>
    </p:spTree>
    <p:extLst>
      <p:ext uri="{BB962C8B-B14F-4D97-AF65-F5344CB8AC3E}">
        <p14:creationId xmlns:p14="http://schemas.microsoft.com/office/powerpoint/2010/main" val="219256659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643FB2-D12D-9EAF-B14D-92F3705A079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871B0B3-ECF3-82C6-7CA3-87363F91648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F8EB60C-7CC2-49F0-B2EE-C81F067DE041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19E4D89-083A-F25D-B2D0-3A9CAF6FA1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8049" y="393733"/>
            <a:ext cx="11431364" cy="886397"/>
          </a:xfrm>
        </p:spPr>
        <p:txBody>
          <a:bodyPr/>
          <a:lstStyle/>
          <a:p>
            <a:r>
              <a:rPr lang="en-US" sz="3200" dirty="0"/>
              <a:t>The 2024 capital market displayed a slight boost in both M&amp;A activity and VC investment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38EA6AE-8E93-32BA-C5AF-3C7ED9C532C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81537" y="6423660"/>
            <a:ext cx="6287026" cy="138499"/>
          </a:xfrm>
        </p:spPr>
        <p:txBody>
          <a:bodyPr/>
          <a:lstStyle/>
          <a:p>
            <a:r>
              <a:rPr lang="en-US" b="1" i="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Sources: </a:t>
            </a:r>
            <a:r>
              <a:rPr lang="en-US" i="0" dirty="0">
                <a:solidFill>
                  <a:schemeClr val="bg1">
                    <a:lumMod val="50000"/>
                  </a:schemeClr>
                </a:solidFill>
              </a:rPr>
              <a:t>J.P. Morgan, A&amp;M analysis, FDA Annual Report 2023, FDA AI/ML authorization database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44183FC7-C084-CAEF-99B0-C70DD1F418B4}"/>
              </a:ext>
            </a:extLst>
          </p:cNvPr>
          <p:cNvGrpSpPr/>
          <p:nvPr/>
        </p:nvGrpSpPr>
        <p:grpSpPr>
          <a:xfrm>
            <a:off x="705570" y="1507934"/>
            <a:ext cx="5390430" cy="4687922"/>
            <a:chOff x="517775" y="1578292"/>
            <a:chExt cx="5459559" cy="4687922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028D7152-F8C8-C021-1B56-FC6E72646730}"/>
                </a:ext>
              </a:extLst>
            </p:cNvPr>
            <p:cNvSpPr/>
            <p:nvPr/>
          </p:nvSpPr>
          <p:spPr>
            <a:xfrm>
              <a:off x="517777" y="1850046"/>
              <a:ext cx="5258894" cy="4416168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lumMod val="95000"/>
                    <a:alpha val="70000"/>
                  </a:schemeClr>
                </a:gs>
                <a:gs pos="43000">
                  <a:schemeClr val="bg1">
                    <a:lumMod val="95000"/>
                    <a:alpha val="0"/>
                  </a:schemeClr>
                </a:gs>
                <a:gs pos="100000">
                  <a:schemeClr val="bg1">
                    <a:lumMod val="95000"/>
                    <a:alpha val="7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endParaRPr lang="en-US" sz="1200" b="1">
                <a:solidFill>
                  <a:schemeClr val="bg1"/>
                </a:solidFill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AB8B16E3-5771-6C6C-1D62-97652DEA364E}"/>
                </a:ext>
              </a:extLst>
            </p:cNvPr>
            <p:cNvSpPr txBox="1"/>
            <p:nvPr/>
          </p:nvSpPr>
          <p:spPr>
            <a:xfrm>
              <a:off x="517775" y="2269792"/>
              <a:ext cx="5459559" cy="382045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342900" marR="0" lvl="0" indent="-228600" fontAlgn="auto">
                <a:spcAft>
                  <a:spcPts val="1600"/>
                </a:spcAft>
                <a:buClr>
                  <a:schemeClr val="accent1">
                    <a:lumMod val="75000"/>
                    <a:lumOff val="25000"/>
                  </a:schemeClr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lang="en-US" sz="12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 Nova Light" panose="020B0304020202020204" pitchFamily="34" charset="0"/>
                </a:rPr>
                <a:t>Of the 1,051 investment deals, only $597M or 8% (down from 13% in 2023) were disclosed as upfront payment potentially signaling a cautious investment approach</a:t>
              </a:r>
            </a:p>
            <a:p>
              <a:pPr marL="342900" marR="0" lvl="0" indent="-228600" fontAlgn="auto">
                <a:spcAft>
                  <a:spcPts val="1600"/>
                </a:spcAft>
                <a:buClr>
                  <a:schemeClr val="accent1">
                    <a:lumMod val="75000"/>
                    <a:lumOff val="25000"/>
                  </a:schemeClr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lang="en-US" sz="12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 Nova Light" panose="020B0304020202020204" pitchFamily="34" charset="0"/>
                </a:rPr>
                <a:t>Four Medtech IPOs were completed raising a total of $744.5M; most notable: Tempus AI $411M, </a:t>
              </a:r>
              <a:r>
                <a:rPr lang="en-US" sz="1200" dirty="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 Nova Light" panose="020B0304020202020204" pitchFamily="34" charset="0"/>
                </a:rPr>
                <a:t>Fractyl</a:t>
              </a:r>
              <a:r>
                <a:rPr lang="en-US" sz="12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 Nova Light" panose="020B0304020202020204" pitchFamily="34" charset="0"/>
                </a:rPr>
                <a:t> Health $110M, and </a:t>
              </a:r>
              <a:r>
                <a:rPr lang="en-US" sz="1200" dirty="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 Nova Light" panose="020B0304020202020204" pitchFamily="34" charset="0"/>
                </a:rPr>
                <a:t>BrightSpring</a:t>
              </a:r>
              <a:r>
                <a:rPr lang="en-US" sz="12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 Nova Light" panose="020B0304020202020204" pitchFamily="34" charset="0"/>
                </a:rPr>
                <a:t> Health Services $693M</a:t>
              </a:r>
            </a:p>
            <a:p>
              <a:pPr marL="342900" marR="0" lvl="0" indent="-228600" fontAlgn="auto">
                <a:spcAft>
                  <a:spcPts val="600"/>
                </a:spcAft>
                <a:buClr>
                  <a:schemeClr val="accent1">
                    <a:lumMod val="75000"/>
                    <a:lumOff val="25000"/>
                  </a:schemeClr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lang="en-US" sz="12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 Nova Light" panose="020B0304020202020204" pitchFamily="34" charset="0"/>
                </a:rPr>
                <a:t>M&amp;A activity surged with 305 acquisitions announced totaling $63.1B up from 134 in 2023, most notable:</a:t>
              </a:r>
            </a:p>
            <a:p>
              <a:pPr marL="741363" lvl="1" indent="-285750">
                <a:spcAft>
                  <a:spcPts val="1600"/>
                </a:spcAft>
                <a:buClr>
                  <a:schemeClr val="accent1">
                    <a:lumMod val="90000"/>
                    <a:lumOff val="10000"/>
                  </a:schemeClr>
                </a:buClr>
                <a:buFont typeface="Arial Nova Light" panose="020B0304020202020204" pitchFamily="34" charset="0"/>
                <a:buChar char="–"/>
                <a:defRPr/>
              </a:pPr>
              <a:r>
                <a:rPr lang="en-US" sz="12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 Nova Light" panose="020B0304020202020204" pitchFamily="34" charset="0"/>
                </a:rPr>
                <a:t>J&amp;J acquisition of Shockwave for $12.5B and V-Wave for $1.7B</a:t>
              </a:r>
            </a:p>
            <a:p>
              <a:pPr marL="741363" lvl="1" indent="-285750">
                <a:spcAft>
                  <a:spcPts val="1600"/>
                </a:spcAft>
                <a:buClr>
                  <a:schemeClr val="accent1">
                    <a:lumMod val="90000"/>
                    <a:lumOff val="10000"/>
                  </a:schemeClr>
                </a:buClr>
                <a:buFont typeface="Arial Nova Light" panose="020B0304020202020204" pitchFamily="34" charset="0"/>
                <a:buChar char="–"/>
                <a:defRPr/>
              </a:pPr>
              <a:r>
                <a:rPr lang="en-US" sz="12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 Nova Light" panose="020B0304020202020204" pitchFamily="34" charset="0"/>
                </a:rPr>
                <a:t>Boston Scientific acquired </a:t>
              </a:r>
              <a:r>
                <a:rPr lang="en-US" sz="1200" dirty="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 Nova Light" panose="020B0304020202020204" pitchFamily="34" charset="0"/>
                </a:rPr>
                <a:t>Axonics</a:t>
              </a:r>
              <a:r>
                <a:rPr lang="en-US" sz="12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 Nova Light" panose="020B0304020202020204" pitchFamily="34" charset="0"/>
                </a:rPr>
                <a:t> for $3.7B and Silk Road for $1.2B</a:t>
              </a:r>
            </a:p>
            <a:p>
              <a:pPr marL="342900" indent="-228600">
                <a:spcAft>
                  <a:spcPts val="600"/>
                </a:spcAft>
                <a:buClr>
                  <a:schemeClr val="accent1">
                    <a:lumMod val="75000"/>
                    <a:lumOff val="25000"/>
                  </a:schemeClr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2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 Nova Light" panose="020B0304020202020204" pitchFamily="34" charset="0"/>
                </a:rPr>
                <a:t>Recent M&amp;A activity highlights strategic refocusing for Medtech players</a:t>
              </a:r>
            </a:p>
            <a:p>
              <a:pPr marL="741363" lvl="1" indent="-285750">
                <a:spcAft>
                  <a:spcPts val="1600"/>
                </a:spcAft>
                <a:buClr>
                  <a:schemeClr val="accent1">
                    <a:lumMod val="90000"/>
                    <a:lumOff val="10000"/>
                  </a:schemeClr>
                </a:buClr>
                <a:buFont typeface="Arial Nova Light" panose="020B0304020202020204" pitchFamily="34" charset="0"/>
                <a:buChar char="–"/>
                <a:defRPr/>
              </a:pPr>
              <a:r>
                <a:rPr lang="en-US" sz="12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 Nova Light" panose="020B0304020202020204" pitchFamily="34" charset="0"/>
                </a:rPr>
                <a:t>Edwards divested its Critical Care Group to BD for $4.2B</a:t>
              </a:r>
            </a:p>
            <a:p>
              <a:pPr marL="741363" lvl="1" indent="-285750">
                <a:spcAft>
                  <a:spcPts val="1600"/>
                </a:spcAft>
                <a:buClr>
                  <a:schemeClr val="accent1">
                    <a:lumMod val="90000"/>
                    <a:lumOff val="10000"/>
                  </a:schemeClr>
                </a:buClr>
                <a:buFont typeface="Arial Nova Light" panose="020B0304020202020204" pitchFamily="34" charset="0"/>
                <a:buChar char="–"/>
                <a:defRPr/>
              </a:pPr>
              <a:r>
                <a:rPr lang="en-US" sz="12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 Nova Light" panose="020B0304020202020204" pitchFamily="34" charset="0"/>
                </a:rPr>
                <a:t>Baxter spun off its renal care and acute therapies into publicly traded company in a $3.4B deal with Carlyle Group</a:t>
              </a:r>
            </a:p>
            <a:p>
              <a:pPr marL="741363" lvl="1" indent="-285750">
                <a:spcAft>
                  <a:spcPts val="600"/>
                </a:spcAft>
                <a:buClr>
                  <a:schemeClr val="accent1">
                    <a:lumMod val="90000"/>
                    <a:lumOff val="10000"/>
                  </a:schemeClr>
                </a:buClr>
                <a:buFont typeface="Arial Nova Light" panose="020B0304020202020204" pitchFamily="34" charset="0"/>
                <a:buChar char="–"/>
                <a:defRPr/>
              </a:pPr>
              <a:endParaRPr lang="en-US" sz="1400" dirty="0">
                <a:solidFill>
                  <a:schemeClr val="tx1">
                    <a:lumMod val="85000"/>
                    <a:lumOff val="15000"/>
                  </a:schemeClr>
                </a:solidFill>
                <a:highlight>
                  <a:srgbClr val="FFFF00"/>
                </a:highlight>
                <a:latin typeface="Arial Nova Light" panose="020B0304020202020204" pitchFamily="34" charset="0"/>
              </a:endParaRPr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29303A24-82FE-6B08-7FCA-442A5005D06C}"/>
                </a:ext>
              </a:extLst>
            </p:cNvPr>
            <p:cNvGrpSpPr/>
            <p:nvPr/>
          </p:nvGrpSpPr>
          <p:grpSpPr>
            <a:xfrm>
              <a:off x="517777" y="1578292"/>
              <a:ext cx="5258896" cy="540000"/>
              <a:chOff x="517777" y="1578292"/>
              <a:chExt cx="5258896" cy="540000"/>
            </a:xfrm>
          </p:grpSpPr>
          <p:sp>
            <p:nvSpPr>
              <p:cNvPr id="14" name="Rectangle: Top Corners Rounded 13">
                <a:extLst>
                  <a:ext uri="{FF2B5EF4-FFF2-40B4-BE49-F238E27FC236}">
                    <a16:creationId xmlns:a16="http://schemas.microsoft.com/office/drawing/2014/main" id="{30B11D73-1B62-4681-35C7-BE1680216C79}"/>
                  </a:ext>
                </a:extLst>
              </p:cNvPr>
              <p:cNvSpPr/>
              <p:nvPr/>
            </p:nvSpPr>
            <p:spPr>
              <a:xfrm rot="5400000">
                <a:off x="3012225" y="-646156"/>
                <a:ext cx="540000" cy="4988896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accent1"/>
              </a:solidFill>
              <a:ln w="1079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ova" panose="020B0504020202020204" pitchFamily="34" charset="0"/>
                </a:endParaRPr>
              </a:p>
            </p:txBody>
          </p:sp>
          <p:sp>
            <p:nvSpPr>
              <p:cNvPr id="19" name="Oval 18">
                <a:extLst>
                  <a:ext uri="{FF2B5EF4-FFF2-40B4-BE49-F238E27FC236}">
                    <a16:creationId xmlns:a16="http://schemas.microsoft.com/office/drawing/2014/main" id="{90861462-4B19-6ACF-E94A-3A098983C363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17777" y="1578292"/>
                <a:ext cx="540000" cy="540000"/>
              </a:xfrm>
              <a:prstGeom prst="ellipse">
                <a:avLst/>
              </a:prstGeom>
              <a:solidFill>
                <a:schemeClr val="accent1"/>
              </a:solidFill>
              <a:ln w="10795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061F32"/>
                  </a:solidFill>
                  <a:effectLst/>
                  <a:uLnTx/>
                  <a:uFillTx/>
                  <a:latin typeface="Arial Nova" panose="020B0504020202020204" pitchFamily="34" charset="0"/>
                </a:endParaRPr>
              </a:p>
            </p:txBody>
          </p:sp>
          <p:pic>
            <p:nvPicPr>
              <p:cNvPr id="10" name="Graphic 9">
                <a:extLst>
                  <a:ext uri="{FF2B5EF4-FFF2-40B4-BE49-F238E27FC236}">
                    <a16:creationId xmlns:a16="http://schemas.microsoft.com/office/drawing/2014/main" id="{E9734E28-9A92-A41F-C872-C22832FD9B2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604897" y="1665412"/>
                <a:ext cx="365760" cy="365760"/>
              </a:xfrm>
              <a:prstGeom prst="rect">
                <a:avLst/>
              </a:prstGeom>
            </p:spPr>
          </p:pic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4B398691-3B63-C957-4E6E-0C35E565B8DF}"/>
                  </a:ext>
                </a:extLst>
              </p:cNvPr>
              <p:cNvSpPr/>
              <p:nvPr/>
            </p:nvSpPr>
            <p:spPr>
              <a:xfrm>
                <a:off x="1295763" y="1654298"/>
                <a:ext cx="3972924" cy="387989"/>
              </a:xfrm>
              <a:prstGeom prst="rect">
                <a:avLst/>
              </a:prstGeom>
              <a:noFill/>
              <a:ln w="1079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</a:rPr>
                  <a:t>Increasing volume of exits</a:t>
                </a:r>
              </a:p>
            </p:txBody>
          </p:sp>
        </p:grp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62E653A2-5127-0E93-17D4-3C469C2E46DE}"/>
              </a:ext>
            </a:extLst>
          </p:cNvPr>
          <p:cNvGrpSpPr/>
          <p:nvPr/>
        </p:nvGrpSpPr>
        <p:grpSpPr>
          <a:xfrm>
            <a:off x="6227532" y="1507934"/>
            <a:ext cx="5258896" cy="4687922"/>
            <a:chOff x="6227532" y="1507934"/>
            <a:chExt cx="5258896" cy="4687922"/>
          </a:xfrm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2D67CE92-8C92-5DB2-FDB7-2F54EE477D56}"/>
                </a:ext>
              </a:extLst>
            </p:cNvPr>
            <p:cNvSpPr/>
            <p:nvPr/>
          </p:nvSpPr>
          <p:spPr>
            <a:xfrm>
              <a:off x="6227532" y="1779688"/>
              <a:ext cx="5258894" cy="4416168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lumMod val="95000"/>
                    <a:alpha val="70000"/>
                  </a:schemeClr>
                </a:gs>
                <a:gs pos="43000">
                  <a:schemeClr val="bg1">
                    <a:lumMod val="95000"/>
                    <a:alpha val="0"/>
                  </a:schemeClr>
                </a:gs>
                <a:gs pos="100000">
                  <a:schemeClr val="bg1">
                    <a:lumMod val="95000"/>
                    <a:alpha val="7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endParaRPr lang="en-US" sz="1300" b="1">
                <a:solidFill>
                  <a:schemeClr val="bg1"/>
                </a:solidFill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C62BFFAB-5192-2026-8B74-038D8C3C49A7}"/>
                </a:ext>
              </a:extLst>
            </p:cNvPr>
            <p:cNvSpPr txBox="1"/>
            <p:nvPr/>
          </p:nvSpPr>
          <p:spPr>
            <a:xfrm>
              <a:off x="6325280" y="2199434"/>
              <a:ext cx="4988895" cy="369366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342900" marR="0" lvl="0" indent="-228600" fontAlgn="auto">
                <a:spcAft>
                  <a:spcPts val="600"/>
                </a:spcAft>
                <a:buClr>
                  <a:schemeClr val="accent1">
                    <a:lumMod val="75000"/>
                    <a:lumOff val="25000"/>
                  </a:schemeClr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lang="en-US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 Nova Light" panose="020B0304020202020204" pitchFamily="34" charset="0"/>
                </a:rPr>
                <a:t>VC funding rose 12% YoY to $19.1B secured across 691 rounds, a 5% decrease over 2023</a:t>
              </a:r>
            </a:p>
            <a:p>
              <a:pPr marL="741363" lvl="1" indent="-285750">
                <a:spcAft>
                  <a:spcPts val="1600"/>
                </a:spcAft>
                <a:buClr>
                  <a:schemeClr val="accent1">
                    <a:lumMod val="90000"/>
                    <a:lumOff val="10000"/>
                  </a:schemeClr>
                </a:buClr>
                <a:buFont typeface="Arial Nova Light" panose="020B0304020202020204" pitchFamily="34" charset="0"/>
                <a:buChar char="–"/>
                <a:defRPr/>
              </a:pPr>
              <a:r>
                <a:rPr lang="en-US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 Nova Light" panose="020B0304020202020204" pitchFamily="34" charset="0"/>
                </a:rPr>
                <a:t>42 rounds exceeded $100M and 79 rounds were over $50M indicating focus on high value opportunities; particularly in minimally invasive and digital health technologies</a:t>
              </a:r>
            </a:p>
            <a:p>
              <a:pPr marL="741363" lvl="1" indent="-285750">
                <a:spcAft>
                  <a:spcPts val="1600"/>
                </a:spcAft>
                <a:buClr>
                  <a:schemeClr val="accent1">
                    <a:lumMod val="90000"/>
                    <a:lumOff val="10000"/>
                  </a:schemeClr>
                </a:buClr>
                <a:buFont typeface="Arial Nova Light" panose="020B0304020202020204" pitchFamily="34" charset="0"/>
                <a:buChar char="–"/>
                <a:defRPr/>
              </a:pPr>
              <a:r>
                <a:rPr lang="en-US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 Nova Light" panose="020B0304020202020204" pitchFamily="34" charset="0"/>
                </a:rPr>
                <a:t>Most notable were Impress’ $117M and </a:t>
              </a:r>
              <a:r>
                <a:rPr lang="en-US" sz="1400" dirty="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 Nova Light" panose="020B0304020202020204" pitchFamily="34" charset="0"/>
                </a:rPr>
                <a:t>Nusano’s</a:t>
              </a:r>
              <a:r>
                <a:rPr lang="en-US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 Nova Light" panose="020B0304020202020204" pitchFamily="34" charset="0"/>
                </a:rPr>
                <a:t> series C of $115M</a:t>
              </a:r>
            </a:p>
            <a:p>
              <a:pPr marL="342900" marR="0" lvl="0" indent="-228600" fontAlgn="auto">
                <a:spcAft>
                  <a:spcPts val="600"/>
                </a:spcAft>
                <a:buClr>
                  <a:schemeClr val="accent1">
                    <a:lumMod val="75000"/>
                    <a:lumOff val="25000"/>
                  </a:schemeClr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lang="en-US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 Nova Light" panose="020B0304020202020204" pitchFamily="34" charset="0"/>
                </a:rPr>
                <a:t>Strong interest in early-stage healthcare saw a slight uptick, seed and series A funding raised $4B, likely driven by interest in AI-enabled devices</a:t>
              </a:r>
            </a:p>
            <a:p>
              <a:pPr marL="741363" lvl="1" indent="-285750">
                <a:spcAft>
                  <a:spcPts val="1600"/>
                </a:spcAft>
                <a:buClr>
                  <a:schemeClr val="accent1">
                    <a:lumMod val="90000"/>
                    <a:lumOff val="10000"/>
                  </a:schemeClr>
                </a:buClr>
                <a:buFont typeface="Arial Nova Light" panose="020B0304020202020204" pitchFamily="34" charset="0"/>
                <a:buChar char="–"/>
                <a:defRPr/>
              </a:pPr>
              <a:r>
                <a:rPr lang="en-US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 Nova Light" panose="020B0304020202020204" pitchFamily="34" charset="0"/>
                </a:rPr>
                <a:t>The FDA authorized 223 AI/ML devices in 2023 and 169 in 2024, compared to 64 in 2018</a:t>
              </a:r>
            </a:p>
            <a:p>
              <a:pPr marL="741363" lvl="1" indent="-285750">
                <a:spcAft>
                  <a:spcPts val="1600"/>
                </a:spcAft>
                <a:buClr>
                  <a:schemeClr val="accent1">
                    <a:lumMod val="90000"/>
                    <a:lumOff val="10000"/>
                  </a:schemeClr>
                </a:buClr>
                <a:buFont typeface="Arial Nova Light" panose="020B0304020202020204" pitchFamily="34" charset="0"/>
                <a:buChar char="–"/>
                <a:defRPr/>
              </a:pPr>
              <a:r>
                <a:rPr lang="en-US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 Nova Light" panose="020B0304020202020204" pitchFamily="34" charset="0"/>
                </a:rPr>
                <a:t>In 2023, the FDA authorized 124 novel devices, the highest in 40 years</a:t>
              </a:r>
            </a:p>
          </p:txBody>
        </p:sp>
        <p:sp>
          <p:nvSpPr>
            <p:cNvPr id="31" name="Rectangle: Top Corners Rounded 30">
              <a:extLst>
                <a:ext uri="{FF2B5EF4-FFF2-40B4-BE49-F238E27FC236}">
                  <a16:creationId xmlns:a16="http://schemas.microsoft.com/office/drawing/2014/main" id="{2D5467E0-3683-8C04-38DA-1A28B49877EF}"/>
                </a:ext>
              </a:extLst>
            </p:cNvPr>
            <p:cNvSpPr/>
            <p:nvPr/>
          </p:nvSpPr>
          <p:spPr>
            <a:xfrm rot="5400000">
              <a:off x="8721980" y="-716514"/>
              <a:ext cx="540000" cy="4988896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1">
                <a:lumMod val="90000"/>
                <a:lumOff val="10000"/>
              </a:schemeClr>
            </a:solidFill>
            <a:ln w="1079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ova" panose="020B0504020202020204" pitchFamily="34" charset="0"/>
              </a:endParaRP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F0A4705D-6919-03D6-D11A-B7CE9A94AD4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227532" y="1507934"/>
              <a:ext cx="540000" cy="540000"/>
            </a:xfrm>
            <a:prstGeom prst="ellipse">
              <a:avLst/>
            </a:prstGeom>
            <a:solidFill>
              <a:schemeClr val="accent1">
                <a:lumMod val="90000"/>
                <a:lumOff val="10000"/>
              </a:schemeClr>
            </a:solidFill>
            <a:ln w="10795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61F32"/>
                </a:solidFill>
                <a:effectLst/>
                <a:uLnTx/>
                <a:uFillTx/>
                <a:latin typeface="Arial Nova" panose="020B0504020202020204" pitchFamily="34" charset="0"/>
              </a:endParaRPr>
            </a:p>
          </p:txBody>
        </p:sp>
        <p:pic>
          <p:nvPicPr>
            <p:cNvPr id="33" name="Graphic 32">
              <a:extLst>
                <a:ext uri="{FF2B5EF4-FFF2-40B4-BE49-F238E27FC236}">
                  <a16:creationId xmlns:a16="http://schemas.microsoft.com/office/drawing/2014/main" id="{F678AD26-C370-F9C7-DC77-E8D38CE1C41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 flipH="1">
              <a:off x="6314652" y="1595054"/>
              <a:ext cx="365760" cy="365760"/>
            </a:xfrm>
            <a:prstGeom prst="rect">
              <a:avLst/>
            </a:prstGeom>
          </p:spPr>
        </p:pic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8C0A108D-D1AA-4E00-7593-958DFC3F06B6}"/>
                </a:ext>
              </a:extLst>
            </p:cNvPr>
            <p:cNvSpPr/>
            <p:nvPr/>
          </p:nvSpPr>
          <p:spPr>
            <a:xfrm>
              <a:off x="7005518" y="1583940"/>
              <a:ext cx="3972924" cy="387989"/>
            </a:xfrm>
            <a:prstGeom prst="rect">
              <a:avLst/>
            </a:prstGeom>
            <a:noFill/>
            <a:ln w="1079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lvl="0" algn="ctr">
                <a:defRPr/>
              </a:pPr>
              <a:r>
                <a:rPr lang="en-GB" b="1" kern="0">
                  <a:solidFill>
                    <a:srgbClr val="FFFFFF"/>
                  </a:solidFill>
                  <a:latin typeface="+mj-lt"/>
                </a:rPr>
                <a:t>Increasing VC investment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8371724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4D5448D-53FB-D108-E29F-B8E59394EE2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735D337-8C55-4B99-9AB7-D79F1CEFE5E7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B6AA0E13-6B86-F102-F4A6-A3B182A91E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8049" y="393733"/>
            <a:ext cx="11431364" cy="1329595"/>
          </a:xfrm>
        </p:spPr>
        <p:txBody>
          <a:bodyPr/>
          <a:lstStyle/>
          <a:p>
            <a:r>
              <a:rPr lang="en-US" sz="3200" dirty="0"/>
              <a:t>Featured deals of 2024 signal market appetite for specialized capabilities and an exit path for many mid-size PE-backed platforms</a:t>
            </a:r>
          </a:p>
        </p:txBody>
      </p:sp>
      <p:grpSp>
        <p:nvGrpSpPr>
          <p:cNvPr id="61" name="Group 60">
            <a:extLst>
              <a:ext uri="{FF2B5EF4-FFF2-40B4-BE49-F238E27FC236}">
                <a16:creationId xmlns:a16="http://schemas.microsoft.com/office/drawing/2014/main" id="{B4FBE59C-D8D6-4757-A56D-3297726F466E}"/>
              </a:ext>
            </a:extLst>
          </p:cNvPr>
          <p:cNvGrpSpPr/>
          <p:nvPr/>
        </p:nvGrpSpPr>
        <p:grpSpPr>
          <a:xfrm>
            <a:off x="508807" y="2418097"/>
            <a:ext cx="2056130" cy="2844074"/>
            <a:chOff x="508807" y="2201034"/>
            <a:chExt cx="2056130" cy="2844074"/>
          </a:xfrm>
        </p:grpSpPr>
        <p:sp>
          <p:nvSpPr>
            <p:cNvPr id="22" name="object 19">
              <a:extLst>
                <a:ext uri="{FF2B5EF4-FFF2-40B4-BE49-F238E27FC236}">
                  <a16:creationId xmlns:a16="http://schemas.microsoft.com/office/drawing/2014/main" id="{10A5AB98-7CD2-1E25-CE01-44195806013C}"/>
                </a:ext>
              </a:extLst>
            </p:cNvPr>
            <p:cNvSpPr txBox="1"/>
            <p:nvPr/>
          </p:nvSpPr>
          <p:spPr>
            <a:xfrm>
              <a:off x="508807" y="2201034"/>
              <a:ext cx="2056130" cy="2844074"/>
            </a:xfrm>
            <a:prstGeom prst="rect">
              <a:avLst/>
            </a:prstGeom>
            <a:ln w="28575">
              <a:solidFill>
                <a:schemeClr val="accent1">
                  <a:lumMod val="90000"/>
                  <a:lumOff val="10000"/>
                </a:schemeClr>
              </a:solidFill>
            </a:ln>
          </p:spPr>
          <p:txBody>
            <a:bodyPr vert="horz" wrap="square" lIns="0" tIns="0" rIns="0" bIns="182880" rtlCol="0" anchor="b">
              <a:noAutofit/>
            </a:bodyPr>
            <a:lstStyle/>
            <a:p>
              <a:pPr marL="635" algn="ctr"/>
              <a:r>
                <a:rPr sz="1200" b="1" spc="70">
                  <a:solidFill>
                    <a:schemeClr val="accent1">
                      <a:lumMod val="75000"/>
                      <a:lumOff val="25000"/>
                    </a:schemeClr>
                  </a:solidFill>
                  <a:cs typeface="Arial"/>
                </a:rPr>
                <a:t>for est. $</a:t>
              </a:r>
              <a:r>
                <a:rPr lang="en-US" sz="1200" b="1" spc="70">
                  <a:solidFill>
                    <a:schemeClr val="accent1">
                      <a:lumMod val="75000"/>
                      <a:lumOff val="25000"/>
                    </a:schemeClr>
                  </a:solidFill>
                  <a:cs typeface="Arial"/>
                </a:rPr>
                <a:t>839M</a:t>
              </a:r>
              <a:endParaRPr sz="1200" b="1" spc="70">
                <a:solidFill>
                  <a:schemeClr val="accent1">
                    <a:lumMod val="75000"/>
                    <a:lumOff val="25000"/>
                  </a:schemeClr>
                </a:solidFill>
                <a:cs typeface="Arial"/>
              </a:endParaRPr>
            </a:p>
            <a:p>
              <a:pPr marL="635" algn="ctr">
                <a:lnSpc>
                  <a:spcPct val="100000"/>
                </a:lnSpc>
                <a:spcBef>
                  <a:spcPts val="805"/>
                </a:spcBef>
              </a:pPr>
              <a:r>
                <a:rPr sz="1200" b="1" spc="55">
                  <a:solidFill>
                    <a:schemeClr val="tx2">
                      <a:lumMod val="60000"/>
                      <a:lumOff val="40000"/>
                    </a:schemeClr>
                  </a:solidFill>
                  <a:cs typeface="Calibri"/>
                </a:rPr>
                <a:t>Previous</a:t>
              </a:r>
              <a:r>
                <a:rPr sz="1200" b="1" spc="75">
                  <a:solidFill>
                    <a:schemeClr val="tx2">
                      <a:lumMod val="60000"/>
                      <a:lumOff val="40000"/>
                    </a:schemeClr>
                  </a:solidFill>
                  <a:cs typeface="Calibri"/>
                </a:rPr>
                <a:t> </a:t>
              </a:r>
              <a:r>
                <a:rPr sz="1200" b="1" spc="45">
                  <a:solidFill>
                    <a:schemeClr val="tx2">
                      <a:lumMod val="60000"/>
                      <a:lumOff val="40000"/>
                    </a:schemeClr>
                  </a:solidFill>
                  <a:cs typeface="Calibri"/>
                </a:rPr>
                <a:t>ownership:</a:t>
              </a:r>
              <a:endParaRPr sz="1200" b="1">
                <a:solidFill>
                  <a:schemeClr val="tx2">
                    <a:lumMod val="60000"/>
                    <a:lumOff val="40000"/>
                  </a:schemeClr>
                </a:solidFill>
                <a:cs typeface="Calibri"/>
              </a:endParaRPr>
            </a:p>
            <a:p>
              <a:pPr marL="635" algn="ctr">
                <a:lnSpc>
                  <a:spcPct val="100000"/>
                </a:lnSpc>
                <a:spcBef>
                  <a:spcPts val="180"/>
                </a:spcBef>
              </a:pPr>
              <a:r>
                <a:rPr lang="en-US" sz="1200">
                  <a:solidFill>
                    <a:schemeClr val="tx2">
                      <a:lumMod val="60000"/>
                      <a:lumOff val="40000"/>
                    </a:schemeClr>
                  </a:solidFill>
                  <a:cs typeface="Trebuchet MS"/>
                </a:rPr>
                <a:t>Apax Partners</a:t>
              </a:r>
              <a:endParaRPr sz="1200">
                <a:solidFill>
                  <a:schemeClr val="tx2">
                    <a:lumMod val="60000"/>
                    <a:lumOff val="40000"/>
                  </a:schemeClr>
                </a:solidFill>
                <a:cs typeface="Trebuchet MS"/>
              </a:endParaRPr>
            </a:p>
          </p:txBody>
        </p:sp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EEDE753E-75C0-4319-8973-D1C2A8DA11F7}"/>
                </a:ext>
              </a:extLst>
            </p:cNvPr>
            <p:cNvGrpSpPr/>
            <p:nvPr/>
          </p:nvGrpSpPr>
          <p:grpSpPr>
            <a:xfrm>
              <a:off x="733773" y="3070146"/>
              <a:ext cx="1606198" cy="307777"/>
              <a:chOff x="5292901" y="3070146"/>
              <a:chExt cx="1606198" cy="307777"/>
            </a:xfrm>
          </p:grpSpPr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47C6B89D-6579-4149-AAAF-6209522E670E}"/>
                  </a:ext>
                </a:extLst>
              </p:cNvPr>
              <p:cNvSpPr/>
              <p:nvPr/>
            </p:nvSpPr>
            <p:spPr>
              <a:xfrm>
                <a:off x="5606091" y="3070146"/>
                <a:ext cx="979819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1270" algn="ctr">
                  <a:lnSpc>
                    <a:spcPct val="100000"/>
                  </a:lnSpc>
                </a:pPr>
                <a:r>
                  <a:rPr lang="en-US" sz="1400" b="1" spc="4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j-lt"/>
                    <a:cs typeface="Tahoma"/>
                  </a:rPr>
                  <a:t>acquired</a:t>
                </a:r>
                <a:endParaRPr lang="en-US" sz="1400" b="1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Tahoma"/>
                </a:endParaRPr>
              </a:p>
            </p:txBody>
          </p:sp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56A6A40B-1098-4FFC-AE58-385E55C7D69E}"/>
                  </a:ext>
                </a:extLst>
              </p:cNvPr>
              <p:cNvCxnSpPr>
                <a:stCxn id="51" idx="1"/>
              </p:cNvCxnSpPr>
              <p:nvPr/>
            </p:nvCxnSpPr>
            <p:spPr>
              <a:xfrm flipH="1" flipV="1">
                <a:off x="5292901" y="3224034"/>
                <a:ext cx="313190" cy="1"/>
              </a:xfrm>
              <a:prstGeom prst="line">
                <a:avLst/>
              </a:prstGeom>
              <a:ln w="1270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Straight Connector 52">
                <a:extLst>
                  <a:ext uri="{FF2B5EF4-FFF2-40B4-BE49-F238E27FC236}">
                    <a16:creationId xmlns:a16="http://schemas.microsoft.com/office/drawing/2014/main" id="{845A3C1D-DD9F-476F-A555-EF25BA98E617}"/>
                  </a:ext>
                </a:extLst>
              </p:cNvPr>
              <p:cNvCxnSpPr/>
              <p:nvPr/>
            </p:nvCxnSpPr>
            <p:spPr>
              <a:xfrm flipH="1" flipV="1">
                <a:off x="6585909" y="3224034"/>
                <a:ext cx="313190" cy="1"/>
              </a:xfrm>
              <a:prstGeom prst="line">
                <a:avLst/>
              </a:prstGeom>
              <a:ln w="1270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9BCBCA1B-B21F-4C42-A8EC-3A3ED3F2BF5B}"/>
                </a:ext>
              </a:extLst>
            </p:cNvPr>
            <p:cNvCxnSpPr/>
            <p:nvPr/>
          </p:nvCxnSpPr>
          <p:spPr>
            <a:xfrm>
              <a:off x="733773" y="4065606"/>
              <a:ext cx="1606198" cy="0"/>
            </a:xfrm>
            <a:prstGeom prst="line">
              <a:avLst/>
            </a:prstGeom>
            <a:ln w="222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" name="object 25">
            <a:extLst>
              <a:ext uri="{FF2B5EF4-FFF2-40B4-BE49-F238E27FC236}">
                <a16:creationId xmlns:a16="http://schemas.microsoft.com/office/drawing/2014/main" id="{C75A5208-7956-2B7A-E3BD-AEAE1BD6A999}"/>
              </a:ext>
            </a:extLst>
          </p:cNvPr>
          <p:cNvSpPr txBox="1"/>
          <p:nvPr/>
        </p:nvSpPr>
        <p:spPr>
          <a:xfrm>
            <a:off x="2783975" y="2433817"/>
            <a:ext cx="2056130" cy="2844074"/>
          </a:xfrm>
          <a:prstGeom prst="rect">
            <a:avLst/>
          </a:prstGeom>
          <a:ln w="28575">
            <a:solidFill>
              <a:schemeClr val="accent1">
                <a:lumMod val="90000"/>
                <a:lumOff val="10000"/>
              </a:schemeClr>
            </a:solidFill>
          </a:ln>
        </p:spPr>
        <p:txBody>
          <a:bodyPr vert="horz" wrap="square" lIns="0" tIns="0" rIns="0" bIns="182880" rtlCol="0" anchor="b">
            <a:noAutofit/>
          </a:bodyPr>
          <a:lstStyle/>
          <a:p>
            <a:pPr marL="635" algn="ctr"/>
            <a:r>
              <a:rPr sz="1200" b="1" spc="70">
                <a:solidFill>
                  <a:schemeClr val="accent1">
                    <a:lumMod val="75000"/>
                    <a:lumOff val="25000"/>
                  </a:schemeClr>
                </a:solidFill>
                <a:cs typeface="Arial"/>
              </a:rPr>
              <a:t>for $1.75B</a:t>
            </a:r>
          </a:p>
          <a:p>
            <a:pPr marL="635" algn="ctr">
              <a:spcBef>
                <a:spcPts val="805"/>
              </a:spcBef>
            </a:pPr>
            <a:r>
              <a:rPr lang="en-US" sz="1200" b="1" spc="55">
                <a:solidFill>
                  <a:schemeClr val="tx2">
                    <a:lumMod val="60000"/>
                    <a:lumOff val="40000"/>
                  </a:schemeClr>
                </a:solidFill>
                <a:cs typeface="Calibri"/>
              </a:rPr>
              <a:t>Previous ownership</a:t>
            </a:r>
            <a:r>
              <a:rPr lang="en-US" sz="1200" spc="55">
                <a:solidFill>
                  <a:schemeClr val="tx2">
                    <a:lumMod val="60000"/>
                    <a:lumOff val="40000"/>
                  </a:schemeClr>
                </a:solidFill>
                <a:cs typeface="Calibri"/>
              </a:rPr>
              <a:t>:</a:t>
            </a:r>
          </a:p>
          <a:p>
            <a:pPr marL="635" algn="ctr">
              <a:spcBef>
                <a:spcPts val="180"/>
              </a:spcBef>
            </a:pPr>
            <a:r>
              <a:rPr lang="en-US" sz="1200" spc="55">
                <a:solidFill>
                  <a:schemeClr val="tx2">
                    <a:lumMod val="60000"/>
                    <a:lumOff val="40000"/>
                  </a:schemeClr>
                </a:solidFill>
                <a:cs typeface="Calibri"/>
              </a:rPr>
              <a:t>AEA Investors</a:t>
            </a:r>
          </a:p>
        </p:txBody>
      </p:sp>
      <p:pic>
        <p:nvPicPr>
          <p:cNvPr id="30" name="object 27">
            <a:extLst>
              <a:ext uri="{FF2B5EF4-FFF2-40B4-BE49-F238E27FC236}">
                <a16:creationId xmlns:a16="http://schemas.microsoft.com/office/drawing/2014/main" id="{80CE0DC4-83E9-4DF4-1ACE-A608B88244A1}"/>
              </a:ext>
            </a:extLst>
          </p:cNvPr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140696" y="2751679"/>
            <a:ext cx="1342690" cy="387318"/>
          </a:xfrm>
          <a:prstGeom prst="rect">
            <a:avLst/>
          </a:prstGeom>
        </p:spPr>
      </p:pic>
      <p:pic>
        <p:nvPicPr>
          <p:cNvPr id="31" name="object 28">
            <a:extLst>
              <a:ext uri="{FF2B5EF4-FFF2-40B4-BE49-F238E27FC236}">
                <a16:creationId xmlns:a16="http://schemas.microsoft.com/office/drawing/2014/main" id="{A071FB45-32BB-695B-5353-44AB9033AC50}"/>
              </a:ext>
            </a:extLst>
          </p:cNvPr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3078161" y="3704245"/>
            <a:ext cx="1467758" cy="421518"/>
          </a:xfrm>
          <a:prstGeom prst="rect">
            <a:avLst/>
          </a:prstGeom>
        </p:spPr>
      </p:pic>
      <p:grpSp>
        <p:nvGrpSpPr>
          <p:cNvPr id="46" name="Group 45">
            <a:extLst>
              <a:ext uri="{FF2B5EF4-FFF2-40B4-BE49-F238E27FC236}">
                <a16:creationId xmlns:a16="http://schemas.microsoft.com/office/drawing/2014/main" id="{21B44EC1-D19F-42E6-8B0A-527A3C0765E8}"/>
              </a:ext>
            </a:extLst>
          </p:cNvPr>
          <p:cNvGrpSpPr/>
          <p:nvPr/>
        </p:nvGrpSpPr>
        <p:grpSpPr>
          <a:xfrm>
            <a:off x="3008941" y="3302929"/>
            <a:ext cx="1606198" cy="307777"/>
            <a:chOff x="5292901" y="3070146"/>
            <a:chExt cx="1606198" cy="307777"/>
          </a:xfrm>
        </p:grpSpPr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BDED59CA-4F7E-4865-A3A9-D95BC560AE32}"/>
                </a:ext>
              </a:extLst>
            </p:cNvPr>
            <p:cNvSpPr/>
            <p:nvPr/>
          </p:nvSpPr>
          <p:spPr>
            <a:xfrm>
              <a:off x="5606091" y="3070146"/>
              <a:ext cx="979819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1270" algn="ctr">
                <a:lnSpc>
                  <a:spcPct val="100000"/>
                </a:lnSpc>
              </a:pPr>
              <a:r>
                <a:rPr lang="en-US" sz="1400" b="1" spc="4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Tahoma"/>
                </a:rPr>
                <a:t>acquired</a:t>
              </a:r>
              <a:endParaRPr lang="en-US" sz="1400" b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Tahoma"/>
              </a:endParaRPr>
            </a:p>
          </p:txBody>
        </p: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78CB56BF-CF5A-41D9-B60F-B8FED73F52AD}"/>
                </a:ext>
              </a:extLst>
            </p:cNvPr>
            <p:cNvCxnSpPr>
              <a:stCxn id="47" idx="1"/>
            </p:cNvCxnSpPr>
            <p:nvPr/>
          </p:nvCxnSpPr>
          <p:spPr>
            <a:xfrm flipH="1" flipV="1">
              <a:off x="5292901" y="3224034"/>
              <a:ext cx="313190" cy="1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20258C19-331B-4445-B075-8D990A788772}"/>
                </a:ext>
              </a:extLst>
            </p:cNvPr>
            <p:cNvCxnSpPr/>
            <p:nvPr/>
          </p:nvCxnSpPr>
          <p:spPr>
            <a:xfrm flipH="1" flipV="1">
              <a:off x="6585909" y="3224034"/>
              <a:ext cx="313190" cy="1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6FFACE2C-5616-4F76-9393-9A9CD6F94161}"/>
              </a:ext>
            </a:extLst>
          </p:cNvPr>
          <p:cNvCxnSpPr/>
          <p:nvPr/>
        </p:nvCxnSpPr>
        <p:spPr>
          <a:xfrm>
            <a:off x="3008941" y="4298389"/>
            <a:ext cx="1606198" cy="0"/>
          </a:xfrm>
          <a:prstGeom prst="line">
            <a:avLst/>
          </a:prstGeom>
          <a:ln w="22225"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9" name="Group 58">
            <a:extLst>
              <a:ext uri="{FF2B5EF4-FFF2-40B4-BE49-F238E27FC236}">
                <a16:creationId xmlns:a16="http://schemas.microsoft.com/office/drawing/2014/main" id="{34922CAB-FEE7-49DA-9752-4C161F1D1050}"/>
              </a:ext>
            </a:extLst>
          </p:cNvPr>
          <p:cNvGrpSpPr/>
          <p:nvPr/>
        </p:nvGrpSpPr>
        <p:grpSpPr>
          <a:xfrm>
            <a:off x="5059143" y="2418097"/>
            <a:ext cx="2056130" cy="2843772"/>
            <a:chOff x="5067935" y="2201073"/>
            <a:chExt cx="2056130" cy="2843772"/>
          </a:xfrm>
        </p:grpSpPr>
        <p:sp>
          <p:nvSpPr>
            <p:cNvPr id="14" name="object 7">
              <a:extLst>
                <a:ext uri="{FF2B5EF4-FFF2-40B4-BE49-F238E27FC236}">
                  <a16:creationId xmlns:a16="http://schemas.microsoft.com/office/drawing/2014/main" id="{CAA7BB12-0C78-8006-A602-1C0B86BD34DB}"/>
                </a:ext>
              </a:extLst>
            </p:cNvPr>
            <p:cNvSpPr txBox="1"/>
            <p:nvPr/>
          </p:nvSpPr>
          <p:spPr>
            <a:xfrm>
              <a:off x="5067935" y="2201073"/>
              <a:ext cx="2056130" cy="2843772"/>
            </a:xfrm>
            <a:prstGeom prst="rect">
              <a:avLst/>
            </a:prstGeom>
            <a:ln w="28575">
              <a:solidFill>
                <a:schemeClr val="accent1">
                  <a:lumMod val="90000"/>
                  <a:lumOff val="10000"/>
                </a:schemeClr>
              </a:solidFill>
            </a:ln>
          </p:spPr>
          <p:txBody>
            <a:bodyPr vert="horz" wrap="square" lIns="0" tIns="0" rIns="0" bIns="182880" rtlCol="0" anchor="b">
              <a:noAutofit/>
            </a:bodyPr>
            <a:lstStyle/>
            <a:p>
              <a:pPr>
                <a:lnSpc>
                  <a:spcPct val="100000"/>
                </a:lnSpc>
              </a:pPr>
              <a:endParaRPr sz="1200">
                <a:cs typeface="Times New Roman"/>
              </a:endParaRPr>
            </a:p>
            <a:p>
              <a:pPr>
                <a:lnSpc>
                  <a:spcPct val="100000"/>
                </a:lnSpc>
              </a:pPr>
              <a:endParaRPr sz="1200">
                <a:cs typeface="Times New Roman"/>
              </a:endParaRPr>
            </a:p>
            <a:p>
              <a:pPr>
                <a:lnSpc>
                  <a:spcPct val="100000"/>
                </a:lnSpc>
              </a:pPr>
              <a:endParaRPr sz="1200">
                <a:cs typeface="Times New Roman"/>
              </a:endParaRPr>
            </a:p>
            <a:p>
              <a:pPr>
                <a:lnSpc>
                  <a:spcPct val="100000"/>
                </a:lnSpc>
                <a:spcBef>
                  <a:spcPts val="110"/>
                </a:spcBef>
              </a:pPr>
              <a:endParaRPr sz="1200">
                <a:cs typeface="Times New Roman"/>
              </a:endParaRPr>
            </a:p>
            <a:p>
              <a:pPr marL="635" algn="ctr"/>
              <a:r>
                <a:rPr lang="en-US" sz="1200" b="1" spc="70">
                  <a:solidFill>
                    <a:schemeClr val="accent1">
                      <a:lumMod val="75000"/>
                      <a:lumOff val="25000"/>
                    </a:schemeClr>
                  </a:solidFill>
                  <a:cs typeface="Arial"/>
                </a:rPr>
                <a:t>For $1.1B</a:t>
              </a:r>
              <a:endParaRPr sz="1200" b="1" spc="70">
                <a:solidFill>
                  <a:schemeClr val="accent1">
                    <a:lumMod val="75000"/>
                    <a:lumOff val="25000"/>
                  </a:schemeClr>
                </a:solidFill>
                <a:cs typeface="Arial"/>
              </a:endParaRPr>
            </a:p>
            <a:p>
              <a:pPr marL="635" algn="ctr">
                <a:spcBef>
                  <a:spcPts val="805"/>
                </a:spcBef>
              </a:pPr>
              <a:r>
                <a:rPr lang="en-US" sz="1200" b="1" spc="55">
                  <a:solidFill>
                    <a:schemeClr val="tx2">
                      <a:lumMod val="60000"/>
                      <a:lumOff val="40000"/>
                    </a:schemeClr>
                  </a:solidFill>
                  <a:cs typeface="Calibri"/>
                </a:rPr>
                <a:t>Previous ownership:</a:t>
              </a:r>
            </a:p>
            <a:p>
              <a:pPr marL="635" algn="ctr">
                <a:spcBef>
                  <a:spcPts val="180"/>
                </a:spcBef>
              </a:pPr>
              <a:r>
                <a:rPr lang="en-US" sz="1200" spc="55">
                  <a:solidFill>
                    <a:schemeClr val="tx2">
                      <a:lumMod val="60000"/>
                      <a:lumOff val="40000"/>
                    </a:schemeClr>
                  </a:solidFill>
                  <a:cs typeface="Calibri"/>
                </a:rPr>
                <a:t>Founders-owned</a:t>
              </a:r>
            </a:p>
          </p:txBody>
        </p: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F729B8AC-EDE2-45E7-98C3-77C25C86C2B3}"/>
                </a:ext>
              </a:extLst>
            </p:cNvPr>
            <p:cNvGrpSpPr/>
            <p:nvPr/>
          </p:nvGrpSpPr>
          <p:grpSpPr>
            <a:xfrm>
              <a:off x="5292901" y="3070146"/>
              <a:ext cx="1606198" cy="307777"/>
              <a:chOff x="5292901" y="3070146"/>
              <a:chExt cx="1606198" cy="307777"/>
            </a:xfrm>
          </p:grpSpPr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B599BE4C-A801-4D58-BE5B-882D8A0C1F6C}"/>
                  </a:ext>
                </a:extLst>
              </p:cNvPr>
              <p:cNvSpPr/>
              <p:nvPr/>
            </p:nvSpPr>
            <p:spPr>
              <a:xfrm>
                <a:off x="5606091" y="3070146"/>
                <a:ext cx="979819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1270" algn="ctr">
                  <a:lnSpc>
                    <a:spcPct val="100000"/>
                  </a:lnSpc>
                </a:pPr>
                <a:r>
                  <a:rPr lang="en-US" sz="1400" b="1" spc="4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j-lt"/>
                    <a:cs typeface="Tahoma"/>
                  </a:rPr>
                  <a:t>acquired</a:t>
                </a:r>
                <a:endParaRPr lang="en-US" sz="1400" b="1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Tahoma"/>
                </a:endParaRPr>
              </a:p>
            </p:txBody>
          </p:sp>
          <p:cxnSp>
            <p:nvCxnSpPr>
              <p:cNvPr id="7" name="Straight Connector 6">
                <a:extLst>
                  <a:ext uri="{FF2B5EF4-FFF2-40B4-BE49-F238E27FC236}">
                    <a16:creationId xmlns:a16="http://schemas.microsoft.com/office/drawing/2014/main" id="{3849897A-A839-4933-851E-93A09E6D1425}"/>
                  </a:ext>
                </a:extLst>
              </p:cNvPr>
              <p:cNvCxnSpPr>
                <a:stCxn id="4" idx="1"/>
              </p:cNvCxnSpPr>
              <p:nvPr/>
            </p:nvCxnSpPr>
            <p:spPr>
              <a:xfrm flipH="1" flipV="1">
                <a:off x="5292901" y="3224034"/>
                <a:ext cx="313190" cy="1"/>
              </a:xfrm>
              <a:prstGeom prst="line">
                <a:avLst/>
              </a:prstGeom>
              <a:ln w="1270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642A39C9-B9B1-4C2B-A052-6EF9F8C5F391}"/>
                  </a:ext>
                </a:extLst>
              </p:cNvPr>
              <p:cNvCxnSpPr/>
              <p:nvPr/>
            </p:nvCxnSpPr>
            <p:spPr>
              <a:xfrm flipH="1" flipV="1">
                <a:off x="6585909" y="3224034"/>
                <a:ext cx="313190" cy="1"/>
              </a:xfrm>
              <a:prstGeom prst="line">
                <a:avLst/>
              </a:prstGeom>
              <a:ln w="1270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0C4884AC-FF26-4B52-8FDD-F9701495E7D0}"/>
                </a:ext>
              </a:extLst>
            </p:cNvPr>
            <p:cNvCxnSpPr/>
            <p:nvPr/>
          </p:nvCxnSpPr>
          <p:spPr>
            <a:xfrm>
              <a:off x="5292901" y="4065606"/>
              <a:ext cx="1606198" cy="0"/>
            </a:xfrm>
            <a:prstGeom prst="line">
              <a:avLst/>
            </a:prstGeom>
            <a:ln w="222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object 10">
            <a:extLst>
              <a:ext uri="{FF2B5EF4-FFF2-40B4-BE49-F238E27FC236}">
                <a16:creationId xmlns:a16="http://schemas.microsoft.com/office/drawing/2014/main" id="{7F32CE3D-F440-2B23-C6C8-C7AD81F46CA6}"/>
              </a:ext>
            </a:extLst>
          </p:cNvPr>
          <p:cNvSpPr txBox="1"/>
          <p:nvPr/>
        </p:nvSpPr>
        <p:spPr>
          <a:xfrm>
            <a:off x="7334311" y="2418097"/>
            <a:ext cx="2056130" cy="2844074"/>
          </a:xfrm>
          <a:prstGeom prst="rect">
            <a:avLst/>
          </a:prstGeom>
          <a:ln w="28575">
            <a:solidFill>
              <a:schemeClr val="accent1">
                <a:lumMod val="90000"/>
                <a:lumOff val="10000"/>
              </a:schemeClr>
            </a:solidFill>
          </a:ln>
        </p:spPr>
        <p:txBody>
          <a:bodyPr vert="horz" wrap="square" lIns="0" tIns="0" rIns="0" bIns="182880" rtlCol="0" anchor="b">
            <a:noAutofit/>
          </a:bodyPr>
          <a:lstStyle/>
          <a:p>
            <a:pPr marL="635" algn="ctr">
              <a:lnSpc>
                <a:spcPct val="100000"/>
              </a:lnSpc>
            </a:pPr>
            <a:r>
              <a:rPr sz="1200" b="1" spc="70">
                <a:solidFill>
                  <a:schemeClr val="accent1">
                    <a:lumMod val="75000"/>
                    <a:lumOff val="25000"/>
                  </a:schemeClr>
                </a:solidFill>
                <a:cs typeface="Arial"/>
              </a:rPr>
              <a:t>for</a:t>
            </a:r>
            <a:r>
              <a:rPr sz="1200" b="1" spc="45">
                <a:solidFill>
                  <a:schemeClr val="accent1">
                    <a:lumMod val="75000"/>
                    <a:lumOff val="25000"/>
                  </a:schemeClr>
                </a:solidFill>
                <a:cs typeface="Arial"/>
              </a:rPr>
              <a:t> </a:t>
            </a:r>
            <a:r>
              <a:rPr sz="1200" b="1">
                <a:solidFill>
                  <a:schemeClr val="accent1">
                    <a:lumMod val="75000"/>
                    <a:lumOff val="25000"/>
                  </a:schemeClr>
                </a:solidFill>
                <a:cs typeface="Arial"/>
              </a:rPr>
              <a:t>est.</a:t>
            </a:r>
            <a:r>
              <a:rPr sz="1200" b="1" spc="50">
                <a:solidFill>
                  <a:schemeClr val="accent1">
                    <a:lumMod val="75000"/>
                    <a:lumOff val="25000"/>
                  </a:schemeClr>
                </a:solidFill>
                <a:cs typeface="Arial"/>
              </a:rPr>
              <a:t> </a:t>
            </a:r>
            <a:r>
              <a:rPr sz="1200" b="1" spc="-10">
                <a:solidFill>
                  <a:schemeClr val="accent1">
                    <a:lumMod val="75000"/>
                    <a:lumOff val="25000"/>
                  </a:schemeClr>
                </a:solidFill>
                <a:cs typeface="Arial"/>
              </a:rPr>
              <a:t>$</a:t>
            </a:r>
            <a:r>
              <a:rPr lang="en-US" sz="1200" b="1" spc="-10">
                <a:solidFill>
                  <a:schemeClr val="accent1">
                    <a:lumMod val="75000"/>
                    <a:lumOff val="25000"/>
                  </a:schemeClr>
                </a:solidFill>
                <a:cs typeface="Arial"/>
              </a:rPr>
              <a:t>200M</a:t>
            </a:r>
            <a:endParaRPr sz="1200" b="1">
              <a:solidFill>
                <a:schemeClr val="accent1">
                  <a:lumMod val="75000"/>
                  <a:lumOff val="25000"/>
                </a:schemeClr>
              </a:solidFill>
              <a:cs typeface="Arial"/>
            </a:endParaRPr>
          </a:p>
          <a:p>
            <a:pPr marL="635" algn="ctr">
              <a:spcBef>
                <a:spcPts val="805"/>
              </a:spcBef>
            </a:pPr>
            <a:r>
              <a:rPr lang="en-US" sz="1200" b="1" spc="55">
                <a:solidFill>
                  <a:schemeClr val="tx2">
                    <a:lumMod val="60000"/>
                    <a:lumOff val="40000"/>
                  </a:schemeClr>
                </a:solidFill>
                <a:cs typeface="Calibri"/>
              </a:rPr>
              <a:t>Current ownership:</a:t>
            </a:r>
          </a:p>
          <a:p>
            <a:pPr marL="635" algn="ctr">
              <a:spcBef>
                <a:spcPts val="180"/>
              </a:spcBef>
            </a:pPr>
            <a:r>
              <a:rPr lang="en-US" sz="1200" spc="55">
                <a:solidFill>
                  <a:schemeClr val="tx2">
                    <a:lumMod val="60000"/>
                    <a:lumOff val="40000"/>
                  </a:schemeClr>
                </a:solidFill>
                <a:cs typeface="Calibri"/>
              </a:rPr>
              <a:t>Vivo Capital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9DF69F58-0E1C-44C7-AA79-347000615E5F}"/>
              </a:ext>
            </a:extLst>
          </p:cNvPr>
          <p:cNvGrpSpPr/>
          <p:nvPr/>
        </p:nvGrpSpPr>
        <p:grpSpPr>
          <a:xfrm>
            <a:off x="7573299" y="3287209"/>
            <a:ext cx="1606198" cy="307777"/>
            <a:chOff x="5292901" y="3070146"/>
            <a:chExt cx="1606198" cy="307777"/>
          </a:xfrm>
        </p:grpSpPr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E10B2676-BEA4-4E5B-8171-020D3D0E8DCE}"/>
                </a:ext>
              </a:extLst>
            </p:cNvPr>
            <p:cNvSpPr/>
            <p:nvPr/>
          </p:nvSpPr>
          <p:spPr>
            <a:xfrm>
              <a:off x="5622186" y="3070146"/>
              <a:ext cx="947632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1270" algn="ctr">
                <a:lnSpc>
                  <a:spcPct val="100000"/>
                </a:lnSpc>
              </a:pPr>
              <a:r>
                <a:rPr lang="en-US" sz="1400" b="1" spc="4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Tahoma"/>
                </a:rPr>
                <a:t>invested</a:t>
              </a:r>
              <a:endParaRPr lang="en-US" sz="1400" b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Tahoma"/>
              </a:endParaRPr>
            </a:p>
          </p:txBody>
        </p: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0B78D81A-DBBD-46AB-9E60-175FD6B41023}"/>
                </a:ext>
              </a:extLst>
            </p:cNvPr>
            <p:cNvCxnSpPr>
              <a:stCxn id="43" idx="1"/>
            </p:cNvCxnSpPr>
            <p:nvPr/>
          </p:nvCxnSpPr>
          <p:spPr>
            <a:xfrm flipH="1" flipV="1">
              <a:off x="5292901" y="3224034"/>
              <a:ext cx="329285" cy="1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99745A71-82AF-4B59-B2E7-240F9B57B49F}"/>
                </a:ext>
              </a:extLst>
            </p:cNvPr>
            <p:cNvCxnSpPr/>
            <p:nvPr/>
          </p:nvCxnSpPr>
          <p:spPr>
            <a:xfrm flipH="1" flipV="1">
              <a:off x="6585909" y="3224034"/>
              <a:ext cx="313190" cy="1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65B20BE4-6364-4A3C-966D-B85B21F1ACE9}"/>
              </a:ext>
            </a:extLst>
          </p:cNvPr>
          <p:cNvCxnSpPr/>
          <p:nvPr/>
        </p:nvCxnSpPr>
        <p:spPr>
          <a:xfrm>
            <a:off x="7573299" y="4282669"/>
            <a:ext cx="1606198" cy="0"/>
          </a:xfrm>
          <a:prstGeom prst="line">
            <a:avLst/>
          </a:prstGeom>
          <a:ln w="22225"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30" name="Picture 6" descr="KKR Closes $13.9 Billion Americas ...">
            <a:extLst>
              <a:ext uri="{FF2B5EF4-FFF2-40B4-BE49-F238E27FC236}">
                <a16:creationId xmlns:a16="http://schemas.microsoft.com/office/drawing/2014/main" id="{BD235896-BC41-CE13-9D12-FFA79835E2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663" y="2465699"/>
            <a:ext cx="1608308" cy="804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Home - Healthiummedtech">
            <a:extLst>
              <a:ext uri="{FF2B5EF4-FFF2-40B4-BE49-F238E27FC236}">
                <a16:creationId xmlns:a16="http://schemas.microsoft.com/office/drawing/2014/main" id="{E829764B-29A0-3B5B-4675-D8ADFC6858B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8474" y="3594986"/>
            <a:ext cx="1296277" cy="6400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HCW starts Avid Bioservices at buy; PT ...">
            <a:extLst>
              <a:ext uri="{FF2B5EF4-FFF2-40B4-BE49-F238E27FC236}">
                <a16:creationId xmlns:a16="http://schemas.microsoft.com/office/drawing/2014/main" id="{AC701AA4-0971-C62C-7ECA-369B7AD56EA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364" r="632" b="36474"/>
          <a:stretch/>
        </p:blipFill>
        <p:spPr bwMode="auto">
          <a:xfrm>
            <a:off x="5174110" y="3669830"/>
            <a:ext cx="1843779" cy="4903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Rede Partners | GHO Capital announces ...">
            <a:extLst>
              <a:ext uri="{FF2B5EF4-FFF2-40B4-BE49-F238E27FC236}">
                <a16:creationId xmlns:a16="http://schemas.microsoft.com/office/drawing/2014/main" id="{BEACC0F7-1AAF-4396-EA32-F553FD7A80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70736" y="2593114"/>
            <a:ext cx="638190" cy="6381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6" descr="Ampersand Closes Oversubscribed Fund at ...">
            <a:extLst>
              <a:ext uri="{FF2B5EF4-FFF2-40B4-BE49-F238E27FC236}">
                <a16:creationId xmlns:a16="http://schemas.microsoft.com/office/drawing/2014/main" id="{B70F4EAD-EF17-3FD6-39E2-187355AA2A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2100" y="2673514"/>
            <a:ext cx="906625" cy="4767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8" descr="Bain Capital - Wikiquote">
            <a:extLst>
              <a:ext uri="{FF2B5EF4-FFF2-40B4-BE49-F238E27FC236}">
                <a16:creationId xmlns:a16="http://schemas.microsoft.com/office/drawing/2014/main" id="{C2228A44-6FFF-FE2A-BE5B-43813A6FD8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40457" y="2572298"/>
            <a:ext cx="1414772" cy="7096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Serán Bioscience - Drug Development and ...">
            <a:extLst>
              <a:ext uri="{FF2B5EF4-FFF2-40B4-BE49-F238E27FC236}">
                <a16:creationId xmlns:a16="http://schemas.microsoft.com/office/drawing/2014/main" id="{C493A152-1033-F809-7D95-A59CE0D625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2230" y="3662469"/>
            <a:ext cx="1352999" cy="5050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75E5EE21-56DA-A77E-C169-6E4EE1A6A53A}"/>
              </a:ext>
            </a:extLst>
          </p:cNvPr>
          <p:cNvGrpSpPr/>
          <p:nvPr/>
        </p:nvGrpSpPr>
        <p:grpSpPr>
          <a:xfrm>
            <a:off x="9609480" y="2432943"/>
            <a:ext cx="2056130" cy="2844074"/>
            <a:chOff x="2788371" y="2201034"/>
            <a:chExt cx="2056130" cy="2844074"/>
          </a:xfrm>
        </p:grpSpPr>
        <p:sp>
          <p:nvSpPr>
            <p:cNvPr id="13" name="object 25">
              <a:extLst>
                <a:ext uri="{FF2B5EF4-FFF2-40B4-BE49-F238E27FC236}">
                  <a16:creationId xmlns:a16="http://schemas.microsoft.com/office/drawing/2014/main" id="{EA0CF7B3-B9A2-A492-8DDA-4AC8F80558AB}"/>
                </a:ext>
              </a:extLst>
            </p:cNvPr>
            <p:cNvSpPr txBox="1"/>
            <p:nvPr/>
          </p:nvSpPr>
          <p:spPr>
            <a:xfrm>
              <a:off x="2788371" y="2201034"/>
              <a:ext cx="2056130" cy="2844074"/>
            </a:xfrm>
            <a:prstGeom prst="rect">
              <a:avLst/>
            </a:prstGeom>
            <a:ln w="28575">
              <a:solidFill>
                <a:schemeClr val="accent1">
                  <a:lumMod val="90000"/>
                  <a:lumOff val="10000"/>
                </a:schemeClr>
              </a:solidFill>
            </a:ln>
          </p:spPr>
          <p:txBody>
            <a:bodyPr vert="horz" wrap="square" lIns="0" tIns="0" rIns="0" bIns="182880" rtlCol="0" anchor="b">
              <a:noAutofit/>
            </a:bodyPr>
            <a:lstStyle/>
            <a:p>
              <a:pPr marL="635" algn="ctr"/>
              <a:r>
                <a:rPr lang="en-US" sz="1200" b="1" spc="70">
                  <a:solidFill>
                    <a:schemeClr val="accent1">
                      <a:lumMod val="75000"/>
                      <a:lumOff val="25000"/>
                    </a:schemeClr>
                  </a:solidFill>
                  <a:cs typeface="Arial"/>
                </a:rPr>
                <a:t>Undisclosed amount</a:t>
              </a:r>
              <a:endParaRPr sz="1200" b="1" spc="70">
                <a:solidFill>
                  <a:schemeClr val="accent1">
                    <a:lumMod val="75000"/>
                    <a:lumOff val="25000"/>
                  </a:schemeClr>
                </a:solidFill>
                <a:cs typeface="Arial"/>
              </a:endParaRPr>
            </a:p>
            <a:p>
              <a:pPr marL="635" algn="ctr">
                <a:spcBef>
                  <a:spcPts val="805"/>
                </a:spcBef>
              </a:pPr>
              <a:r>
                <a:rPr lang="en-US" sz="1200" b="1" spc="55">
                  <a:solidFill>
                    <a:schemeClr val="tx2">
                      <a:lumMod val="60000"/>
                      <a:lumOff val="40000"/>
                    </a:schemeClr>
                  </a:solidFill>
                  <a:cs typeface="Calibri"/>
                </a:rPr>
                <a:t>Current ownership</a:t>
              </a:r>
              <a:r>
                <a:rPr lang="en-US" sz="1200" spc="55">
                  <a:solidFill>
                    <a:schemeClr val="tx2">
                      <a:lumMod val="60000"/>
                      <a:lumOff val="40000"/>
                    </a:schemeClr>
                  </a:solidFill>
                  <a:cs typeface="Calibri"/>
                </a:rPr>
                <a:t>:</a:t>
              </a:r>
            </a:p>
            <a:p>
              <a:pPr marL="635" algn="ctr">
                <a:spcBef>
                  <a:spcPts val="180"/>
                </a:spcBef>
              </a:pPr>
              <a:r>
                <a:rPr lang="en-US" sz="1200" spc="55">
                  <a:solidFill>
                    <a:schemeClr val="tx2">
                      <a:lumMod val="60000"/>
                      <a:lumOff val="40000"/>
                    </a:schemeClr>
                  </a:solidFill>
                  <a:cs typeface="Calibri"/>
                </a:rPr>
                <a:t>Advent International</a:t>
              </a:r>
            </a:p>
          </p:txBody>
        </p: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F2025AEF-4A34-0149-DAD0-4660DC7B3371}"/>
                </a:ext>
              </a:extLst>
            </p:cNvPr>
            <p:cNvGrpSpPr/>
            <p:nvPr/>
          </p:nvGrpSpPr>
          <p:grpSpPr>
            <a:xfrm>
              <a:off x="3013337" y="3070146"/>
              <a:ext cx="1606198" cy="307777"/>
              <a:chOff x="5292901" y="3070146"/>
              <a:chExt cx="1606198" cy="307777"/>
            </a:xfrm>
          </p:grpSpPr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684D7600-0B33-ABFD-C66C-58FF4F7B01E7}"/>
                  </a:ext>
                </a:extLst>
              </p:cNvPr>
              <p:cNvSpPr/>
              <p:nvPr/>
            </p:nvSpPr>
            <p:spPr>
              <a:xfrm>
                <a:off x="5659086" y="3070146"/>
                <a:ext cx="873830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1270" algn="ctr">
                  <a:lnSpc>
                    <a:spcPct val="100000"/>
                  </a:lnSpc>
                </a:pPr>
                <a:r>
                  <a:rPr lang="en-US" sz="1400" b="1" spc="4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j-lt"/>
                    <a:cs typeface="Tahoma"/>
                  </a:rPr>
                  <a:t>merged</a:t>
                </a:r>
                <a:endParaRPr lang="en-US" sz="1400" b="1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Tahoma"/>
                </a:endParaRPr>
              </a:p>
            </p:txBody>
          </p: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D0180972-DB1A-16B4-C317-4C7ADA221C69}"/>
                  </a:ext>
                </a:extLst>
              </p:cNvPr>
              <p:cNvCxnSpPr>
                <a:stCxn id="34" idx="1"/>
              </p:cNvCxnSpPr>
              <p:nvPr/>
            </p:nvCxnSpPr>
            <p:spPr>
              <a:xfrm flipH="1" flipV="1">
                <a:off x="5292901" y="3224034"/>
                <a:ext cx="366185" cy="1"/>
              </a:xfrm>
              <a:prstGeom prst="line">
                <a:avLst/>
              </a:prstGeom>
              <a:ln w="1270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46978FD4-3D5D-C676-8684-0324F12A02B8}"/>
                  </a:ext>
                </a:extLst>
              </p:cNvPr>
              <p:cNvCxnSpPr/>
              <p:nvPr/>
            </p:nvCxnSpPr>
            <p:spPr>
              <a:xfrm flipH="1" flipV="1">
                <a:off x="6585909" y="3224034"/>
                <a:ext cx="313190" cy="1"/>
              </a:xfrm>
              <a:prstGeom prst="line">
                <a:avLst/>
              </a:prstGeom>
              <a:ln w="1270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3E0C8F5A-3FFF-CBFD-47BA-1D5D645E5995}"/>
                </a:ext>
              </a:extLst>
            </p:cNvPr>
            <p:cNvCxnSpPr/>
            <p:nvPr/>
          </p:nvCxnSpPr>
          <p:spPr>
            <a:xfrm>
              <a:off x="3013337" y="4065606"/>
              <a:ext cx="1606198" cy="0"/>
            </a:xfrm>
            <a:prstGeom prst="line">
              <a:avLst/>
            </a:prstGeom>
            <a:ln w="22225"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36" name="Picture 12" descr="Pioneer Legal advises Suven Pharma on ...">
            <a:extLst>
              <a:ext uri="{FF2B5EF4-FFF2-40B4-BE49-F238E27FC236}">
                <a16:creationId xmlns:a16="http://schemas.microsoft.com/office/drawing/2014/main" id="{878DA91D-0030-F9DC-09F7-4CE9BF56A2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34446" y="2514969"/>
            <a:ext cx="1500351" cy="840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8" name="Picture 14" descr="API platform – Cohance Lifesciences">
            <a:extLst>
              <a:ext uri="{FF2B5EF4-FFF2-40B4-BE49-F238E27FC236}">
                <a16:creationId xmlns:a16="http://schemas.microsoft.com/office/drawing/2014/main" id="{EE7EA1CA-056A-E6D6-46EA-37EE738AD23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73650" y="3635842"/>
            <a:ext cx="953804" cy="5583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910280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B871AB3-41F5-0FEB-D724-504E756F68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F8EB60C-7CC2-49F0-B2EE-C81F067DE041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CE9EB69-5EC7-552A-1D32-14E59ED3E7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8049" y="393733"/>
            <a:ext cx="11431364" cy="443198"/>
          </a:xfrm>
        </p:spPr>
        <p:txBody>
          <a:bodyPr/>
          <a:lstStyle/>
          <a:p>
            <a:r>
              <a:rPr lang="en-US" sz="3200"/>
              <a:t>PE capital continues to invest in Medtech CDMO platforms</a:t>
            </a: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F91CA147-C6C3-080B-1666-B3762212F8AF}"/>
              </a:ext>
            </a:extLst>
          </p:cNvPr>
          <p:cNvSpPr/>
          <p:nvPr/>
        </p:nvSpPr>
        <p:spPr>
          <a:xfrm>
            <a:off x="559550" y="5350785"/>
            <a:ext cx="2148840" cy="662685"/>
          </a:xfrm>
          <a:prstGeom prst="roundRect">
            <a:avLst/>
          </a:prstGeom>
          <a:solidFill>
            <a:schemeClr val="accent1">
              <a:lumMod val="90000"/>
              <a:lumOff val="10000"/>
            </a:schemeClr>
          </a:solidFill>
          <a:ln w="1079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kern="0">
                <a:solidFill>
                  <a:srgbClr val="FFFFFF"/>
                </a:solidFill>
                <a:latin typeface="Arial Nova" panose="020B0504020202020204" pitchFamily="34" charset="0"/>
              </a:rPr>
              <a:t>5 deals</a:t>
            </a: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ova" panose="020B0504020202020204" pitchFamily="34" charset="0"/>
            </a:endParaRPr>
          </a:p>
        </p:txBody>
      </p:sp>
      <p:sp>
        <p:nvSpPr>
          <p:cNvPr id="27" name="Rectangle 7">
            <a:extLst>
              <a:ext uri="{FF2B5EF4-FFF2-40B4-BE49-F238E27FC236}">
                <a16:creationId xmlns:a16="http://schemas.microsoft.com/office/drawing/2014/main" id="{60B78B84-66F0-BFBA-3423-B12F5772FF5D}"/>
              </a:ext>
            </a:extLst>
          </p:cNvPr>
          <p:cNvSpPr/>
          <p:nvPr/>
        </p:nvSpPr>
        <p:spPr>
          <a:xfrm>
            <a:off x="2789949" y="5350785"/>
            <a:ext cx="2148840" cy="662685"/>
          </a:xfrm>
          <a:prstGeom prst="roundRect">
            <a:avLst/>
          </a:prstGeom>
          <a:solidFill>
            <a:schemeClr val="accent1">
              <a:lumMod val="90000"/>
              <a:lumOff val="10000"/>
            </a:schemeClr>
          </a:solidFill>
          <a:ln w="1079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kern="0">
                <a:solidFill>
                  <a:srgbClr val="FFFFFF"/>
                </a:solidFill>
                <a:latin typeface="Arial Nova" panose="020B0504020202020204" pitchFamily="34" charset="0"/>
              </a:rPr>
              <a:t>15 deals</a:t>
            </a: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ova" panose="020B0504020202020204" pitchFamily="34" charset="0"/>
            </a:endParaRPr>
          </a:p>
        </p:txBody>
      </p:sp>
      <p:sp>
        <p:nvSpPr>
          <p:cNvPr id="28" name="Rectangle 8">
            <a:extLst>
              <a:ext uri="{FF2B5EF4-FFF2-40B4-BE49-F238E27FC236}">
                <a16:creationId xmlns:a16="http://schemas.microsoft.com/office/drawing/2014/main" id="{67F8E179-FBDF-B0A9-726A-423DE935F74D}"/>
              </a:ext>
            </a:extLst>
          </p:cNvPr>
          <p:cNvSpPr/>
          <p:nvPr/>
        </p:nvSpPr>
        <p:spPr>
          <a:xfrm>
            <a:off x="5014373" y="5350785"/>
            <a:ext cx="2148840" cy="662685"/>
          </a:xfrm>
          <a:prstGeom prst="roundRect">
            <a:avLst/>
          </a:prstGeom>
          <a:solidFill>
            <a:schemeClr val="accent1">
              <a:lumMod val="90000"/>
              <a:lumOff val="10000"/>
            </a:schemeClr>
          </a:solidFill>
          <a:ln w="1079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ova" panose="020B0504020202020204" pitchFamily="34" charset="0"/>
              </a:rPr>
              <a:t>11 deals</a:t>
            </a:r>
          </a:p>
        </p:txBody>
      </p:sp>
      <p:sp>
        <p:nvSpPr>
          <p:cNvPr id="29" name="Rectangle 9">
            <a:extLst>
              <a:ext uri="{FF2B5EF4-FFF2-40B4-BE49-F238E27FC236}">
                <a16:creationId xmlns:a16="http://schemas.microsoft.com/office/drawing/2014/main" id="{4074B690-006C-0FC2-EABA-E90ED7C620C3}"/>
              </a:ext>
            </a:extLst>
          </p:cNvPr>
          <p:cNvSpPr/>
          <p:nvPr/>
        </p:nvSpPr>
        <p:spPr>
          <a:xfrm>
            <a:off x="7238795" y="5348153"/>
            <a:ext cx="2148840" cy="662685"/>
          </a:xfrm>
          <a:prstGeom prst="roundRect">
            <a:avLst/>
          </a:prstGeom>
          <a:solidFill>
            <a:schemeClr val="accent1">
              <a:lumMod val="90000"/>
              <a:lumOff val="10000"/>
            </a:schemeClr>
          </a:solidFill>
          <a:ln w="1079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ova" panose="020B0504020202020204" pitchFamily="34" charset="0"/>
              </a:rPr>
              <a:t>9 deals</a:t>
            </a:r>
          </a:p>
        </p:txBody>
      </p:sp>
      <p:sp>
        <p:nvSpPr>
          <p:cNvPr id="30" name="Rectangle 10">
            <a:extLst>
              <a:ext uri="{FF2B5EF4-FFF2-40B4-BE49-F238E27FC236}">
                <a16:creationId xmlns:a16="http://schemas.microsoft.com/office/drawing/2014/main" id="{2476C492-33DE-B827-1EF6-8A6EE816BF4B}"/>
              </a:ext>
            </a:extLst>
          </p:cNvPr>
          <p:cNvSpPr/>
          <p:nvPr/>
        </p:nvSpPr>
        <p:spPr>
          <a:xfrm>
            <a:off x="9483611" y="5348153"/>
            <a:ext cx="2148840" cy="662685"/>
          </a:xfrm>
          <a:prstGeom prst="roundRect">
            <a:avLst/>
          </a:prstGeom>
          <a:solidFill>
            <a:schemeClr val="accent1">
              <a:lumMod val="90000"/>
              <a:lumOff val="10000"/>
            </a:schemeClr>
          </a:solidFill>
          <a:ln w="1079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kern="0">
                <a:solidFill>
                  <a:srgbClr val="FFFFFF"/>
                </a:solidFill>
                <a:latin typeface="Arial Nova" panose="020B0504020202020204" pitchFamily="34" charset="0"/>
              </a:rPr>
              <a:t>7 </a:t>
            </a: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ova" panose="020B0504020202020204" pitchFamily="34" charset="0"/>
              </a:rPr>
              <a:t>deals</a:t>
            </a:r>
          </a:p>
        </p:txBody>
      </p:sp>
      <p:sp>
        <p:nvSpPr>
          <p:cNvPr id="45" name="Rectangle: Top Corners Rounded 44">
            <a:extLst>
              <a:ext uri="{FF2B5EF4-FFF2-40B4-BE49-F238E27FC236}">
                <a16:creationId xmlns:a16="http://schemas.microsoft.com/office/drawing/2014/main" id="{4B64ED64-3B2E-5F74-7DC6-05F1B9FF0EC1}"/>
              </a:ext>
            </a:extLst>
          </p:cNvPr>
          <p:cNvSpPr/>
          <p:nvPr/>
        </p:nvSpPr>
        <p:spPr>
          <a:xfrm>
            <a:off x="903325" y="1533528"/>
            <a:ext cx="1486776" cy="305287"/>
          </a:xfrm>
          <a:prstGeom prst="round2SameRect">
            <a:avLst/>
          </a:prstGeom>
          <a:solidFill>
            <a:srgbClr val="00A7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latin typeface="Arial Nova" panose="020B0504020202020204" pitchFamily="34" charset="0"/>
              </a:rPr>
              <a:t>2020</a:t>
            </a:r>
          </a:p>
        </p:txBody>
      </p:sp>
      <p:sp>
        <p:nvSpPr>
          <p:cNvPr id="46" name="Rectangle: Top Corners Rounded 45">
            <a:extLst>
              <a:ext uri="{FF2B5EF4-FFF2-40B4-BE49-F238E27FC236}">
                <a16:creationId xmlns:a16="http://schemas.microsoft.com/office/drawing/2014/main" id="{E13D9095-8CFC-8D02-8DA0-F1127B86C7A8}"/>
              </a:ext>
            </a:extLst>
          </p:cNvPr>
          <p:cNvSpPr/>
          <p:nvPr/>
        </p:nvSpPr>
        <p:spPr>
          <a:xfrm>
            <a:off x="3138980" y="1533528"/>
            <a:ext cx="1486776" cy="305287"/>
          </a:xfrm>
          <a:prstGeom prst="round2SameRect">
            <a:avLst/>
          </a:prstGeom>
          <a:solidFill>
            <a:srgbClr val="00A7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latin typeface="Arial Nova" panose="020B0504020202020204" pitchFamily="34" charset="0"/>
              </a:rPr>
              <a:t>2021</a:t>
            </a:r>
          </a:p>
        </p:txBody>
      </p:sp>
      <p:sp>
        <p:nvSpPr>
          <p:cNvPr id="47" name="Rectangle: Top Corners Rounded 46">
            <a:extLst>
              <a:ext uri="{FF2B5EF4-FFF2-40B4-BE49-F238E27FC236}">
                <a16:creationId xmlns:a16="http://schemas.microsoft.com/office/drawing/2014/main" id="{4C561B86-E5AB-47D3-D331-552D0FA1EB4A}"/>
              </a:ext>
            </a:extLst>
          </p:cNvPr>
          <p:cNvSpPr/>
          <p:nvPr/>
        </p:nvSpPr>
        <p:spPr>
          <a:xfrm>
            <a:off x="5363404" y="1533528"/>
            <a:ext cx="1486776" cy="305287"/>
          </a:xfrm>
          <a:prstGeom prst="round2SameRect">
            <a:avLst/>
          </a:prstGeom>
          <a:solidFill>
            <a:srgbClr val="00A7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latin typeface="Arial Nova" panose="020B0504020202020204" pitchFamily="34" charset="0"/>
              </a:rPr>
              <a:t>2022</a:t>
            </a:r>
          </a:p>
        </p:txBody>
      </p:sp>
      <p:sp>
        <p:nvSpPr>
          <p:cNvPr id="48" name="Rectangle: Top Corners Rounded 47">
            <a:extLst>
              <a:ext uri="{FF2B5EF4-FFF2-40B4-BE49-F238E27FC236}">
                <a16:creationId xmlns:a16="http://schemas.microsoft.com/office/drawing/2014/main" id="{85CCE371-CED7-14CA-485E-22A764354B3B}"/>
              </a:ext>
            </a:extLst>
          </p:cNvPr>
          <p:cNvSpPr/>
          <p:nvPr/>
        </p:nvSpPr>
        <p:spPr>
          <a:xfrm>
            <a:off x="7585257" y="1533528"/>
            <a:ext cx="1486776" cy="305287"/>
          </a:xfrm>
          <a:prstGeom prst="round2SameRect">
            <a:avLst/>
          </a:prstGeom>
          <a:solidFill>
            <a:srgbClr val="00A7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latin typeface="Arial Nova" panose="020B0504020202020204" pitchFamily="34" charset="0"/>
              </a:rPr>
              <a:t>2023</a:t>
            </a:r>
          </a:p>
        </p:txBody>
      </p:sp>
      <p:sp>
        <p:nvSpPr>
          <p:cNvPr id="49" name="Rectangle: Top Corners Rounded 48">
            <a:extLst>
              <a:ext uri="{FF2B5EF4-FFF2-40B4-BE49-F238E27FC236}">
                <a16:creationId xmlns:a16="http://schemas.microsoft.com/office/drawing/2014/main" id="{FB8FDF61-B2A6-CB5B-E482-B6DFA0F44D8F}"/>
              </a:ext>
            </a:extLst>
          </p:cNvPr>
          <p:cNvSpPr/>
          <p:nvPr/>
        </p:nvSpPr>
        <p:spPr>
          <a:xfrm>
            <a:off x="9809830" y="1533528"/>
            <a:ext cx="1486776" cy="305287"/>
          </a:xfrm>
          <a:prstGeom prst="round2SameRect">
            <a:avLst/>
          </a:prstGeom>
          <a:solidFill>
            <a:srgbClr val="00A7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latin typeface="Arial Nova" panose="020B0504020202020204" pitchFamily="34" charset="0"/>
              </a:rPr>
              <a:t>2024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2EB378C9-EBDC-048B-7C7E-AC0DC0491566}"/>
              </a:ext>
            </a:extLst>
          </p:cNvPr>
          <p:cNvSpPr txBox="1"/>
          <p:nvPr/>
        </p:nvSpPr>
        <p:spPr>
          <a:xfrm>
            <a:off x="2447954" y="1140275"/>
            <a:ext cx="7296092" cy="243893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 Nova" panose="020B0504020202020204" pitchFamily="34" charset="0"/>
              </a:rPr>
              <a:t>Global PE-Backed CDMO Platforms from 2020-2024, </a:t>
            </a:r>
            <a:r>
              <a:rPr lang="en-GB" sz="1600" kern="0">
                <a:solidFill>
                  <a:schemeClr val="tx2">
                    <a:lumMod val="60000"/>
                    <a:lumOff val="40000"/>
                  </a:schemeClr>
                </a:solidFill>
                <a:latin typeface="Arial Nova" panose="020B0504020202020204" pitchFamily="34" charset="0"/>
              </a:rPr>
              <a:t>Target (Sponsor)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44F6C3F-85FF-4612-87C5-768098E71795}"/>
              </a:ext>
            </a:extLst>
          </p:cNvPr>
          <p:cNvGrpSpPr/>
          <p:nvPr/>
        </p:nvGrpSpPr>
        <p:grpSpPr>
          <a:xfrm>
            <a:off x="5021580" y="1840938"/>
            <a:ext cx="2148840" cy="3443749"/>
            <a:chOff x="5014826" y="1840938"/>
            <a:chExt cx="2148840" cy="3443749"/>
          </a:xfrm>
        </p:grpSpPr>
        <p:sp>
          <p:nvSpPr>
            <p:cNvPr id="37" name="Rounded Rectangle 35">
              <a:extLst>
                <a:ext uri="{FF2B5EF4-FFF2-40B4-BE49-F238E27FC236}">
                  <a16:creationId xmlns:a16="http://schemas.microsoft.com/office/drawing/2014/main" id="{D9E63E9E-3852-35C7-A3AE-C64E8671B293}"/>
                </a:ext>
              </a:extLst>
            </p:cNvPr>
            <p:cNvSpPr/>
            <p:nvPr/>
          </p:nvSpPr>
          <p:spPr>
            <a:xfrm>
              <a:off x="5014826" y="1840938"/>
              <a:ext cx="2148840" cy="3443749"/>
            </a:xfrm>
            <a:prstGeom prst="rect">
              <a:avLst/>
            </a:prstGeom>
            <a:solidFill>
              <a:srgbClr val="F2F2F2"/>
            </a:solidFill>
            <a:effectLst/>
          </p:spPr>
          <p:txBody>
            <a:bodyPr lIns="137160" tIns="91440" rIns="137160" bIns="91440" anchor="t">
              <a:noAutofit/>
            </a:bodyPr>
            <a:lstStyle/>
            <a:p>
              <a:pPr marL="0" marR="0" lvl="0" indent="0" algn="l" defTabSz="1087636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err="1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ea typeface="Lato Light" panose="020F0502020204030203" pitchFamily="34" charset="0"/>
                  <a:cs typeface="+mn-cs"/>
                </a:rPr>
                <a:t>Clayens</a:t>
              </a: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ea typeface="Lato Light" panose="020F0502020204030203" pitchFamily="34" charset="0"/>
                  <a:cs typeface="+mn-cs"/>
                </a:rPr>
                <a:t> </a:t>
              </a: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ea typeface="Lato Light" panose="020F0502020204030203" pitchFamily="34" charset="0"/>
                  <a:cs typeface="+mn-cs"/>
                </a:rPr>
                <a:t>(One Equity Partners)</a:t>
              </a:r>
            </a:p>
            <a:p>
              <a:pPr marL="0" marR="0" lvl="0" indent="0" algn="l" defTabSz="1087636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err="1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ea typeface="Lato Light" panose="020F0502020204030203" pitchFamily="34" charset="0"/>
                  <a:cs typeface="+mn-cs"/>
                </a:rPr>
                <a:t>Biocoat</a:t>
              </a: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ea typeface="Lato Light" panose="020F0502020204030203" pitchFamily="34" charset="0"/>
                  <a:cs typeface="+mn-cs"/>
                </a:rPr>
                <a:t> </a:t>
              </a: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ea typeface="Lato Light" panose="020F0502020204030203" pitchFamily="34" charset="0"/>
                  <a:cs typeface="+mn-cs"/>
                </a:rPr>
                <a:t>(GTCR)</a:t>
              </a:r>
            </a:p>
            <a:p>
              <a:pPr marL="0" marR="0" lvl="0" indent="0" algn="l" defTabSz="1087636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ea typeface="Lato Light" panose="020F0502020204030203" pitchFamily="34" charset="0"/>
                  <a:cs typeface="+mn-cs"/>
                </a:rPr>
                <a:t>Sterling Medical </a:t>
              </a: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ea typeface="Lato Light" panose="020F0502020204030203" pitchFamily="34" charset="0"/>
                  <a:cs typeface="+mn-cs"/>
                </a:rPr>
                <a:t>(Ampersand)</a:t>
              </a:r>
            </a:p>
            <a:p>
              <a:pPr marL="0" marR="0" lvl="0" indent="0" algn="l" defTabSz="1087636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ea typeface="Lato Light" panose="020F0502020204030203" pitchFamily="34" charset="0"/>
                  <a:cs typeface="+mn-cs"/>
                </a:rPr>
                <a:t>Aspen Surgical</a:t>
              </a: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ea typeface="Lato Light" panose="020F0502020204030203" pitchFamily="34" charset="0"/>
                  <a:cs typeface="+mn-cs"/>
                </a:rPr>
                <a:t> (Linden)</a:t>
              </a:r>
            </a:p>
            <a:p>
              <a:pPr marL="0" marR="0" lvl="0" indent="0" algn="l" defTabSz="1087636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ea typeface="Lato Light" panose="020F0502020204030203" pitchFamily="34" charset="0"/>
                  <a:cs typeface="+mn-cs"/>
                </a:rPr>
                <a:t>Burke Porter Group</a:t>
              </a: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ea typeface="Lato Light" panose="020F0502020204030203" pitchFamily="34" charset="0"/>
                  <a:cs typeface="+mn-cs"/>
                </a:rPr>
                <a:t> (AEA)</a:t>
              </a:r>
            </a:p>
            <a:p>
              <a:pPr marL="0" marR="0" lvl="0" indent="0" algn="l" defTabSz="1087636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err="1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ea typeface="Lato Light" panose="020F0502020204030203" pitchFamily="34" charset="0"/>
                  <a:cs typeface="+mn-cs"/>
                </a:rPr>
                <a:t>Steripack</a:t>
              </a: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ea typeface="Lato Light" panose="020F0502020204030203" pitchFamily="34" charset="0"/>
                  <a:cs typeface="+mn-cs"/>
                </a:rPr>
                <a:t> </a:t>
              </a: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ea typeface="Lato Light" panose="020F0502020204030203" pitchFamily="34" charset="0"/>
                  <a:cs typeface="+mn-cs"/>
                </a:rPr>
                <a:t>(Inflexion)</a:t>
              </a:r>
            </a:p>
            <a:p>
              <a:pPr marL="0" marR="0" lvl="0" indent="0" algn="l" defTabSz="1087636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err="1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ea typeface="Lato Light" panose="020F0502020204030203" pitchFamily="34" charset="0"/>
                  <a:cs typeface="+mn-cs"/>
                </a:rPr>
                <a:t>Arterex</a:t>
              </a: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ea typeface="Lato Light" panose="020F0502020204030203" pitchFamily="34" charset="0"/>
                  <a:cs typeface="+mn-cs"/>
                </a:rPr>
                <a:t> </a:t>
              </a: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ea typeface="Lato Light" panose="020F0502020204030203" pitchFamily="34" charset="0"/>
                  <a:cs typeface="+mn-cs"/>
                </a:rPr>
                <a:t>(Invest Industrial)</a:t>
              </a:r>
            </a:p>
            <a:p>
              <a:pPr marL="0" marR="0" lvl="0" indent="0" algn="l" defTabSz="1087636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ea typeface="Lato Light" panose="020F0502020204030203" pitchFamily="34" charset="0"/>
                  <a:cs typeface="+mn-cs"/>
                </a:rPr>
                <a:t>Confluent </a:t>
              </a: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ea typeface="Lato Light" panose="020F0502020204030203" pitchFamily="34" charset="0"/>
                  <a:cs typeface="+mn-cs"/>
                </a:rPr>
                <a:t>(TPG)</a:t>
              </a:r>
            </a:p>
            <a:p>
              <a:pPr marL="0" marR="0" lvl="0" indent="0" algn="l" defTabSz="1087636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err="1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ea typeface="Lato Light" panose="020F0502020204030203" pitchFamily="34" charset="0"/>
                  <a:cs typeface="+mn-cs"/>
                </a:rPr>
                <a:t>Intricon</a:t>
              </a: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ea typeface="Lato Light" panose="020F0502020204030203" pitchFamily="34" charset="0"/>
                  <a:cs typeface="+mn-cs"/>
                </a:rPr>
                <a:t> </a:t>
              </a: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ea typeface="Lato Light" panose="020F0502020204030203" pitchFamily="34" charset="0"/>
                  <a:cs typeface="+mn-cs"/>
                </a:rPr>
                <a:t>(</a:t>
              </a:r>
              <a:r>
                <a:rPr kumimoji="0" lang="en-US" sz="1000" b="0" i="0" u="none" strike="noStrike" kern="1200" cap="none" spc="0" normalizeH="0" baseline="0" noProof="0" err="1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ea typeface="Lato Light" panose="020F0502020204030203" pitchFamily="34" charset="0"/>
                  <a:cs typeface="+mn-cs"/>
                </a:rPr>
                <a:t>Altaris</a:t>
              </a: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ea typeface="Lato Light" panose="020F0502020204030203" pitchFamily="34" charset="0"/>
                  <a:cs typeface="+mn-cs"/>
                </a:rPr>
                <a:t>)</a:t>
              </a:r>
            </a:p>
            <a:p>
              <a:pPr marL="0" marR="0" lvl="0" indent="0" algn="l" defTabSz="1087636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lang="en-US" sz="1000" b="1">
                  <a:solidFill>
                    <a:schemeClr val="tx1">
                      <a:lumMod val="85000"/>
                      <a:lumOff val="15000"/>
                    </a:schemeClr>
                  </a:solidFill>
                  <a:ea typeface="Lato Light" panose="020F0502020204030203" pitchFamily="34" charset="0"/>
                </a:rPr>
                <a:t>RE3DTECH</a:t>
              </a:r>
              <a:r>
                <a:rPr lang="en-US" sz="1000">
                  <a:solidFill>
                    <a:schemeClr val="tx1">
                      <a:lumMod val="85000"/>
                      <a:lumOff val="15000"/>
                    </a:schemeClr>
                  </a:solidFill>
                  <a:ea typeface="Lato Light" panose="020F0502020204030203" pitchFamily="34" charset="0"/>
                </a:rPr>
                <a:t> (CORE Industrial)</a:t>
              </a:r>
            </a:p>
            <a:p>
              <a:pPr marL="0" marR="0" lvl="0" indent="0" algn="l" defTabSz="1087636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ea typeface="Lato Light" panose="020F0502020204030203" pitchFamily="34" charset="0"/>
                  <a:cs typeface="+mn-cs"/>
                </a:rPr>
                <a:t>MDI</a:t>
              </a: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ea typeface="Lato Light" panose="020F0502020204030203" pitchFamily="34" charset="0"/>
                  <a:cs typeface="+mn-cs"/>
                </a:rPr>
                <a:t> (</a:t>
              </a:r>
              <a:r>
                <a:rPr kumimoji="0" lang="en-US" sz="1000" b="0" i="0" u="none" strike="noStrike" kern="1200" cap="none" spc="0" normalizeH="0" baseline="0" noProof="0" err="1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ea typeface="Lato Light" panose="020F0502020204030203" pitchFamily="34" charset="0"/>
                  <a:cs typeface="+mn-cs"/>
                </a:rPr>
                <a:t>Truarc</a:t>
              </a: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ea typeface="Lato Light" panose="020F0502020204030203" pitchFamily="34" charset="0"/>
                  <a:cs typeface="+mn-cs"/>
                </a:rPr>
                <a:t>)</a:t>
              </a:r>
            </a:p>
          </p:txBody>
        </p: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F1E9EB5C-2661-475B-9B15-BC25A45E542B}"/>
                </a:ext>
              </a:extLst>
            </p:cNvPr>
            <p:cNvCxnSpPr>
              <a:cxnSpLocks/>
            </p:cNvCxnSpPr>
            <p:nvPr/>
          </p:nvCxnSpPr>
          <p:spPr>
            <a:xfrm>
              <a:off x="5018710" y="1840938"/>
              <a:ext cx="2141072" cy="0"/>
            </a:xfrm>
            <a:prstGeom prst="line">
              <a:avLst/>
            </a:prstGeom>
            <a:ln w="12700">
              <a:solidFill>
                <a:schemeClr val="accent1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73A06840-10B7-4AE8-8047-46D8E4B1D706}"/>
                </a:ext>
              </a:extLst>
            </p:cNvPr>
            <p:cNvCxnSpPr>
              <a:cxnSpLocks/>
            </p:cNvCxnSpPr>
            <p:nvPr/>
          </p:nvCxnSpPr>
          <p:spPr>
            <a:xfrm>
              <a:off x="5018710" y="5284681"/>
              <a:ext cx="2141072" cy="0"/>
            </a:xfrm>
            <a:prstGeom prst="line">
              <a:avLst/>
            </a:prstGeom>
            <a:ln w="12700">
              <a:solidFill>
                <a:schemeClr val="accent1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834277D0-1D0E-4703-8DD3-9150DB579CD3}"/>
              </a:ext>
            </a:extLst>
          </p:cNvPr>
          <p:cNvGrpSpPr/>
          <p:nvPr/>
        </p:nvGrpSpPr>
        <p:grpSpPr>
          <a:xfrm>
            <a:off x="7252595" y="1840937"/>
            <a:ext cx="2148840" cy="3443749"/>
            <a:chOff x="7240564" y="1840937"/>
            <a:chExt cx="2148840" cy="3443749"/>
          </a:xfrm>
        </p:grpSpPr>
        <p:sp>
          <p:nvSpPr>
            <p:cNvPr id="38" name="Rounded Rectangle 36">
              <a:extLst>
                <a:ext uri="{FF2B5EF4-FFF2-40B4-BE49-F238E27FC236}">
                  <a16:creationId xmlns:a16="http://schemas.microsoft.com/office/drawing/2014/main" id="{B558A964-090F-4D14-F384-A6EAB8A24F1B}"/>
                </a:ext>
              </a:extLst>
            </p:cNvPr>
            <p:cNvSpPr/>
            <p:nvPr/>
          </p:nvSpPr>
          <p:spPr>
            <a:xfrm>
              <a:off x="7240564" y="1840937"/>
              <a:ext cx="2148840" cy="3443749"/>
            </a:xfrm>
            <a:prstGeom prst="rect">
              <a:avLst/>
            </a:prstGeom>
            <a:solidFill>
              <a:srgbClr val="F2F2F2"/>
            </a:solidFill>
            <a:effectLst/>
          </p:spPr>
          <p:txBody>
            <a:bodyPr lIns="137160" tIns="91440" rIns="137160" bIns="91440" anchor="t">
              <a:noAutofit/>
            </a:bodyPr>
            <a:lstStyle/>
            <a:p>
              <a:pPr defTabSz="1087636">
                <a:lnSpc>
                  <a:spcPct val="90000"/>
                </a:lnSpc>
                <a:spcAft>
                  <a:spcPts val="600"/>
                </a:spcAft>
                <a:buFont typeface="Arial"/>
                <a:buNone/>
                <a:defRPr/>
              </a:pPr>
              <a:r>
                <a:rPr lang="en-US" sz="1000" b="1" dirty="0">
                  <a:solidFill>
                    <a:schemeClr val="tx1">
                      <a:lumMod val="85000"/>
                      <a:lumOff val="15000"/>
                    </a:schemeClr>
                  </a:solidFill>
                  <a:ea typeface="Lato Light" panose="020F0502020204030203" pitchFamily="34" charset="0"/>
                </a:rPr>
                <a:t>Zeus </a:t>
              </a:r>
              <a:r>
                <a:rPr lang="en-US" sz="1000" dirty="0">
                  <a:solidFill>
                    <a:schemeClr val="tx1">
                      <a:lumMod val="85000"/>
                      <a:lumOff val="15000"/>
                    </a:schemeClr>
                  </a:solidFill>
                  <a:ea typeface="Lato Light" panose="020F0502020204030203" pitchFamily="34" charset="0"/>
                </a:rPr>
                <a:t>(EQT)</a:t>
              </a:r>
            </a:p>
            <a:p>
              <a:pPr defTabSz="1087636">
                <a:lnSpc>
                  <a:spcPct val="90000"/>
                </a:lnSpc>
                <a:spcAft>
                  <a:spcPts val="600"/>
                </a:spcAft>
                <a:defRPr/>
              </a:pPr>
              <a:r>
                <a:rPr lang="en-US" sz="1000" b="1" dirty="0">
                  <a:solidFill>
                    <a:schemeClr val="tx1">
                      <a:lumMod val="85000"/>
                      <a:lumOff val="15000"/>
                    </a:schemeClr>
                  </a:solidFill>
                  <a:ea typeface="Lato Light" panose="020F0502020204030203" pitchFamily="34" charset="0"/>
                </a:rPr>
                <a:t>Koscher &amp; Würtz</a:t>
              </a:r>
              <a:br>
                <a:rPr lang="en-US" sz="1000" b="1" dirty="0">
                  <a:solidFill>
                    <a:schemeClr val="tx1">
                      <a:lumMod val="85000"/>
                      <a:lumOff val="15000"/>
                    </a:schemeClr>
                  </a:solidFill>
                  <a:ea typeface="Lato Light" panose="020F0502020204030203" pitchFamily="34" charset="0"/>
                </a:rPr>
              </a:br>
              <a:r>
                <a:rPr lang="en-US" sz="1000" dirty="0">
                  <a:solidFill>
                    <a:schemeClr val="tx1">
                      <a:lumMod val="85000"/>
                      <a:lumOff val="15000"/>
                    </a:schemeClr>
                  </a:solidFill>
                  <a:ea typeface="Lato Light" panose="020F0502020204030203" pitchFamily="34" charset="0"/>
                </a:rPr>
                <a:t>(Glide Healthcare)</a:t>
              </a:r>
            </a:p>
            <a:p>
              <a:pPr defTabSz="1087636">
                <a:lnSpc>
                  <a:spcPct val="90000"/>
                </a:lnSpc>
                <a:spcAft>
                  <a:spcPts val="600"/>
                </a:spcAft>
                <a:defRPr/>
              </a:pPr>
              <a:r>
                <a:rPr lang="en-US" sz="1000" b="1" dirty="0">
                  <a:solidFill>
                    <a:schemeClr val="tx1">
                      <a:lumMod val="85000"/>
                      <a:lumOff val="15000"/>
                    </a:schemeClr>
                  </a:solidFill>
                  <a:ea typeface="Lato Light" panose="020F0502020204030203" pitchFamily="34" charset="0"/>
                </a:rPr>
                <a:t>AP Technologies </a:t>
              </a:r>
              <a:r>
                <a:rPr lang="en-US" sz="1000" dirty="0">
                  <a:solidFill>
                    <a:schemeClr val="tx1">
                      <a:lumMod val="85000"/>
                      <a:lumOff val="15000"/>
                    </a:schemeClr>
                  </a:solidFill>
                  <a:ea typeface="Lato Light" panose="020F0502020204030203" pitchFamily="34" charset="0"/>
                </a:rPr>
                <a:t>(AGIC)</a:t>
              </a:r>
            </a:p>
            <a:p>
              <a:pPr defTabSz="1087636">
                <a:lnSpc>
                  <a:spcPct val="90000"/>
                </a:lnSpc>
                <a:spcAft>
                  <a:spcPts val="600"/>
                </a:spcAft>
                <a:defRPr/>
              </a:pPr>
              <a:r>
                <a:rPr lang="en-US" sz="1000" b="1" dirty="0">
                  <a:solidFill>
                    <a:schemeClr val="tx1">
                      <a:lumMod val="85000"/>
                      <a:lumOff val="15000"/>
                    </a:schemeClr>
                  </a:solidFill>
                  <a:ea typeface="Lato Light" panose="020F0502020204030203" pitchFamily="34" charset="0"/>
                </a:rPr>
                <a:t>Quasar</a:t>
              </a:r>
              <a:r>
                <a:rPr lang="en-US" sz="1000" dirty="0">
                  <a:solidFill>
                    <a:schemeClr val="tx1">
                      <a:lumMod val="85000"/>
                      <a:lumOff val="15000"/>
                    </a:schemeClr>
                  </a:solidFill>
                  <a:ea typeface="Lato Light" panose="020F0502020204030203" pitchFamily="34" charset="0"/>
                </a:rPr>
                <a:t> (Boyu Capital)</a:t>
              </a:r>
            </a:p>
            <a:p>
              <a:pPr defTabSz="1087636">
                <a:lnSpc>
                  <a:spcPct val="90000"/>
                </a:lnSpc>
                <a:spcAft>
                  <a:spcPts val="600"/>
                </a:spcAft>
                <a:defRPr/>
              </a:pPr>
              <a:r>
                <a:rPr lang="en-US" sz="1000" b="1" dirty="0" err="1">
                  <a:solidFill>
                    <a:schemeClr val="tx1">
                      <a:lumMod val="85000"/>
                      <a:lumOff val="15000"/>
                    </a:schemeClr>
                  </a:solidFill>
                  <a:ea typeface="Lato Light" panose="020F0502020204030203" pitchFamily="34" charset="0"/>
                </a:rPr>
                <a:t>Biomerics</a:t>
              </a:r>
              <a:r>
                <a:rPr lang="en-US" sz="1000" dirty="0">
                  <a:solidFill>
                    <a:schemeClr val="tx1">
                      <a:lumMod val="85000"/>
                      <a:lumOff val="15000"/>
                    </a:schemeClr>
                  </a:solidFill>
                  <a:ea typeface="Lato Light" panose="020F0502020204030203" pitchFamily="34" charset="0"/>
                </a:rPr>
                <a:t> (ONCAP)</a:t>
              </a:r>
            </a:p>
            <a:p>
              <a:pPr defTabSz="1087636">
                <a:lnSpc>
                  <a:spcPct val="90000"/>
                </a:lnSpc>
                <a:spcAft>
                  <a:spcPts val="600"/>
                </a:spcAft>
                <a:defRPr/>
              </a:pPr>
              <a:r>
                <a:rPr lang="en-US" sz="1000" b="1" dirty="0">
                  <a:solidFill>
                    <a:schemeClr val="tx1">
                      <a:lumMod val="85000"/>
                      <a:lumOff val="15000"/>
                    </a:schemeClr>
                  </a:solidFill>
                  <a:ea typeface="Lato Light" panose="020F0502020204030203" pitchFamily="34" charset="0"/>
                </a:rPr>
                <a:t>Packaging Compliance Labs</a:t>
              </a:r>
              <a:br>
                <a:rPr lang="en-US" sz="1000" b="1" dirty="0">
                  <a:solidFill>
                    <a:schemeClr val="tx1">
                      <a:lumMod val="85000"/>
                      <a:lumOff val="15000"/>
                    </a:schemeClr>
                  </a:solidFill>
                  <a:ea typeface="Lato Light" panose="020F0502020204030203" pitchFamily="34" charset="0"/>
                </a:rPr>
              </a:br>
              <a:r>
                <a:rPr lang="en-US" sz="1000" dirty="0">
                  <a:solidFill>
                    <a:schemeClr val="tx1">
                      <a:lumMod val="85000"/>
                      <a:lumOff val="15000"/>
                    </a:schemeClr>
                  </a:solidFill>
                  <a:ea typeface="Lato Light" panose="020F0502020204030203" pitchFamily="34" charset="0"/>
                </a:rPr>
                <a:t>(SV Health)</a:t>
              </a:r>
            </a:p>
            <a:p>
              <a:pPr defTabSz="1087636">
                <a:lnSpc>
                  <a:spcPct val="90000"/>
                </a:lnSpc>
                <a:spcAft>
                  <a:spcPts val="600"/>
                </a:spcAft>
                <a:defRPr/>
              </a:pPr>
              <a:r>
                <a:rPr lang="en-US" sz="1000" b="1" dirty="0">
                  <a:solidFill>
                    <a:schemeClr val="tx1">
                      <a:lumMod val="85000"/>
                      <a:lumOff val="15000"/>
                    </a:schemeClr>
                  </a:solidFill>
                  <a:ea typeface="Lato Light" panose="020F0502020204030203" pitchFamily="34" charset="0"/>
                </a:rPr>
                <a:t>Robling Medical </a:t>
              </a:r>
              <a:r>
                <a:rPr lang="en-US" sz="1000" dirty="0">
                  <a:solidFill>
                    <a:schemeClr val="tx1">
                      <a:lumMod val="85000"/>
                      <a:lumOff val="15000"/>
                    </a:schemeClr>
                  </a:solidFill>
                  <a:ea typeface="Lato Light" panose="020F0502020204030203" pitchFamily="34" charset="0"/>
                </a:rPr>
                <a:t>(SB Health)</a:t>
              </a:r>
            </a:p>
            <a:p>
              <a:pPr defTabSz="1087636">
                <a:lnSpc>
                  <a:spcPct val="90000"/>
                </a:lnSpc>
                <a:spcAft>
                  <a:spcPts val="600"/>
                </a:spcAft>
                <a:defRPr/>
              </a:pPr>
              <a:r>
                <a:rPr lang="en-US" sz="1000" b="1" dirty="0">
                  <a:solidFill>
                    <a:schemeClr val="tx1">
                      <a:lumMod val="85000"/>
                      <a:lumOff val="15000"/>
                    </a:schemeClr>
                  </a:solidFill>
                  <a:ea typeface="Lato Light" panose="020F0502020204030203" pitchFamily="34" charset="0"/>
                </a:rPr>
                <a:t>Straits Ortho </a:t>
              </a:r>
              <a:r>
                <a:rPr lang="en-US" sz="1000" dirty="0">
                  <a:solidFill>
                    <a:schemeClr val="tx1">
                      <a:lumMod val="85000"/>
                      <a:lumOff val="15000"/>
                    </a:schemeClr>
                  </a:solidFill>
                  <a:ea typeface="Lato Light" panose="020F0502020204030203" pitchFamily="34" charset="0"/>
                </a:rPr>
                <a:t>(Quadria Capital)</a:t>
              </a:r>
            </a:p>
            <a:p>
              <a:pPr defTabSz="1087636">
                <a:lnSpc>
                  <a:spcPct val="90000"/>
                </a:lnSpc>
                <a:spcAft>
                  <a:spcPts val="600"/>
                </a:spcAft>
                <a:defRPr/>
              </a:pPr>
              <a:r>
                <a:rPr lang="en-US" sz="1000" b="1" dirty="0">
                  <a:solidFill>
                    <a:schemeClr val="tx1">
                      <a:lumMod val="85000"/>
                      <a:lumOff val="15000"/>
                    </a:schemeClr>
                  </a:solidFill>
                  <a:ea typeface="Lato Light" panose="020F0502020204030203" pitchFamily="34" charset="0"/>
                </a:rPr>
                <a:t>HG Medical </a:t>
              </a:r>
              <a:r>
                <a:rPr lang="en-US" sz="1000" dirty="0">
                  <a:solidFill>
                    <a:schemeClr val="tx1">
                      <a:lumMod val="85000"/>
                      <a:lumOff val="15000"/>
                    </a:schemeClr>
                  </a:solidFill>
                  <a:ea typeface="Lato Light" panose="020F0502020204030203" pitchFamily="34" charset="0"/>
                </a:rPr>
                <a:t>(</a:t>
              </a:r>
              <a:r>
                <a:rPr lang="en-US" sz="1000" dirty="0" err="1">
                  <a:solidFill>
                    <a:schemeClr val="tx1">
                      <a:lumMod val="85000"/>
                      <a:lumOff val="15000"/>
                    </a:schemeClr>
                  </a:solidFill>
                  <a:ea typeface="Lato Light" panose="020F0502020204030203" pitchFamily="34" charset="0"/>
                </a:rPr>
                <a:t>Astorg</a:t>
              </a:r>
              <a:r>
                <a:rPr lang="en-US" sz="1000" dirty="0">
                  <a:solidFill>
                    <a:schemeClr val="tx1">
                      <a:lumMod val="85000"/>
                      <a:lumOff val="15000"/>
                    </a:schemeClr>
                  </a:solidFill>
                  <a:ea typeface="Lato Light" panose="020F0502020204030203" pitchFamily="34" charset="0"/>
                </a:rPr>
                <a:t>)</a:t>
              </a:r>
            </a:p>
            <a:p>
              <a:pPr defTabSz="1087636">
                <a:lnSpc>
                  <a:spcPct val="90000"/>
                </a:lnSpc>
                <a:spcAft>
                  <a:spcPts val="600"/>
                </a:spcAft>
                <a:defRPr/>
              </a:pPr>
              <a:endParaRPr lang="en-US" sz="1000" dirty="0">
                <a:solidFill>
                  <a:schemeClr val="tx1">
                    <a:lumMod val="85000"/>
                    <a:lumOff val="15000"/>
                  </a:schemeClr>
                </a:solidFill>
                <a:ea typeface="Lato Light" panose="020F0502020204030203" pitchFamily="34" charset="0"/>
              </a:endParaRPr>
            </a:p>
            <a:p>
              <a:pPr defTabSz="1087636">
                <a:lnSpc>
                  <a:spcPct val="90000"/>
                </a:lnSpc>
                <a:spcAft>
                  <a:spcPts val="600"/>
                </a:spcAft>
                <a:defRPr/>
              </a:pPr>
              <a:endParaRPr lang="en-US" sz="1000" dirty="0">
                <a:solidFill>
                  <a:schemeClr val="tx1">
                    <a:lumMod val="85000"/>
                    <a:lumOff val="15000"/>
                  </a:schemeClr>
                </a:solidFill>
                <a:ea typeface="Lato Light" panose="020F0502020204030203" pitchFamily="34" charset="0"/>
              </a:endParaRPr>
            </a:p>
            <a:p>
              <a:pPr defTabSz="1087636">
                <a:lnSpc>
                  <a:spcPct val="90000"/>
                </a:lnSpc>
                <a:spcAft>
                  <a:spcPts val="600"/>
                </a:spcAft>
                <a:defRPr/>
              </a:pPr>
              <a:endParaRPr lang="en-US" sz="1000" dirty="0">
                <a:solidFill>
                  <a:schemeClr val="tx1">
                    <a:lumMod val="85000"/>
                    <a:lumOff val="15000"/>
                  </a:schemeClr>
                </a:solidFill>
                <a:ea typeface="Lato Light" panose="020F0502020204030203" pitchFamily="34" charset="0"/>
              </a:endParaRPr>
            </a:p>
            <a:p>
              <a:pPr defTabSz="1087636">
                <a:lnSpc>
                  <a:spcPct val="90000"/>
                </a:lnSpc>
                <a:spcAft>
                  <a:spcPts val="600"/>
                </a:spcAft>
                <a:defRPr/>
              </a:pPr>
              <a:endParaRPr lang="en-US" sz="1000" dirty="0">
                <a:solidFill>
                  <a:schemeClr val="tx1">
                    <a:lumMod val="85000"/>
                    <a:lumOff val="15000"/>
                  </a:schemeClr>
                </a:solidFill>
                <a:ea typeface="Lato Light" panose="020F0502020204030203" pitchFamily="34" charset="0"/>
              </a:endParaRPr>
            </a:p>
            <a:p>
              <a:pPr defTabSz="1087636">
                <a:lnSpc>
                  <a:spcPct val="90000"/>
                </a:lnSpc>
                <a:spcAft>
                  <a:spcPts val="600"/>
                </a:spcAft>
                <a:defRPr/>
              </a:pPr>
              <a:endParaRPr lang="en-US" sz="1000" dirty="0">
                <a:solidFill>
                  <a:schemeClr val="tx1">
                    <a:lumMod val="85000"/>
                    <a:lumOff val="15000"/>
                  </a:schemeClr>
                </a:solidFill>
                <a:ea typeface="Lato Light" panose="020F0502020204030203" pitchFamily="34" charset="0"/>
              </a:endParaRPr>
            </a:p>
            <a:p>
              <a:pPr defTabSz="1087636">
                <a:lnSpc>
                  <a:spcPct val="90000"/>
                </a:lnSpc>
                <a:spcAft>
                  <a:spcPts val="600"/>
                </a:spcAft>
                <a:defRPr/>
              </a:pPr>
              <a:endParaRPr lang="en-US" sz="1000" dirty="0">
                <a:solidFill>
                  <a:schemeClr val="tx1">
                    <a:lumMod val="85000"/>
                    <a:lumOff val="15000"/>
                  </a:schemeClr>
                </a:solidFill>
                <a:ea typeface="Lato Light" panose="020F0502020204030203" pitchFamily="34" charset="0"/>
              </a:endParaRPr>
            </a:p>
            <a:p>
              <a:pPr defTabSz="1087636">
                <a:lnSpc>
                  <a:spcPct val="90000"/>
                </a:lnSpc>
                <a:spcAft>
                  <a:spcPts val="600"/>
                </a:spcAft>
                <a:defRPr/>
              </a:pPr>
              <a:endParaRPr lang="en-US" sz="1000" dirty="0">
                <a:solidFill>
                  <a:schemeClr val="tx1">
                    <a:lumMod val="85000"/>
                    <a:lumOff val="15000"/>
                  </a:schemeClr>
                </a:solidFill>
                <a:ea typeface="Lato Light" panose="020F0502020204030203" pitchFamily="34" charset="0"/>
              </a:endParaRPr>
            </a:p>
            <a:p>
              <a:pPr defTabSz="1087636">
                <a:lnSpc>
                  <a:spcPct val="90000"/>
                </a:lnSpc>
                <a:spcAft>
                  <a:spcPts val="600"/>
                </a:spcAft>
                <a:buFont typeface="Arial"/>
                <a:buNone/>
                <a:defRPr/>
              </a:pPr>
              <a:endParaRPr lang="en-US" sz="1000" dirty="0">
                <a:solidFill>
                  <a:schemeClr val="tx1">
                    <a:lumMod val="85000"/>
                    <a:lumOff val="15000"/>
                  </a:schemeClr>
                </a:solidFill>
                <a:ea typeface="Lato Light" panose="020F0502020204030203" pitchFamily="34" charset="0"/>
              </a:endParaRPr>
            </a:p>
          </p:txBody>
        </p: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BA7B6BE6-50F0-4478-8FB9-5CB14795830B}"/>
                </a:ext>
              </a:extLst>
            </p:cNvPr>
            <p:cNvCxnSpPr>
              <a:cxnSpLocks/>
            </p:cNvCxnSpPr>
            <p:nvPr/>
          </p:nvCxnSpPr>
          <p:spPr>
            <a:xfrm>
              <a:off x="7244448" y="1840938"/>
              <a:ext cx="2141072" cy="0"/>
            </a:xfrm>
            <a:prstGeom prst="line">
              <a:avLst/>
            </a:prstGeom>
            <a:ln w="12700">
              <a:solidFill>
                <a:schemeClr val="accent1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B3797BCE-97F4-4B52-958C-CC42C31ECAFE}"/>
                </a:ext>
              </a:extLst>
            </p:cNvPr>
            <p:cNvCxnSpPr>
              <a:cxnSpLocks/>
            </p:cNvCxnSpPr>
            <p:nvPr/>
          </p:nvCxnSpPr>
          <p:spPr>
            <a:xfrm>
              <a:off x="7244448" y="5284681"/>
              <a:ext cx="2141072" cy="0"/>
            </a:xfrm>
            <a:prstGeom prst="line">
              <a:avLst/>
            </a:prstGeom>
            <a:ln w="12700">
              <a:solidFill>
                <a:schemeClr val="accent1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33A13A5-CA27-4306-A0CA-98F9B451B5FB}"/>
              </a:ext>
            </a:extLst>
          </p:cNvPr>
          <p:cNvGrpSpPr/>
          <p:nvPr/>
        </p:nvGrpSpPr>
        <p:grpSpPr>
          <a:xfrm>
            <a:off x="9483611" y="1840937"/>
            <a:ext cx="2148840" cy="3443749"/>
            <a:chOff x="9478798" y="1840937"/>
            <a:chExt cx="2148840" cy="3443749"/>
          </a:xfrm>
        </p:grpSpPr>
        <p:sp>
          <p:nvSpPr>
            <p:cNvPr id="39" name="Rounded Rectangle 37">
              <a:extLst>
                <a:ext uri="{FF2B5EF4-FFF2-40B4-BE49-F238E27FC236}">
                  <a16:creationId xmlns:a16="http://schemas.microsoft.com/office/drawing/2014/main" id="{2A00DE45-DD52-2B78-1FB4-762CE8F4E13A}"/>
                </a:ext>
              </a:extLst>
            </p:cNvPr>
            <p:cNvSpPr/>
            <p:nvPr/>
          </p:nvSpPr>
          <p:spPr>
            <a:xfrm>
              <a:off x="9478798" y="1840937"/>
              <a:ext cx="2148840" cy="3443749"/>
            </a:xfrm>
            <a:prstGeom prst="rect">
              <a:avLst/>
            </a:prstGeom>
            <a:solidFill>
              <a:srgbClr val="F2F2F2"/>
            </a:solidFill>
            <a:effectLst/>
          </p:spPr>
          <p:txBody>
            <a:bodyPr lIns="137160" tIns="91440" rIns="137160" bIns="91440" anchor="t">
              <a:noAutofit/>
            </a:bodyPr>
            <a:lstStyle/>
            <a:p>
              <a:pPr defTabSz="1087636">
                <a:lnSpc>
                  <a:spcPct val="90000"/>
                </a:lnSpc>
                <a:spcAft>
                  <a:spcPts val="600"/>
                </a:spcAft>
                <a:buFont typeface="Arial"/>
                <a:buNone/>
                <a:defRPr/>
              </a:pPr>
              <a:r>
                <a:rPr lang="en-US" sz="1000" b="1">
                  <a:solidFill>
                    <a:schemeClr val="tx1">
                      <a:lumMod val="85000"/>
                      <a:lumOff val="15000"/>
                    </a:schemeClr>
                  </a:solidFill>
                  <a:ea typeface="Lato Light" panose="020F0502020204030203" pitchFamily="34" charset="0"/>
                </a:rPr>
                <a:t>Peters Surgical </a:t>
              </a:r>
              <a:r>
                <a:rPr lang="en-US" sz="1000">
                  <a:solidFill>
                    <a:schemeClr val="tx1">
                      <a:lumMod val="85000"/>
                      <a:lumOff val="15000"/>
                    </a:schemeClr>
                  </a:solidFill>
                  <a:ea typeface="Lato Light" panose="020F0502020204030203" pitchFamily="34" charset="0"/>
                </a:rPr>
                <a:t>(Advanced Medical Solutions) </a:t>
              </a:r>
            </a:p>
            <a:p>
              <a:pPr defTabSz="1087636">
                <a:lnSpc>
                  <a:spcPct val="90000"/>
                </a:lnSpc>
                <a:spcAft>
                  <a:spcPts val="600"/>
                </a:spcAft>
                <a:buFont typeface="Arial"/>
                <a:buNone/>
                <a:defRPr/>
              </a:pPr>
              <a:r>
                <a:rPr lang="en-US" sz="1000" b="1" err="1">
                  <a:solidFill>
                    <a:schemeClr val="tx1">
                      <a:lumMod val="85000"/>
                      <a:lumOff val="15000"/>
                    </a:schemeClr>
                  </a:solidFill>
                  <a:ea typeface="Lato Light" panose="020F0502020204030203" pitchFamily="34" charset="0"/>
                </a:rPr>
                <a:t>Healthium</a:t>
              </a:r>
              <a:r>
                <a:rPr lang="en-US" sz="1000">
                  <a:solidFill>
                    <a:schemeClr val="tx1">
                      <a:lumMod val="85000"/>
                      <a:lumOff val="15000"/>
                    </a:schemeClr>
                  </a:solidFill>
                  <a:ea typeface="Lato Light" panose="020F0502020204030203" pitchFamily="34" charset="0"/>
                </a:rPr>
                <a:t> (KKR) </a:t>
              </a:r>
            </a:p>
            <a:p>
              <a:pPr defTabSz="1087636">
                <a:lnSpc>
                  <a:spcPct val="90000"/>
                </a:lnSpc>
                <a:spcAft>
                  <a:spcPts val="600"/>
                </a:spcAft>
                <a:defRPr/>
              </a:pPr>
              <a:r>
                <a:rPr lang="en-US" sz="1000" b="1">
                  <a:solidFill>
                    <a:schemeClr val="tx1">
                      <a:lumMod val="85000"/>
                      <a:lumOff val="15000"/>
                    </a:schemeClr>
                  </a:solidFill>
                  <a:ea typeface="Lato Light" panose="020F0502020204030203" pitchFamily="34" charset="0"/>
                </a:rPr>
                <a:t>Johnson Matthey Plc MDC </a:t>
              </a:r>
              <a:r>
                <a:rPr lang="en-US" sz="1000">
                  <a:solidFill>
                    <a:schemeClr val="tx1">
                      <a:lumMod val="85000"/>
                      <a:lumOff val="15000"/>
                    </a:schemeClr>
                  </a:solidFill>
                  <a:ea typeface="Lato Light" panose="020F0502020204030203" pitchFamily="34" charset="0"/>
                </a:rPr>
                <a:t>(Montagu)</a:t>
              </a:r>
            </a:p>
            <a:p>
              <a:pPr defTabSz="1087636">
                <a:lnSpc>
                  <a:spcPct val="90000"/>
                </a:lnSpc>
                <a:spcAft>
                  <a:spcPts val="600"/>
                </a:spcAft>
                <a:defRPr/>
              </a:pPr>
              <a:r>
                <a:rPr lang="en-US" sz="1000" b="1" err="1">
                  <a:solidFill>
                    <a:schemeClr val="tx1">
                      <a:lumMod val="85000"/>
                      <a:lumOff val="15000"/>
                    </a:schemeClr>
                  </a:solidFill>
                  <a:ea typeface="Lato Light" panose="020F0502020204030203" pitchFamily="34" charset="0"/>
                </a:rPr>
                <a:t>Donatelle</a:t>
              </a:r>
              <a:r>
                <a:rPr lang="en-US" sz="1000" b="1">
                  <a:solidFill>
                    <a:schemeClr val="tx1">
                      <a:lumMod val="85000"/>
                      <a:lumOff val="15000"/>
                    </a:schemeClr>
                  </a:solidFill>
                  <a:ea typeface="Lato Light" panose="020F0502020204030203" pitchFamily="34" charset="0"/>
                </a:rPr>
                <a:t> Plastics </a:t>
              </a:r>
              <a:r>
                <a:rPr lang="en-US" sz="1000">
                  <a:solidFill>
                    <a:schemeClr val="tx1">
                      <a:lumMod val="85000"/>
                      <a:lumOff val="15000"/>
                    </a:schemeClr>
                  </a:solidFill>
                  <a:ea typeface="Lato Light" panose="020F0502020204030203" pitchFamily="34" charset="0"/>
                </a:rPr>
                <a:t>(DuPont)</a:t>
              </a:r>
            </a:p>
            <a:p>
              <a:pPr defTabSz="1087636">
                <a:lnSpc>
                  <a:spcPct val="90000"/>
                </a:lnSpc>
                <a:spcAft>
                  <a:spcPts val="600"/>
                </a:spcAft>
                <a:defRPr/>
              </a:pPr>
              <a:r>
                <a:rPr lang="en-US" sz="1000" b="1">
                  <a:solidFill>
                    <a:schemeClr val="tx1">
                      <a:lumMod val="85000"/>
                      <a:lumOff val="15000"/>
                    </a:schemeClr>
                  </a:solidFill>
                  <a:ea typeface="Lato Light" panose="020F0502020204030203" pitchFamily="34" charset="0"/>
                </a:rPr>
                <a:t>Avid Biosciences </a:t>
              </a:r>
              <a:r>
                <a:rPr lang="en-US" sz="1000">
                  <a:solidFill>
                    <a:schemeClr val="tx1">
                      <a:lumMod val="85000"/>
                      <a:lumOff val="15000"/>
                    </a:schemeClr>
                  </a:solidFill>
                  <a:ea typeface="Lato Light" panose="020F0502020204030203" pitchFamily="34" charset="0"/>
                </a:rPr>
                <a:t>(GHO Capital and </a:t>
              </a:r>
              <a:r>
                <a:rPr lang="en-US" sz="1000"/>
                <a:t>Ampersand Capital Partners</a:t>
              </a:r>
              <a:r>
                <a:rPr lang="en-US" sz="1000">
                  <a:solidFill>
                    <a:schemeClr val="tx1">
                      <a:lumMod val="85000"/>
                      <a:lumOff val="15000"/>
                    </a:schemeClr>
                  </a:solidFill>
                  <a:ea typeface="Lato Light" panose="020F0502020204030203" pitchFamily="34" charset="0"/>
                </a:rPr>
                <a:t>)</a:t>
              </a:r>
            </a:p>
            <a:p>
              <a:pPr defTabSz="1087636">
                <a:lnSpc>
                  <a:spcPct val="90000"/>
                </a:lnSpc>
                <a:spcAft>
                  <a:spcPts val="600"/>
                </a:spcAft>
                <a:defRPr/>
              </a:pPr>
              <a:r>
                <a:rPr lang="en-US" sz="1000" b="1" err="1">
                  <a:solidFill>
                    <a:schemeClr val="tx1">
                      <a:lumMod val="85000"/>
                      <a:lumOff val="15000"/>
                    </a:schemeClr>
                  </a:solidFill>
                  <a:ea typeface="Lato Light" panose="020F0502020204030203" pitchFamily="34" charset="0"/>
                </a:rPr>
                <a:t>Seran</a:t>
              </a:r>
              <a:r>
                <a:rPr lang="en-US" sz="1000" b="1">
                  <a:solidFill>
                    <a:schemeClr val="tx1">
                      <a:lumMod val="85000"/>
                      <a:lumOff val="15000"/>
                    </a:schemeClr>
                  </a:solidFill>
                  <a:ea typeface="Lato Light" panose="020F0502020204030203" pitchFamily="34" charset="0"/>
                </a:rPr>
                <a:t> Biosciences </a:t>
              </a:r>
              <a:r>
                <a:rPr lang="en-US" sz="1000">
                  <a:solidFill>
                    <a:schemeClr val="tx1">
                      <a:lumMod val="85000"/>
                      <a:lumOff val="15000"/>
                    </a:schemeClr>
                  </a:solidFill>
                  <a:ea typeface="Lato Light" panose="020F0502020204030203" pitchFamily="34" charset="0"/>
                </a:rPr>
                <a:t>(Bain Capital)</a:t>
              </a:r>
            </a:p>
            <a:p>
              <a:pPr defTabSz="1087636">
                <a:lnSpc>
                  <a:spcPct val="90000"/>
                </a:lnSpc>
                <a:spcAft>
                  <a:spcPts val="600"/>
                </a:spcAft>
                <a:defRPr/>
              </a:pPr>
              <a:r>
                <a:rPr lang="en-US" sz="1000" b="1" err="1">
                  <a:solidFill>
                    <a:schemeClr val="tx1">
                      <a:lumMod val="85000"/>
                      <a:lumOff val="15000"/>
                    </a:schemeClr>
                  </a:solidFill>
                  <a:ea typeface="Lato Light" panose="020F0502020204030203" pitchFamily="34" charset="0"/>
                </a:rPr>
                <a:t>Suven</a:t>
              </a:r>
              <a:r>
                <a:rPr lang="en-US" sz="1000" b="1">
                  <a:solidFill>
                    <a:schemeClr val="tx1">
                      <a:lumMod val="85000"/>
                      <a:lumOff val="15000"/>
                    </a:schemeClr>
                  </a:solidFill>
                  <a:ea typeface="Lato Light" panose="020F0502020204030203" pitchFamily="34" charset="0"/>
                </a:rPr>
                <a:t> Pharmaceuticals / </a:t>
              </a:r>
              <a:r>
                <a:rPr lang="en-US" sz="1000" b="1" err="1">
                  <a:solidFill>
                    <a:schemeClr val="tx1">
                      <a:lumMod val="85000"/>
                      <a:lumOff val="15000"/>
                    </a:schemeClr>
                  </a:solidFill>
                  <a:ea typeface="Lato Light" panose="020F0502020204030203" pitchFamily="34" charset="0"/>
                </a:rPr>
                <a:t>Cohance</a:t>
              </a:r>
              <a:r>
                <a:rPr lang="en-US" sz="1000" b="1">
                  <a:solidFill>
                    <a:schemeClr val="tx1">
                      <a:lumMod val="85000"/>
                      <a:lumOff val="15000"/>
                    </a:schemeClr>
                  </a:solidFill>
                  <a:ea typeface="Lato Light" panose="020F0502020204030203" pitchFamily="34" charset="0"/>
                </a:rPr>
                <a:t> Lifesciences </a:t>
              </a:r>
              <a:r>
                <a:rPr lang="en-US" sz="1000">
                  <a:solidFill>
                    <a:schemeClr val="tx1">
                      <a:lumMod val="85000"/>
                      <a:lumOff val="15000"/>
                    </a:schemeClr>
                  </a:solidFill>
                  <a:ea typeface="Lato Light" panose="020F0502020204030203" pitchFamily="34" charset="0"/>
                </a:rPr>
                <a:t>(</a:t>
              </a:r>
              <a:r>
                <a:rPr lang="en-US" sz="1000" err="1">
                  <a:solidFill>
                    <a:schemeClr val="tx1">
                      <a:lumMod val="85000"/>
                      <a:lumOff val="15000"/>
                    </a:schemeClr>
                  </a:solidFill>
                  <a:ea typeface="Lato Light" panose="020F0502020204030203" pitchFamily="34" charset="0"/>
                </a:rPr>
                <a:t>Adven</a:t>
              </a:r>
              <a:r>
                <a:rPr lang="en-US" sz="1000">
                  <a:solidFill>
                    <a:schemeClr val="tx1">
                      <a:lumMod val="85000"/>
                      <a:lumOff val="15000"/>
                    </a:schemeClr>
                  </a:solidFill>
                  <a:ea typeface="Lato Light" panose="020F0502020204030203" pitchFamily="34" charset="0"/>
                </a:rPr>
                <a:t> International)</a:t>
              </a:r>
            </a:p>
            <a:p>
              <a:pPr defTabSz="1087636">
                <a:lnSpc>
                  <a:spcPct val="90000"/>
                </a:lnSpc>
                <a:spcAft>
                  <a:spcPts val="600"/>
                </a:spcAft>
                <a:buFont typeface="Arial"/>
                <a:buNone/>
                <a:defRPr/>
              </a:pPr>
              <a:endParaRPr lang="en-US" sz="1000">
                <a:solidFill>
                  <a:schemeClr val="tx1">
                    <a:lumMod val="85000"/>
                    <a:lumOff val="15000"/>
                  </a:schemeClr>
                </a:solidFill>
                <a:ea typeface="Lato Light" panose="020F0502020204030203" pitchFamily="34" charset="0"/>
              </a:endParaRPr>
            </a:p>
          </p:txBody>
        </p: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40FD62B0-BDCE-455E-BE0E-56FB5A347F3F}"/>
                </a:ext>
              </a:extLst>
            </p:cNvPr>
            <p:cNvCxnSpPr>
              <a:cxnSpLocks/>
            </p:cNvCxnSpPr>
            <p:nvPr/>
          </p:nvCxnSpPr>
          <p:spPr>
            <a:xfrm>
              <a:off x="9482682" y="1840938"/>
              <a:ext cx="2141072" cy="0"/>
            </a:xfrm>
            <a:prstGeom prst="line">
              <a:avLst/>
            </a:prstGeom>
            <a:ln w="12700">
              <a:solidFill>
                <a:schemeClr val="accent1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720F430D-964C-49F0-9AD8-3704C99818A9}"/>
                </a:ext>
              </a:extLst>
            </p:cNvPr>
            <p:cNvCxnSpPr>
              <a:cxnSpLocks/>
            </p:cNvCxnSpPr>
            <p:nvPr/>
          </p:nvCxnSpPr>
          <p:spPr>
            <a:xfrm>
              <a:off x="9482682" y="5284681"/>
              <a:ext cx="2141072" cy="0"/>
            </a:xfrm>
            <a:prstGeom prst="line">
              <a:avLst/>
            </a:prstGeom>
            <a:ln w="12700">
              <a:solidFill>
                <a:schemeClr val="accent1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79B3AAD9-4753-4634-9220-1ECD4382A62D}"/>
              </a:ext>
            </a:extLst>
          </p:cNvPr>
          <p:cNvGrpSpPr/>
          <p:nvPr/>
        </p:nvGrpSpPr>
        <p:grpSpPr>
          <a:xfrm>
            <a:off x="559550" y="1840938"/>
            <a:ext cx="2148840" cy="3443748"/>
            <a:chOff x="554737" y="1840938"/>
            <a:chExt cx="2148840" cy="3443748"/>
          </a:xfrm>
        </p:grpSpPr>
        <p:sp>
          <p:nvSpPr>
            <p:cNvPr id="25" name="Rounded Rectangle 33">
              <a:extLst>
                <a:ext uri="{FF2B5EF4-FFF2-40B4-BE49-F238E27FC236}">
                  <a16:creationId xmlns:a16="http://schemas.microsoft.com/office/drawing/2014/main" id="{99042784-482A-C87F-F36D-154CCC070A63}"/>
                </a:ext>
              </a:extLst>
            </p:cNvPr>
            <p:cNvSpPr/>
            <p:nvPr/>
          </p:nvSpPr>
          <p:spPr>
            <a:xfrm>
              <a:off x="554737" y="1840939"/>
              <a:ext cx="2148840" cy="3443747"/>
            </a:xfrm>
            <a:prstGeom prst="rect">
              <a:avLst/>
            </a:prstGeom>
            <a:solidFill>
              <a:srgbClr val="F2F2F2"/>
            </a:solidFill>
            <a:effectLst/>
          </p:spPr>
          <p:txBody>
            <a:bodyPr lIns="137160" tIns="91440" rIns="137160" bIns="91440" anchor="t">
              <a:noAutofit/>
            </a:bodyPr>
            <a:lstStyle/>
            <a:p>
              <a:pPr marL="0" marR="0" lvl="0" indent="0" algn="l" defTabSz="1087636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err="1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ea typeface="Lato Light" panose="020F0502020204030203" pitchFamily="34" charset="0"/>
                  <a:cs typeface="+mn-cs"/>
                </a:rPr>
                <a:t>Syneo</a:t>
              </a: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ea typeface="Lato Light" panose="020F0502020204030203" pitchFamily="34" charset="0"/>
                  <a:cs typeface="+mn-cs"/>
                </a:rPr>
                <a:t> </a:t>
              </a: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ea typeface="Lato Light" panose="020F0502020204030203" pitchFamily="34" charset="0"/>
                  <a:cs typeface="+mn-cs"/>
                </a:rPr>
                <a:t>(</a:t>
              </a:r>
              <a:r>
                <a:rPr kumimoji="0" lang="en-US" sz="1000" b="0" i="0" u="none" strike="noStrike" kern="1200" cap="none" spc="0" normalizeH="0" baseline="0" noProof="0" err="1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ea typeface="Lato Light" panose="020F0502020204030203" pitchFamily="34" charset="0"/>
                  <a:cs typeface="+mn-cs"/>
                </a:rPr>
                <a:t>Arcline</a:t>
              </a: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ea typeface="Lato Light" panose="020F0502020204030203" pitchFamily="34" charset="0"/>
                  <a:cs typeface="+mn-cs"/>
                </a:rPr>
                <a:t>)</a:t>
              </a:r>
            </a:p>
            <a:p>
              <a:pPr marL="0" marR="0" lvl="0" indent="0" algn="l" defTabSz="1087636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err="1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ea typeface="Lato Light" panose="020F0502020204030203" pitchFamily="34" charset="0"/>
                  <a:cs typeface="+mn-cs"/>
                </a:rPr>
                <a:t>Velosity</a:t>
              </a: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ea typeface="Lato Light" panose="020F0502020204030203" pitchFamily="34" charset="0"/>
                  <a:cs typeface="+mn-cs"/>
                </a:rPr>
                <a:t> </a:t>
              </a: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ea typeface="Lato Light" panose="020F0502020204030203" pitchFamily="34" charset="0"/>
                  <a:cs typeface="+mn-cs"/>
                </a:rPr>
                <a:t>(Graham Partners)</a:t>
              </a:r>
            </a:p>
            <a:p>
              <a:pPr marL="0" marR="0" lvl="0" indent="0" algn="l" defTabSz="1087636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err="1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ea typeface="Lato Light" panose="020F0502020204030203" pitchFamily="34" charset="0"/>
                  <a:cs typeface="+mn-cs"/>
                </a:rPr>
                <a:t>Wytech</a:t>
              </a: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ea typeface="Lato Light" panose="020F0502020204030203" pitchFamily="34" charset="0"/>
                  <a:cs typeface="+mn-cs"/>
                </a:rPr>
                <a:t> </a:t>
              </a: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ea typeface="Lato Light" panose="020F0502020204030203" pitchFamily="34" charset="0"/>
                  <a:cs typeface="+mn-cs"/>
                </a:rPr>
                <a:t>(Vance Street)</a:t>
              </a:r>
            </a:p>
            <a:p>
              <a:pPr marL="0" marR="0" lvl="0" indent="0" algn="l" defTabSz="1087636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ea typeface="Lato Light" panose="020F0502020204030203" pitchFamily="34" charset="0"/>
                  <a:cs typeface="+mn-cs"/>
                </a:rPr>
                <a:t>CMD</a:t>
              </a: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ea typeface="Lato Light" panose="020F0502020204030203" pitchFamily="34" charset="0"/>
                  <a:cs typeface="+mn-cs"/>
                </a:rPr>
                <a:t> (Inverness Graham)</a:t>
              </a:r>
            </a:p>
            <a:p>
              <a:pPr marL="0" marR="0" lvl="0" indent="0" algn="l" defTabSz="1087636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ea typeface="Lato Light" panose="020F0502020204030203" pitchFamily="34" charset="0"/>
                  <a:cs typeface="+mn-cs"/>
                </a:rPr>
                <a:t>RTI Surgical</a:t>
              </a: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ea typeface="Lato Light" panose="020F0502020204030203" pitchFamily="34" charset="0"/>
                  <a:cs typeface="+mn-cs"/>
                </a:rPr>
                <a:t> (Montagu)</a:t>
              </a:r>
              <a:endParaRPr lang="en-US" sz="1000">
                <a:solidFill>
                  <a:schemeClr val="tx1">
                    <a:lumMod val="85000"/>
                    <a:lumOff val="15000"/>
                  </a:schemeClr>
                </a:solidFill>
                <a:ea typeface="Lato Light" panose="020F0502020204030203" pitchFamily="34" charset="0"/>
              </a:endParaRPr>
            </a:p>
          </p:txBody>
        </p: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7AAE2B19-402F-4356-8054-920DFC3C8F25}"/>
                </a:ext>
              </a:extLst>
            </p:cNvPr>
            <p:cNvCxnSpPr>
              <a:cxnSpLocks/>
            </p:cNvCxnSpPr>
            <p:nvPr/>
          </p:nvCxnSpPr>
          <p:spPr>
            <a:xfrm>
              <a:off x="558621" y="1840938"/>
              <a:ext cx="2141072" cy="0"/>
            </a:xfrm>
            <a:prstGeom prst="line">
              <a:avLst/>
            </a:prstGeom>
            <a:ln w="12700">
              <a:solidFill>
                <a:schemeClr val="accent1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8C9272B4-8EF8-4653-9A70-CF520F63FBC2}"/>
                </a:ext>
              </a:extLst>
            </p:cNvPr>
            <p:cNvCxnSpPr>
              <a:cxnSpLocks/>
            </p:cNvCxnSpPr>
            <p:nvPr/>
          </p:nvCxnSpPr>
          <p:spPr>
            <a:xfrm>
              <a:off x="558621" y="5284681"/>
              <a:ext cx="2141072" cy="0"/>
            </a:xfrm>
            <a:prstGeom prst="line">
              <a:avLst/>
            </a:prstGeom>
            <a:ln w="12700">
              <a:solidFill>
                <a:schemeClr val="accent1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D806DD85-D949-4A9A-8F1C-AEC92529FDBC}"/>
              </a:ext>
            </a:extLst>
          </p:cNvPr>
          <p:cNvGrpSpPr/>
          <p:nvPr/>
        </p:nvGrpSpPr>
        <p:grpSpPr>
          <a:xfrm>
            <a:off x="2790565" y="1840938"/>
            <a:ext cx="2148840" cy="3443743"/>
            <a:chOff x="2788999" y="1840938"/>
            <a:chExt cx="2148840" cy="3443743"/>
          </a:xfrm>
        </p:grpSpPr>
        <p:sp>
          <p:nvSpPr>
            <p:cNvPr id="36" name="Rounded Rectangle 34">
              <a:extLst>
                <a:ext uri="{FF2B5EF4-FFF2-40B4-BE49-F238E27FC236}">
                  <a16:creationId xmlns:a16="http://schemas.microsoft.com/office/drawing/2014/main" id="{8ACA0736-4505-12FC-AE06-7FAA6C7BFE22}"/>
                </a:ext>
              </a:extLst>
            </p:cNvPr>
            <p:cNvSpPr/>
            <p:nvPr/>
          </p:nvSpPr>
          <p:spPr>
            <a:xfrm>
              <a:off x="2788999" y="1840938"/>
              <a:ext cx="2148840" cy="3443743"/>
            </a:xfrm>
            <a:prstGeom prst="rect">
              <a:avLst/>
            </a:prstGeom>
            <a:solidFill>
              <a:srgbClr val="F2F2F2"/>
            </a:solidFill>
            <a:effectLst/>
          </p:spPr>
          <p:txBody>
            <a:bodyPr lIns="137160" tIns="91440" rIns="137160" bIns="91440" anchor="t">
              <a:noAutofit/>
            </a:bodyPr>
            <a:lstStyle/>
            <a:p>
              <a:pPr defTabSz="1087636">
                <a:lnSpc>
                  <a:spcPct val="90000"/>
                </a:lnSpc>
                <a:spcAft>
                  <a:spcPts val="600"/>
                </a:spcAft>
                <a:buFont typeface="Arial"/>
                <a:buNone/>
                <a:defRPr/>
              </a:pPr>
              <a:r>
                <a:rPr lang="en-US" sz="1000" b="1">
                  <a:solidFill>
                    <a:schemeClr val="tx1">
                      <a:lumMod val="85000"/>
                      <a:lumOff val="15000"/>
                    </a:schemeClr>
                  </a:solidFill>
                  <a:ea typeface="Lato Light" panose="020F0502020204030203" pitchFamily="34" charset="0"/>
                </a:rPr>
                <a:t>Intech </a:t>
              </a:r>
              <a:r>
                <a:rPr lang="en-US" sz="1000">
                  <a:solidFill>
                    <a:schemeClr val="tx1">
                      <a:lumMod val="85000"/>
                      <a:lumOff val="15000"/>
                    </a:schemeClr>
                  </a:solidFill>
                  <a:ea typeface="Lato Light" panose="020F0502020204030203" pitchFamily="34" charset="0"/>
                </a:rPr>
                <a:t>(Montagu)</a:t>
              </a:r>
            </a:p>
            <a:p>
              <a:pPr defTabSz="1087636">
                <a:lnSpc>
                  <a:spcPct val="90000"/>
                </a:lnSpc>
                <a:spcAft>
                  <a:spcPts val="600"/>
                </a:spcAft>
                <a:buFont typeface="Arial"/>
                <a:buNone/>
                <a:defRPr/>
              </a:pPr>
              <a:r>
                <a:rPr lang="en-US" sz="1000" b="1" err="1">
                  <a:solidFill>
                    <a:schemeClr val="tx1">
                      <a:lumMod val="85000"/>
                      <a:lumOff val="15000"/>
                    </a:schemeClr>
                  </a:solidFill>
                  <a:ea typeface="Lato Light" panose="020F0502020204030203" pitchFamily="34" charset="0"/>
                </a:rPr>
                <a:t>Jecture</a:t>
              </a:r>
              <a:r>
                <a:rPr lang="en-US" sz="1000" b="1">
                  <a:solidFill>
                    <a:schemeClr val="tx1">
                      <a:lumMod val="85000"/>
                      <a:lumOff val="15000"/>
                    </a:schemeClr>
                  </a:solidFill>
                  <a:ea typeface="Lato Light" panose="020F0502020204030203" pitchFamily="34" charset="0"/>
                </a:rPr>
                <a:t> </a:t>
              </a:r>
              <a:r>
                <a:rPr lang="en-US" sz="1000">
                  <a:solidFill>
                    <a:schemeClr val="tx1">
                      <a:lumMod val="85000"/>
                      <a:lumOff val="15000"/>
                    </a:schemeClr>
                  </a:solidFill>
                  <a:ea typeface="Lato Light" panose="020F0502020204030203" pitchFamily="34" charset="0"/>
                </a:rPr>
                <a:t>(Glide Healthcare)</a:t>
              </a:r>
            </a:p>
            <a:p>
              <a:pPr defTabSz="1087636">
                <a:lnSpc>
                  <a:spcPct val="90000"/>
                </a:lnSpc>
                <a:spcAft>
                  <a:spcPts val="600"/>
                </a:spcAft>
                <a:buFont typeface="Arial"/>
                <a:buNone/>
                <a:defRPr/>
              </a:pPr>
              <a:r>
                <a:rPr lang="en-US" sz="1000" b="1" err="1">
                  <a:solidFill>
                    <a:schemeClr val="tx1">
                      <a:lumMod val="85000"/>
                      <a:lumOff val="15000"/>
                    </a:schemeClr>
                  </a:solidFill>
                  <a:ea typeface="Lato Light" panose="020F0502020204030203" pitchFamily="34" charset="0"/>
                </a:rPr>
                <a:t>Addman</a:t>
              </a:r>
              <a:r>
                <a:rPr lang="en-US" sz="1000" b="1">
                  <a:solidFill>
                    <a:schemeClr val="tx1">
                      <a:lumMod val="85000"/>
                      <a:lumOff val="15000"/>
                    </a:schemeClr>
                  </a:solidFill>
                  <a:ea typeface="Lato Light" panose="020F0502020204030203" pitchFamily="34" charset="0"/>
                </a:rPr>
                <a:t> </a:t>
              </a:r>
              <a:r>
                <a:rPr lang="en-US" sz="1000">
                  <a:solidFill>
                    <a:schemeClr val="tx1">
                      <a:lumMod val="85000"/>
                      <a:lumOff val="15000"/>
                    </a:schemeClr>
                  </a:solidFill>
                  <a:ea typeface="Lato Light" panose="020F0502020204030203" pitchFamily="34" charset="0"/>
                </a:rPr>
                <a:t>(AIP)</a:t>
              </a:r>
            </a:p>
            <a:p>
              <a:pPr defTabSz="1087636">
                <a:lnSpc>
                  <a:spcPct val="90000"/>
                </a:lnSpc>
                <a:spcAft>
                  <a:spcPts val="600"/>
                </a:spcAft>
                <a:buFont typeface="Arial"/>
                <a:buNone/>
                <a:defRPr/>
              </a:pPr>
              <a:r>
                <a:rPr lang="en-US" sz="1000" b="1">
                  <a:solidFill>
                    <a:schemeClr val="tx1">
                      <a:lumMod val="85000"/>
                      <a:lumOff val="15000"/>
                    </a:schemeClr>
                  </a:solidFill>
                  <a:ea typeface="Lato Light" panose="020F0502020204030203" pitchFamily="34" charset="0"/>
                </a:rPr>
                <a:t>Willow Wood </a:t>
              </a:r>
              <a:r>
                <a:rPr lang="en-US" sz="1000">
                  <a:solidFill>
                    <a:schemeClr val="tx1">
                      <a:lumMod val="85000"/>
                      <a:lumOff val="15000"/>
                    </a:schemeClr>
                  </a:solidFill>
                  <a:ea typeface="Lato Light" panose="020F0502020204030203" pitchFamily="34" charset="0"/>
                </a:rPr>
                <a:t>(Blue Sea)</a:t>
              </a:r>
            </a:p>
            <a:p>
              <a:pPr defTabSz="1087636">
                <a:lnSpc>
                  <a:spcPct val="90000"/>
                </a:lnSpc>
                <a:spcAft>
                  <a:spcPts val="600"/>
                </a:spcAft>
                <a:buFont typeface="Arial"/>
                <a:buNone/>
                <a:defRPr/>
              </a:pPr>
              <a:r>
                <a:rPr lang="en-US" sz="1000" b="1">
                  <a:solidFill>
                    <a:schemeClr val="tx1">
                      <a:lumMod val="85000"/>
                      <a:lumOff val="15000"/>
                    </a:schemeClr>
                  </a:solidFill>
                  <a:ea typeface="Lato Light" panose="020F0502020204030203" pitchFamily="34" charset="0"/>
                </a:rPr>
                <a:t>Sanner </a:t>
              </a:r>
              <a:r>
                <a:rPr lang="en-US" sz="1000">
                  <a:solidFill>
                    <a:schemeClr val="tx1">
                      <a:lumMod val="85000"/>
                      <a:lumOff val="15000"/>
                    </a:schemeClr>
                  </a:solidFill>
                  <a:ea typeface="Lato Light" panose="020F0502020204030203" pitchFamily="34" charset="0"/>
                </a:rPr>
                <a:t>(GHG Capital)</a:t>
              </a:r>
            </a:p>
            <a:p>
              <a:pPr defTabSz="1087636">
                <a:lnSpc>
                  <a:spcPct val="90000"/>
                </a:lnSpc>
                <a:spcAft>
                  <a:spcPts val="600"/>
                </a:spcAft>
                <a:buFont typeface="Arial"/>
                <a:buNone/>
                <a:defRPr/>
              </a:pPr>
              <a:r>
                <a:rPr lang="en-US" sz="1000" b="1" spc="-30">
                  <a:solidFill>
                    <a:schemeClr val="tx1">
                      <a:lumMod val="85000"/>
                      <a:lumOff val="15000"/>
                    </a:schemeClr>
                  </a:solidFill>
                  <a:ea typeface="Lato Light" panose="020F0502020204030203" pitchFamily="34" charset="0"/>
                </a:rPr>
                <a:t>CGI Automated </a:t>
              </a:r>
              <a:r>
                <a:rPr lang="en-US" sz="1000" spc="-30">
                  <a:solidFill>
                    <a:schemeClr val="tx1">
                      <a:lumMod val="85000"/>
                      <a:lumOff val="15000"/>
                    </a:schemeClr>
                  </a:solidFill>
                  <a:ea typeface="Lato Light" panose="020F0502020204030203" pitchFamily="34" charset="0"/>
                </a:rPr>
                <a:t>(CORE Industrial)</a:t>
              </a:r>
            </a:p>
            <a:p>
              <a:pPr defTabSz="1087636">
                <a:lnSpc>
                  <a:spcPct val="90000"/>
                </a:lnSpc>
                <a:spcAft>
                  <a:spcPts val="600"/>
                </a:spcAft>
                <a:buFont typeface="Arial"/>
                <a:buNone/>
                <a:defRPr/>
              </a:pPr>
              <a:r>
                <a:rPr lang="en-US" sz="1000" b="1" err="1">
                  <a:solidFill>
                    <a:schemeClr val="tx1">
                      <a:lumMod val="85000"/>
                      <a:lumOff val="15000"/>
                    </a:schemeClr>
                  </a:solidFill>
                  <a:ea typeface="Lato Light" panose="020F0502020204030203" pitchFamily="34" charset="0"/>
                </a:rPr>
                <a:t>Unisyn</a:t>
              </a:r>
              <a:r>
                <a:rPr lang="en-US" sz="1000">
                  <a:solidFill>
                    <a:schemeClr val="tx1">
                      <a:lumMod val="85000"/>
                      <a:lumOff val="15000"/>
                    </a:schemeClr>
                  </a:solidFill>
                  <a:ea typeface="Lato Light" panose="020F0502020204030203" pitchFamily="34" charset="0"/>
                </a:rPr>
                <a:t> (AEA)</a:t>
              </a:r>
            </a:p>
            <a:p>
              <a:pPr defTabSz="1087636">
                <a:lnSpc>
                  <a:spcPct val="90000"/>
                </a:lnSpc>
                <a:spcAft>
                  <a:spcPts val="600"/>
                </a:spcAft>
                <a:buFont typeface="Arial"/>
                <a:buNone/>
                <a:defRPr/>
              </a:pPr>
              <a:r>
                <a:rPr lang="en-US" sz="1000" b="1">
                  <a:solidFill>
                    <a:schemeClr val="tx1">
                      <a:lumMod val="85000"/>
                      <a:lumOff val="15000"/>
                    </a:schemeClr>
                  </a:solidFill>
                  <a:ea typeface="Lato Light" panose="020F0502020204030203" pitchFamily="34" charset="0"/>
                </a:rPr>
                <a:t>Resolution Medical </a:t>
              </a:r>
              <a:r>
                <a:rPr lang="en-US" sz="1000">
                  <a:solidFill>
                    <a:schemeClr val="tx1">
                      <a:lumMod val="85000"/>
                      <a:lumOff val="15000"/>
                    </a:schemeClr>
                  </a:solidFill>
                  <a:ea typeface="Lato Light" panose="020F0502020204030203" pitchFamily="34" charset="0"/>
                </a:rPr>
                <a:t>(</a:t>
              </a:r>
              <a:r>
                <a:rPr lang="en-US" sz="1000" err="1">
                  <a:solidFill>
                    <a:schemeClr val="tx1">
                      <a:lumMod val="85000"/>
                      <a:lumOff val="15000"/>
                    </a:schemeClr>
                  </a:solidFill>
                  <a:ea typeface="Lato Light" panose="020F0502020204030203" pitchFamily="34" charset="0"/>
                </a:rPr>
                <a:t>Arcline</a:t>
              </a:r>
              <a:r>
                <a:rPr lang="en-US" sz="1000">
                  <a:solidFill>
                    <a:schemeClr val="tx1">
                      <a:lumMod val="85000"/>
                      <a:lumOff val="15000"/>
                    </a:schemeClr>
                  </a:solidFill>
                  <a:ea typeface="Lato Light" panose="020F0502020204030203" pitchFamily="34" charset="0"/>
                </a:rPr>
                <a:t>)</a:t>
              </a:r>
            </a:p>
            <a:p>
              <a:pPr defTabSz="1087636">
                <a:lnSpc>
                  <a:spcPct val="90000"/>
                </a:lnSpc>
                <a:spcAft>
                  <a:spcPts val="600"/>
                </a:spcAft>
                <a:buFont typeface="Arial"/>
                <a:buNone/>
                <a:defRPr/>
              </a:pPr>
              <a:r>
                <a:rPr lang="en-US" sz="1000" b="1" err="1">
                  <a:solidFill>
                    <a:schemeClr val="tx1">
                      <a:lumMod val="85000"/>
                      <a:lumOff val="15000"/>
                    </a:schemeClr>
                  </a:solidFill>
                  <a:ea typeface="Lato Light" panose="020F0502020204030203" pitchFamily="34" charset="0"/>
                </a:rPr>
                <a:t>Velentium</a:t>
              </a:r>
              <a:r>
                <a:rPr lang="en-US" sz="1000">
                  <a:solidFill>
                    <a:schemeClr val="tx1">
                      <a:lumMod val="85000"/>
                      <a:lumOff val="15000"/>
                    </a:schemeClr>
                  </a:solidFill>
                  <a:ea typeface="Lato Light" panose="020F0502020204030203" pitchFamily="34" charset="0"/>
                </a:rPr>
                <a:t> (Great Point)</a:t>
              </a:r>
            </a:p>
            <a:p>
              <a:pPr defTabSz="1087636">
                <a:lnSpc>
                  <a:spcPct val="90000"/>
                </a:lnSpc>
                <a:spcAft>
                  <a:spcPts val="600"/>
                </a:spcAft>
                <a:buFont typeface="Arial"/>
                <a:buNone/>
                <a:defRPr/>
              </a:pPr>
              <a:r>
                <a:rPr lang="en-US" sz="1000" b="1">
                  <a:solidFill>
                    <a:schemeClr val="tx1">
                      <a:lumMod val="85000"/>
                      <a:lumOff val="15000"/>
                    </a:schemeClr>
                  </a:solidFill>
                  <a:ea typeface="Lato Light" panose="020F0502020204030203" pitchFamily="34" charset="0"/>
                </a:rPr>
                <a:t>Arch</a:t>
              </a:r>
              <a:r>
                <a:rPr lang="en-US" sz="1000">
                  <a:solidFill>
                    <a:schemeClr val="tx1">
                      <a:lumMod val="85000"/>
                      <a:lumOff val="15000"/>
                    </a:schemeClr>
                  </a:solidFill>
                  <a:ea typeface="Lato Light" panose="020F0502020204030203" pitchFamily="34" charset="0"/>
                </a:rPr>
                <a:t> (MDP)</a:t>
              </a:r>
            </a:p>
            <a:p>
              <a:pPr defTabSz="1087636">
                <a:lnSpc>
                  <a:spcPct val="90000"/>
                </a:lnSpc>
                <a:spcAft>
                  <a:spcPts val="600"/>
                </a:spcAft>
                <a:buFont typeface="Arial"/>
                <a:buNone/>
                <a:defRPr/>
              </a:pPr>
              <a:r>
                <a:rPr lang="en-US" sz="1000" b="1" err="1">
                  <a:solidFill>
                    <a:schemeClr val="tx1">
                      <a:lumMod val="85000"/>
                      <a:lumOff val="15000"/>
                    </a:schemeClr>
                  </a:solidFill>
                  <a:ea typeface="Lato Light" panose="020F0502020204030203" pitchFamily="34" charset="0"/>
                </a:rPr>
                <a:t>Resonetics</a:t>
              </a:r>
              <a:r>
                <a:rPr lang="en-US" sz="1000">
                  <a:solidFill>
                    <a:schemeClr val="tx1">
                      <a:lumMod val="85000"/>
                      <a:lumOff val="15000"/>
                    </a:schemeClr>
                  </a:solidFill>
                  <a:ea typeface="Lato Light" panose="020F0502020204030203" pitchFamily="34" charset="0"/>
                </a:rPr>
                <a:t> (Carlyle)</a:t>
              </a:r>
            </a:p>
            <a:p>
              <a:pPr defTabSz="1087636">
                <a:lnSpc>
                  <a:spcPct val="90000"/>
                </a:lnSpc>
                <a:spcAft>
                  <a:spcPts val="600"/>
                </a:spcAft>
                <a:buFont typeface="Arial"/>
                <a:buNone/>
                <a:defRPr/>
              </a:pPr>
              <a:r>
                <a:rPr lang="en-US" sz="1000" b="1">
                  <a:solidFill>
                    <a:schemeClr val="tx1">
                      <a:lumMod val="85000"/>
                      <a:lumOff val="15000"/>
                    </a:schemeClr>
                  </a:solidFill>
                  <a:ea typeface="Lato Light" panose="020F0502020204030203" pitchFamily="34" charset="0"/>
                </a:rPr>
                <a:t>PDC</a:t>
              </a:r>
              <a:r>
                <a:rPr lang="en-US" sz="1000">
                  <a:solidFill>
                    <a:schemeClr val="tx1">
                      <a:lumMod val="85000"/>
                      <a:lumOff val="15000"/>
                    </a:schemeClr>
                  </a:solidFill>
                  <a:ea typeface="Lato Light" panose="020F0502020204030203" pitchFamily="34" charset="0"/>
                </a:rPr>
                <a:t> (Vance Street)</a:t>
              </a:r>
            </a:p>
            <a:p>
              <a:pPr defTabSz="1087636">
                <a:lnSpc>
                  <a:spcPct val="90000"/>
                </a:lnSpc>
                <a:spcAft>
                  <a:spcPts val="600"/>
                </a:spcAft>
                <a:buFont typeface="Arial"/>
                <a:buNone/>
                <a:defRPr/>
              </a:pPr>
              <a:r>
                <a:rPr lang="en-US" sz="1000" b="1" err="1">
                  <a:solidFill>
                    <a:schemeClr val="tx1">
                      <a:lumMod val="85000"/>
                      <a:lumOff val="15000"/>
                    </a:schemeClr>
                  </a:solidFill>
                  <a:ea typeface="Lato Light" panose="020F0502020204030203" pitchFamily="34" charset="0"/>
                </a:rPr>
                <a:t>Arcotech</a:t>
              </a:r>
              <a:r>
                <a:rPr lang="en-US" sz="1000">
                  <a:solidFill>
                    <a:schemeClr val="tx1">
                      <a:lumMod val="85000"/>
                      <a:lumOff val="15000"/>
                    </a:schemeClr>
                  </a:solidFill>
                  <a:ea typeface="Lato Light" panose="020F0502020204030203" pitchFamily="34" charset="0"/>
                </a:rPr>
                <a:t> (Carlyle)</a:t>
              </a:r>
            </a:p>
            <a:p>
              <a:pPr defTabSz="1087636">
                <a:lnSpc>
                  <a:spcPct val="90000"/>
                </a:lnSpc>
                <a:spcAft>
                  <a:spcPts val="600"/>
                </a:spcAft>
                <a:buFont typeface="Arial"/>
                <a:buNone/>
                <a:defRPr/>
              </a:pPr>
              <a:r>
                <a:rPr lang="en-US" sz="1000" b="1">
                  <a:solidFill>
                    <a:schemeClr val="tx1">
                      <a:lumMod val="85000"/>
                      <a:lumOff val="15000"/>
                    </a:schemeClr>
                  </a:solidFill>
                  <a:ea typeface="Lato Light" panose="020F0502020204030203" pitchFamily="34" charset="0"/>
                </a:rPr>
                <a:t>Life Science Outsourcing </a:t>
              </a:r>
              <a:r>
                <a:rPr lang="en-US" sz="1000">
                  <a:solidFill>
                    <a:schemeClr val="tx1">
                      <a:lumMod val="85000"/>
                      <a:lumOff val="15000"/>
                    </a:schemeClr>
                  </a:solidFill>
                  <a:ea typeface="Lato Light" panose="020F0502020204030203" pitchFamily="34" charset="0"/>
                </a:rPr>
                <a:t>(PPC)</a:t>
              </a:r>
            </a:p>
            <a:p>
              <a:pPr defTabSz="1087636">
                <a:lnSpc>
                  <a:spcPct val="90000"/>
                </a:lnSpc>
                <a:spcAft>
                  <a:spcPts val="600"/>
                </a:spcAft>
                <a:buFont typeface="Arial"/>
                <a:buNone/>
                <a:defRPr/>
              </a:pPr>
              <a:r>
                <a:rPr lang="en-US" sz="1000" b="1">
                  <a:solidFill>
                    <a:schemeClr val="tx1">
                      <a:lumMod val="85000"/>
                      <a:lumOff val="15000"/>
                    </a:schemeClr>
                  </a:solidFill>
                  <a:ea typeface="Lato Light" panose="020F0502020204030203" pitchFamily="34" charset="0"/>
                </a:rPr>
                <a:t>Excel Scientific </a:t>
              </a:r>
              <a:r>
                <a:rPr lang="en-US" sz="1000">
                  <a:solidFill>
                    <a:schemeClr val="tx1">
                      <a:lumMod val="85000"/>
                      <a:lumOff val="15000"/>
                    </a:schemeClr>
                  </a:solidFill>
                  <a:ea typeface="Lato Light" panose="020F0502020204030203" pitchFamily="34" charset="0"/>
                </a:rPr>
                <a:t>(Vance Street)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ea typeface="Lato Light" panose="020F0502020204030203" pitchFamily="34" charset="0"/>
                <a:cs typeface="+mn-cs"/>
              </a:endParaRPr>
            </a:p>
          </p:txBody>
        </p: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877091BD-8571-43C4-8653-5CBD9A3A1082}"/>
                </a:ext>
              </a:extLst>
            </p:cNvPr>
            <p:cNvCxnSpPr>
              <a:cxnSpLocks/>
            </p:cNvCxnSpPr>
            <p:nvPr/>
          </p:nvCxnSpPr>
          <p:spPr>
            <a:xfrm>
              <a:off x="2792883" y="1840938"/>
              <a:ext cx="2141072" cy="0"/>
            </a:xfrm>
            <a:prstGeom prst="line">
              <a:avLst/>
            </a:prstGeom>
            <a:ln w="12700">
              <a:solidFill>
                <a:schemeClr val="accent1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1B3EAE14-517B-4D57-B511-A7B3D105C9BF}"/>
                </a:ext>
              </a:extLst>
            </p:cNvPr>
            <p:cNvCxnSpPr>
              <a:cxnSpLocks/>
            </p:cNvCxnSpPr>
            <p:nvPr/>
          </p:nvCxnSpPr>
          <p:spPr>
            <a:xfrm>
              <a:off x="2792883" y="5284681"/>
              <a:ext cx="2141072" cy="0"/>
            </a:xfrm>
            <a:prstGeom prst="line">
              <a:avLst/>
            </a:prstGeom>
            <a:ln w="12700">
              <a:solidFill>
                <a:schemeClr val="accent1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6F5C8629-1AFA-4131-AEBA-2B475CEABA23}"/>
              </a:ext>
            </a:extLst>
          </p:cNvPr>
          <p:cNvGrpSpPr/>
          <p:nvPr/>
        </p:nvGrpSpPr>
        <p:grpSpPr>
          <a:xfrm>
            <a:off x="5935650" y="5132388"/>
            <a:ext cx="320701" cy="320701"/>
            <a:chOff x="5567363" y="5132388"/>
            <a:chExt cx="320701" cy="320701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3AB3DE79-DCBF-4765-9EDF-A07AC7C441B0}"/>
                </a:ext>
              </a:extLst>
            </p:cNvPr>
            <p:cNvSpPr/>
            <p:nvPr/>
          </p:nvSpPr>
          <p:spPr>
            <a:xfrm>
              <a:off x="5567363" y="5132388"/>
              <a:ext cx="320701" cy="32070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C153870B-E6FE-428B-B247-A1B5CFC05822}"/>
                </a:ext>
              </a:extLst>
            </p:cNvPr>
            <p:cNvGrpSpPr/>
            <p:nvPr/>
          </p:nvGrpSpPr>
          <p:grpSpPr>
            <a:xfrm rot="5400000">
              <a:off x="5601953" y="5166978"/>
              <a:ext cx="251520" cy="251520"/>
              <a:chOff x="2844772" y="3673786"/>
              <a:chExt cx="376958" cy="376958"/>
            </a:xfrm>
          </p:grpSpPr>
          <p:sp>
            <p:nvSpPr>
              <p:cNvPr id="62" name="Oval 61">
                <a:extLst>
                  <a:ext uri="{FF2B5EF4-FFF2-40B4-BE49-F238E27FC236}">
                    <a16:creationId xmlns:a16="http://schemas.microsoft.com/office/drawing/2014/main" id="{71A5DF87-4677-4B87-AC68-DFC21123F3AB}"/>
                  </a:ext>
                </a:extLst>
              </p:cNvPr>
              <p:cNvSpPr/>
              <p:nvPr/>
            </p:nvSpPr>
            <p:spPr>
              <a:xfrm>
                <a:off x="2844772" y="3673786"/>
                <a:ext cx="376958" cy="376958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en-US" sz="1050">
                  <a:solidFill>
                    <a:schemeClr val="bg1"/>
                  </a:solidFill>
                </a:endParaRPr>
              </a:p>
            </p:txBody>
          </p:sp>
          <p:sp>
            <p:nvSpPr>
              <p:cNvPr id="63" name="Freeform 17">
                <a:extLst>
                  <a:ext uri="{FF2B5EF4-FFF2-40B4-BE49-F238E27FC236}">
                    <a16:creationId xmlns:a16="http://schemas.microsoft.com/office/drawing/2014/main" id="{C3177C40-2107-4DA4-9D54-7D2A7515E2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80548" y="3746501"/>
                <a:ext cx="149028" cy="231530"/>
              </a:xfrm>
              <a:custGeom>
                <a:avLst/>
                <a:gdLst>
                  <a:gd name="T0" fmla="*/ 263 w 1575"/>
                  <a:gd name="T1" fmla="*/ 2449 h 2449"/>
                  <a:gd name="T2" fmla="*/ 93 w 1575"/>
                  <a:gd name="T3" fmla="*/ 2379 h 2449"/>
                  <a:gd name="T4" fmla="*/ 93 w 1575"/>
                  <a:gd name="T5" fmla="*/ 2039 h 2449"/>
                  <a:gd name="T6" fmla="*/ 896 w 1575"/>
                  <a:gd name="T7" fmla="*/ 1236 h 2449"/>
                  <a:gd name="T8" fmla="*/ 93 w 1575"/>
                  <a:gd name="T9" fmla="*/ 433 h 2449"/>
                  <a:gd name="T10" fmla="*/ 93 w 1575"/>
                  <a:gd name="T11" fmla="*/ 94 h 2449"/>
                  <a:gd name="T12" fmla="*/ 433 w 1575"/>
                  <a:gd name="T13" fmla="*/ 94 h 2449"/>
                  <a:gd name="T14" fmla="*/ 1575 w 1575"/>
                  <a:gd name="T15" fmla="*/ 1236 h 2449"/>
                  <a:gd name="T16" fmla="*/ 433 w 1575"/>
                  <a:gd name="T17" fmla="*/ 2379 h 2449"/>
                  <a:gd name="T18" fmla="*/ 263 w 1575"/>
                  <a:gd name="T19" fmla="*/ 2449 h 24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75" h="2449">
                    <a:moveTo>
                      <a:pt x="263" y="2449"/>
                    </a:moveTo>
                    <a:cubicBezTo>
                      <a:pt x="202" y="2449"/>
                      <a:pt x="140" y="2425"/>
                      <a:pt x="93" y="2379"/>
                    </a:cubicBezTo>
                    <a:cubicBezTo>
                      <a:pt x="0" y="2285"/>
                      <a:pt x="0" y="2133"/>
                      <a:pt x="93" y="2039"/>
                    </a:cubicBezTo>
                    <a:cubicBezTo>
                      <a:pt x="896" y="1236"/>
                      <a:pt x="896" y="1236"/>
                      <a:pt x="896" y="1236"/>
                    </a:cubicBezTo>
                    <a:cubicBezTo>
                      <a:pt x="93" y="433"/>
                      <a:pt x="93" y="433"/>
                      <a:pt x="93" y="433"/>
                    </a:cubicBezTo>
                    <a:cubicBezTo>
                      <a:pt x="0" y="339"/>
                      <a:pt x="0" y="187"/>
                      <a:pt x="93" y="94"/>
                    </a:cubicBezTo>
                    <a:cubicBezTo>
                      <a:pt x="187" y="0"/>
                      <a:pt x="339" y="0"/>
                      <a:pt x="433" y="94"/>
                    </a:cubicBezTo>
                    <a:cubicBezTo>
                      <a:pt x="1575" y="1236"/>
                      <a:pt x="1575" y="1236"/>
                      <a:pt x="1575" y="1236"/>
                    </a:cubicBezTo>
                    <a:cubicBezTo>
                      <a:pt x="433" y="2379"/>
                      <a:pt x="433" y="2379"/>
                      <a:pt x="433" y="2379"/>
                    </a:cubicBezTo>
                    <a:cubicBezTo>
                      <a:pt x="386" y="2425"/>
                      <a:pt x="324" y="2449"/>
                      <a:pt x="263" y="2449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04A6FD3B-BE8D-4EA0-9564-CCBF693EE476}"/>
              </a:ext>
            </a:extLst>
          </p:cNvPr>
          <p:cNvGrpSpPr/>
          <p:nvPr/>
        </p:nvGrpSpPr>
        <p:grpSpPr>
          <a:xfrm>
            <a:off x="8166665" y="5132388"/>
            <a:ext cx="320701" cy="320701"/>
            <a:chOff x="5567363" y="5132388"/>
            <a:chExt cx="320701" cy="320701"/>
          </a:xfrm>
        </p:grpSpPr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B9B28DBC-7B00-48D2-9D08-F620EFE786A8}"/>
                </a:ext>
              </a:extLst>
            </p:cNvPr>
            <p:cNvSpPr/>
            <p:nvPr/>
          </p:nvSpPr>
          <p:spPr>
            <a:xfrm>
              <a:off x="5567363" y="5132388"/>
              <a:ext cx="320701" cy="32070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BFF3A1C-4DFC-4191-87E4-56E7AC47FCF3}"/>
                </a:ext>
              </a:extLst>
            </p:cNvPr>
            <p:cNvGrpSpPr/>
            <p:nvPr/>
          </p:nvGrpSpPr>
          <p:grpSpPr>
            <a:xfrm rot="5400000">
              <a:off x="5601953" y="5166978"/>
              <a:ext cx="251520" cy="251520"/>
              <a:chOff x="2844772" y="3673786"/>
              <a:chExt cx="376958" cy="376958"/>
            </a:xfrm>
          </p:grpSpPr>
          <p:sp>
            <p:nvSpPr>
              <p:cNvPr id="67" name="Oval 66">
                <a:extLst>
                  <a:ext uri="{FF2B5EF4-FFF2-40B4-BE49-F238E27FC236}">
                    <a16:creationId xmlns:a16="http://schemas.microsoft.com/office/drawing/2014/main" id="{55981CA1-AE76-4A5F-AB60-D0A7587025E0}"/>
                  </a:ext>
                </a:extLst>
              </p:cNvPr>
              <p:cNvSpPr/>
              <p:nvPr/>
            </p:nvSpPr>
            <p:spPr>
              <a:xfrm>
                <a:off x="2844772" y="3673786"/>
                <a:ext cx="376958" cy="376958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en-US" sz="1050">
                  <a:solidFill>
                    <a:schemeClr val="bg1"/>
                  </a:solidFill>
                </a:endParaRPr>
              </a:p>
            </p:txBody>
          </p:sp>
          <p:sp>
            <p:nvSpPr>
              <p:cNvPr id="68" name="Freeform 17">
                <a:extLst>
                  <a:ext uri="{FF2B5EF4-FFF2-40B4-BE49-F238E27FC236}">
                    <a16:creationId xmlns:a16="http://schemas.microsoft.com/office/drawing/2014/main" id="{F7B98B6F-F9B7-42F0-91A3-03F5675396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80548" y="3746501"/>
                <a:ext cx="149028" cy="231530"/>
              </a:xfrm>
              <a:custGeom>
                <a:avLst/>
                <a:gdLst>
                  <a:gd name="T0" fmla="*/ 263 w 1575"/>
                  <a:gd name="T1" fmla="*/ 2449 h 2449"/>
                  <a:gd name="T2" fmla="*/ 93 w 1575"/>
                  <a:gd name="T3" fmla="*/ 2379 h 2449"/>
                  <a:gd name="T4" fmla="*/ 93 w 1575"/>
                  <a:gd name="T5" fmla="*/ 2039 h 2449"/>
                  <a:gd name="T6" fmla="*/ 896 w 1575"/>
                  <a:gd name="T7" fmla="*/ 1236 h 2449"/>
                  <a:gd name="T8" fmla="*/ 93 w 1575"/>
                  <a:gd name="T9" fmla="*/ 433 h 2449"/>
                  <a:gd name="T10" fmla="*/ 93 w 1575"/>
                  <a:gd name="T11" fmla="*/ 94 h 2449"/>
                  <a:gd name="T12" fmla="*/ 433 w 1575"/>
                  <a:gd name="T13" fmla="*/ 94 h 2449"/>
                  <a:gd name="T14" fmla="*/ 1575 w 1575"/>
                  <a:gd name="T15" fmla="*/ 1236 h 2449"/>
                  <a:gd name="T16" fmla="*/ 433 w 1575"/>
                  <a:gd name="T17" fmla="*/ 2379 h 2449"/>
                  <a:gd name="T18" fmla="*/ 263 w 1575"/>
                  <a:gd name="T19" fmla="*/ 2449 h 24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75" h="2449">
                    <a:moveTo>
                      <a:pt x="263" y="2449"/>
                    </a:moveTo>
                    <a:cubicBezTo>
                      <a:pt x="202" y="2449"/>
                      <a:pt x="140" y="2425"/>
                      <a:pt x="93" y="2379"/>
                    </a:cubicBezTo>
                    <a:cubicBezTo>
                      <a:pt x="0" y="2285"/>
                      <a:pt x="0" y="2133"/>
                      <a:pt x="93" y="2039"/>
                    </a:cubicBezTo>
                    <a:cubicBezTo>
                      <a:pt x="896" y="1236"/>
                      <a:pt x="896" y="1236"/>
                      <a:pt x="896" y="1236"/>
                    </a:cubicBezTo>
                    <a:cubicBezTo>
                      <a:pt x="93" y="433"/>
                      <a:pt x="93" y="433"/>
                      <a:pt x="93" y="433"/>
                    </a:cubicBezTo>
                    <a:cubicBezTo>
                      <a:pt x="0" y="339"/>
                      <a:pt x="0" y="187"/>
                      <a:pt x="93" y="94"/>
                    </a:cubicBezTo>
                    <a:cubicBezTo>
                      <a:pt x="187" y="0"/>
                      <a:pt x="339" y="0"/>
                      <a:pt x="433" y="94"/>
                    </a:cubicBezTo>
                    <a:cubicBezTo>
                      <a:pt x="1575" y="1236"/>
                      <a:pt x="1575" y="1236"/>
                      <a:pt x="1575" y="1236"/>
                    </a:cubicBezTo>
                    <a:cubicBezTo>
                      <a:pt x="433" y="2379"/>
                      <a:pt x="433" y="2379"/>
                      <a:pt x="433" y="2379"/>
                    </a:cubicBezTo>
                    <a:cubicBezTo>
                      <a:pt x="386" y="2425"/>
                      <a:pt x="324" y="2449"/>
                      <a:pt x="263" y="2449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0298B771-6AEE-42C3-B9DD-19AA3F06F0CB}"/>
              </a:ext>
            </a:extLst>
          </p:cNvPr>
          <p:cNvGrpSpPr/>
          <p:nvPr/>
        </p:nvGrpSpPr>
        <p:grpSpPr>
          <a:xfrm>
            <a:off x="10397681" y="5132388"/>
            <a:ext cx="320701" cy="320701"/>
            <a:chOff x="5567363" y="5132388"/>
            <a:chExt cx="320701" cy="320701"/>
          </a:xfrm>
        </p:grpSpPr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63BB8920-69E4-4249-9463-82A73B501BB0}"/>
                </a:ext>
              </a:extLst>
            </p:cNvPr>
            <p:cNvSpPr/>
            <p:nvPr/>
          </p:nvSpPr>
          <p:spPr>
            <a:xfrm>
              <a:off x="5567363" y="5132388"/>
              <a:ext cx="320701" cy="32070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C24D96D8-C7F0-429A-A187-5367016E6BDC}"/>
                </a:ext>
              </a:extLst>
            </p:cNvPr>
            <p:cNvGrpSpPr/>
            <p:nvPr/>
          </p:nvGrpSpPr>
          <p:grpSpPr>
            <a:xfrm rot="5400000">
              <a:off x="5601953" y="5166978"/>
              <a:ext cx="251520" cy="251520"/>
              <a:chOff x="2844772" y="3673786"/>
              <a:chExt cx="376958" cy="376958"/>
            </a:xfrm>
          </p:grpSpPr>
          <p:sp>
            <p:nvSpPr>
              <p:cNvPr id="72" name="Oval 71">
                <a:extLst>
                  <a:ext uri="{FF2B5EF4-FFF2-40B4-BE49-F238E27FC236}">
                    <a16:creationId xmlns:a16="http://schemas.microsoft.com/office/drawing/2014/main" id="{36068112-7E33-48FC-915A-52759363201D}"/>
                  </a:ext>
                </a:extLst>
              </p:cNvPr>
              <p:cNvSpPr/>
              <p:nvPr/>
            </p:nvSpPr>
            <p:spPr>
              <a:xfrm>
                <a:off x="2844772" y="3673786"/>
                <a:ext cx="376958" cy="376958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en-US" sz="1050">
                  <a:solidFill>
                    <a:schemeClr val="bg1"/>
                  </a:solidFill>
                </a:endParaRPr>
              </a:p>
            </p:txBody>
          </p:sp>
          <p:sp>
            <p:nvSpPr>
              <p:cNvPr id="73" name="Freeform 17">
                <a:extLst>
                  <a:ext uri="{FF2B5EF4-FFF2-40B4-BE49-F238E27FC236}">
                    <a16:creationId xmlns:a16="http://schemas.microsoft.com/office/drawing/2014/main" id="{2D616BD2-3A75-42C0-A7B8-4A7334CD82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80548" y="3746501"/>
                <a:ext cx="149028" cy="231530"/>
              </a:xfrm>
              <a:custGeom>
                <a:avLst/>
                <a:gdLst>
                  <a:gd name="T0" fmla="*/ 263 w 1575"/>
                  <a:gd name="T1" fmla="*/ 2449 h 2449"/>
                  <a:gd name="T2" fmla="*/ 93 w 1575"/>
                  <a:gd name="T3" fmla="*/ 2379 h 2449"/>
                  <a:gd name="T4" fmla="*/ 93 w 1575"/>
                  <a:gd name="T5" fmla="*/ 2039 h 2449"/>
                  <a:gd name="T6" fmla="*/ 896 w 1575"/>
                  <a:gd name="T7" fmla="*/ 1236 h 2449"/>
                  <a:gd name="T8" fmla="*/ 93 w 1575"/>
                  <a:gd name="T9" fmla="*/ 433 h 2449"/>
                  <a:gd name="T10" fmla="*/ 93 w 1575"/>
                  <a:gd name="T11" fmla="*/ 94 h 2449"/>
                  <a:gd name="T12" fmla="*/ 433 w 1575"/>
                  <a:gd name="T13" fmla="*/ 94 h 2449"/>
                  <a:gd name="T14" fmla="*/ 1575 w 1575"/>
                  <a:gd name="T15" fmla="*/ 1236 h 2449"/>
                  <a:gd name="T16" fmla="*/ 433 w 1575"/>
                  <a:gd name="T17" fmla="*/ 2379 h 2449"/>
                  <a:gd name="T18" fmla="*/ 263 w 1575"/>
                  <a:gd name="T19" fmla="*/ 2449 h 24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75" h="2449">
                    <a:moveTo>
                      <a:pt x="263" y="2449"/>
                    </a:moveTo>
                    <a:cubicBezTo>
                      <a:pt x="202" y="2449"/>
                      <a:pt x="140" y="2425"/>
                      <a:pt x="93" y="2379"/>
                    </a:cubicBezTo>
                    <a:cubicBezTo>
                      <a:pt x="0" y="2285"/>
                      <a:pt x="0" y="2133"/>
                      <a:pt x="93" y="2039"/>
                    </a:cubicBezTo>
                    <a:cubicBezTo>
                      <a:pt x="896" y="1236"/>
                      <a:pt x="896" y="1236"/>
                      <a:pt x="896" y="1236"/>
                    </a:cubicBezTo>
                    <a:cubicBezTo>
                      <a:pt x="93" y="433"/>
                      <a:pt x="93" y="433"/>
                      <a:pt x="93" y="433"/>
                    </a:cubicBezTo>
                    <a:cubicBezTo>
                      <a:pt x="0" y="339"/>
                      <a:pt x="0" y="187"/>
                      <a:pt x="93" y="94"/>
                    </a:cubicBezTo>
                    <a:cubicBezTo>
                      <a:pt x="187" y="0"/>
                      <a:pt x="339" y="0"/>
                      <a:pt x="433" y="94"/>
                    </a:cubicBezTo>
                    <a:cubicBezTo>
                      <a:pt x="1575" y="1236"/>
                      <a:pt x="1575" y="1236"/>
                      <a:pt x="1575" y="1236"/>
                    </a:cubicBezTo>
                    <a:cubicBezTo>
                      <a:pt x="433" y="2379"/>
                      <a:pt x="433" y="2379"/>
                      <a:pt x="433" y="2379"/>
                    </a:cubicBezTo>
                    <a:cubicBezTo>
                      <a:pt x="386" y="2425"/>
                      <a:pt x="324" y="2449"/>
                      <a:pt x="263" y="2449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0F3379B5-7DA5-4C7A-94E6-8D06AA56C35A}"/>
              </a:ext>
            </a:extLst>
          </p:cNvPr>
          <p:cNvGrpSpPr/>
          <p:nvPr/>
        </p:nvGrpSpPr>
        <p:grpSpPr>
          <a:xfrm>
            <a:off x="3704635" y="5132388"/>
            <a:ext cx="320701" cy="320701"/>
            <a:chOff x="5567363" y="5132388"/>
            <a:chExt cx="320701" cy="320701"/>
          </a:xfrm>
        </p:grpSpPr>
        <p:sp>
          <p:nvSpPr>
            <p:cNvPr id="75" name="Oval 74">
              <a:extLst>
                <a:ext uri="{FF2B5EF4-FFF2-40B4-BE49-F238E27FC236}">
                  <a16:creationId xmlns:a16="http://schemas.microsoft.com/office/drawing/2014/main" id="{66E236D6-4C7D-43C3-92AE-77EEF64905C4}"/>
                </a:ext>
              </a:extLst>
            </p:cNvPr>
            <p:cNvSpPr/>
            <p:nvPr/>
          </p:nvSpPr>
          <p:spPr>
            <a:xfrm>
              <a:off x="5567363" y="5132388"/>
              <a:ext cx="320701" cy="32070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id="{C53069EF-7B1A-4D09-9C30-E537A3DCADF8}"/>
                </a:ext>
              </a:extLst>
            </p:cNvPr>
            <p:cNvGrpSpPr/>
            <p:nvPr/>
          </p:nvGrpSpPr>
          <p:grpSpPr>
            <a:xfrm rot="5400000">
              <a:off x="5601953" y="5166978"/>
              <a:ext cx="251520" cy="251520"/>
              <a:chOff x="2844772" y="3673786"/>
              <a:chExt cx="376958" cy="376958"/>
            </a:xfrm>
          </p:grpSpPr>
          <p:sp>
            <p:nvSpPr>
              <p:cNvPr id="77" name="Oval 76">
                <a:extLst>
                  <a:ext uri="{FF2B5EF4-FFF2-40B4-BE49-F238E27FC236}">
                    <a16:creationId xmlns:a16="http://schemas.microsoft.com/office/drawing/2014/main" id="{9B60BE82-51A6-4CB6-A2E0-F8D53DA5E655}"/>
                  </a:ext>
                </a:extLst>
              </p:cNvPr>
              <p:cNvSpPr/>
              <p:nvPr/>
            </p:nvSpPr>
            <p:spPr>
              <a:xfrm>
                <a:off x="2844772" y="3673786"/>
                <a:ext cx="376958" cy="376958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en-US" sz="1050">
                  <a:solidFill>
                    <a:schemeClr val="bg1"/>
                  </a:solidFill>
                </a:endParaRPr>
              </a:p>
            </p:txBody>
          </p:sp>
          <p:sp>
            <p:nvSpPr>
              <p:cNvPr id="78" name="Freeform 17">
                <a:extLst>
                  <a:ext uri="{FF2B5EF4-FFF2-40B4-BE49-F238E27FC236}">
                    <a16:creationId xmlns:a16="http://schemas.microsoft.com/office/drawing/2014/main" id="{BC64B148-729E-4816-9971-64893A02A4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80548" y="3746501"/>
                <a:ext cx="149028" cy="231530"/>
              </a:xfrm>
              <a:custGeom>
                <a:avLst/>
                <a:gdLst>
                  <a:gd name="T0" fmla="*/ 263 w 1575"/>
                  <a:gd name="T1" fmla="*/ 2449 h 2449"/>
                  <a:gd name="T2" fmla="*/ 93 w 1575"/>
                  <a:gd name="T3" fmla="*/ 2379 h 2449"/>
                  <a:gd name="T4" fmla="*/ 93 w 1575"/>
                  <a:gd name="T5" fmla="*/ 2039 h 2449"/>
                  <a:gd name="T6" fmla="*/ 896 w 1575"/>
                  <a:gd name="T7" fmla="*/ 1236 h 2449"/>
                  <a:gd name="T8" fmla="*/ 93 w 1575"/>
                  <a:gd name="T9" fmla="*/ 433 h 2449"/>
                  <a:gd name="T10" fmla="*/ 93 w 1575"/>
                  <a:gd name="T11" fmla="*/ 94 h 2449"/>
                  <a:gd name="T12" fmla="*/ 433 w 1575"/>
                  <a:gd name="T13" fmla="*/ 94 h 2449"/>
                  <a:gd name="T14" fmla="*/ 1575 w 1575"/>
                  <a:gd name="T15" fmla="*/ 1236 h 2449"/>
                  <a:gd name="T16" fmla="*/ 433 w 1575"/>
                  <a:gd name="T17" fmla="*/ 2379 h 2449"/>
                  <a:gd name="T18" fmla="*/ 263 w 1575"/>
                  <a:gd name="T19" fmla="*/ 2449 h 24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75" h="2449">
                    <a:moveTo>
                      <a:pt x="263" y="2449"/>
                    </a:moveTo>
                    <a:cubicBezTo>
                      <a:pt x="202" y="2449"/>
                      <a:pt x="140" y="2425"/>
                      <a:pt x="93" y="2379"/>
                    </a:cubicBezTo>
                    <a:cubicBezTo>
                      <a:pt x="0" y="2285"/>
                      <a:pt x="0" y="2133"/>
                      <a:pt x="93" y="2039"/>
                    </a:cubicBezTo>
                    <a:cubicBezTo>
                      <a:pt x="896" y="1236"/>
                      <a:pt x="896" y="1236"/>
                      <a:pt x="896" y="1236"/>
                    </a:cubicBezTo>
                    <a:cubicBezTo>
                      <a:pt x="93" y="433"/>
                      <a:pt x="93" y="433"/>
                      <a:pt x="93" y="433"/>
                    </a:cubicBezTo>
                    <a:cubicBezTo>
                      <a:pt x="0" y="339"/>
                      <a:pt x="0" y="187"/>
                      <a:pt x="93" y="94"/>
                    </a:cubicBezTo>
                    <a:cubicBezTo>
                      <a:pt x="187" y="0"/>
                      <a:pt x="339" y="0"/>
                      <a:pt x="433" y="94"/>
                    </a:cubicBezTo>
                    <a:cubicBezTo>
                      <a:pt x="1575" y="1236"/>
                      <a:pt x="1575" y="1236"/>
                      <a:pt x="1575" y="1236"/>
                    </a:cubicBezTo>
                    <a:cubicBezTo>
                      <a:pt x="433" y="2379"/>
                      <a:pt x="433" y="2379"/>
                      <a:pt x="433" y="2379"/>
                    </a:cubicBezTo>
                    <a:cubicBezTo>
                      <a:pt x="386" y="2425"/>
                      <a:pt x="324" y="2449"/>
                      <a:pt x="263" y="2449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79" name="Group 78">
            <a:extLst>
              <a:ext uri="{FF2B5EF4-FFF2-40B4-BE49-F238E27FC236}">
                <a16:creationId xmlns:a16="http://schemas.microsoft.com/office/drawing/2014/main" id="{F0CDB54A-D0DE-4034-9E0A-F5397E85FE0C}"/>
              </a:ext>
            </a:extLst>
          </p:cNvPr>
          <p:cNvGrpSpPr/>
          <p:nvPr/>
        </p:nvGrpSpPr>
        <p:grpSpPr>
          <a:xfrm>
            <a:off x="1473620" y="5132388"/>
            <a:ext cx="320701" cy="320701"/>
            <a:chOff x="5567363" y="5132388"/>
            <a:chExt cx="320701" cy="320701"/>
          </a:xfrm>
        </p:grpSpPr>
        <p:sp>
          <p:nvSpPr>
            <p:cNvPr id="80" name="Oval 79">
              <a:extLst>
                <a:ext uri="{FF2B5EF4-FFF2-40B4-BE49-F238E27FC236}">
                  <a16:creationId xmlns:a16="http://schemas.microsoft.com/office/drawing/2014/main" id="{374A0B58-19F9-4FC4-B825-2E7FBC1DBD22}"/>
                </a:ext>
              </a:extLst>
            </p:cNvPr>
            <p:cNvSpPr/>
            <p:nvPr/>
          </p:nvSpPr>
          <p:spPr>
            <a:xfrm>
              <a:off x="5567363" y="5132388"/>
              <a:ext cx="320701" cy="32070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6DD8507F-6F24-4DFC-81E3-F19C7C414815}"/>
                </a:ext>
              </a:extLst>
            </p:cNvPr>
            <p:cNvGrpSpPr/>
            <p:nvPr/>
          </p:nvGrpSpPr>
          <p:grpSpPr>
            <a:xfrm rot="5400000">
              <a:off x="5601953" y="5166978"/>
              <a:ext cx="251520" cy="251520"/>
              <a:chOff x="2844772" y="3673786"/>
              <a:chExt cx="376958" cy="376958"/>
            </a:xfrm>
          </p:grpSpPr>
          <p:sp>
            <p:nvSpPr>
              <p:cNvPr id="82" name="Oval 81">
                <a:extLst>
                  <a:ext uri="{FF2B5EF4-FFF2-40B4-BE49-F238E27FC236}">
                    <a16:creationId xmlns:a16="http://schemas.microsoft.com/office/drawing/2014/main" id="{C185322C-6FB1-47BF-8BCA-9CDD8EED05B4}"/>
                  </a:ext>
                </a:extLst>
              </p:cNvPr>
              <p:cNvSpPr/>
              <p:nvPr/>
            </p:nvSpPr>
            <p:spPr>
              <a:xfrm>
                <a:off x="2844772" y="3673786"/>
                <a:ext cx="376958" cy="376958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en-US" sz="1050">
                  <a:solidFill>
                    <a:schemeClr val="bg1"/>
                  </a:solidFill>
                </a:endParaRPr>
              </a:p>
            </p:txBody>
          </p:sp>
          <p:sp>
            <p:nvSpPr>
              <p:cNvPr id="83" name="Freeform 17">
                <a:extLst>
                  <a:ext uri="{FF2B5EF4-FFF2-40B4-BE49-F238E27FC236}">
                    <a16:creationId xmlns:a16="http://schemas.microsoft.com/office/drawing/2014/main" id="{3ED2CD18-F405-42CF-ADA7-72A60935FB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80548" y="3746501"/>
                <a:ext cx="149028" cy="231530"/>
              </a:xfrm>
              <a:custGeom>
                <a:avLst/>
                <a:gdLst>
                  <a:gd name="T0" fmla="*/ 263 w 1575"/>
                  <a:gd name="T1" fmla="*/ 2449 h 2449"/>
                  <a:gd name="T2" fmla="*/ 93 w 1575"/>
                  <a:gd name="T3" fmla="*/ 2379 h 2449"/>
                  <a:gd name="T4" fmla="*/ 93 w 1575"/>
                  <a:gd name="T5" fmla="*/ 2039 h 2449"/>
                  <a:gd name="T6" fmla="*/ 896 w 1575"/>
                  <a:gd name="T7" fmla="*/ 1236 h 2449"/>
                  <a:gd name="T8" fmla="*/ 93 w 1575"/>
                  <a:gd name="T9" fmla="*/ 433 h 2449"/>
                  <a:gd name="T10" fmla="*/ 93 w 1575"/>
                  <a:gd name="T11" fmla="*/ 94 h 2449"/>
                  <a:gd name="T12" fmla="*/ 433 w 1575"/>
                  <a:gd name="T13" fmla="*/ 94 h 2449"/>
                  <a:gd name="T14" fmla="*/ 1575 w 1575"/>
                  <a:gd name="T15" fmla="*/ 1236 h 2449"/>
                  <a:gd name="T16" fmla="*/ 433 w 1575"/>
                  <a:gd name="T17" fmla="*/ 2379 h 2449"/>
                  <a:gd name="T18" fmla="*/ 263 w 1575"/>
                  <a:gd name="T19" fmla="*/ 2449 h 24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75" h="2449">
                    <a:moveTo>
                      <a:pt x="263" y="2449"/>
                    </a:moveTo>
                    <a:cubicBezTo>
                      <a:pt x="202" y="2449"/>
                      <a:pt x="140" y="2425"/>
                      <a:pt x="93" y="2379"/>
                    </a:cubicBezTo>
                    <a:cubicBezTo>
                      <a:pt x="0" y="2285"/>
                      <a:pt x="0" y="2133"/>
                      <a:pt x="93" y="2039"/>
                    </a:cubicBezTo>
                    <a:cubicBezTo>
                      <a:pt x="896" y="1236"/>
                      <a:pt x="896" y="1236"/>
                      <a:pt x="896" y="1236"/>
                    </a:cubicBezTo>
                    <a:cubicBezTo>
                      <a:pt x="93" y="433"/>
                      <a:pt x="93" y="433"/>
                      <a:pt x="93" y="433"/>
                    </a:cubicBezTo>
                    <a:cubicBezTo>
                      <a:pt x="0" y="339"/>
                      <a:pt x="0" y="187"/>
                      <a:pt x="93" y="94"/>
                    </a:cubicBezTo>
                    <a:cubicBezTo>
                      <a:pt x="187" y="0"/>
                      <a:pt x="339" y="0"/>
                      <a:pt x="433" y="94"/>
                    </a:cubicBezTo>
                    <a:cubicBezTo>
                      <a:pt x="1575" y="1236"/>
                      <a:pt x="1575" y="1236"/>
                      <a:pt x="1575" y="1236"/>
                    </a:cubicBezTo>
                    <a:cubicBezTo>
                      <a:pt x="433" y="2379"/>
                      <a:pt x="433" y="2379"/>
                      <a:pt x="433" y="2379"/>
                    </a:cubicBezTo>
                    <a:cubicBezTo>
                      <a:pt x="386" y="2425"/>
                      <a:pt x="324" y="2449"/>
                      <a:pt x="263" y="2449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7849511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B871AB3-41F5-0FEB-D724-504E756F68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F8EB60C-7CC2-49F0-B2EE-C81F067DE041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CE9EB69-5EC7-552A-1D32-14E59ED3E7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8049" y="393733"/>
            <a:ext cx="11431364" cy="443198"/>
          </a:xfrm>
        </p:spPr>
        <p:txBody>
          <a:bodyPr/>
          <a:lstStyle/>
          <a:p>
            <a:r>
              <a:rPr lang="en-US" sz="3200" spc="-120"/>
              <a:t>Earlier PE platform investments could be looking for an exit path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4839BEA-7E8C-04F9-CCA7-F6317D2EF52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81537" y="6423660"/>
            <a:ext cx="6287026" cy="138499"/>
          </a:xfrm>
        </p:spPr>
        <p:txBody>
          <a:bodyPr/>
          <a:lstStyle/>
          <a:p>
            <a:r>
              <a:rPr lang="en-US" i="0">
                <a:solidFill>
                  <a:schemeClr val="bg1">
                    <a:lumMod val="50000"/>
                  </a:schemeClr>
                </a:solidFill>
              </a:rPr>
              <a:t>*There were no deals in 2014, so 2013 is shown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202992D2-B596-4881-97A3-C12300E3549C}"/>
              </a:ext>
            </a:extLst>
          </p:cNvPr>
          <p:cNvSpPr txBox="1"/>
          <p:nvPr/>
        </p:nvSpPr>
        <p:spPr>
          <a:xfrm>
            <a:off x="2447954" y="1140275"/>
            <a:ext cx="7296092" cy="243893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lvl="0" algn="ctr">
              <a:defRPr/>
            </a:pPr>
            <a:r>
              <a:rPr lang="en-GB" sz="1600" kern="0">
                <a:solidFill>
                  <a:schemeClr val="accent1"/>
                </a:solidFill>
                <a:latin typeface="Arial Nova" panose="020B0504020202020204" pitchFamily="34" charset="0"/>
              </a:rPr>
              <a:t>Global PE-Backed CDMO Platforms from 2013-2018, </a:t>
            </a:r>
            <a:r>
              <a:rPr lang="en-GB" sz="1600" kern="0">
                <a:solidFill>
                  <a:schemeClr val="tx2">
                    <a:lumMod val="60000"/>
                    <a:lumOff val="40000"/>
                  </a:schemeClr>
                </a:solidFill>
                <a:latin typeface="Arial Nova" panose="020B0504020202020204" pitchFamily="34" charset="0"/>
              </a:rPr>
              <a:t>Target (Sponsor)</a:t>
            </a:r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E5C2D3E3-17F2-49AF-A319-6CE776565C91}"/>
              </a:ext>
            </a:extLst>
          </p:cNvPr>
          <p:cNvSpPr/>
          <p:nvPr/>
        </p:nvSpPr>
        <p:spPr>
          <a:xfrm>
            <a:off x="559550" y="5350785"/>
            <a:ext cx="2148840" cy="662685"/>
          </a:xfrm>
          <a:prstGeom prst="roundRect">
            <a:avLst/>
          </a:prstGeom>
          <a:solidFill>
            <a:schemeClr val="accent1">
              <a:lumMod val="90000"/>
              <a:lumOff val="10000"/>
            </a:schemeClr>
          </a:solidFill>
          <a:ln w="1079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lvl="0" algn="ctr">
              <a:defRPr/>
            </a:pPr>
            <a:r>
              <a:rPr lang="en-US" sz="1400" kern="0">
                <a:solidFill>
                  <a:srgbClr val="FFFFFF"/>
                </a:solidFill>
                <a:latin typeface="Arial Nova" panose="020B0504020202020204" pitchFamily="34" charset="0"/>
              </a:rPr>
              <a:t>1 deal </a:t>
            </a:r>
            <a:br>
              <a:rPr lang="en-US" sz="1400" kern="0">
                <a:solidFill>
                  <a:srgbClr val="FFFFFF"/>
                </a:solidFill>
                <a:latin typeface="Arial Nova" panose="020B0504020202020204" pitchFamily="34" charset="0"/>
              </a:rPr>
            </a:br>
            <a:r>
              <a:rPr lang="en-US" sz="1000" kern="0">
                <a:solidFill>
                  <a:srgbClr val="FFFFFF"/>
                </a:solidFill>
                <a:latin typeface="Arial Nova" panose="020B0504020202020204" pitchFamily="34" charset="0"/>
              </a:rPr>
              <a:t>(No deals in 2014)</a:t>
            </a:r>
          </a:p>
        </p:txBody>
      </p:sp>
      <p:sp>
        <p:nvSpPr>
          <p:cNvPr id="33" name="Rectangle 7">
            <a:extLst>
              <a:ext uri="{FF2B5EF4-FFF2-40B4-BE49-F238E27FC236}">
                <a16:creationId xmlns:a16="http://schemas.microsoft.com/office/drawing/2014/main" id="{0C735EF0-D469-454A-98B3-08449C3B551A}"/>
              </a:ext>
            </a:extLst>
          </p:cNvPr>
          <p:cNvSpPr/>
          <p:nvPr/>
        </p:nvSpPr>
        <p:spPr>
          <a:xfrm>
            <a:off x="2789949" y="5350785"/>
            <a:ext cx="2148840" cy="662685"/>
          </a:xfrm>
          <a:prstGeom prst="roundRect">
            <a:avLst/>
          </a:prstGeom>
          <a:solidFill>
            <a:schemeClr val="accent1">
              <a:lumMod val="90000"/>
              <a:lumOff val="10000"/>
            </a:schemeClr>
          </a:solidFill>
          <a:ln w="1079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lvl="0" algn="ctr">
              <a:defRPr/>
            </a:pPr>
            <a:r>
              <a:rPr lang="en-US" sz="1400" kern="0">
                <a:solidFill>
                  <a:srgbClr val="FFFFFF"/>
                </a:solidFill>
                <a:latin typeface="Arial Nova" panose="020B0504020202020204" pitchFamily="34" charset="0"/>
              </a:rPr>
              <a:t>1 deal</a:t>
            </a:r>
          </a:p>
        </p:txBody>
      </p:sp>
      <p:sp>
        <p:nvSpPr>
          <p:cNvPr id="34" name="Rectangle 8">
            <a:extLst>
              <a:ext uri="{FF2B5EF4-FFF2-40B4-BE49-F238E27FC236}">
                <a16:creationId xmlns:a16="http://schemas.microsoft.com/office/drawing/2014/main" id="{D26DCAA4-8840-49BA-88AD-AF93BAF0A21C}"/>
              </a:ext>
            </a:extLst>
          </p:cNvPr>
          <p:cNvSpPr/>
          <p:nvPr/>
        </p:nvSpPr>
        <p:spPr>
          <a:xfrm>
            <a:off x="5014373" y="5350785"/>
            <a:ext cx="2148840" cy="662685"/>
          </a:xfrm>
          <a:prstGeom prst="roundRect">
            <a:avLst/>
          </a:prstGeom>
          <a:solidFill>
            <a:schemeClr val="accent1">
              <a:lumMod val="90000"/>
              <a:lumOff val="10000"/>
            </a:schemeClr>
          </a:solidFill>
          <a:ln w="1079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lvl="0" algn="ctr">
              <a:defRPr/>
            </a:pPr>
            <a:r>
              <a:rPr lang="en-US" sz="1400" kern="0">
                <a:solidFill>
                  <a:srgbClr val="FFFFFF"/>
                </a:solidFill>
                <a:latin typeface="Arial Nova" panose="020B0504020202020204" pitchFamily="34" charset="0"/>
              </a:rPr>
              <a:t>2 deals</a:t>
            </a:r>
          </a:p>
        </p:txBody>
      </p:sp>
      <p:sp>
        <p:nvSpPr>
          <p:cNvPr id="35" name="Rectangle 9">
            <a:extLst>
              <a:ext uri="{FF2B5EF4-FFF2-40B4-BE49-F238E27FC236}">
                <a16:creationId xmlns:a16="http://schemas.microsoft.com/office/drawing/2014/main" id="{DA86EB42-7F8F-4BC2-8AE0-123F586EEDFA}"/>
              </a:ext>
            </a:extLst>
          </p:cNvPr>
          <p:cNvSpPr/>
          <p:nvPr/>
        </p:nvSpPr>
        <p:spPr>
          <a:xfrm>
            <a:off x="7238795" y="5348153"/>
            <a:ext cx="2148840" cy="662685"/>
          </a:xfrm>
          <a:prstGeom prst="roundRect">
            <a:avLst/>
          </a:prstGeom>
          <a:solidFill>
            <a:schemeClr val="accent1">
              <a:lumMod val="90000"/>
              <a:lumOff val="10000"/>
            </a:schemeClr>
          </a:solidFill>
          <a:ln w="1079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lvl="0" algn="ctr">
              <a:defRPr/>
            </a:pPr>
            <a:r>
              <a:rPr lang="en-US" sz="1400" kern="0">
                <a:solidFill>
                  <a:srgbClr val="FFFFFF"/>
                </a:solidFill>
                <a:latin typeface="Arial Nova" panose="020B0504020202020204" pitchFamily="34" charset="0"/>
              </a:rPr>
              <a:t>5 deals</a:t>
            </a:r>
          </a:p>
        </p:txBody>
      </p:sp>
      <p:sp>
        <p:nvSpPr>
          <p:cNvPr id="40" name="Rectangle 10">
            <a:extLst>
              <a:ext uri="{FF2B5EF4-FFF2-40B4-BE49-F238E27FC236}">
                <a16:creationId xmlns:a16="http://schemas.microsoft.com/office/drawing/2014/main" id="{769F5338-C8EB-448B-8131-71C02C9E7062}"/>
              </a:ext>
            </a:extLst>
          </p:cNvPr>
          <p:cNvSpPr/>
          <p:nvPr/>
        </p:nvSpPr>
        <p:spPr>
          <a:xfrm>
            <a:off x="9483611" y="5348153"/>
            <a:ext cx="2148840" cy="662685"/>
          </a:xfrm>
          <a:prstGeom prst="roundRect">
            <a:avLst/>
          </a:prstGeom>
          <a:solidFill>
            <a:schemeClr val="accent1">
              <a:lumMod val="90000"/>
              <a:lumOff val="10000"/>
            </a:schemeClr>
          </a:solidFill>
          <a:ln w="1079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lvl="0" algn="ctr">
              <a:defRPr/>
            </a:pPr>
            <a:r>
              <a:rPr lang="en-US" sz="1400" kern="0">
                <a:solidFill>
                  <a:srgbClr val="FFFFFF"/>
                </a:solidFill>
                <a:latin typeface="Arial Nova" panose="020B0504020202020204" pitchFamily="34" charset="0"/>
              </a:rPr>
              <a:t>7 deals</a:t>
            </a:r>
          </a:p>
        </p:txBody>
      </p:sp>
      <p:sp>
        <p:nvSpPr>
          <p:cNvPr id="41" name="Rectangle: Top Corners Rounded 40">
            <a:extLst>
              <a:ext uri="{FF2B5EF4-FFF2-40B4-BE49-F238E27FC236}">
                <a16:creationId xmlns:a16="http://schemas.microsoft.com/office/drawing/2014/main" id="{D6EA3D12-EFD3-46C9-A9CA-2B0683FFC0EF}"/>
              </a:ext>
            </a:extLst>
          </p:cNvPr>
          <p:cNvSpPr/>
          <p:nvPr/>
        </p:nvSpPr>
        <p:spPr>
          <a:xfrm>
            <a:off x="903325" y="1533528"/>
            <a:ext cx="1486776" cy="305287"/>
          </a:xfrm>
          <a:prstGeom prst="round2SameRect">
            <a:avLst/>
          </a:prstGeom>
          <a:solidFill>
            <a:srgbClr val="00A7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latin typeface="Arial Nova" panose="020B0504020202020204" pitchFamily="34" charset="0"/>
              </a:rPr>
              <a:t>2013*</a:t>
            </a:r>
          </a:p>
        </p:txBody>
      </p:sp>
      <p:sp>
        <p:nvSpPr>
          <p:cNvPr id="42" name="Rectangle: Top Corners Rounded 41">
            <a:extLst>
              <a:ext uri="{FF2B5EF4-FFF2-40B4-BE49-F238E27FC236}">
                <a16:creationId xmlns:a16="http://schemas.microsoft.com/office/drawing/2014/main" id="{7639A8CA-A5EA-406B-9616-89CC50560096}"/>
              </a:ext>
            </a:extLst>
          </p:cNvPr>
          <p:cNvSpPr/>
          <p:nvPr/>
        </p:nvSpPr>
        <p:spPr>
          <a:xfrm>
            <a:off x="3138980" y="1533528"/>
            <a:ext cx="1486776" cy="305287"/>
          </a:xfrm>
          <a:prstGeom prst="round2SameRect">
            <a:avLst/>
          </a:prstGeom>
          <a:solidFill>
            <a:srgbClr val="00A7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latin typeface="Arial Nova" panose="020B0504020202020204" pitchFamily="34" charset="0"/>
              </a:rPr>
              <a:t>2015</a:t>
            </a:r>
          </a:p>
        </p:txBody>
      </p:sp>
      <p:sp>
        <p:nvSpPr>
          <p:cNvPr id="43" name="Rectangle: Top Corners Rounded 42">
            <a:extLst>
              <a:ext uri="{FF2B5EF4-FFF2-40B4-BE49-F238E27FC236}">
                <a16:creationId xmlns:a16="http://schemas.microsoft.com/office/drawing/2014/main" id="{2BC048AF-B0E4-4FEB-BA20-DA19C58F4150}"/>
              </a:ext>
            </a:extLst>
          </p:cNvPr>
          <p:cNvSpPr/>
          <p:nvPr/>
        </p:nvSpPr>
        <p:spPr>
          <a:xfrm>
            <a:off x="5363404" y="1533528"/>
            <a:ext cx="1486776" cy="305287"/>
          </a:xfrm>
          <a:prstGeom prst="round2SameRect">
            <a:avLst/>
          </a:prstGeom>
          <a:solidFill>
            <a:srgbClr val="00A7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latin typeface="Arial Nova" panose="020B0504020202020204" pitchFamily="34" charset="0"/>
              </a:rPr>
              <a:t>2016</a:t>
            </a:r>
          </a:p>
        </p:txBody>
      </p:sp>
      <p:sp>
        <p:nvSpPr>
          <p:cNvPr id="44" name="Rectangle: Top Corners Rounded 43">
            <a:extLst>
              <a:ext uri="{FF2B5EF4-FFF2-40B4-BE49-F238E27FC236}">
                <a16:creationId xmlns:a16="http://schemas.microsoft.com/office/drawing/2014/main" id="{E479CE0B-39E7-4656-A19B-23B73F668A3B}"/>
              </a:ext>
            </a:extLst>
          </p:cNvPr>
          <p:cNvSpPr/>
          <p:nvPr/>
        </p:nvSpPr>
        <p:spPr>
          <a:xfrm>
            <a:off x="7585257" y="1533528"/>
            <a:ext cx="1486776" cy="305287"/>
          </a:xfrm>
          <a:prstGeom prst="round2SameRect">
            <a:avLst/>
          </a:prstGeom>
          <a:solidFill>
            <a:srgbClr val="00A7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latin typeface="Arial Nova" panose="020B0504020202020204" pitchFamily="34" charset="0"/>
              </a:rPr>
              <a:t>2017</a:t>
            </a:r>
          </a:p>
        </p:txBody>
      </p:sp>
      <p:sp>
        <p:nvSpPr>
          <p:cNvPr id="56" name="Rectangle: Top Corners Rounded 55">
            <a:extLst>
              <a:ext uri="{FF2B5EF4-FFF2-40B4-BE49-F238E27FC236}">
                <a16:creationId xmlns:a16="http://schemas.microsoft.com/office/drawing/2014/main" id="{6DC00598-650B-40D6-A96C-61A0C29BB4D5}"/>
              </a:ext>
            </a:extLst>
          </p:cNvPr>
          <p:cNvSpPr/>
          <p:nvPr/>
        </p:nvSpPr>
        <p:spPr>
          <a:xfrm>
            <a:off x="9809830" y="1533528"/>
            <a:ext cx="1486776" cy="305287"/>
          </a:xfrm>
          <a:prstGeom prst="round2SameRect">
            <a:avLst/>
          </a:prstGeom>
          <a:solidFill>
            <a:srgbClr val="00A7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latin typeface="Arial Nova" panose="020B0504020202020204" pitchFamily="34" charset="0"/>
              </a:rPr>
              <a:t>2018</a:t>
            </a: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37C08BC5-0C76-481D-AB22-F42F5C7D259E}"/>
              </a:ext>
            </a:extLst>
          </p:cNvPr>
          <p:cNvGrpSpPr/>
          <p:nvPr/>
        </p:nvGrpSpPr>
        <p:grpSpPr>
          <a:xfrm>
            <a:off x="5021580" y="1840938"/>
            <a:ext cx="2148840" cy="3443749"/>
            <a:chOff x="5014826" y="1840938"/>
            <a:chExt cx="2148840" cy="3443749"/>
          </a:xfrm>
        </p:grpSpPr>
        <p:sp>
          <p:nvSpPr>
            <p:cNvPr id="58" name="Rounded Rectangle 35">
              <a:extLst>
                <a:ext uri="{FF2B5EF4-FFF2-40B4-BE49-F238E27FC236}">
                  <a16:creationId xmlns:a16="http://schemas.microsoft.com/office/drawing/2014/main" id="{C34448E5-DAC6-47F0-B860-20DF58FE8E3C}"/>
                </a:ext>
              </a:extLst>
            </p:cNvPr>
            <p:cNvSpPr/>
            <p:nvPr/>
          </p:nvSpPr>
          <p:spPr>
            <a:xfrm>
              <a:off x="5014826" y="1840938"/>
              <a:ext cx="2148840" cy="3443749"/>
            </a:xfrm>
            <a:prstGeom prst="rect">
              <a:avLst/>
            </a:prstGeom>
            <a:solidFill>
              <a:srgbClr val="F2F2F2"/>
            </a:solidFill>
            <a:effectLst/>
          </p:spPr>
          <p:txBody>
            <a:bodyPr lIns="137160" tIns="91440" rIns="137160" bIns="91440" anchor="t">
              <a:noAutofit/>
            </a:bodyPr>
            <a:lstStyle/>
            <a:p>
              <a:pPr defTabSz="1087636">
                <a:lnSpc>
                  <a:spcPct val="90000"/>
                </a:lnSpc>
                <a:spcAft>
                  <a:spcPts val="600"/>
                </a:spcAft>
                <a:buFont typeface="Arial"/>
                <a:buNone/>
                <a:defRPr/>
              </a:pPr>
              <a:r>
                <a:rPr lang="en-US" sz="1000" b="1">
                  <a:solidFill>
                    <a:schemeClr val="tx1">
                      <a:lumMod val="85000"/>
                      <a:lumOff val="15000"/>
                    </a:schemeClr>
                  </a:solidFill>
                  <a:ea typeface="Lato Light" panose="020F0502020204030203" pitchFamily="34" charset="0"/>
                </a:rPr>
                <a:t>MGS </a:t>
              </a:r>
              <a:r>
                <a:rPr lang="en-US" sz="100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(Mason Wells)</a:t>
              </a:r>
            </a:p>
            <a:p>
              <a:pPr defTabSz="1087636">
                <a:lnSpc>
                  <a:spcPct val="90000"/>
                </a:lnSpc>
                <a:spcAft>
                  <a:spcPts val="600"/>
                </a:spcAft>
                <a:buFont typeface="Arial"/>
                <a:buNone/>
                <a:defRPr/>
              </a:pPr>
              <a:r>
                <a:rPr lang="en-US" sz="1000" b="1">
                  <a:solidFill>
                    <a:schemeClr val="tx1">
                      <a:lumMod val="85000"/>
                      <a:lumOff val="15000"/>
                    </a:schemeClr>
                  </a:solidFill>
                  <a:ea typeface="Lato Light" panose="020F0502020204030203" pitchFamily="34" charset="0"/>
                </a:rPr>
                <a:t>Viant </a:t>
              </a:r>
              <a:r>
                <a:rPr lang="en-US" sz="100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(Water Street)</a:t>
              </a:r>
            </a:p>
          </p:txBody>
        </p: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CF334484-03F9-47A6-9C41-4CF9A045D3A0}"/>
                </a:ext>
              </a:extLst>
            </p:cNvPr>
            <p:cNvCxnSpPr>
              <a:cxnSpLocks/>
            </p:cNvCxnSpPr>
            <p:nvPr/>
          </p:nvCxnSpPr>
          <p:spPr>
            <a:xfrm>
              <a:off x="5018710" y="1840938"/>
              <a:ext cx="2141072" cy="0"/>
            </a:xfrm>
            <a:prstGeom prst="line">
              <a:avLst/>
            </a:prstGeom>
            <a:ln w="12700">
              <a:solidFill>
                <a:schemeClr val="accent1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D2902770-2C4D-40AF-A966-C0E120D0D6EB}"/>
                </a:ext>
              </a:extLst>
            </p:cNvPr>
            <p:cNvCxnSpPr>
              <a:cxnSpLocks/>
            </p:cNvCxnSpPr>
            <p:nvPr/>
          </p:nvCxnSpPr>
          <p:spPr>
            <a:xfrm>
              <a:off x="5018710" y="5284681"/>
              <a:ext cx="2141072" cy="0"/>
            </a:xfrm>
            <a:prstGeom prst="line">
              <a:avLst/>
            </a:prstGeom>
            <a:ln w="12700">
              <a:solidFill>
                <a:schemeClr val="accent1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C6905E43-6D94-4EE0-A5BB-0BDA9CC17F1B}"/>
              </a:ext>
            </a:extLst>
          </p:cNvPr>
          <p:cNvGrpSpPr/>
          <p:nvPr/>
        </p:nvGrpSpPr>
        <p:grpSpPr>
          <a:xfrm>
            <a:off x="7252595" y="1840937"/>
            <a:ext cx="2148840" cy="3443749"/>
            <a:chOff x="7240564" y="1840937"/>
            <a:chExt cx="2148840" cy="3443749"/>
          </a:xfrm>
        </p:grpSpPr>
        <p:sp>
          <p:nvSpPr>
            <p:cNvPr id="62" name="Rounded Rectangle 36">
              <a:extLst>
                <a:ext uri="{FF2B5EF4-FFF2-40B4-BE49-F238E27FC236}">
                  <a16:creationId xmlns:a16="http://schemas.microsoft.com/office/drawing/2014/main" id="{25F51EE7-B20B-4A41-B497-2CA7B121194A}"/>
                </a:ext>
              </a:extLst>
            </p:cNvPr>
            <p:cNvSpPr/>
            <p:nvPr/>
          </p:nvSpPr>
          <p:spPr>
            <a:xfrm>
              <a:off x="7240564" y="1840937"/>
              <a:ext cx="2148840" cy="3443749"/>
            </a:xfrm>
            <a:prstGeom prst="rect">
              <a:avLst/>
            </a:prstGeom>
            <a:solidFill>
              <a:srgbClr val="F2F2F2"/>
            </a:solidFill>
            <a:effectLst/>
          </p:spPr>
          <p:txBody>
            <a:bodyPr lIns="137160" tIns="91440" rIns="137160" bIns="91440" anchor="t">
              <a:noAutofit/>
            </a:bodyPr>
            <a:lstStyle/>
            <a:p>
              <a:pPr lvl="0" defTabSz="1087636">
                <a:lnSpc>
                  <a:spcPct val="90000"/>
                </a:lnSpc>
                <a:spcAft>
                  <a:spcPts val="600"/>
                </a:spcAft>
                <a:defRPr/>
              </a:pPr>
              <a:r>
                <a:rPr lang="en-US" sz="1000" b="1">
                  <a:solidFill>
                    <a:schemeClr val="tx1">
                      <a:lumMod val="85000"/>
                      <a:lumOff val="15000"/>
                    </a:schemeClr>
                  </a:solidFill>
                  <a:ea typeface="Lato Light" panose="020F0502020204030203" pitchFamily="34" charset="0"/>
                </a:rPr>
                <a:t>Tekniplex Consumer</a:t>
              </a:r>
              <a:br>
                <a:rPr lang="en-US" sz="1000" b="1">
                  <a:solidFill>
                    <a:schemeClr val="tx1">
                      <a:lumMod val="85000"/>
                      <a:lumOff val="15000"/>
                    </a:schemeClr>
                  </a:solidFill>
                  <a:ea typeface="Lato Light" panose="020F0502020204030203" pitchFamily="34" charset="0"/>
                </a:rPr>
              </a:br>
              <a:r>
                <a:rPr lang="en-US" sz="1000" b="1">
                  <a:solidFill>
                    <a:schemeClr val="tx1">
                      <a:lumMod val="85000"/>
                      <a:lumOff val="15000"/>
                    </a:schemeClr>
                  </a:solidFill>
                  <a:ea typeface="Lato Light" panose="020F0502020204030203" pitchFamily="34" charset="0"/>
                </a:rPr>
                <a:t>Products </a:t>
              </a:r>
              <a:r>
                <a:rPr lang="en-US" sz="100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(Genstar)</a:t>
              </a:r>
            </a:p>
            <a:p>
              <a:pPr lvl="0" defTabSz="1087636">
                <a:lnSpc>
                  <a:spcPct val="90000"/>
                </a:lnSpc>
                <a:spcAft>
                  <a:spcPts val="600"/>
                </a:spcAft>
                <a:defRPr/>
              </a:pPr>
              <a:r>
                <a:rPr lang="en-US" sz="1000" b="1">
                  <a:solidFill>
                    <a:schemeClr val="tx1">
                      <a:lumMod val="85000"/>
                      <a:lumOff val="15000"/>
                    </a:schemeClr>
                  </a:solidFill>
                  <a:ea typeface="Lato Light" panose="020F0502020204030203" pitchFamily="34" charset="0"/>
                </a:rPr>
                <a:t>Cirtec Medical </a:t>
              </a:r>
              <a:r>
                <a:rPr lang="en-US" sz="100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(3i Group)</a:t>
              </a:r>
            </a:p>
            <a:p>
              <a:pPr lvl="0" defTabSz="1087636">
                <a:lnSpc>
                  <a:spcPct val="90000"/>
                </a:lnSpc>
                <a:spcAft>
                  <a:spcPts val="600"/>
                </a:spcAft>
                <a:defRPr/>
              </a:pPr>
              <a:r>
                <a:rPr lang="en-US" sz="1000" b="1">
                  <a:solidFill>
                    <a:schemeClr val="tx1">
                      <a:lumMod val="85000"/>
                      <a:lumOff val="15000"/>
                    </a:schemeClr>
                  </a:solidFill>
                  <a:ea typeface="Lato Light" panose="020F0502020204030203" pitchFamily="34" charset="0"/>
                </a:rPr>
                <a:t>MW Industries</a:t>
              </a:r>
              <a:br>
                <a:rPr lang="en-US" sz="1000" b="1">
                  <a:solidFill>
                    <a:schemeClr val="tx1">
                      <a:lumMod val="85000"/>
                      <a:lumOff val="15000"/>
                    </a:schemeClr>
                  </a:solidFill>
                  <a:ea typeface="Lato Light" panose="020F0502020204030203" pitchFamily="34" charset="0"/>
                </a:rPr>
              </a:br>
              <a:r>
                <a:rPr lang="en-US" sz="100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(American Securities)</a:t>
              </a:r>
            </a:p>
            <a:p>
              <a:pPr lvl="0" defTabSz="1087636">
                <a:lnSpc>
                  <a:spcPct val="90000"/>
                </a:lnSpc>
                <a:spcAft>
                  <a:spcPts val="600"/>
                </a:spcAft>
                <a:defRPr/>
              </a:pPr>
              <a:r>
                <a:rPr lang="en-US" sz="1000" b="1">
                  <a:solidFill>
                    <a:schemeClr val="tx1">
                      <a:lumMod val="85000"/>
                      <a:lumOff val="15000"/>
                    </a:schemeClr>
                  </a:solidFill>
                  <a:ea typeface="Lato Light" panose="020F0502020204030203" pitchFamily="34" charset="0"/>
                </a:rPr>
                <a:t>Westfall Technik</a:t>
              </a:r>
              <a:br>
                <a:rPr lang="en-US" sz="1000" b="1">
                  <a:solidFill>
                    <a:schemeClr val="tx1">
                      <a:lumMod val="85000"/>
                      <a:lumOff val="15000"/>
                    </a:schemeClr>
                  </a:solidFill>
                  <a:ea typeface="Lato Light" panose="020F0502020204030203" pitchFamily="34" charset="0"/>
                </a:rPr>
              </a:br>
              <a:r>
                <a:rPr lang="en-US" sz="100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(Blackbern Partners)</a:t>
              </a:r>
            </a:p>
            <a:p>
              <a:pPr lvl="0" defTabSz="1087636">
                <a:lnSpc>
                  <a:spcPct val="90000"/>
                </a:lnSpc>
                <a:spcAft>
                  <a:spcPts val="600"/>
                </a:spcAft>
                <a:defRPr/>
              </a:pPr>
              <a:r>
                <a:rPr lang="en-US" sz="1000" b="1">
                  <a:solidFill>
                    <a:schemeClr val="tx1">
                      <a:lumMod val="85000"/>
                      <a:lumOff val="15000"/>
                    </a:schemeClr>
                  </a:solidFill>
                  <a:ea typeface="Lato Light" panose="020F0502020204030203" pitchFamily="34" charset="0"/>
                </a:rPr>
                <a:t>Tecomet </a:t>
              </a:r>
              <a:r>
                <a:rPr lang="en-US" sz="100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(Charlesbank)</a:t>
              </a:r>
            </a:p>
          </p:txBody>
        </p: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35B9104-33C0-48BD-92A5-A9F801572AF5}"/>
                </a:ext>
              </a:extLst>
            </p:cNvPr>
            <p:cNvCxnSpPr>
              <a:cxnSpLocks/>
            </p:cNvCxnSpPr>
            <p:nvPr/>
          </p:nvCxnSpPr>
          <p:spPr>
            <a:xfrm>
              <a:off x="7244448" y="1840938"/>
              <a:ext cx="2141072" cy="0"/>
            </a:xfrm>
            <a:prstGeom prst="line">
              <a:avLst/>
            </a:prstGeom>
            <a:ln w="12700">
              <a:solidFill>
                <a:schemeClr val="accent1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59A555EC-B05E-4E06-B55C-C91A47A77EDF}"/>
                </a:ext>
              </a:extLst>
            </p:cNvPr>
            <p:cNvCxnSpPr>
              <a:cxnSpLocks/>
            </p:cNvCxnSpPr>
            <p:nvPr/>
          </p:nvCxnSpPr>
          <p:spPr>
            <a:xfrm>
              <a:off x="7244448" y="5284681"/>
              <a:ext cx="2141072" cy="0"/>
            </a:xfrm>
            <a:prstGeom prst="line">
              <a:avLst/>
            </a:prstGeom>
            <a:ln w="12700">
              <a:solidFill>
                <a:schemeClr val="accent1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BAFDF333-5C63-490C-85DE-D69CD76042BC}"/>
              </a:ext>
            </a:extLst>
          </p:cNvPr>
          <p:cNvGrpSpPr/>
          <p:nvPr/>
        </p:nvGrpSpPr>
        <p:grpSpPr>
          <a:xfrm>
            <a:off x="9483611" y="1840937"/>
            <a:ext cx="2148840" cy="3443749"/>
            <a:chOff x="9478798" y="1840937"/>
            <a:chExt cx="2148840" cy="3443749"/>
          </a:xfrm>
        </p:grpSpPr>
        <p:sp>
          <p:nvSpPr>
            <p:cNvPr id="66" name="Rounded Rectangle 37">
              <a:extLst>
                <a:ext uri="{FF2B5EF4-FFF2-40B4-BE49-F238E27FC236}">
                  <a16:creationId xmlns:a16="http://schemas.microsoft.com/office/drawing/2014/main" id="{0F9CD2C8-83AC-41B3-ADA5-7D5AC3A42758}"/>
                </a:ext>
              </a:extLst>
            </p:cNvPr>
            <p:cNvSpPr/>
            <p:nvPr/>
          </p:nvSpPr>
          <p:spPr>
            <a:xfrm>
              <a:off x="9478798" y="1840937"/>
              <a:ext cx="2148840" cy="3443749"/>
            </a:xfrm>
            <a:prstGeom prst="rect">
              <a:avLst/>
            </a:prstGeom>
            <a:solidFill>
              <a:srgbClr val="F2F2F2"/>
            </a:solidFill>
            <a:effectLst/>
          </p:spPr>
          <p:txBody>
            <a:bodyPr lIns="137160" tIns="91440" rIns="137160" bIns="91440" anchor="t">
              <a:noAutofit/>
            </a:bodyPr>
            <a:lstStyle/>
            <a:p>
              <a:pPr defTabSz="1087636">
                <a:lnSpc>
                  <a:spcPct val="90000"/>
                </a:lnSpc>
                <a:spcAft>
                  <a:spcPts val="600"/>
                </a:spcAft>
                <a:buFont typeface="Arial"/>
                <a:buNone/>
                <a:defRPr/>
              </a:pPr>
              <a:r>
                <a:rPr lang="en-US" sz="1000" b="1">
                  <a:solidFill>
                    <a:schemeClr val="tx1">
                      <a:lumMod val="85000"/>
                      <a:lumOff val="15000"/>
                    </a:schemeClr>
                  </a:solidFill>
                  <a:ea typeface="Lato Light" panose="020F0502020204030203" pitchFamily="34" charset="0"/>
                </a:rPr>
                <a:t>SGH Medical Pharma </a:t>
              </a:r>
              <a:r>
                <a:rPr lang="en-US" sz="100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(Merieux)</a:t>
              </a:r>
            </a:p>
            <a:p>
              <a:pPr defTabSz="1087636">
                <a:lnSpc>
                  <a:spcPct val="90000"/>
                </a:lnSpc>
                <a:spcAft>
                  <a:spcPts val="600"/>
                </a:spcAft>
                <a:buFont typeface="Arial"/>
                <a:buNone/>
                <a:defRPr/>
              </a:pPr>
              <a:r>
                <a:rPr lang="en-US" sz="1000" b="1">
                  <a:solidFill>
                    <a:schemeClr val="tx1">
                      <a:lumMod val="85000"/>
                      <a:lumOff val="15000"/>
                    </a:schemeClr>
                  </a:solidFill>
                  <a:ea typeface="Lato Light" panose="020F0502020204030203" pitchFamily="34" charset="0"/>
                </a:rPr>
                <a:t>Fralock Holdings</a:t>
              </a:r>
              <a:br>
                <a:rPr lang="en-US" sz="1000" b="1">
                  <a:solidFill>
                    <a:schemeClr val="tx1">
                      <a:lumMod val="85000"/>
                      <a:lumOff val="15000"/>
                    </a:schemeClr>
                  </a:solidFill>
                  <a:ea typeface="Lato Light" panose="020F0502020204030203" pitchFamily="34" charset="0"/>
                </a:rPr>
              </a:br>
              <a:r>
                <a:rPr lang="en-US" sz="100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(Arsenal Capital Partners)</a:t>
              </a:r>
            </a:p>
            <a:p>
              <a:pPr defTabSz="1087636">
                <a:lnSpc>
                  <a:spcPct val="90000"/>
                </a:lnSpc>
                <a:spcAft>
                  <a:spcPts val="600"/>
                </a:spcAft>
                <a:buFont typeface="Arial"/>
                <a:buNone/>
                <a:defRPr/>
              </a:pPr>
              <a:r>
                <a:rPr lang="en-US" sz="1000" b="1">
                  <a:solidFill>
                    <a:schemeClr val="tx1">
                      <a:lumMod val="85000"/>
                      <a:lumOff val="15000"/>
                    </a:schemeClr>
                  </a:solidFill>
                  <a:ea typeface="Lato Light" panose="020F0502020204030203" pitchFamily="34" charset="0"/>
                </a:rPr>
                <a:t>Avalign Industries </a:t>
              </a:r>
              <a:r>
                <a:rPr lang="en-US" sz="100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(Linde)</a:t>
              </a:r>
            </a:p>
            <a:p>
              <a:pPr defTabSz="1087636">
                <a:lnSpc>
                  <a:spcPct val="90000"/>
                </a:lnSpc>
                <a:spcAft>
                  <a:spcPts val="600"/>
                </a:spcAft>
                <a:buFont typeface="Arial"/>
                <a:buNone/>
                <a:defRPr/>
              </a:pPr>
              <a:r>
                <a:rPr lang="en-US" sz="1000" b="1">
                  <a:solidFill>
                    <a:schemeClr val="tx1">
                      <a:lumMod val="85000"/>
                      <a:lumOff val="15000"/>
                    </a:schemeClr>
                  </a:solidFill>
                  <a:ea typeface="Lato Light" panose="020F0502020204030203" pitchFamily="34" charset="0"/>
                </a:rPr>
                <a:t>Team Technologies </a:t>
              </a:r>
              <a:r>
                <a:rPr lang="en-US" sz="100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(Clearlake)</a:t>
              </a:r>
            </a:p>
            <a:p>
              <a:pPr defTabSz="1087636">
                <a:lnSpc>
                  <a:spcPct val="90000"/>
                </a:lnSpc>
                <a:spcAft>
                  <a:spcPts val="600"/>
                </a:spcAft>
                <a:buFont typeface="Arial"/>
                <a:buNone/>
                <a:defRPr/>
              </a:pPr>
              <a:r>
                <a:rPr lang="en-US" sz="1000" b="1">
                  <a:solidFill>
                    <a:schemeClr val="tx1">
                      <a:lumMod val="85000"/>
                      <a:lumOff val="15000"/>
                    </a:schemeClr>
                  </a:solidFill>
                  <a:ea typeface="Lato Light" panose="020F0502020204030203" pitchFamily="34" charset="0"/>
                </a:rPr>
                <a:t>Vander-Bend Manufacturing </a:t>
              </a:r>
              <a:r>
                <a:rPr lang="en-US" sz="100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(Aterian)</a:t>
              </a:r>
            </a:p>
            <a:p>
              <a:pPr defTabSz="1087636">
                <a:lnSpc>
                  <a:spcPct val="90000"/>
                </a:lnSpc>
                <a:spcAft>
                  <a:spcPts val="600"/>
                </a:spcAft>
                <a:buFont typeface="Arial"/>
                <a:buNone/>
                <a:defRPr/>
              </a:pPr>
              <a:r>
                <a:rPr lang="en-US" sz="1000" b="1">
                  <a:solidFill>
                    <a:schemeClr val="tx1">
                      <a:lumMod val="85000"/>
                      <a:lumOff val="15000"/>
                    </a:schemeClr>
                  </a:solidFill>
                  <a:ea typeface="Lato Light" panose="020F0502020204030203" pitchFamily="34" charset="0"/>
                </a:rPr>
                <a:t>Cadence </a:t>
              </a:r>
              <a:r>
                <a:rPr lang="en-US" sz="100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(Kohlberg &amp; Co)</a:t>
              </a:r>
            </a:p>
            <a:p>
              <a:pPr defTabSz="1087636">
                <a:lnSpc>
                  <a:spcPct val="90000"/>
                </a:lnSpc>
                <a:spcAft>
                  <a:spcPts val="600"/>
                </a:spcAft>
                <a:buFont typeface="Arial"/>
                <a:buNone/>
                <a:defRPr/>
              </a:pPr>
              <a:r>
                <a:rPr lang="en-US" sz="1000" b="1">
                  <a:solidFill>
                    <a:schemeClr val="tx1">
                      <a:lumMod val="85000"/>
                      <a:lumOff val="15000"/>
                    </a:schemeClr>
                  </a:solidFill>
                  <a:ea typeface="Lato Light" panose="020F0502020204030203" pitchFamily="34" charset="0"/>
                </a:rPr>
                <a:t>Gener8 </a:t>
              </a:r>
              <a:r>
                <a:rPr lang="en-US" sz="100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(Sverica)</a:t>
              </a:r>
            </a:p>
          </p:txBody>
        </p: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B99A1C5-7469-4DEC-B88B-31286F0A832C}"/>
                </a:ext>
              </a:extLst>
            </p:cNvPr>
            <p:cNvCxnSpPr>
              <a:cxnSpLocks/>
            </p:cNvCxnSpPr>
            <p:nvPr/>
          </p:nvCxnSpPr>
          <p:spPr>
            <a:xfrm>
              <a:off x="9482682" y="1840938"/>
              <a:ext cx="2141072" cy="0"/>
            </a:xfrm>
            <a:prstGeom prst="line">
              <a:avLst/>
            </a:prstGeom>
            <a:ln w="12700">
              <a:solidFill>
                <a:schemeClr val="accent1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4A22269-35A7-40F1-B365-EC5FE08D444A}"/>
                </a:ext>
              </a:extLst>
            </p:cNvPr>
            <p:cNvCxnSpPr>
              <a:cxnSpLocks/>
            </p:cNvCxnSpPr>
            <p:nvPr/>
          </p:nvCxnSpPr>
          <p:spPr>
            <a:xfrm>
              <a:off x="9482682" y="5284681"/>
              <a:ext cx="2141072" cy="0"/>
            </a:xfrm>
            <a:prstGeom prst="line">
              <a:avLst/>
            </a:prstGeom>
            <a:ln w="12700">
              <a:solidFill>
                <a:schemeClr val="accent1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0AF2312B-2304-4D9A-B05D-4D83D0EADA52}"/>
              </a:ext>
            </a:extLst>
          </p:cNvPr>
          <p:cNvGrpSpPr/>
          <p:nvPr/>
        </p:nvGrpSpPr>
        <p:grpSpPr>
          <a:xfrm>
            <a:off x="559550" y="1840938"/>
            <a:ext cx="2148840" cy="3443748"/>
            <a:chOff x="554737" y="1840938"/>
            <a:chExt cx="2148840" cy="3443748"/>
          </a:xfrm>
        </p:grpSpPr>
        <p:sp>
          <p:nvSpPr>
            <p:cNvPr id="70" name="Rounded Rectangle 33">
              <a:extLst>
                <a:ext uri="{FF2B5EF4-FFF2-40B4-BE49-F238E27FC236}">
                  <a16:creationId xmlns:a16="http://schemas.microsoft.com/office/drawing/2014/main" id="{931639C2-350A-4218-9566-8A45688457DB}"/>
                </a:ext>
              </a:extLst>
            </p:cNvPr>
            <p:cNvSpPr/>
            <p:nvPr/>
          </p:nvSpPr>
          <p:spPr>
            <a:xfrm>
              <a:off x="554737" y="1840939"/>
              <a:ext cx="2148840" cy="3443747"/>
            </a:xfrm>
            <a:prstGeom prst="rect">
              <a:avLst/>
            </a:prstGeom>
            <a:solidFill>
              <a:srgbClr val="F2F2F2"/>
            </a:solidFill>
            <a:effectLst/>
          </p:spPr>
          <p:txBody>
            <a:bodyPr lIns="137160" tIns="91440" rIns="137160" bIns="91440" anchor="t">
              <a:noAutofit/>
            </a:bodyPr>
            <a:lstStyle/>
            <a:p>
              <a:pPr lvl="0" defTabSz="1087636">
                <a:lnSpc>
                  <a:spcPct val="90000"/>
                </a:lnSpc>
                <a:spcAft>
                  <a:spcPts val="600"/>
                </a:spcAft>
                <a:defRPr/>
              </a:pPr>
              <a:r>
                <a:rPr lang="en-US" sz="1000" b="1">
                  <a:solidFill>
                    <a:schemeClr val="tx1">
                      <a:lumMod val="85000"/>
                      <a:lumOff val="15000"/>
                    </a:schemeClr>
                  </a:solidFill>
                  <a:ea typeface="Lato Light" panose="020F0502020204030203" pitchFamily="34" charset="0"/>
                </a:rPr>
                <a:t>Vonco </a:t>
              </a:r>
              <a:r>
                <a:rPr lang="en-US" sz="100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(Jacsten)</a:t>
              </a:r>
            </a:p>
          </p:txBody>
        </p: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2FE0EA06-8B7D-4FC1-9D7D-ED6ED3370797}"/>
                </a:ext>
              </a:extLst>
            </p:cNvPr>
            <p:cNvCxnSpPr>
              <a:cxnSpLocks/>
            </p:cNvCxnSpPr>
            <p:nvPr/>
          </p:nvCxnSpPr>
          <p:spPr>
            <a:xfrm>
              <a:off x="558621" y="1840938"/>
              <a:ext cx="2141072" cy="0"/>
            </a:xfrm>
            <a:prstGeom prst="line">
              <a:avLst/>
            </a:prstGeom>
            <a:ln w="12700">
              <a:solidFill>
                <a:schemeClr val="accent1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22CCC900-6A75-4E99-A069-E558E3AFADAD}"/>
                </a:ext>
              </a:extLst>
            </p:cNvPr>
            <p:cNvCxnSpPr>
              <a:cxnSpLocks/>
            </p:cNvCxnSpPr>
            <p:nvPr/>
          </p:nvCxnSpPr>
          <p:spPr>
            <a:xfrm>
              <a:off x="558621" y="5284681"/>
              <a:ext cx="2141072" cy="0"/>
            </a:xfrm>
            <a:prstGeom prst="line">
              <a:avLst/>
            </a:prstGeom>
            <a:ln w="12700">
              <a:solidFill>
                <a:schemeClr val="accent1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EBE1DE47-7814-4C30-A5A2-822B92B86537}"/>
              </a:ext>
            </a:extLst>
          </p:cNvPr>
          <p:cNvGrpSpPr/>
          <p:nvPr/>
        </p:nvGrpSpPr>
        <p:grpSpPr>
          <a:xfrm>
            <a:off x="2790565" y="1840938"/>
            <a:ext cx="2148840" cy="3443743"/>
            <a:chOff x="2788999" y="1840938"/>
            <a:chExt cx="2148840" cy="3443743"/>
          </a:xfrm>
        </p:grpSpPr>
        <p:sp>
          <p:nvSpPr>
            <p:cNvPr id="74" name="Rounded Rectangle 34">
              <a:extLst>
                <a:ext uri="{FF2B5EF4-FFF2-40B4-BE49-F238E27FC236}">
                  <a16:creationId xmlns:a16="http://schemas.microsoft.com/office/drawing/2014/main" id="{D92B879B-8056-4DFC-8953-F52A709AE48C}"/>
                </a:ext>
              </a:extLst>
            </p:cNvPr>
            <p:cNvSpPr/>
            <p:nvPr/>
          </p:nvSpPr>
          <p:spPr>
            <a:xfrm>
              <a:off x="2788999" y="1840938"/>
              <a:ext cx="2148840" cy="3443743"/>
            </a:xfrm>
            <a:prstGeom prst="rect">
              <a:avLst/>
            </a:prstGeom>
            <a:solidFill>
              <a:srgbClr val="F2F2F2"/>
            </a:solidFill>
            <a:effectLst/>
          </p:spPr>
          <p:txBody>
            <a:bodyPr lIns="137160" tIns="91440" rIns="137160" bIns="91440" anchor="t">
              <a:noAutofit/>
            </a:bodyPr>
            <a:lstStyle/>
            <a:p>
              <a:pPr lvl="0" defTabSz="1087636">
                <a:lnSpc>
                  <a:spcPct val="90000"/>
                </a:lnSpc>
                <a:spcAft>
                  <a:spcPts val="600"/>
                </a:spcAft>
                <a:defRPr/>
              </a:pPr>
              <a:r>
                <a:rPr lang="en-US" sz="1000" b="1">
                  <a:solidFill>
                    <a:schemeClr val="tx1">
                      <a:lumMod val="85000"/>
                      <a:lumOff val="15000"/>
                    </a:schemeClr>
                  </a:solidFill>
                  <a:ea typeface="Lato Light" panose="020F0502020204030203" pitchFamily="34" charset="0"/>
                </a:rPr>
                <a:t>Caplugs </a:t>
              </a:r>
              <a:r>
                <a:rPr lang="en-US" sz="100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(Berwind)</a:t>
              </a:r>
            </a:p>
          </p:txBody>
        </p: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EF6A1D6B-830F-44BF-9389-FC64119489DE}"/>
                </a:ext>
              </a:extLst>
            </p:cNvPr>
            <p:cNvCxnSpPr>
              <a:cxnSpLocks/>
            </p:cNvCxnSpPr>
            <p:nvPr/>
          </p:nvCxnSpPr>
          <p:spPr>
            <a:xfrm>
              <a:off x="2792883" y="1840938"/>
              <a:ext cx="2141072" cy="0"/>
            </a:xfrm>
            <a:prstGeom prst="line">
              <a:avLst/>
            </a:prstGeom>
            <a:ln w="12700">
              <a:solidFill>
                <a:schemeClr val="accent1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79B47907-682A-432F-A97D-6EB14AD4B052}"/>
                </a:ext>
              </a:extLst>
            </p:cNvPr>
            <p:cNvCxnSpPr>
              <a:cxnSpLocks/>
            </p:cNvCxnSpPr>
            <p:nvPr/>
          </p:nvCxnSpPr>
          <p:spPr>
            <a:xfrm>
              <a:off x="2792883" y="5284681"/>
              <a:ext cx="2141072" cy="0"/>
            </a:xfrm>
            <a:prstGeom prst="line">
              <a:avLst/>
            </a:prstGeom>
            <a:ln w="12700">
              <a:solidFill>
                <a:schemeClr val="accent1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488439AE-9566-4F0D-BE5C-4849E9804A2F}"/>
              </a:ext>
            </a:extLst>
          </p:cNvPr>
          <p:cNvGrpSpPr/>
          <p:nvPr/>
        </p:nvGrpSpPr>
        <p:grpSpPr>
          <a:xfrm>
            <a:off x="5935650" y="5132388"/>
            <a:ext cx="320701" cy="320701"/>
            <a:chOff x="5567363" y="5132388"/>
            <a:chExt cx="320701" cy="320701"/>
          </a:xfrm>
        </p:grpSpPr>
        <p:sp>
          <p:nvSpPr>
            <p:cNvPr id="78" name="Oval 77">
              <a:extLst>
                <a:ext uri="{FF2B5EF4-FFF2-40B4-BE49-F238E27FC236}">
                  <a16:creationId xmlns:a16="http://schemas.microsoft.com/office/drawing/2014/main" id="{1AF37142-A588-443F-8A04-FCEDDCBDE4F3}"/>
                </a:ext>
              </a:extLst>
            </p:cNvPr>
            <p:cNvSpPr/>
            <p:nvPr/>
          </p:nvSpPr>
          <p:spPr>
            <a:xfrm>
              <a:off x="5567363" y="5132388"/>
              <a:ext cx="320701" cy="32070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E30F9D1C-98B2-48C8-B261-123471F2F63D}"/>
                </a:ext>
              </a:extLst>
            </p:cNvPr>
            <p:cNvGrpSpPr/>
            <p:nvPr/>
          </p:nvGrpSpPr>
          <p:grpSpPr>
            <a:xfrm rot="5400000">
              <a:off x="5601953" y="5166978"/>
              <a:ext cx="251520" cy="251520"/>
              <a:chOff x="2844772" y="3673786"/>
              <a:chExt cx="376958" cy="376958"/>
            </a:xfrm>
          </p:grpSpPr>
          <p:sp>
            <p:nvSpPr>
              <p:cNvPr id="80" name="Oval 79">
                <a:extLst>
                  <a:ext uri="{FF2B5EF4-FFF2-40B4-BE49-F238E27FC236}">
                    <a16:creationId xmlns:a16="http://schemas.microsoft.com/office/drawing/2014/main" id="{7C22C43E-4275-4764-A17A-5744FF6CFFBC}"/>
                  </a:ext>
                </a:extLst>
              </p:cNvPr>
              <p:cNvSpPr/>
              <p:nvPr/>
            </p:nvSpPr>
            <p:spPr>
              <a:xfrm>
                <a:off x="2844772" y="3673786"/>
                <a:ext cx="376958" cy="376958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en-US" sz="1050">
                  <a:solidFill>
                    <a:schemeClr val="bg1"/>
                  </a:solidFill>
                </a:endParaRPr>
              </a:p>
            </p:txBody>
          </p:sp>
          <p:sp>
            <p:nvSpPr>
              <p:cNvPr id="81" name="Freeform 17">
                <a:extLst>
                  <a:ext uri="{FF2B5EF4-FFF2-40B4-BE49-F238E27FC236}">
                    <a16:creationId xmlns:a16="http://schemas.microsoft.com/office/drawing/2014/main" id="{C5D9DF94-2D0D-430A-A01C-A62A27F276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80548" y="3746501"/>
                <a:ext cx="149028" cy="231530"/>
              </a:xfrm>
              <a:custGeom>
                <a:avLst/>
                <a:gdLst>
                  <a:gd name="T0" fmla="*/ 263 w 1575"/>
                  <a:gd name="T1" fmla="*/ 2449 h 2449"/>
                  <a:gd name="T2" fmla="*/ 93 w 1575"/>
                  <a:gd name="T3" fmla="*/ 2379 h 2449"/>
                  <a:gd name="T4" fmla="*/ 93 w 1575"/>
                  <a:gd name="T5" fmla="*/ 2039 h 2449"/>
                  <a:gd name="T6" fmla="*/ 896 w 1575"/>
                  <a:gd name="T7" fmla="*/ 1236 h 2449"/>
                  <a:gd name="T8" fmla="*/ 93 w 1575"/>
                  <a:gd name="T9" fmla="*/ 433 h 2449"/>
                  <a:gd name="T10" fmla="*/ 93 w 1575"/>
                  <a:gd name="T11" fmla="*/ 94 h 2449"/>
                  <a:gd name="T12" fmla="*/ 433 w 1575"/>
                  <a:gd name="T13" fmla="*/ 94 h 2449"/>
                  <a:gd name="T14" fmla="*/ 1575 w 1575"/>
                  <a:gd name="T15" fmla="*/ 1236 h 2449"/>
                  <a:gd name="T16" fmla="*/ 433 w 1575"/>
                  <a:gd name="T17" fmla="*/ 2379 h 2449"/>
                  <a:gd name="T18" fmla="*/ 263 w 1575"/>
                  <a:gd name="T19" fmla="*/ 2449 h 24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75" h="2449">
                    <a:moveTo>
                      <a:pt x="263" y="2449"/>
                    </a:moveTo>
                    <a:cubicBezTo>
                      <a:pt x="202" y="2449"/>
                      <a:pt x="140" y="2425"/>
                      <a:pt x="93" y="2379"/>
                    </a:cubicBezTo>
                    <a:cubicBezTo>
                      <a:pt x="0" y="2285"/>
                      <a:pt x="0" y="2133"/>
                      <a:pt x="93" y="2039"/>
                    </a:cubicBezTo>
                    <a:cubicBezTo>
                      <a:pt x="896" y="1236"/>
                      <a:pt x="896" y="1236"/>
                      <a:pt x="896" y="1236"/>
                    </a:cubicBezTo>
                    <a:cubicBezTo>
                      <a:pt x="93" y="433"/>
                      <a:pt x="93" y="433"/>
                      <a:pt x="93" y="433"/>
                    </a:cubicBezTo>
                    <a:cubicBezTo>
                      <a:pt x="0" y="339"/>
                      <a:pt x="0" y="187"/>
                      <a:pt x="93" y="94"/>
                    </a:cubicBezTo>
                    <a:cubicBezTo>
                      <a:pt x="187" y="0"/>
                      <a:pt x="339" y="0"/>
                      <a:pt x="433" y="94"/>
                    </a:cubicBezTo>
                    <a:cubicBezTo>
                      <a:pt x="1575" y="1236"/>
                      <a:pt x="1575" y="1236"/>
                      <a:pt x="1575" y="1236"/>
                    </a:cubicBezTo>
                    <a:cubicBezTo>
                      <a:pt x="433" y="2379"/>
                      <a:pt x="433" y="2379"/>
                      <a:pt x="433" y="2379"/>
                    </a:cubicBezTo>
                    <a:cubicBezTo>
                      <a:pt x="386" y="2425"/>
                      <a:pt x="324" y="2449"/>
                      <a:pt x="263" y="2449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82" name="Group 81">
            <a:extLst>
              <a:ext uri="{FF2B5EF4-FFF2-40B4-BE49-F238E27FC236}">
                <a16:creationId xmlns:a16="http://schemas.microsoft.com/office/drawing/2014/main" id="{DE35BABC-0EBB-4C54-B809-A45DF99B2B06}"/>
              </a:ext>
            </a:extLst>
          </p:cNvPr>
          <p:cNvGrpSpPr/>
          <p:nvPr/>
        </p:nvGrpSpPr>
        <p:grpSpPr>
          <a:xfrm>
            <a:off x="8166665" y="5132388"/>
            <a:ext cx="320701" cy="320701"/>
            <a:chOff x="5567363" y="5132388"/>
            <a:chExt cx="320701" cy="320701"/>
          </a:xfrm>
        </p:grpSpPr>
        <p:sp>
          <p:nvSpPr>
            <p:cNvPr id="83" name="Oval 82">
              <a:extLst>
                <a:ext uri="{FF2B5EF4-FFF2-40B4-BE49-F238E27FC236}">
                  <a16:creationId xmlns:a16="http://schemas.microsoft.com/office/drawing/2014/main" id="{5616F1DC-478D-4A39-B36B-79C04FA98AB8}"/>
                </a:ext>
              </a:extLst>
            </p:cNvPr>
            <p:cNvSpPr/>
            <p:nvPr/>
          </p:nvSpPr>
          <p:spPr>
            <a:xfrm>
              <a:off x="5567363" y="5132388"/>
              <a:ext cx="320701" cy="32070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84" name="Group 83">
              <a:extLst>
                <a:ext uri="{FF2B5EF4-FFF2-40B4-BE49-F238E27FC236}">
                  <a16:creationId xmlns:a16="http://schemas.microsoft.com/office/drawing/2014/main" id="{483C204C-5814-4DD3-991D-6307A438660B}"/>
                </a:ext>
              </a:extLst>
            </p:cNvPr>
            <p:cNvGrpSpPr/>
            <p:nvPr/>
          </p:nvGrpSpPr>
          <p:grpSpPr>
            <a:xfrm rot="5400000">
              <a:off x="5601953" y="5166978"/>
              <a:ext cx="251520" cy="251520"/>
              <a:chOff x="2844772" y="3673786"/>
              <a:chExt cx="376958" cy="376958"/>
            </a:xfrm>
          </p:grpSpPr>
          <p:sp>
            <p:nvSpPr>
              <p:cNvPr id="85" name="Oval 84">
                <a:extLst>
                  <a:ext uri="{FF2B5EF4-FFF2-40B4-BE49-F238E27FC236}">
                    <a16:creationId xmlns:a16="http://schemas.microsoft.com/office/drawing/2014/main" id="{19D49DD8-5DA8-4473-8C1F-2024498F9493}"/>
                  </a:ext>
                </a:extLst>
              </p:cNvPr>
              <p:cNvSpPr/>
              <p:nvPr/>
            </p:nvSpPr>
            <p:spPr>
              <a:xfrm>
                <a:off x="2844772" y="3673786"/>
                <a:ext cx="376958" cy="376958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en-US" sz="1050">
                  <a:solidFill>
                    <a:schemeClr val="bg1"/>
                  </a:solidFill>
                </a:endParaRPr>
              </a:p>
            </p:txBody>
          </p:sp>
          <p:sp>
            <p:nvSpPr>
              <p:cNvPr id="86" name="Freeform 17">
                <a:extLst>
                  <a:ext uri="{FF2B5EF4-FFF2-40B4-BE49-F238E27FC236}">
                    <a16:creationId xmlns:a16="http://schemas.microsoft.com/office/drawing/2014/main" id="{4947BAB1-2572-43AB-B45B-99E8512444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80548" y="3746501"/>
                <a:ext cx="149028" cy="231530"/>
              </a:xfrm>
              <a:custGeom>
                <a:avLst/>
                <a:gdLst>
                  <a:gd name="T0" fmla="*/ 263 w 1575"/>
                  <a:gd name="T1" fmla="*/ 2449 h 2449"/>
                  <a:gd name="T2" fmla="*/ 93 w 1575"/>
                  <a:gd name="T3" fmla="*/ 2379 h 2449"/>
                  <a:gd name="T4" fmla="*/ 93 w 1575"/>
                  <a:gd name="T5" fmla="*/ 2039 h 2449"/>
                  <a:gd name="T6" fmla="*/ 896 w 1575"/>
                  <a:gd name="T7" fmla="*/ 1236 h 2449"/>
                  <a:gd name="T8" fmla="*/ 93 w 1575"/>
                  <a:gd name="T9" fmla="*/ 433 h 2449"/>
                  <a:gd name="T10" fmla="*/ 93 w 1575"/>
                  <a:gd name="T11" fmla="*/ 94 h 2449"/>
                  <a:gd name="T12" fmla="*/ 433 w 1575"/>
                  <a:gd name="T13" fmla="*/ 94 h 2449"/>
                  <a:gd name="T14" fmla="*/ 1575 w 1575"/>
                  <a:gd name="T15" fmla="*/ 1236 h 2449"/>
                  <a:gd name="T16" fmla="*/ 433 w 1575"/>
                  <a:gd name="T17" fmla="*/ 2379 h 2449"/>
                  <a:gd name="T18" fmla="*/ 263 w 1575"/>
                  <a:gd name="T19" fmla="*/ 2449 h 24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75" h="2449">
                    <a:moveTo>
                      <a:pt x="263" y="2449"/>
                    </a:moveTo>
                    <a:cubicBezTo>
                      <a:pt x="202" y="2449"/>
                      <a:pt x="140" y="2425"/>
                      <a:pt x="93" y="2379"/>
                    </a:cubicBezTo>
                    <a:cubicBezTo>
                      <a:pt x="0" y="2285"/>
                      <a:pt x="0" y="2133"/>
                      <a:pt x="93" y="2039"/>
                    </a:cubicBezTo>
                    <a:cubicBezTo>
                      <a:pt x="896" y="1236"/>
                      <a:pt x="896" y="1236"/>
                      <a:pt x="896" y="1236"/>
                    </a:cubicBezTo>
                    <a:cubicBezTo>
                      <a:pt x="93" y="433"/>
                      <a:pt x="93" y="433"/>
                      <a:pt x="93" y="433"/>
                    </a:cubicBezTo>
                    <a:cubicBezTo>
                      <a:pt x="0" y="339"/>
                      <a:pt x="0" y="187"/>
                      <a:pt x="93" y="94"/>
                    </a:cubicBezTo>
                    <a:cubicBezTo>
                      <a:pt x="187" y="0"/>
                      <a:pt x="339" y="0"/>
                      <a:pt x="433" y="94"/>
                    </a:cubicBezTo>
                    <a:cubicBezTo>
                      <a:pt x="1575" y="1236"/>
                      <a:pt x="1575" y="1236"/>
                      <a:pt x="1575" y="1236"/>
                    </a:cubicBezTo>
                    <a:cubicBezTo>
                      <a:pt x="433" y="2379"/>
                      <a:pt x="433" y="2379"/>
                      <a:pt x="433" y="2379"/>
                    </a:cubicBezTo>
                    <a:cubicBezTo>
                      <a:pt x="386" y="2425"/>
                      <a:pt x="324" y="2449"/>
                      <a:pt x="263" y="2449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B441678D-63BA-4D4C-8BB4-9C38ABEEF6C4}"/>
              </a:ext>
            </a:extLst>
          </p:cNvPr>
          <p:cNvGrpSpPr/>
          <p:nvPr/>
        </p:nvGrpSpPr>
        <p:grpSpPr>
          <a:xfrm>
            <a:off x="10397681" y="5132388"/>
            <a:ext cx="320701" cy="320701"/>
            <a:chOff x="5567363" y="5132388"/>
            <a:chExt cx="320701" cy="320701"/>
          </a:xfrm>
        </p:grpSpPr>
        <p:sp>
          <p:nvSpPr>
            <p:cNvPr id="88" name="Oval 87">
              <a:extLst>
                <a:ext uri="{FF2B5EF4-FFF2-40B4-BE49-F238E27FC236}">
                  <a16:creationId xmlns:a16="http://schemas.microsoft.com/office/drawing/2014/main" id="{70C06740-1354-496A-8682-5812B8975F71}"/>
                </a:ext>
              </a:extLst>
            </p:cNvPr>
            <p:cNvSpPr/>
            <p:nvPr/>
          </p:nvSpPr>
          <p:spPr>
            <a:xfrm>
              <a:off x="5567363" y="5132388"/>
              <a:ext cx="320701" cy="32070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89" name="Group 88">
              <a:extLst>
                <a:ext uri="{FF2B5EF4-FFF2-40B4-BE49-F238E27FC236}">
                  <a16:creationId xmlns:a16="http://schemas.microsoft.com/office/drawing/2014/main" id="{05B6570C-1326-4AFC-B5C4-915D8785C633}"/>
                </a:ext>
              </a:extLst>
            </p:cNvPr>
            <p:cNvGrpSpPr/>
            <p:nvPr/>
          </p:nvGrpSpPr>
          <p:grpSpPr>
            <a:xfrm rot="5400000">
              <a:off x="5601953" y="5166978"/>
              <a:ext cx="251520" cy="251520"/>
              <a:chOff x="2844772" y="3673786"/>
              <a:chExt cx="376958" cy="376958"/>
            </a:xfrm>
          </p:grpSpPr>
          <p:sp>
            <p:nvSpPr>
              <p:cNvPr id="90" name="Oval 89">
                <a:extLst>
                  <a:ext uri="{FF2B5EF4-FFF2-40B4-BE49-F238E27FC236}">
                    <a16:creationId xmlns:a16="http://schemas.microsoft.com/office/drawing/2014/main" id="{8F9BEFC6-C189-4FF2-A479-40D5EABD5AFB}"/>
                  </a:ext>
                </a:extLst>
              </p:cNvPr>
              <p:cNvSpPr/>
              <p:nvPr/>
            </p:nvSpPr>
            <p:spPr>
              <a:xfrm>
                <a:off x="2844772" y="3673786"/>
                <a:ext cx="376958" cy="376958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en-US" sz="1050">
                  <a:solidFill>
                    <a:schemeClr val="bg1"/>
                  </a:solidFill>
                </a:endParaRPr>
              </a:p>
            </p:txBody>
          </p:sp>
          <p:sp>
            <p:nvSpPr>
              <p:cNvPr id="91" name="Freeform 17">
                <a:extLst>
                  <a:ext uri="{FF2B5EF4-FFF2-40B4-BE49-F238E27FC236}">
                    <a16:creationId xmlns:a16="http://schemas.microsoft.com/office/drawing/2014/main" id="{BEB61886-800D-4F11-AA87-4C787BD918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80548" y="3746501"/>
                <a:ext cx="149028" cy="231530"/>
              </a:xfrm>
              <a:custGeom>
                <a:avLst/>
                <a:gdLst>
                  <a:gd name="T0" fmla="*/ 263 w 1575"/>
                  <a:gd name="T1" fmla="*/ 2449 h 2449"/>
                  <a:gd name="T2" fmla="*/ 93 w 1575"/>
                  <a:gd name="T3" fmla="*/ 2379 h 2449"/>
                  <a:gd name="T4" fmla="*/ 93 w 1575"/>
                  <a:gd name="T5" fmla="*/ 2039 h 2449"/>
                  <a:gd name="T6" fmla="*/ 896 w 1575"/>
                  <a:gd name="T7" fmla="*/ 1236 h 2449"/>
                  <a:gd name="T8" fmla="*/ 93 w 1575"/>
                  <a:gd name="T9" fmla="*/ 433 h 2449"/>
                  <a:gd name="T10" fmla="*/ 93 w 1575"/>
                  <a:gd name="T11" fmla="*/ 94 h 2449"/>
                  <a:gd name="T12" fmla="*/ 433 w 1575"/>
                  <a:gd name="T13" fmla="*/ 94 h 2449"/>
                  <a:gd name="T14" fmla="*/ 1575 w 1575"/>
                  <a:gd name="T15" fmla="*/ 1236 h 2449"/>
                  <a:gd name="T16" fmla="*/ 433 w 1575"/>
                  <a:gd name="T17" fmla="*/ 2379 h 2449"/>
                  <a:gd name="T18" fmla="*/ 263 w 1575"/>
                  <a:gd name="T19" fmla="*/ 2449 h 24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75" h="2449">
                    <a:moveTo>
                      <a:pt x="263" y="2449"/>
                    </a:moveTo>
                    <a:cubicBezTo>
                      <a:pt x="202" y="2449"/>
                      <a:pt x="140" y="2425"/>
                      <a:pt x="93" y="2379"/>
                    </a:cubicBezTo>
                    <a:cubicBezTo>
                      <a:pt x="0" y="2285"/>
                      <a:pt x="0" y="2133"/>
                      <a:pt x="93" y="2039"/>
                    </a:cubicBezTo>
                    <a:cubicBezTo>
                      <a:pt x="896" y="1236"/>
                      <a:pt x="896" y="1236"/>
                      <a:pt x="896" y="1236"/>
                    </a:cubicBezTo>
                    <a:cubicBezTo>
                      <a:pt x="93" y="433"/>
                      <a:pt x="93" y="433"/>
                      <a:pt x="93" y="433"/>
                    </a:cubicBezTo>
                    <a:cubicBezTo>
                      <a:pt x="0" y="339"/>
                      <a:pt x="0" y="187"/>
                      <a:pt x="93" y="94"/>
                    </a:cubicBezTo>
                    <a:cubicBezTo>
                      <a:pt x="187" y="0"/>
                      <a:pt x="339" y="0"/>
                      <a:pt x="433" y="94"/>
                    </a:cubicBezTo>
                    <a:cubicBezTo>
                      <a:pt x="1575" y="1236"/>
                      <a:pt x="1575" y="1236"/>
                      <a:pt x="1575" y="1236"/>
                    </a:cubicBezTo>
                    <a:cubicBezTo>
                      <a:pt x="433" y="2379"/>
                      <a:pt x="433" y="2379"/>
                      <a:pt x="433" y="2379"/>
                    </a:cubicBezTo>
                    <a:cubicBezTo>
                      <a:pt x="386" y="2425"/>
                      <a:pt x="324" y="2449"/>
                      <a:pt x="263" y="2449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BB427C8D-EBAC-4DFE-B2A0-35F159A81AF0}"/>
              </a:ext>
            </a:extLst>
          </p:cNvPr>
          <p:cNvGrpSpPr/>
          <p:nvPr/>
        </p:nvGrpSpPr>
        <p:grpSpPr>
          <a:xfrm>
            <a:off x="3704635" y="5132388"/>
            <a:ext cx="320701" cy="320701"/>
            <a:chOff x="5567363" y="5132388"/>
            <a:chExt cx="320701" cy="320701"/>
          </a:xfrm>
        </p:grpSpPr>
        <p:sp>
          <p:nvSpPr>
            <p:cNvPr id="93" name="Oval 92">
              <a:extLst>
                <a:ext uri="{FF2B5EF4-FFF2-40B4-BE49-F238E27FC236}">
                  <a16:creationId xmlns:a16="http://schemas.microsoft.com/office/drawing/2014/main" id="{BA8AB58D-0DFC-4E8A-BEEC-3310B19A3A3A}"/>
                </a:ext>
              </a:extLst>
            </p:cNvPr>
            <p:cNvSpPr/>
            <p:nvPr/>
          </p:nvSpPr>
          <p:spPr>
            <a:xfrm>
              <a:off x="5567363" y="5132388"/>
              <a:ext cx="320701" cy="32070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94" name="Group 93">
              <a:extLst>
                <a:ext uri="{FF2B5EF4-FFF2-40B4-BE49-F238E27FC236}">
                  <a16:creationId xmlns:a16="http://schemas.microsoft.com/office/drawing/2014/main" id="{2EDD43C8-E84D-474B-8556-584C336B5F67}"/>
                </a:ext>
              </a:extLst>
            </p:cNvPr>
            <p:cNvGrpSpPr/>
            <p:nvPr/>
          </p:nvGrpSpPr>
          <p:grpSpPr>
            <a:xfrm rot="5400000">
              <a:off x="5601953" y="5166978"/>
              <a:ext cx="251520" cy="251520"/>
              <a:chOff x="2844772" y="3673786"/>
              <a:chExt cx="376958" cy="376958"/>
            </a:xfrm>
          </p:grpSpPr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B038F343-657C-41E1-B6B8-DC8B5B60504B}"/>
                  </a:ext>
                </a:extLst>
              </p:cNvPr>
              <p:cNvSpPr/>
              <p:nvPr/>
            </p:nvSpPr>
            <p:spPr>
              <a:xfrm>
                <a:off x="2844772" y="3673786"/>
                <a:ext cx="376958" cy="376958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en-US" sz="1050">
                  <a:solidFill>
                    <a:schemeClr val="bg1"/>
                  </a:solidFill>
                </a:endParaRPr>
              </a:p>
            </p:txBody>
          </p:sp>
          <p:sp>
            <p:nvSpPr>
              <p:cNvPr id="96" name="Freeform 17">
                <a:extLst>
                  <a:ext uri="{FF2B5EF4-FFF2-40B4-BE49-F238E27FC236}">
                    <a16:creationId xmlns:a16="http://schemas.microsoft.com/office/drawing/2014/main" id="{DBB1133B-48C0-4184-9C80-6EBA860BCF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80548" y="3746501"/>
                <a:ext cx="149028" cy="231530"/>
              </a:xfrm>
              <a:custGeom>
                <a:avLst/>
                <a:gdLst>
                  <a:gd name="T0" fmla="*/ 263 w 1575"/>
                  <a:gd name="T1" fmla="*/ 2449 h 2449"/>
                  <a:gd name="T2" fmla="*/ 93 w 1575"/>
                  <a:gd name="T3" fmla="*/ 2379 h 2449"/>
                  <a:gd name="T4" fmla="*/ 93 w 1575"/>
                  <a:gd name="T5" fmla="*/ 2039 h 2449"/>
                  <a:gd name="T6" fmla="*/ 896 w 1575"/>
                  <a:gd name="T7" fmla="*/ 1236 h 2449"/>
                  <a:gd name="T8" fmla="*/ 93 w 1575"/>
                  <a:gd name="T9" fmla="*/ 433 h 2449"/>
                  <a:gd name="T10" fmla="*/ 93 w 1575"/>
                  <a:gd name="T11" fmla="*/ 94 h 2449"/>
                  <a:gd name="T12" fmla="*/ 433 w 1575"/>
                  <a:gd name="T13" fmla="*/ 94 h 2449"/>
                  <a:gd name="T14" fmla="*/ 1575 w 1575"/>
                  <a:gd name="T15" fmla="*/ 1236 h 2449"/>
                  <a:gd name="T16" fmla="*/ 433 w 1575"/>
                  <a:gd name="T17" fmla="*/ 2379 h 2449"/>
                  <a:gd name="T18" fmla="*/ 263 w 1575"/>
                  <a:gd name="T19" fmla="*/ 2449 h 24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75" h="2449">
                    <a:moveTo>
                      <a:pt x="263" y="2449"/>
                    </a:moveTo>
                    <a:cubicBezTo>
                      <a:pt x="202" y="2449"/>
                      <a:pt x="140" y="2425"/>
                      <a:pt x="93" y="2379"/>
                    </a:cubicBezTo>
                    <a:cubicBezTo>
                      <a:pt x="0" y="2285"/>
                      <a:pt x="0" y="2133"/>
                      <a:pt x="93" y="2039"/>
                    </a:cubicBezTo>
                    <a:cubicBezTo>
                      <a:pt x="896" y="1236"/>
                      <a:pt x="896" y="1236"/>
                      <a:pt x="896" y="1236"/>
                    </a:cubicBezTo>
                    <a:cubicBezTo>
                      <a:pt x="93" y="433"/>
                      <a:pt x="93" y="433"/>
                      <a:pt x="93" y="433"/>
                    </a:cubicBezTo>
                    <a:cubicBezTo>
                      <a:pt x="0" y="339"/>
                      <a:pt x="0" y="187"/>
                      <a:pt x="93" y="94"/>
                    </a:cubicBezTo>
                    <a:cubicBezTo>
                      <a:pt x="187" y="0"/>
                      <a:pt x="339" y="0"/>
                      <a:pt x="433" y="94"/>
                    </a:cubicBezTo>
                    <a:cubicBezTo>
                      <a:pt x="1575" y="1236"/>
                      <a:pt x="1575" y="1236"/>
                      <a:pt x="1575" y="1236"/>
                    </a:cubicBezTo>
                    <a:cubicBezTo>
                      <a:pt x="433" y="2379"/>
                      <a:pt x="433" y="2379"/>
                      <a:pt x="433" y="2379"/>
                    </a:cubicBezTo>
                    <a:cubicBezTo>
                      <a:pt x="386" y="2425"/>
                      <a:pt x="324" y="2449"/>
                      <a:pt x="263" y="2449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97" name="Group 96">
            <a:extLst>
              <a:ext uri="{FF2B5EF4-FFF2-40B4-BE49-F238E27FC236}">
                <a16:creationId xmlns:a16="http://schemas.microsoft.com/office/drawing/2014/main" id="{547E9BA0-D554-4CEF-8CE2-14F331CA42BC}"/>
              </a:ext>
            </a:extLst>
          </p:cNvPr>
          <p:cNvGrpSpPr/>
          <p:nvPr/>
        </p:nvGrpSpPr>
        <p:grpSpPr>
          <a:xfrm>
            <a:off x="1473620" y="5132388"/>
            <a:ext cx="320701" cy="320701"/>
            <a:chOff x="5567363" y="5132388"/>
            <a:chExt cx="320701" cy="320701"/>
          </a:xfrm>
        </p:grpSpPr>
        <p:sp>
          <p:nvSpPr>
            <p:cNvPr id="98" name="Oval 97">
              <a:extLst>
                <a:ext uri="{FF2B5EF4-FFF2-40B4-BE49-F238E27FC236}">
                  <a16:creationId xmlns:a16="http://schemas.microsoft.com/office/drawing/2014/main" id="{580F0373-ABA6-42B5-8753-FCF425FD7C1F}"/>
                </a:ext>
              </a:extLst>
            </p:cNvPr>
            <p:cNvSpPr/>
            <p:nvPr/>
          </p:nvSpPr>
          <p:spPr>
            <a:xfrm>
              <a:off x="5567363" y="5132388"/>
              <a:ext cx="320701" cy="32070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99" name="Group 98">
              <a:extLst>
                <a:ext uri="{FF2B5EF4-FFF2-40B4-BE49-F238E27FC236}">
                  <a16:creationId xmlns:a16="http://schemas.microsoft.com/office/drawing/2014/main" id="{C5A05C9D-489E-461C-A3B1-0ED7D7923050}"/>
                </a:ext>
              </a:extLst>
            </p:cNvPr>
            <p:cNvGrpSpPr/>
            <p:nvPr/>
          </p:nvGrpSpPr>
          <p:grpSpPr>
            <a:xfrm rot="5400000">
              <a:off x="5601953" y="5166978"/>
              <a:ext cx="251520" cy="251520"/>
              <a:chOff x="2844772" y="3673786"/>
              <a:chExt cx="376958" cy="376958"/>
            </a:xfrm>
          </p:grpSpPr>
          <p:sp>
            <p:nvSpPr>
              <p:cNvPr id="100" name="Oval 99">
                <a:extLst>
                  <a:ext uri="{FF2B5EF4-FFF2-40B4-BE49-F238E27FC236}">
                    <a16:creationId xmlns:a16="http://schemas.microsoft.com/office/drawing/2014/main" id="{16D6D956-D2DB-497B-9018-C2C57BE6AF93}"/>
                  </a:ext>
                </a:extLst>
              </p:cNvPr>
              <p:cNvSpPr/>
              <p:nvPr/>
            </p:nvSpPr>
            <p:spPr>
              <a:xfrm>
                <a:off x="2844772" y="3673786"/>
                <a:ext cx="376958" cy="376958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/>
                <a:endParaRPr lang="en-US" sz="105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Freeform 17">
                <a:extLst>
                  <a:ext uri="{FF2B5EF4-FFF2-40B4-BE49-F238E27FC236}">
                    <a16:creationId xmlns:a16="http://schemas.microsoft.com/office/drawing/2014/main" id="{321829DE-206A-4983-8319-644E1291F0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80548" y="3746501"/>
                <a:ext cx="149028" cy="231530"/>
              </a:xfrm>
              <a:custGeom>
                <a:avLst/>
                <a:gdLst>
                  <a:gd name="T0" fmla="*/ 263 w 1575"/>
                  <a:gd name="T1" fmla="*/ 2449 h 2449"/>
                  <a:gd name="T2" fmla="*/ 93 w 1575"/>
                  <a:gd name="T3" fmla="*/ 2379 h 2449"/>
                  <a:gd name="T4" fmla="*/ 93 w 1575"/>
                  <a:gd name="T5" fmla="*/ 2039 h 2449"/>
                  <a:gd name="T6" fmla="*/ 896 w 1575"/>
                  <a:gd name="T7" fmla="*/ 1236 h 2449"/>
                  <a:gd name="T8" fmla="*/ 93 w 1575"/>
                  <a:gd name="T9" fmla="*/ 433 h 2449"/>
                  <a:gd name="T10" fmla="*/ 93 w 1575"/>
                  <a:gd name="T11" fmla="*/ 94 h 2449"/>
                  <a:gd name="T12" fmla="*/ 433 w 1575"/>
                  <a:gd name="T13" fmla="*/ 94 h 2449"/>
                  <a:gd name="T14" fmla="*/ 1575 w 1575"/>
                  <a:gd name="T15" fmla="*/ 1236 h 2449"/>
                  <a:gd name="T16" fmla="*/ 433 w 1575"/>
                  <a:gd name="T17" fmla="*/ 2379 h 2449"/>
                  <a:gd name="T18" fmla="*/ 263 w 1575"/>
                  <a:gd name="T19" fmla="*/ 2449 h 24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75" h="2449">
                    <a:moveTo>
                      <a:pt x="263" y="2449"/>
                    </a:moveTo>
                    <a:cubicBezTo>
                      <a:pt x="202" y="2449"/>
                      <a:pt x="140" y="2425"/>
                      <a:pt x="93" y="2379"/>
                    </a:cubicBezTo>
                    <a:cubicBezTo>
                      <a:pt x="0" y="2285"/>
                      <a:pt x="0" y="2133"/>
                      <a:pt x="93" y="2039"/>
                    </a:cubicBezTo>
                    <a:cubicBezTo>
                      <a:pt x="896" y="1236"/>
                      <a:pt x="896" y="1236"/>
                      <a:pt x="896" y="1236"/>
                    </a:cubicBezTo>
                    <a:cubicBezTo>
                      <a:pt x="93" y="433"/>
                      <a:pt x="93" y="433"/>
                      <a:pt x="93" y="433"/>
                    </a:cubicBezTo>
                    <a:cubicBezTo>
                      <a:pt x="0" y="339"/>
                      <a:pt x="0" y="187"/>
                      <a:pt x="93" y="94"/>
                    </a:cubicBezTo>
                    <a:cubicBezTo>
                      <a:pt x="187" y="0"/>
                      <a:pt x="339" y="0"/>
                      <a:pt x="433" y="94"/>
                    </a:cubicBezTo>
                    <a:cubicBezTo>
                      <a:pt x="1575" y="1236"/>
                      <a:pt x="1575" y="1236"/>
                      <a:pt x="1575" y="1236"/>
                    </a:cubicBezTo>
                    <a:cubicBezTo>
                      <a:pt x="433" y="2379"/>
                      <a:pt x="433" y="2379"/>
                      <a:pt x="433" y="2379"/>
                    </a:cubicBezTo>
                    <a:cubicBezTo>
                      <a:pt x="386" y="2425"/>
                      <a:pt x="324" y="2449"/>
                      <a:pt x="263" y="2449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9500619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855DFA-9B2B-4243-AB19-CF9F8E2A0A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7188094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PSLIDETOCALGOID" val="ScriptedShapesTocAlgo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7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NG5p6QVlH6GlSHMQ0R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Tys1_P2TEiWaixaWmPkk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4er8BQA2kmcuOHeRvEuh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NG5p6QVlH6GlSHMQ0R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heme/theme1.xml><?xml version="1.0" encoding="utf-8"?>
<a:theme xmlns:a="http://schemas.openxmlformats.org/drawingml/2006/main" name="Office Theme">
  <a:themeElements>
    <a:clrScheme name="A&amp;M">
      <a:dk1>
        <a:srgbClr val="000000"/>
      </a:dk1>
      <a:lt1>
        <a:srgbClr val="FFFFFF"/>
      </a:lt1>
      <a:dk2>
        <a:srgbClr val="646464"/>
      </a:dk2>
      <a:lt2>
        <a:srgbClr val="D9D9D9"/>
      </a:lt2>
      <a:accent1>
        <a:srgbClr val="002B49"/>
      </a:accent1>
      <a:accent2>
        <a:srgbClr val="5E8AB4"/>
      </a:accent2>
      <a:accent3>
        <a:srgbClr val="0085CA"/>
      </a:accent3>
      <a:accent4>
        <a:srgbClr val="00677F"/>
      </a:accent4>
      <a:accent5>
        <a:srgbClr val="CF7F00"/>
      </a:accent5>
      <a:accent6>
        <a:srgbClr val="470858"/>
      </a:accent6>
      <a:hlink>
        <a:srgbClr val="A6192E"/>
      </a:hlink>
      <a:folHlink>
        <a:srgbClr val="29702A"/>
      </a:folHlink>
    </a:clrScheme>
    <a:fontScheme name="Arial Nova">
      <a:majorFont>
        <a:latin typeface="Arial Nova"/>
        <a:ea typeface=""/>
        <a:cs typeface=""/>
      </a:majorFont>
      <a:minorFont>
        <a:latin typeface="Arial Nova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>
        <a:spAutoFit/>
      </a:bodyPr>
      <a:lstStyle>
        <a:defPPr marL="0" algn="l">
          <a:defRPr dirty="0"/>
        </a:defPPr>
      </a:lstStyle>
    </a:txDef>
  </a:objectDefaults>
  <a:extraClrSchemeLst/>
  <a:custClrLst>
    <a:custClr name="Accent Purple 1">
      <a:srgbClr val="B455AA"/>
    </a:custClr>
    <a:custClr name="Accent Purple 2">
      <a:srgbClr val="A055F5"/>
    </a:custClr>
    <a:custClr name="Accent Purple 3">
      <a:srgbClr val="BE82FF"/>
    </a:custClr>
    <a:custClr name="Accent Purple 4">
      <a:srgbClr val="DCAFFF"/>
    </a:custClr>
    <a:custClr name="Accent Purple 5">
      <a:srgbClr val="E6DCFF"/>
    </a:custClr>
  </a:custClrLst>
  <a:extLst>
    <a:ext uri="{05A4C25C-085E-4340-85A3-A5531E510DB2}">
      <thm15:themeFamily xmlns:thm15="http://schemas.microsoft.com/office/thememl/2012/main" name="200959_CIO_Accenture_PPT_Toolkit_v3.potx" id="{402EEFE3-7C14-47DD-A034-A340BF182AE3}" vid="{2C3E4DFE-54F6-4EC4-99D4-F6995C545A89}"/>
    </a:ext>
  </a:extLst>
</a:theme>
</file>

<file path=ppt/theme/theme2.xml><?xml version="1.0" encoding="utf-8"?>
<a:theme xmlns:a="http://schemas.openxmlformats.org/drawingml/2006/main" name="White">
  <a:themeElements>
    <a:clrScheme name="Slideworks Colors">
      <a:dk1>
        <a:srgbClr val="FFFFFF"/>
      </a:dk1>
      <a:lt1>
        <a:srgbClr val="061F32"/>
      </a:lt1>
      <a:dk2>
        <a:srgbClr val="000000"/>
      </a:dk2>
      <a:lt2>
        <a:srgbClr val="000000"/>
      </a:lt2>
      <a:accent1>
        <a:srgbClr val="00A7F2"/>
      </a:accent1>
      <a:accent2>
        <a:srgbClr val="3478AB"/>
      </a:accent2>
      <a:accent3>
        <a:srgbClr val="1D4769"/>
      </a:accent3>
      <a:accent4>
        <a:srgbClr val="061F32"/>
      </a:accent4>
      <a:accent5>
        <a:srgbClr val="1C3CDF"/>
      </a:accent5>
      <a:accent6>
        <a:srgbClr val="F8BC3B"/>
      </a:accent6>
      <a:hlink>
        <a:srgbClr val="3478AB"/>
      </a:hlink>
      <a:folHlink>
        <a:srgbClr val="8B78AB"/>
      </a:folHlink>
    </a:clrScheme>
    <a:fontScheme name="Scheme 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Linear 1 (Deep Blue)">
      <a:srgbClr val="051C2C"/>
    </a:custClr>
    <a:custClr name="Linear 2">
      <a:srgbClr val="034B6F"/>
    </a:custClr>
    <a:custClr name="Linear 3">
      <a:srgbClr val="027AB1"/>
    </a:custClr>
    <a:custClr name="Linear 4 (Cyan)">
      <a:srgbClr val="00A9F4"/>
    </a:custClr>
    <a:custClr name="Linear 5">
      <a:srgbClr val="39BDF3"/>
    </a:custClr>
    <a:custClr name="Linear 6">
      <a:srgbClr val="71D2F1"/>
    </a:custClr>
    <a:custClr name="Linear 7 (Pale Blue)">
      <a:srgbClr val="AAE6F0"/>
    </a:custClr>
    <a:custClr name="Null">
      <a:srgbClr val="FFFFFF"/>
    </a:custClr>
    <a:custClr name="Null">
      <a:srgbClr val="FFFFFF"/>
    </a:custClr>
    <a:custClr name="Null">
      <a:srgbClr val="FFFFFF"/>
    </a:custClr>
  </a:custClrLst>
  <a:extLst>
    <a:ext uri="{05A4C25C-085E-4340-85A3-A5531E510DB2}">
      <thm15:themeFamily xmlns:thm15="http://schemas.microsoft.com/office/thememl/2012/main" name="OneFirm-English (United States)-Wide.potx" id="{50FC1F8C-36A8-43E0-A709-09110D5475E7}" vid="{B89EF835-3564-4FB3-A7E4-97DE50749BA2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Override1.xml><?xml version="1.0" encoding="utf-8"?>
<a:themeOverride xmlns:a="http://schemas.openxmlformats.org/drawingml/2006/main">
  <a:clrScheme name="Slideworks Colors">
    <a:dk1>
      <a:srgbClr val="FFFFFF"/>
    </a:dk1>
    <a:lt1>
      <a:srgbClr val="061F32"/>
    </a:lt1>
    <a:dk2>
      <a:srgbClr val="000000"/>
    </a:dk2>
    <a:lt2>
      <a:srgbClr val="000000"/>
    </a:lt2>
    <a:accent1>
      <a:srgbClr val="00A7F2"/>
    </a:accent1>
    <a:accent2>
      <a:srgbClr val="3478AB"/>
    </a:accent2>
    <a:accent3>
      <a:srgbClr val="1D4769"/>
    </a:accent3>
    <a:accent4>
      <a:srgbClr val="061F32"/>
    </a:accent4>
    <a:accent5>
      <a:srgbClr val="1C3CDF"/>
    </a:accent5>
    <a:accent6>
      <a:srgbClr val="F8BC3B"/>
    </a:accent6>
    <a:hlink>
      <a:srgbClr val="3478AB"/>
    </a:hlink>
    <a:folHlink>
      <a:srgbClr val="8B78AB"/>
    </a:folHlink>
  </a:clrScheme>
  <a:fontScheme name="Scheme White Fonts">
    <a:majorFont>
      <a:latin typeface="Georgia"/>
      <a:ea typeface=""/>
      <a:cs typeface=""/>
    </a:majorFont>
    <a:minorFont>
      <a:latin typeface="Arial"/>
      <a:ea typeface=""/>
      <a:cs typeface=""/>
    </a:minorFont>
  </a:fontScheme>
  <a:fmtScheme name="Subtle Solids">
    <a:fillStyleLst>
      <a:solidFill>
        <a:schemeClr val="phClr"/>
      </a:solidFill>
      <a:solidFill>
        <a:schemeClr val="phClr">
          <a:tint val="65000"/>
        </a:schemeClr>
      </a:solidFill>
      <a:solidFill>
        <a:schemeClr val="phClr">
          <a:shade val="80000"/>
          <a:satMod val="150000"/>
        </a:schemeClr>
      </a:solidFill>
    </a:fillStyleLst>
    <a:lnStyleLst>
      <a:ln w="9525" cap="flat" cmpd="sng" algn="ctr">
        <a:solidFill>
          <a:schemeClr val="phClr"/>
        </a:solidFill>
        <a:prstDash val="solid"/>
      </a:ln>
      <a:ln w="10795" cap="flat" cmpd="sng" algn="ctr">
        <a:solidFill>
          <a:schemeClr val="phClr"/>
        </a:solidFill>
        <a:prstDash val="solid"/>
      </a:ln>
      <a:ln w="17145" cap="flat" cmpd="sng" algn="ctr">
        <a:solidFill>
          <a:schemeClr val="phClr">
            <a:shade val="95000"/>
            <a:alpha val="50000"/>
            <a:satMod val="150000"/>
          </a:schemeClr>
        </a:solidFill>
        <a:prstDash val="solid"/>
      </a:ln>
    </a:lnStyleLst>
    <a:effectStyleLst>
      <a:effectStyle>
        <a:effectLst/>
      </a:effectStyle>
      <a:effectStyle>
        <a:effectLst/>
      </a:effectStyle>
      <a:effectStyle>
        <a:effectLst>
          <a:outerShdw blurRad="44450" dist="13970" dir="5400000" algn="ctr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twoPt" dir="tl"/>
        </a:scene3d>
        <a:sp3d prstMaterial="flat">
          <a:bevelT w="12700" h="25400" prst="coolSlant"/>
        </a:sp3d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98D5297A6C01D48AFA61BCC36A9B47C" ma:contentTypeVersion="15" ma:contentTypeDescription="Create a new document." ma:contentTypeScope="" ma:versionID="5080b6e00c157a3a1db9dbceea816463">
  <xsd:schema xmlns:xsd="http://www.w3.org/2001/XMLSchema" xmlns:xs="http://www.w3.org/2001/XMLSchema" xmlns:p="http://schemas.microsoft.com/office/2006/metadata/properties" xmlns:ns2="27efcf67-0907-4c56-9a1e-387ca444b693" xmlns:ns3="c2ab16ef-a728-4ff3-ab3b-1f38ff51a0d3" targetNamespace="http://schemas.microsoft.com/office/2006/metadata/properties" ma:root="true" ma:fieldsID="3e284b2a0152f9f0959bb120f8e59fa2" ns2:_="" ns3:_="">
    <xsd:import namespace="27efcf67-0907-4c56-9a1e-387ca444b693"/>
    <xsd:import namespace="c2ab16ef-a728-4ff3-ab3b-1f38ff51a0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LengthInSeconds" minOccurs="0"/>
                <xsd:element ref="ns2:MediaServiceSearchProperties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7efcf67-0907-4c56-9a1e-387ca444b69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Location" ma:index="11" nillable="true" ma:displayName="Location" ma:indexed="true" ma:internalName="MediaServiceLocation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16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8" nillable="true" ma:taxonomy="true" ma:internalName="lcf76f155ced4ddcb4097134ff3c332f" ma:taxonomyFieldName="MediaServiceImageTags" ma:displayName="Image Tags" ma:readOnly="false" ma:fieldId="{5cf76f15-5ced-4ddc-b409-7134ff3c332f}" ma:taxonomyMulti="true" ma:sspId="6830aa7a-1173-4a8f-8fff-517453f0343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CR" ma:index="2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2ab16ef-a728-4ff3-ab3b-1f38ff51a0d3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9" nillable="true" ma:displayName="Taxonomy Catch All Column" ma:hidden="true" ma:list="{93bdfcde-3a5c-482f-8abb-312e0122607b}" ma:internalName="TaxCatchAll" ma:showField="CatchAllData" ma:web="c2ab16ef-a728-4ff3-ab3b-1f38ff51a0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c2ab16ef-a728-4ff3-ab3b-1f38ff51a0d3">
      <UserInfo>
        <DisplayName>Georgakopoulos, Alexa</DisplayName>
        <AccountId>31</AccountId>
        <AccountType/>
      </UserInfo>
      <UserInfo>
        <DisplayName>Pumphrey, Sarah</DisplayName>
        <AccountId>74</AccountId>
        <AccountType/>
      </UserInfo>
    </SharedWithUsers>
    <lcf76f155ced4ddcb4097134ff3c332f xmlns="27efcf67-0907-4c56-9a1e-387ca444b693">
      <Terms xmlns="http://schemas.microsoft.com/office/infopath/2007/PartnerControls"/>
    </lcf76f155ced4ddcb4097134ff3c332f>
    <TaxCatchAll xmlns="c2ab16ef-a728-4ff3-ab3b-1f38ff51a0d3" xsi:nil="true"/>
  </documentManagement>
</p:properties>
</file>

<file path=customXml/itemProps1.xml><?xml version="1.0" encoding="utf-8"?>
<ds:datastoreItem xmlns:ds="http://schemas.openxmlformats.org/officeDocument/2006/customXml" ds:itemID="{C3B5BE34-9298-431C-90AA-44502C67A4F8}">
  <ds:schemaRefs>
    <ds:schemaRef ds:uri="27efcf67-0907-4c56-9a1e-387ca444b693"/>
    <ds:schemaRef ds:uri="c2ab16ef-a728-4ff3-ab3b-1f38ff51a0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75716CDD-4185-416B-B1B6-1032CB300D9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39123D4-2427-4FAC-A7C7-70DB9E54835B}">
  <ds:schemaRefs>
    <ds:schemaRef ds:uri="27efcf67-0907-4c56-9a1e-387ca444b693"/>
    <ds:schemaRef ds:uri="c2ab16ef-a728-4ff3-ab3b-1f38ff51a0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7</TotalTime>
  <Words>1395</Words>
  <Application>Microsoft Office PowerPoint</Application>
  <PresentationFormat>Widescreen</PresentationFormat>
  <Paragraphs>258</Paragraphs>
  <Slides>10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21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34" baseType="lpstr">
      <vt:lpstr>Aptos</vt:lpstr>
      <vt:lpstr>Arial</vt:lpstr>
      <vt:lpstr>Arial Black</vt:lpstr>
      <vt:lpstr>Arial Nova</vt:lpstr>
      <vt:lpstr>Arial Nova Cond</vt:lpstr>
      <vt:lpstr>Arial Nova Light</vt:lpstr>
      <vt:lpstr>Arial Rounded MT Bold</vt:lpstr>
      <vt:lpstr>Calibri</vt:lpstr>
      <vt:lpstr>Georgia</vt:lpstr>
      <vt:lpstr>Graphik</vt:lpstr>
      <vt:lpstr>Graphik Black</vt:lpstr>
      <vt:lpstr>Graphik Medium</vt:lpstr>
      <vt:lpstr>Graphik Semibold</vt:lpstr>
      <vt:lpstr>GT Sectra Fine</vt:lpstr>
      <vt:lpstr>GT Sectra Fine Rg</vt:lpstr>
      <vt:lpstr>Lato Light</vt:lpstr>
      <vt:lpstr>Segoe UI</vt:lpstr>
      <vt:lpstr>System Font</vt:lpstr>
      <vt:lpstr>Times New Roman</vt:lpstr>
      <vt:lpstr>Trebuchet MS</vt:lpstr>
      <vt:lpstr>Wingdings</vt:lpstr>
      <vt:lpstr>Office Theme</vt:lpstr>
      <vt:lpstr>White</vt:lpstr>
      <vt:lpstr>think-cell Slide</vt:lpstr>
      <vt:lpstr>Medtech CDMOs in 2025</vt:lpstr>
      <vt:lpstr>Global MedTech growth is projected at 4.6% for 2025</vt:lpstr>
      <vt:lpstr>By extension, the Medtech CDMO industry is also growing, with the US showing the most growth in 2023</vt:lpstr>
      <vt:lpstr>MedTech first-time solo launches, bypassing licensing and M&amp;A, also fueled the reliance on CDMO as a GTM strategy</vt:lpstr>
      <vt:lpstr>The 2024 capital market displayed a slight boost in both M&amp;A activity and VC investments</vt:lpstr>
      <vt:lpstr>Featured deals of 2024 signal market appetite for specialized capabilities and an exit path for many mid-size PE-backed platforms</vt:lpstr>
      <vt:lpstr>PE capital continues to invest in Medtech CDMO platforms</vt:lpstr>
      <vt:lpstr>Earlier PE platform investments could be looking for an exit path</vt:lpstr>
      <vt:lpstr>Thank you</vt:lpstr>
      <vt:lpstr>Author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Freitas, Mark</dc:creator>
  <cp:lastModifiedBy>Freitas, Mark</cp:lastModifiedBy>
  <cp:revision>2</cp:revision>
  <dcterms:created xsi:type="dcterms:W3CDTF">2023-06-08T13:43:25Z</dcterms:created>
  <dcterms:modified xsi:type="dcterms:W3CDTF">2025-05-14T00:12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98D5297A6C01D48AFA61BCC36A9B47C</vt:lpwstr>
  </property>
  <property fmtid="{D5CDD505-2E9C-101B-9397-08002B2CF9AE}" pid="3" name="MediaServiceImageTags">
    <vt:lpwstr/>
  </property>
  <property fmtid="{D5CDD505-2E9C-101B-9397-08002B2CF9AE}" pid="4" name="MSIP_Label_31f81cae-2cc7-434f-b11d-39789e497bf2_Enabled">
    <vt:lpwstr>true</vt:lpwstr>
  </property>
  <property fmtid="{D5CDD505-2E9C-101B-9397-08002B2CF9AE}" pid="5" name="MSIP_Label_31f81cae-2cc7-434f-b11d-39789e497bf2_SetDate">
    <vt:lpwstr>2024-08-02T16:28:00Z</vt:lpwstr>
  </property>
  <property fmtid="{D5CDD505-2E9C-101B-9397-08002B2CF9AE}" pid="6" name="MSIP_Label_31f81cae-2cc7-434f-b11d-39789e497bf2_Method">
    <vt:lpwstr>Standard</vt:lpwstr>
  </property>
  <property fmtid="{D5CDD505-2E9C-101B-9397-08002B2CF9AE}" pid="7" name="MSIP_Label_31f81cae-2cc7-434f-b11d-39789e497bf2_Name">
    <vt:lpwstr>Confidential</vt:lpwstr>
  </property>
  <property fmtid="{D5CDD505-2E9C-101B-9397-08002B2CF9AE}" pid="8" name="MSIP_Label_31f81cae-2cc7-434f-b11d-39789e497bf2_SiteId">
    <vt:lpwstr>dd5e230f-c165-49c4-957f-e203458fffab</vt:lpwstr>
  </property>
  <property fmtid="{D5CDD505-2E9C-101B-9397-08002B2CF9AE}" pid="9" name="MSIP_Label_31f81cae-2cc7-434f-b11d-39789e497bf2_ActionId">
    <vt:lpwstr>3d114b0a-4b7f-4d58-a2b7-410dc1cc29b5</vt:lpwstr>
  </property>
  <property fmtid="{D5CDD505-2E9C-101B-9397-08002B2CF9AE}" pid="10" name="MSIP_Label_31f81cae-2cc7-434f-b11d-39789e497bf2_ContentBits">
    <vt:lpwstr>0</vt:lpwstr>
  </property>
</Properties>
</file>